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ink/ink1.xml" ContentType="application/inkml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notesSlides/notesSlide16.xml" ContentType="application/vnd.openxmlformats-officedocument.presentationml.notesSlide+xml"/>
  <Override PartName="/ppt/tags/tag41.xml" ContentType="application/vnd.openxmlformats-officedocument.presentationml.tags+xml"/>
  <Override PartName="/ppt/notesSlides/notesSlide17.xml" ContentType="application/vnd.openxmlformats-officedocument.presentationml.notesSlide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ppt/tags/tag44.xml" ContentType="application/vnd.openxmlformats-officedocument.presentationml.tags+xml"/>
  <Override PartName="/ppt/notesSlides/notesSlide20.xml" ContentType="application/vnd.openxmlformats-officedocument.presentationml.notesSlide+xml"/>
  <Override PartName="/ppt/tags/tag45.xml" ContentType="application/vnd.openxmlformats-officedocument.presentationml.tags+xml"/>
  <Override PartName="/ppt/notesSlides/notesSlide21.xml" ContentType="application/vnd.openxmlformats-officedocument.presentationml.notesSlid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notesSlides/notesSlide23.xml" ContentType="application/vnd.openxmlformats-officedocument.presentationml.notesSlide+xml"/>
  <Override PartName="/ppt/tags/tag48.xml" ContentType="application/vnd.openxmlformats-officedocument.presentationml.tags+xml"/>
  <Override PartName="/ppt/notesSlides/notesSlide24.xml" ContentType="application/vnd.openxmlformats-officedocument.presentationml.notesSlide+xml"/>
  <Override PartName="/ppt/tags/tag49.xml" ContentType="application/vnd.openxmlformats-officedocument.presentationml.tags+xml"/>
  <Override PartName="/ppt/notesSlides/notesSlide25.xml" ContentType="application/vnd.openxmlformats-officedocument.presentationml.notesSlide+xml"/>
  <Override PartName="/ppt/tags/tag50.xml" ContentType="application/vnd.openxmlformats-officedocument.presentationml.tags+xml"/>
  <Override PartName="/ppt/notesSlides/notesSlide26.xml" ContentType="application/vnd.openxmlformats-officedocument.presentationml.notesSlide+xml"/>
  <Override PartName="/ppt/tags/tag51.xml" ContentType="application/vnd.openxmlformats-officedocument.presentationml.tags+xml"/>
  <Override PartName="/ppt/notesSlides/notesSlide27.xml" ContentType="application/vnd.openxmlformats-officedocument.presentationml.notesSlide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tags/tag54.xml" ContentType="application/vnd.openxmlformats-officedocument.presentationml.tags+xml"/>
  <Override PartName="/ppt/notesSlides/notesSlide30.xml" ContentType="application/vnd.openxmlformats-officedocument.presentationml.notesSlide+xml"/>
  <Override PartName="/ppt/tags/tag55.xml" ContentType="application/vnd.openxmlformats-officedocument.presentationml.tags+xml"/>
  <Override PartName="/ppt/notesSlides/notesSlide31.xml" ContentType="application/vnd.openxmlformats-officedocument.presentationml.notesSlide+xml"/>
  <Override PartName="/ppt/tags/tag56.xml" ContentType="application/vnd.openxmlformats-officedocument.presentationml.tags+xml"/>
  <Override PartName="/ppt/notesSlides/notesSlide32.xml" ContentType="application/vnd.openxmlformats-officedocument.presentationml.notesSlide+xml"/>
  <Override PartName="/ppt/tags/tag57.xml" ContentType="application/vnd.openxmlformats-officedocument.presentationml.tags+xml"/>
  <Override PartName="/ppt/notesSlides/notesSlide33.xml" ContentType="application/vnd.openxmlformats-officedocument.presentationml.notesSlide+xml"/>
  <Override PartName="/ppt/tags/tag58.xml" ContentType="application/vnd.openxmlformats-officedocument.presentationml.tags+xml"/>
  <Override PartName="/ppt/notesSlides/notesSlide34.xml" ContentType="application/vnd.openxmlformats-officedocument.presentationml.notesSlide+xml"/>
  <Override PartName="/ppt/tags/tag59.xml" ContentType="application/vnd.openxmlformats-officedocument.presentationml.tags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tags/tag62.xml" ContentType="application/vnd.openxmlformats-officedocument.presentationml.tags+xml"/>
  <Override PartName="/ppt/notesSlides/notesSlide38.xml" ContentType="application/vnd.openxmlformats-officedocument.presentationml.notesSlide+xml"/>
  <Override PartName="/ppt/tags/tag63.xml" ContentType="application/vnd.openxmlformats-officedocument.presentationml.tags+xml"/>
  <Override PartName="/ppt/notesSlides/notesSlide39.xml" ContentType="application/vnd.openxmlformats-officedocument.presentationml.notesSlide+xml"/>
  <Override PartName="/ppt/tags/tag64.xml" ContentType="application/vnd.openxmlformats-officedocument.presentationml.tags+xml"/>
  <Override PartName="/ppt/notesSlides/notesSlide40.xml" ContentType="application/vnd.openxmlformats-officedocument.presentationml.notesSlide+xml"/>
  <Override PartName="/ppt/tags/tag65.xml" ContentType="application/vnd.openxmlformats-officedocument.presentationml.tags+xml"/>
  <Override PartName="/ppt/notesSlides/notesSlide41.xml" ContentType="application/vnd.openxmlformats-officedocument.presentationml.notesSlide+xml"/>
  <Override PartName="/ppt/tags/tag66.xml" ContentType="application/vnd.openxmlformats-officedocument.presentationml.tags+xml"/>
  <Override PartName="/ppt/notesSlides/notesSlide42.xml" ContentType="application/vnd.openxmlformats-officedocument.presentationml.notesSlide+xml"/>
  <Override PartName="/ppt/tags/tag67.xml" ContentType="application/vnd.openxmlformats-officedocument.presentationml.tags+xml"/>
  <Override PartName="/ppt/notesSlides/notesSlide43.xml" ContentType="application/vnd.openxmlformats-officedocument.presentationml.notesSlide+xml"/>
  <Override PartName="/ppt/tags/tag68.xml" ContentType="application/vnd.openxmlformats-officedocument.presentationml.tags+xml"/>
  <Override PartName="/ppt/notesSlides/notesSlide44.xml" ContentType="application/vnd.openxmlformats-officedocument.presentationml.notesSlide+xml"/>
  <Override PartName="/ppt/tags/tag69.xml" ContentType="application/vnd.openxmlformats-officedocument.presentationml.tags+xml"/>
  <Override PartName="/ppt/notesSlides/notesSlide45.xml" ContentType="application/vnd.openxmlformats-officedocument.presentationml.notesSlide+xml"/>
  <Override PartName="/ppt/tags/tag70.xml" ContentType="application/vnd.openxmlformats-officedocument.presentationml.tags+xml"/>
  <Override PartName="/ppt/notesSlides/notesSlide46.xml" ContentType="application/vnd.openxmlformats-officedocument.presentationml.notesSlide+xml"/>
  <Override PartName="/ppt/tags/tag71.xml" ContentType="application/vnd.openxmlformats-officedocument.presentationml.tags+xml"/>
  <Override PartName="/ppt/notesSlides/notesSlide47.xml" ContentType="application/vnd.openxmlformats-officedocument.presentationml.notesSlide+xml"/>
  <Override PartName="/ppt/tags/tag72.xml" ContentType="application/vnd.openxmlformats-officedocument.presentationml.tags+xml"/>
  <Override PartName="/ppt/notesSlides/notesSlide48.xml" ContentType="application/vnd.openxmlformats-officedocument.presentationml.notesSlide+xml"/>
  <Override PartName="/ppt/tags/tag73.xml" ContentType="application/vnd.openxmlformats-officedocument.presentationml.tags+xml"/>
  <Override PartName="/ppt/notesSlides/notesSlide49.xml" ContentType="application/vnd.openxmlformats-officedocument.presentationml.notesSlide+xml"/>
  <Override PartName="/ppt/tags/tag74.xml" ContentType="application/vnd.openxmlformats-officedocument.presentationml.tags+xml"/>
  <Override PartName="/ppt/notesSlides/notesSlide50.xml" ContentType="application/vnd.openxmlformats-officedocument.presentationml.notesSlide+xml"/>
  <Override PartName="/ppt/tags/tag75.xml" ContentType="application/vnd.openxmlformats-officedocument.presentationml.tags+xml"/>
  <Override PartName="/ppt/notesSlides/notesSlide51.xml" ContentType="application/vnd.openxmlformats-officedocument.presentationml.notesSlide+xml"/>
  <Override PartName="/ppt/tags/tag76.xml" ContentType="application/vnd.openxmlformats-officedocument.presentationml.tags+xml"/>
  <Override PartName="/ppt/notesSlides/notesSlide52.xml" ContentType="application/vnd.openxmlformats-officedocument.presentationml.notesSlide+xml"/>
  <Override PartName="/ppt/tags/tag77.xml" ContentType="application/vnd.openxmlformats-officedocument.presentationml.tags+xml"/>
  <Override PartName="/ppt/notesSlides/notesSlide53.xml" ContentType="application/vnd.openxmlformats-officedocument.presentationml.notesSlide+xml"/>
  <Override PartName="/ppt/tags/tag78.xml" ContentType="application/vnd.openxmlformats-officedocument.presentationml.tags+xml"/>
  <Override PartName="/ppt/notesSlides/notesSlide54.xml" ContentType="application/vnd.openxmlformats-officedocument.presentationml.notesSlide+xml"/>
  <Override PartName="/ppt/tags/tag79.xml" ContentType="application/vnd.openxmlformats-officedocument.presentationml.tags+xml"/>
  <Override PartName="/ppt/notesSlides/notesSlide55.xml" ContentType="application/vnd.openxmlformats-officedocument.presentationml.notesSlide+xml"/>
  <Override PartName="/ppt/tags/tag80.xml" ContentType="application/vnd.openxmlformats-officedocument.presentationml.tags+xml"/>
  <Override PartName="/ppt/notesSlides/notesSlide56.xml" ContentType="application/vnd.openxmlformats-officedocument.presentationml.notesSlide+xml"/>
  <Override PartName="/ppt/tags/tag81.xml" ContentType="application/vnd.openxmlformats-officedocument.presentationml.tags+xml"/>
  <Override PartName="/ppt/notesSlides/notesSlide57.xml" ContentType="application/vnd.openxmlformats-officedocument.presentationml.notesSlide+xml"/>
  <Override PartName="/ppt/tags/tag82.xml" ContentType="application/vnd.openxmlformats-officedocument.presentationml.tags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notesSlides/notesSlide59.xml" ContentType="application/vnd.openxmlformats-officedocument.presentationml.notesSlide+xml"/>
  <Override PartName="/ppt/tags/tag84.xml" ContentType="application/vnd.openxmlformats-officedocument.presentationml.tags+xml"/>
  <Override PartName="/ppt/notesSlides/notesSlide60.xml" ContentType="application/vnd.openxmlformats-officedocument.presentationml.notesSlide+xml"/>
  <Override PartName="/ppt/tags/tag85.xml" ContentType="application/vnd.openxmlformats-officedocument.presentationml.tags+xml"/>
  <Override PartName="/ppt/notesSlides/notesSlide61.xml" ContentType="application/vnd.openxmlformats-officedocument.presentationml.notesSlide+xml"/>
  <Override PartName="/ppt/tags/tag86.xml" ContentType="application/vnd.openxmlformats-officedocument.presentationml.tags+xml"/>
  <Override PartName="/ppt/notesSlides/notesSlide62.xml" ContentType="application/vnd.openxmlformats-officedocument.presentationml.notesSlide+xml"/>
  <Override PartName="/ppt/tags/tag87.xml" ContentType="application/vnd.openxmlformats-officedocument.presentationml.tags+xml"/>
  <Override PartName="/ppt/notesSlides/notesSlide63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64.xml" ContentType="application/vnd.openxmlformats-officedocument.presentationml.notesSlide+xml"/>
  <Override PartName="/ppt/tags/tag238.xml" ContentType="application/vnd.openxmlformats-officedocument.presentationml.tags+xml"/>
  <Override PartName="/ppt/notesSlides/notesSlide65.xml" ContentType="application/vnd.openxmlformats-officedocument.presentationml.notesSlide+xml"/>
  <Override PartName="/ppt/tags/tag239.xml" ContentType="application/vnd.openxmlformats-officedocument.presentationml.tags+xml"/>
  <Override PartName="/ppt/notesSlides/notesSlide66.xml" ContentType="application/vnd.openxmlformats-officedocument.presentationml.notesSlide+xml"/>
  <Override PartName="/ppt/tags/tag240.xml" ContentType="application/vnd.openxmlformats-officedocument.presentationml.tags+xml"/>
  <Override PartName="/ppt/notesSlides/notesSlide67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6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notesSlides/notesSlide69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notesSlides/notesSlide70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55.xml" ContentType="application/vnd.openxmlformats-officedocument.presentationml.tags+xml"/>
  <Override PartName="/ppt/notesSlides/notesSlide71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56.xml" ContentType="application/vnd.openxmlformats-officedocument.presentationml.tags+xml"/>
  <Override PartName="/ppt/notesSlides/notesSlide72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57.xml" ContentType="application/vnd.openxmlformats-officedocument.presentationml.tags+xml"/>
  <Override PartName="/ppt/notesSlides/notesSlide73.xml" ContentType="application/vnd.openxmlformats-officedocument.presentationml.notesSlid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8.xml" ContentType="application/vnd.openxmlformats-officedocument.presentationml.tags+xml"/>
  <Override PartName="/ppt/notesSlides/notesSlide74.xml" ContentType="application/vnd.openxmlformats-officedocument.presentationml.notesSlide+xml"/>
  <Override PartName="/ppt/tags/tag359.xml" ContentType="application/vnd.openxmlformats-officedocument.presentationml.tags+xml"/>
  <Override PartName="/ppt/notesSlides/notesSlide75.xml" ContentType="application/vnd.openxmlformats-officedocument.presentationml.notesSlide+xml"/>
  <Override PartName="/ppt/tags/tag360.xml" ContentType="application/vnd.openxmlformats-officedocument.presentationml.tags+xml"/>
  <Override PartName="/ppt/notesSlides/notesSlide76.xml" ContentType="application/vnd.openxmlformats-officedocument.presentationml.notesSlide+xml"/>
  <Override PartName="/ppt/tags/tag361.xml" ContentType="application/vnd.openxmlformats-officedocument.presentationml.tags+xml"/>
  <Override PartName="/ppt/notesSlides/notesSlide77.xml" ContentType="application/vnd.openxmlformats-officedocument.presentationml.notesSlide+xml"/>
  <Override PartName="/ppt/tags/tag362.xml" ContentType="application/vnd.openxmlformats-officedocument.presentationml.tags+xml"/>
  <Override PartName="/ppt/notesSlides/notesSlide78.xml" ContentType="application/vnd.openxmlformats-officedocument.presentationml.notesSlide+xml"/>
  <Override PartName="/ppt/tags/tag363.xml" ContentType="application/vnd.openxmlformats-officedocument.presentationml.tags+xml"/>
  <Override PartName="/ppt/notesSlides/notesSlide79.xml" ContentType="application/vnd.openxmlformats-officedocument.presentationml.notesSlide+xml"/>
  <Override PartName="/ppt/tags/tag364.xml" ContentType="application/vnd.openxmlformats-officedocument.presentationml.tags+xml"/>
  <Override PartName="/ppt/notesSlides/notesSlide80.xml" ContentType="application/vnd.openxmlformats-officedocument.presentationml.notesSlide+xml"/>
  <Override PartName="/ppt/tags/tag365.xml" ContentType="application/vnd.openxmlformats-officedocument.presentationml.tags+xml"/>
  <Override PartName="/ppt/notesSlides/notesSlide81.xml" ContentType="application/vnd.openxmlformats-officedocument.presentationml.notesSlide+xml"/>
  <Override PartName="/ppt/tags/tag366.xml" ContentType="application/vnd.openxmlformats-officedocument.presentationml.tags+xml"/>
  <Override PartName="/ppt/notesSlides/notesSlide82.xml" ContentType="application/vnd.openxmlformats-officedocument.presentationml.notesSlide+xml"/>
  <Override PartName="/ppt/tags/tag367.xml" ContentType="application/vnd.openxmlformats-officedocument.presentationml.tags+xml"/>
  <Override PartName="/ppt/notesSlides/notesSlide83.xml" ContentType="application/vnd.openxmlformats-officedocument.presentationml.notesSlide+xml"/>
  <Override PartName="/ppt/tags/tag368.xml" ContentType="application/vnd.openxmlformats-officedocument.presentationml.tags+xml"/>
  <Override PartName="/ppt/notesSlides/notesSlide84.xml" ContentType="application/vnd.openxmlformats-officedocument.presentationml.notesSlide+xml"/>
  <Override PartName="/ppt/tags/tag369.xml" ContentType="application/vnd.openxmlformats-officedocument.presentationml.tags+xml"/>
  <Override PartName="/ppt/notesSlides/notesSlide85.xml" ContentType="application/vnd.openxmlformats-officedocument.presentationml.notesSlide+xml"/>
  <Override PartName="/ppt/tags/tag370.xml" ContentType="application/vnd.openxmlformats-officedocument.presentationml.tags+xml"/>
  <Override PartName="/ppt/notesSlides/notesSlide86.xml" ContentType="application/vnd.openxmlformats-officedocument.presentationml.notesSlide+xml"/>
  <Override PartName="/ppt/tags/tag371.xml" ContentType="application/vnd.openxmlformats-officedocument.presentationml.tags+xml"/>
  <Override PartName="/ppt/notesSlides/notesSlide87.xml" ContentType="application/vnd.openxmlformats-officedocument.presentationml.notesSlide+xml"/>
  <Override PartName="/ppt/tags/tag372.xml" ContentType="application/vnd.openxmlformats-officedocument.presentationml.tags+xml"/>
  <Override PartName="/ppt/notesSlides/notesSlide88.xml" ContentType="application/vnd.openxmlformats-officedocument.presentationml.notesSlide+xml"/>
  <Override PartName="/ppt/tags/tag373.xml" ContentType="application/vnd.openxmlformats-officedocument.presentationml.tags+xml"/>
  <Override PartName="/ppt/notesSlides/notesSlide89.xml" ContentType="application/vnd.openxmlformats-officedocument.presentationml.notesSlide+xml"/>
  <Override PartName="/ppt/tags/tag374.xml" ContentType="application/vnd.openxmlformats-officedocument.presentationml.tags+xml"/>
  <Override PartName="/ppt/notesSlides/notesSlide90.xml" ContentType="application/vnd.openxmlformats-officedocument.presentationml.notesSlide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75.xml" ContentType="application/vnd.openxmlformats-officedocument.presentationml.tags+xml"/>
  <Override PartName="/ppt/notesSlides/notesSlide91.xml" ContentType="application/vnd.openxmlformats-officedocument.presentationml.notesSlide+xml"/>
  <Override PartName="/ppt/tags/tag376.xml" ContentType="application/vnd.openxmlformats-officedocument.presentationml.tags+xml"/>
  <Override PartName="/ppt/notesSlides/notesSlide92.xml" ContentType="application/vnd.openxmlformats-officedocument.presentationml.notesSlide+xml"/>
  <Override PartName="/ppt/tags/tag377.xml" ContentType="application/vnd.openxmlformats-officedocument.presentationml.tags+xml"/>
  <Override PartName="/ppt/notesSlides/notesSlide93.xml" ContentType="application/vnd.openxmlformats-officedocument.presentationml.notesSlide+xml"/>
  <Override PartName="/ppt/tags/tag378.xml" ContentType="application/vnd.openxmlformats-officedocument.presentationml.tags+xml"/>
  <Override PartName="/ppt/notesSlides/notesSlide94.xml" ContentType="application/vnd.openxmlformats-officedocument.presentationml.notesSlide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1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79.xml" ContentType="application/vnd.openxmlformats-officedocument.presentationml.tags+xml"/>
  <Override PartName="/ppt/notesSlides/notesSlide95.xml" ContentType="application/vnd.openxmlformats-officedocument.presentationml.notesSlide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80.xml" ContentType="application/vnd.openxmlformats-officedocument.presentationml.tags+xml"/>
  <Override PartName="/ppt/notesSlides/notesSlide96.xml" ContentType="application/vnd.openxmlformats-officedocument.presentationml.notesSlide+xml"/>
  <Override PartName="/ppt/charts/chart2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3.xml" ContentType="application/vnd.openxmlformats-officedocument.themeOverride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4.xml" ContentType="application/vnd.openxmlformats-officedocument.themeOverride+xml"/>
  <Override PartName="/ppt/tags/tag381.xml" ContentType="application/vnd.openxmlformats-officedocument.presentationml.tags+xml"/>
  <Override PartName="/ppt/notesSlides/notesSlide97.xml" ContentType="application/vnd.openxmlformats-officedocument.presentationml.notesSlide+xml"/>
  <Override PartName="/ppt/charts/chart2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9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3"/>
  </p:notesMasterIdLst>
  <p:handoutMasterIdLst>
    <p:handoutMasterId r:id="rId144"/>
  </p:handoutMasterIdLst>
  <p:sldIdLst>
    <p:sldId id="385" r:id="rId2"/>
    <p:sldId id="428" r:id="rId3"/>
    <p:sldId id="377" r:id="rId4"/>
    <p:sldId id="422" r:id="rId5"/>
    <p:sldId id="423" r:id="rId6"/>
    <p:sldId id="378" r:id="rId7"/>
    <p:sldId id="412" r:id="rId8"/>
    <p:sldId id="379" r:id="rId9"/>
    <p:sldId id="394" r:id="rId10"/>
    <p:sldId id="393" r:id="rId11"/>
    <p:sldId id="411" r:id="rId12"/>
    <p:sldId id="380" r:id="rId13"/>
    <p:sldId id="402" r:id="rId14"/>
    <p:sldId id="403" r:id="rId15"/>
    <p:sldId id="381" r:id="rId16"/>
    <p:sldId id="413" r:id="rId17"/>
    <p:sldId id="416" r:id="rId18"/>
    <p:sldId id="406" r:id="rId19"/>
    <p:sldId id="404" r:id="rId20"/>
    <p:sldId id="405" r:id="rId21"/>
    <p:sldId id="420" r:id="rId22"/>
    <p:sldId id="421" r:id="rId23"/>
    <p:sldId id="383" r:id="rId24"/>
    <p:sldId id="407" r:id="rId25"/>
    <p:sldId id="424" r:id="rId26"/>
    <p:sldId id="425" r:id="rId27"/>
    <p:sldId id="408" r:id="rId28"/>
    <p:sldId id="426" r:id="rId29"/>
    <p:sldId id="427" r:id="rId30"/>
    <p:sldId id="417" r:id="rId31"/>
    <p:sldId id="401" r:id="rId32"/>
    <p:sldId id="382" r:id="rId33"/>
    <p:sldId id="414" r:id="rId34"/>
    <p:sldId id="415" r:id="rId35"/>
    <p:sldId id="386" r:id="rId36"/>
    <p:sldId id="395" r:id="rId37"/>
    <p:sldId id="384" r:id="rId38"/>
    <p:sldId id="387" r:id="rId39"/>
    <p:sldId id="409" r:id="rId40"/>
    <p:sldId id="388" r:id="rId41"/>
    <p:sldId id="390" r:id="rId42"/>
    <p:sldId id="391" r:id="rId43"/>
    <p:sldId id="392" r:id="rId44"/>
    <p:sldId id="389" r:id="rId45"/>
    <p:sldId id="410" r:id="rId46"/>
    <p:sldId id="398" r:id="rId47"/>
    <p:sldId id="399" r:id="rId48"/>
    <p:sldId id="400" r:id="rId49"/>
    <p:sldId id="429" r:id="rId50"/>
    <p:sldId id="430" r:id="rId51"/>
    <p:sldId id="276" r:id="rId52"/>
    <p:sldId id="277" r:id="rId53"/>
    <p:sldId id="278" r:id="rId54"/>
    <p:sldId id="279" r:id="rId55"/>
    <p:sldId id="280" r:id="rId56"/>
    <p:sldId id="296" r:id="rId57"/>
    <p:sldId id="323" r:id="rId58"/>
    <p:sldId id="324" r:id="rId59"/>
    <p:sldId id="325" r:id="rId60"/>
    <p:sldId id="326" r:id="rId61"/>
    <p:sldId id="327" r:id="rId62"/>
    <p:sldId id="331" r:id="rId63"/>
    <p:sldId id="330" r:id="rId64"/>
    <p:sldId id="351" r:id="rId65"/>
    <p:sldId id="329" r:id="rId66"/>
    <p:sldId id="297" r:id="rId67"/>
    <p:sldId id="304" r:id="rId68"/>
    <p:sldId id="305" r:id="rId69"/>
    <p:sldId id="303" r:id="rId70"/>
    <p:sldId id="353" r:id="rId71"/>
    <p:sldId id="333" r:id="rId72"/>
    <p:sldId id="357" r:id="rId73"/>
    <p:sldId id="358" r:id="rId74"/>
    <p:sldId id="359" r:id="rId75"/>
    <p:sldId id="360" r:id="rId76"/>
    <p:sldId id="361" r:id="rId77"/>
    <p:sldId id="362" r:id="rId78"/>
    <p:sldId id="363" r:id="rId79"/>
    <p:sldId id="364" r:id="rId80"/>
    <p:sldId id="365" r:id="rId81"/>
    <p:sldId id="366" r:id="rId82"/>
    <p:sldId id="367" r:id="rId83"/>
    <p:sldId id="368" r:id="rId84"/>
    <p:sldId id="369" r:id="rId85"/>
    <p:sldId id="370" r:id="rId86"/>
    <p:sldId id="371" r:id="rId87"/>
    <p:sldId id="332" r:id="rId88"/>
    <p:sldId id="350" r:id="rId89"/>
    <p:sldId id="334" r:id="rId90"/>
    <p:sldId id="335" r:id="rId91"/>
    <p:sldId id="336" r:id="rId92"/>
    <p:sldId id="372" r:id="rId93"/>
    <p:sldId id="373" r:id="rId94"/>
    <p:sldId id="374" r:id="rId95"/>
    <p:sldId id="375" r:id="rId96"/>
    <p:sldId id="376" r:id="rId97"/>
    <p:sldId id="337" r:id="rId98"/>
    <p:sldId id="338" r:id="rId99"/>
    <p:sldId id="339" r:id="rId100"/>
    <p:sldId id="340" r:id="rId101"/>
    <p:sldId id="258" r:id="rId102"/>
    <p:sldId id="291" r:id="rId103"/>
    <p:sldId id="341" r:id="rId104"/>
    <p:sldId id="300" r:id="rId105"/>
    <p:sldId id="301" r:id="rId106"/>
    <p:sldId id="290" r:id="rId107"/>
    <p:sldId id="346" r:id="rId108"/>
    <p:sldId id="289" r:id="rId109"/>
    <p:sldId id="299" r:id="rId110"/>
    <p:sldId id="294" r:id="rId111"/>
    <p:sldId id="272" r:id="rId112"/>
    <p:sldId id="273" r:id="rId113"/>
    <p:sldId id="274" r:id="rId114"/>
    <p:sldId id="354" r:id="rId115"/>
    <p:sldId id="355" r:id="rId116"/>
    <p:sldId id="356" r:id="rId117"/>
    <p:sldId id="295" r:id="rId118"/>
    <p:sldId id="284" r:id="rId119"/>
    <p:sldId id="342" r:id="rId120"/>
    <p:sldId id="343" r:id="rId121"/>
    <p:sldId id="268" r:id="rId122"/>
    <p:sldId id="267" r:id="rId123"/>
    <p:sldId id="266" r:id="rId124"/>
    <p:sldId id="269" r:id="rId125"/>
    <p:sldId id="270" r:id="rId126"/>
    <p:sldId id="271" r:id="rId127"/>
    <p:sldId id="265" r:id="rId128"/>
    <p:sldId id="344" r:id="rId129"/>
    <p:sldId id="345" r:id="rId130"/>
    <p:sldId id="307" r:id="rId131"/>
    <p:sldId id="308" r:id="rId132"/>
    <p:sldId id="347" r:id="rId133"/>
    <p:sldId id="348" r:id="rId134"/>
    <p:sldId id="317" r:id="rId135"/>
    <p:sldId id="349" r:id="rId136"/>
    <p:sldId id="313" r:id="rId137"/>
    <p:sldId id="285" r:id="rId138"/>
    <p:sldId id="286" r:id="rId139"/>
    <p:sldId id="287" r:id="rId140"/>
    <p:sldId id="288" r:id="rId141"/>
    <p:sldId id="262" r:id="rId142"/>
  </p:sldIdLst>
  <p:sldSz cx="12192000" cy="6858000"/>
  <p:notesSz cx="6858000" cy="9144000"/>
  <p:custDataLst>
    <p:tags r:id="rId14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 und Grundlagen" id="{95C44410-8B42-403A-AB0D-217824EA1C76}">
          <p14:sldIdLst>
            <p14:sldId id="385"/>
            <p14:sldId id="428"/>
            <p14:sldId id="377"/>
            <p14:sldId id="422"/>
            <p14:sldId id="423"/>
            <p14:sldId id="378"/>
            <p14:sldId id="412"/>
            <p14:sldId id="379"/>
            <p14:sldId id="394"/>
            <p14:sldId id="393"/>
            <p14:sldId id="411"/>
            <p14:sldId id="380"/>
            <p14:sldId id="402"/>
            <p14:sldId id="403"/>
            <p14:sldId id="381"/>
            <p14:sldId id="413"/>
            <p14:sldId id="416"/>
            <p14:sldId id="406"/>
            <p14:sldId id="404"/>
            <p14:sldId id="405"/>
            <p14:sldId id="420"/>
            <p14:sldId id="421"/>
            <p14:sldId id="383"/>
            <p14:sldId id="407"/>
            <p14:sldId id="424"/>
            <p14:sldId id="425"/>
            <p14:sldId id="408"/>
            <p14:sldId id="426"/>
            <p14:sldId id="427"/>
            <p14:sldId id="417"/>
            <p14:sldId id="401"/>
            <p14:sldId id="382"/>
            <p14:sldId id="414"/>
            <p14:sldId id="415"/>
            <p14:sldId id="386"/>
            <p14:sldId id="395"/>
            <p14:sldId id="384"/>
            <p14:sldId id="387"/>
            <p14:sldId id="409"/>
            <p14:sldId id="388"/>
            <p14:sldId id="390"/>
            <p14:sldId id="391"/>
            <p14:sldId id="392"/>
            <p14:sldId id="389"/>
            <p14:sldId id="410"/>
            <p14:sldId id="398"/>
            <p14:sldId id="399"/>
            <p14:sldId id="400"/>
            <p14:sldId id="429"/>
            <p14:sldId id="430"/>
            <p14:sldId id="276"/>
            <p14:sldId id="277"/>
            <p14:sldId id="278"/>
            <p14:sldId id="279"/>
            <p14:sldId id="280"/>
          </p14:sldIdLst>
        </p14:section>
        <p14:section name="Formen, Icons und Symbole" id="{DDC99B94-A4AF-4E8B-B429-C98FB4C2F1C7}">
          <p14:sldIdLst>
            <p14:sldId id="296"/>
            <p14:sldId id="323"/>
            <p14:sldId id="324"/>
            <p14:sldId id="325"/>
            <p14:sldId id="326"/>
            <p14:sldId id="327"/>
            <p14:sldId id="331"/>
            <p14:sldId id="330"/>
          </p14:sldIdLst>
        </p14:section>
        <p14:section name="Logos" id="{443A5646-4198-429A-B3D1-965CB54F852A}">
          <p14:sldIdLst>
            <p14:sldId id="351"/>
            <p14:sldId id="329"/>
          </p14:sldIdLst>
        </p14:section>
        <p14:section name="Karten" id="{1D55F42D-216E-4FC3-9D64-53F66C30B633}">
          <p14:sldIdLst>
            <p14:sldId id="297"/>
            <p14:sldId id="304"/>
            <p14:sldId id="305"/>
            <p14:sldId id="303"/>
          </p14:sldIdLst>
        </p14:section>
        <p14:section name="Flaggen" id="{24EE7718-CE5E-4114-99BA-660DD0F64B13}">
          <p14:sldIdLst>
            <p14:sldId id="353"/>
          </p14:sldIdLst>
        </p14:section>
        <p14:section name="Titelfolien mit Bild | OBI" id="{FBF36204-FCDA-4CFC-AE59-6A3E2470C6BC}">
          <p14:sldIdLst>
            <p14:sldId id="333"/>
            <p14:sldId id="357"/>
            <p14:sldId id="358"/>
            <p14:sldId id="359"/>
            <p14:sldId id="360"/>
            <p14:sldId id="361"/>
            <p14:sldId id="362"/>
          </p14:sldIdLst>
        </p14:section>
        <p14:section name="Titelfolien mit Bild | DIY" id="{37B6AE50-10C8-43D4-8C06-F63EF33A63E9}">
          <p14:sldIdLst>
            <p14:sldId id="363"/>
            <p14:sldId id="364"/>
            <p14:sldId id="365"/>
            <p14:sldId id="366"/>
            <p14:sldId id="367"/>
            <p14:sldId id="368"/>
          </p14:sldIdLst>
        </p14:section>
        <p14:section name="Titelfolien mit Bild | Departments" id="{E7169686-26F6-4CB0-A3F4-FA8567373BFD}">
          <p14:sldIdLst>
            <p14:sldId id="369"/>
            <p14:sldId id="370"/>
            <p14:sldId id="371"/>
          </p14:sldIdLst>
        </p14:section>
        <p14:section name="Titelfolien ohne Bild" id="{A47BDC43-8DA5-4723-98A6-035CB2D9589F}">
          <p14:sldIdLst>
            <p14:sldId id="332"/>
            <p14:sldId id="350"/>
          </p14:sldIdLst>
        </p14:section>
        <p14:section name="Agenda" id="{6181AC3D-778B-45B1-891E-E57FABC51B41}">
          <p14:sldIdLst>
            <p14:sldId id="334"/>
            <p14:sldId id="335"/>
            <p14:sldId id="336"/>
            <p14:sldId id="372"/>
            <p14:sldId id="373"/>
            <p14:sldId id="374"/>
            <p14:sldId id="375"/>
            <p14:sldId id="376"/>
          </p14:sldIdLst>
        </p14:section>
        <p14:section name="Kapiteltrenner" id="{F8E818FA-A015-4C0B-BE20-17014E27B7E3}">
          <p14:sldIdLst>
            <p14:sldId id="337"/>
            <p14:sldId id="338"/>
          </p14:sldIdLst>
        </p14:section>
        <p14:section name="Keymessage" id="{ADC44A9D-6F37-4304-A9B6-60A1A8501E26}">
          <p14:sldIdLst>
            <p14:sldId id="339"/>
            <p14:sldId id="340"/>
          </p14:sldIdLst>
        </p14:section>
        <p14:section name="Tabellen" id="{7FC7EFA0-CFC0-4B66-9C3F-267EBD084BE4}">
          <p14:sldIdLst>
            <p14:sldId id="258"/>
            <p14:sldId id="291"/>
            <p14:sldId id="341"/>
          </p14:sldIdLst>
        </p14:section>
        <p14:section name="Prozesse" id="{0DCA7C3B-EE66-46D4-B9EB-353051CF8C23}">
          <p14:sldIdLst>
            <p14:sldId id="300"/>
            <p14:sldId id="301"/>
            <p14:sldId id="290"/>
            <p14:sldId id="346"/>
            <p14:sldId id="289"/>
            <p14:sldId id="299"/>
            <p14:sldId id="294"/>
          </p14:sldIdLst>
        </p14:section>
        <p14:section name="Diagramme und Organigramme" id="{AFFDC555-4B66-4608-A675-715B736DA452}">
          <p14:sldIdLst>
            <p14:sldId id="272"/>
            <p14:sldId id="273"/>
            <p14:sldId id="274"/>
            <p14:sldId id="354"/>
            <p14:sldId id="355"/>
            <p14:sldId id="356"/>
            <p14:sldId id="295"/>
          </p14:sldIdLst>
        </p14:section>
        <p14:section name="Ziele und Next Steps" id="{562E3846-725A-4E3D-B604-9E8B61E109FD}">
          <p14:sldIdLst>
            <p14:sldId id="284"/>
            <p14:sldId id="342"/>
            <p14:sldId id="343"/>
          </p14:sldIdLst>
        </p14:section>
        <p14:section name="Mehrspaltig und Matrix" id="{8D5F7B64-09F0-4CDE-8773-8EDDEBF4EEF1}">
          <p14:sldIdLst>
            <p14:sldId id="268"/>
            <p14:sldId id="267"/>
            <p14:sldId id="266"/>
            <p14:sldId id="269"/>
            <p14:sldId id="270"/>
            <p14:sldId id="271"/>
            <p14:sldId id="265"/>
          </p14:sldIdLst>
        </p14:section>
        <p14:section name="Folien mit Ergebnispfeil" id="{C18F3458-A3FF-4323-8893-9E3659EBA2FD}">
          <p14:sldIdLst>
            <p14:sldId id="344"/>
            <p14:sldId id="345"/>
          </p14:sldIdLst>
        </p14:section>
        <p14:section name="Mockups" id="{F10ADECF-84AD-4119-9FA9-F79877E0A7CF}">
          <p14:sldIdLst>
            <p14:sldId id="307"/>
            <p14:sldId id="308"/>
          </p14:sldIdLst>
        </p14:section>
        <p14:section name="Teamchart" id="{8BBEBDF6-BA4C-42A5-B871-341264DA5EDB}">
          <p14:sldIdLst>
            <p14:sldId id="347"/>
          </p14:sldIdLst>
        </p14:section>
        <p14:section name="Weitere Textlayouts" id="{B74891DF-B989-4F87-9239-BDC2F5A7170E}">
          <p14:sldIdLst>
            <p14:sldId id="348"/>
            <p14:sldId id="317"/>
            <p14:sldId id="349"/>
            <p14:sldId id="313"/>
          </p14:sldIdLst>
        </p14:section>
        <p14:section name="Beispielseiten" id="{E3472B0D-1C92-4A6C-87E8-0FC480183A41}">
          <p14:sldIdLst>
            <p14:sldId id="285"/>
            <p14:sldId id="286"/>
            <p14:sldId id="287"/>
            <p14:sldId id="288"/>
          </p14:sldIdLst>
        </p14:section>
        <p14:section name="Schlussslide" id="{36A1E859-5619-48D7-8B4C-AFAA4495EB80}">
          <p14:sldIdLst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46" autoAdjust="0"/>
    <p:restoredTop sz="94660"/>
  </p:normalViewPr>
  <p:slideViewPr>
    <p:cSldViewPr snapToGrid="0" showGuides="1">
      <p:cViewPr varScale="1">
        <p:scale>
          <a:sx n="137" d="100"/>
          <a:sy n="137" d="100"/>
        </p:scale>
        <p:origin x="1048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184"/>
    </p:cViewPr>
  </p:sorterViewPr>
  <p:notesViewPr>
    <p:cSldViewPr snapToGrid="0" showGuides="1">
      <p:cViewPr>
        <p:scale>
          <a:sx n="75" d="100"/>
          <a:sy n="75" d="100"/>
        </p:scale>
        <p:origin x="2964" y="2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tableStyles" Target="tableStyles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notesMaster" Target="notesMasters/notesMaster1.xml"/><Relationship Id="rId14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handoutMaster" Target="handoutMasters/handoutMaster1.xml"/><Relationship Id="rId90" Type="http://schemas.openxmlformats.org/officeDocument/2006/relationships/slide" Target="slides/slide8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-Arbeitsblatt12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-Arbeitsblatt13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6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1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-Arbeitsblatt20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-Arbeitsblatt21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2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74664279319606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231423455684870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31110116383169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3903312444046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FD-42B8-9268-1D7742B891E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3813786929274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38272157564906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176365264100268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255595344673231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EFD-42B8-9268-1D7742B891E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EFD-42B8-9268-1D7742B891E1}"/>
                </c:ext>
              </c:extLst>
            </c:dLbl>
            <c:dLbl>
              <c:idx val="1"/>
              <c:layout>
                <c:manualLayout>
                  <c:x val="0"/>
                  <c:y val="-0.19203222918531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EFD-42B8-9268-1D7742B891E1}"/>
                </c:ext>
              </c:extLst>
            </c:dLbl>
            <c:dLbl>
              <c:idx val="2"/>
              <c:layout>
                <c:manualLayout>
                  <c:x val="0"/>
                  <c:y val="-0.271709937332139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EFD-42B8-9268-1D7742B891E1}"/>
                </c:ext>
              </c:extLst>
            </c:dLbl>
            <c:dLbl>
              <c:idx val="3"/>
              <c:layout>
                <c:manualLayout>
                  <c:x val="0"/>
                  <c:y val="-0.430617726051924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EFD-42B8-9268-1D7742B891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EFD-42B8-9268-1D7742B89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4096231"/>
        <c:axId val="1"/>
      </c:barChart>
      <c:catAx>
        <c:axId val="174096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0962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DD-400C-ADAA-FBCFB948E21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DD-400C-ADAA-FBCFB948E21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8624-4D6D-9919-24653F1D92C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624-4D6D-9919-24653F1D92CD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8624-4D6D-9919-24653F1D92CD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8624-4D6D-9919-24653F1D92C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DD-400C-ADAA-FBCFB948E21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A8-46C4-8AA2-FB637082AE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A8-46C4-8AA2-FB637082AE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A8-46C4-8AA2-FB637082AEE1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1A8-46C4-8AA2-FB637082AEE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0.57399999999999995</c:v>
                </c:pt>
                <c:pt idx="1">
                  <c:v>0.23599999999999999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1A8-46C4-8AA2-FB637082AE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F7-405C-8149-C1B5C1D5BA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F7-405C-8149-C1B5C1D5BA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DB5-447C-9264-2F4ECB60A804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DB5-447C-9264-2F4ECB60A804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DB5-447C-9264-2F4ECB60A804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DB5-447C-9264-2F4ECB60A8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F7-405C-8149-C1B5C1D5BA0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391107712"/>
        <c:axId val="1583535968"/>
      </c:line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A3-4B4A-BAD5-DF131C073432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A3-4B4A-BAD5-DF131C073432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A3-4B4A-BAD5-DF131C073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602367"/>
        <c:axId val="30605975"/>
      </c:barChart>
      <c:catAx>
        <c:axId val="306023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5975"/>
        <c:crosses val="autoZero"/>
        <c:auto val="1"/>
        <c:lblAlgn val="ctr"/>
        <c:lblOffset val="100"/>
        <c:noMultiLvlLbl val="0"/>
      </c:catAx>
      <c:valAx>
        <c:axId val="306059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30602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8215652466462E-2"/>
          <c:y val="9.2187611357619298E-2"/>
          <c:w val="0.96004878253921533"/>
          <c:h val="0.707319181622132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A06-4299-A17A-428BA42DA164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A06-4299-A17A-428BA42DA164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A06-4299-A17A-428BA42DA164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A06-4299-A17A-428BA42DA164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A06-4299-A17A-428BA42DA164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CA06-4299-A17A-428BA42DA164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A06-4299-A17A-428BA42DA164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CA06-4299-A17A-428BA42DA164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A06-4299-A17A-428BA42DA164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A06-4299-A17A-428BA42DA16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A06-4299-A17A-428BA42DA164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A06-4299-A17A-428BA42DA16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A06-4299-A17A-428BA42DA164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A06-4299-A17A-428BA42DA16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A06-4299-A17A-428BA42DA164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A06-4299-A17A-428BA42DA16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A06-4299-A17A-428BA42DA164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CA06-4299-A17A-428BA42DA164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CA06-4299-A17A-428BA42DA164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CA06-4299-A17A-428BA42DA1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3 – 6</c:v>
                </c:pt>
                <c:pt idx="1">
                  <c:v>7 – 10</c:v>
                </c:pt>
                <c:pt idx="2">
                  <c:v>10 – 15</c:v>
                </c:pt>
                <c:pt idx="3">
                  <c:v>16 – 20</c:v>
                </c:pt>
                <c:pt idx="4">
                  <c:v>21 – 30</c:v>
                </c:pt>
                <c:pt idx="5">
                  <c:v>31 – 40</c:v>
                </c:pt>
                <c:pt idx="6">
                  <c:v>41 – 50</c:v>
                </c:pt>
                <c:pt idx="7">
                  <c:v>51 – 70</c:v>
                </c:pt>
                <c:pt idx="8">
                  <c:v>81 – 100</c:v>
                </c:pt>
                <c:pt idx="9">
                  <c:v>101 – 206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7</c:v>
                </c:pt>
                <c:pt idx="1">
                  <c:v>82</c:v>
                </c:pt>
                <c:pt idx="2">
                  <c:v>67</c:v>
                </c:pt>
                <c:pt idx="3">
                  <c:v>28</c:v>
                </c:pt>
                <c:pt idx="4">
                  <c:v>51</c:v>
                </c:pt>
                <c:pt idx="5">
                  <c:v>42</c:v>
                </c:pt>
                <c:pt idx="6">
                  <c:v>25</c:v>
                </c:pt>
                <c:pt idx="7">
                  <c:v>23</c:v>
                </c:pt>
                <c:pt idx="8">
                  <c:v>12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A06-4299-A17A-428BA42DA16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156224"/>
        <c:axId val="511160704"/>
      </c:barChart>
      <c:catAx>
        <c:axId val="511156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160704"/>
        <c:crosses val="autoZero"/>
        <c:auto val="1"/>
        <c:lblAlgn val="ctr"/>
        <c:lblOffset val="100"/>
        <c:noMultiLvlLbl val="0"/>
      </c:catAx>
      <c:valAx>
        <c:axId val="511160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156224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t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ED-48AE-ABF2-667832694A25}"/>
              </c:ext>
            </c:extLst>
          </c:dPt>
          <c:dPt>
            <c:idx val="1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ED-48AE-ABF2-667832694A25}"/>
              </c:ext>
            </c:extLst>
          </c:dPt>
          <c:dPt>
            <c:idx val="2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ED-48AE-ABF2-667832694A25}"/>
              </c:ext>
            </c:extLst>
          </c:dPt>
          <c:dPt>
            <c:idx val="3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2ED-48AE-ABF2-667832694A25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ED-48AE-ABF2-667832694A25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2ED-48AE-ABF2-667832694A25}"/>
              </c:ext>
            </c:extLst>
          </c:dPt>
          <c:dPt>
            <c:idx val="6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2ED-48AE-ABF2-667832694A25}"/>
              </c:ext>
            </c:extLst>
          </c:dPt>
          <c:dPt>
            <c:idx val="7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2ED-48AE-ABF2-667832694A25}"/>
              </c:ext>
            </c:extLst>
          </c:dPt>
          <c:dPt>
            <c:idx val="8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2ED-48AE-ABF2-667832694A25}"/>
              </c:ext>
            </c:extLst>
          </c:dPt>
          <c:dPt>
            <c:idx val="9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D2ED-48AE-ABF2-667832694A25}"/>
              </c:ext>
            </c:extLst>
          </c:dPt>
          <c:dPt>
            <c:idx val="1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D2ED-48AE-ABF2-667832694A25}"/>
              </c:ext>
            </c:extLst>
          </c:dPt>
          <c:dPt>
            <c:idx val="1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D2ED-48AE-ABF2-667832694A2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2ED-48AE-ABF2-667832694A2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2ED-48AE-ABF2-667832694A2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2ED-48AE-ABF2-667832694A2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2ED-48AE-ABF2-667832694A25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2ED-48AE-ABF2-667832694A25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2ED-48AE-ABF2-667832694A25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2ED-48AE-ABF2-667832694A25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2ED-48AE-ABF2-667832694A25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2ED-48AE-ABF2-667832694A25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D2ED-48AE-ABF2-667832694A25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D2ED-48AE-ABF2-667832694A25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0-D2ED-48AE-ABF2-667832694A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Obi Sans ML 20 PP Bold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4</c:v>
                </c:pt>
                <c:pt idx="1">
                  <c:v>6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4</c:v>
                </c:pt>
                <c:pt idx="6">
                  <c:v>16</c:v>
                </c:pt>
                <c:pt idx="7">
                  <c:v>18</c:v>
                </c:pt>
                <c:pt idx="8">
                  <c:v>20</c:v>
                </c:pt>
                <c:pt idx="9">
                  <c:v>22</c:v>
                </c:pt>
                <c:pt idx="10">
                  <c:v>24</c:v>
                </c:pt>
                <c:pt idx="11">
                  <c:v>20 – 7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72</c:v>
                </c:pt>
                <c:pt idx="1">
                  <c:v>80</c:v>
                </c:pt>
                <c:pt idx="2">
                  <c:v>49</c:v>
                </c:pt>
                <c:pt idx="3">
                  <c:v>23</c:v>
                </c:pt>
                <c:pt idx="4">
                  <c:v>42</c:v>
                </c:pt>
                <c:pt idx="5">
                  <c:v>12</c:v>
                </c:pt>
                <c:pt idx="6">
                  <c:v>26</c:v>
                </c:pt>
                <c:pt idx="7">
                  <c:v>11</c:v>
                </c:pt>
                <c:pt idx="8">
                  <c:v>7</c:v>
                </c:pt>
                <c:pt idx="9">
                  <c:v>6</c:v>
                </c:pt>
                <c:pt idx="10">
                  <c:v>9</c:v>
                </c:pt>
                <c:pt idx="1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ED-48AE-ABF2-667832694A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1477248"/>
        <c:axId val="511489920"/>
      </c:barChart>
      <c:catAx>
        <c:axId val="51147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D9DAD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489920"/>
        <c:crosses val="autoZero"/>
        <c:auto val="1"/>
        <c:lblAlgn val="ctr"/>
        <c:lblOffset val="100"/>
        <c:noMultiLvlLbl val="0"/>
      </c:catAx>
      <c:valAx>
        <c:axId val="511489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477248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396221562045871E-2"/>
          <c:y val="0"/>
          <c:w val="0.87479124525306862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99-4535-9C29-EC8406D93D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99-4535-9C29-EC8406D93D0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99-4535-9C29-EC8406D93D0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99-4535-9C29-EC8406D93D0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99-4535-9C29-EC8406D93D0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99-4535-9C29-EC8406D93D0A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06A-4421-8DE6-53E9B35B5B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Raster updates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B99-4535-9C29-EC8406D93D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95"/>
        <c:overlap val="100"/>
        <c:axId val="511253888"/>
        <c:axId val="511280256"/>
      </c:barChart>
      <c:catAx>
        <c:axId val="51125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1280256"/>
        <c:crosses val="autoZero"/>
        <c:auto val="1"/>
        <c:lblAlgn val="ctr"/>
        <c:lblOffset val="100"/>
        <c:noMultiLvlLbl val="0"/>
      </c:catAx>
      <c:valAx>
        <c:axId val="5112802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125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Obi Sans ML 20 PP Regular" panose="02000800040000020004" pitchFamily="50" charset="0"/>
        </a:defRPr>
      </a:pPr>
      <a:endParaRPr lang="de-DE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274841050493353"/>
          <c:y val="0"/>
          <c:w val="0.66479633711603303"/>
          <c:h val="0.925631676978740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AF0-414A-8BBA-3002F67934F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F0-414A-8BBA-3002F67934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F0-414A-8BBA-3002F67934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F0-414A-8BBA-3002F67934F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883F-4E38-94D0-88CEF431E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F0-414A-8BBA-3002F67934F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1.33537951328045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F0-414A-8BBA-3002F67934F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rgbClr val="D9DADA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622498647917793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AF0-414A-8BBA-3002F67934F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723904813412655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AF0-414A-8BBA-3002F67934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F0-414A-8BBA-3002F67934F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0939520"/>
        <c:axId val="510941056"/>
      </c:barChart>
      <c:catAx>
        <c:axId val="5109395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0941056"/>
        <c:crosses val="autoZero"/>
        <c:auto val="1"/>
        <c:lblAlgn val="ctr"/>
        <c:lblOffset val="100"/>
        <c:noMultiLvlLbl val="0"/>
      </c:catAx>
      <c:valAx>
        <c:axId val="5109410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0939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6929844759261728"/>
          <c:w val="0.96256810080341071"/>
          <c:h val="0.75941127282862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2E-4188-AE04-A0B631DE82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2E-4188-AE04-A0B631DE82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2E-4188-AE04-A0B631DE82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503-4197-B321-BB04FF7E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22E-4188-AE04-A0B631DE82A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77"/>
                  <c:y val="1.335379513280454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2E-4188-AE04-A0B631DE82A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636011343535545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22E-4188-AE04-A0B631DE82A2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587196318655258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2E-4188-AE04-A0B631DE82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2E-4188-AE04-A0B631DE82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20064"/>
        <c:axId val="511321600"/>
      </c:barChart>
      <c:catAx>
        <c:axId val="5113200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321600"/>
        <c:crosses val="autoZero"/>
        <c:auto val="1"/>
        <c:lblAlgn val="ctr"/>
        <c:lblOffset val="100"/>
        <c:noMultiLvlLbl val="0"/>
      </c:catAx>
      <c:valAx>
        <c:axId val="511321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20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18468921555558249"/>
          <c:w val="0.96256810080341071"/>
          <c:h val="0.7440205048656641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6-4CB6-A2C8-9654BA7DD4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66-4CB6-A2C8-9654BA7DD4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66-4CB6-A2C8-9654BA7DD46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767-443B-8F28-3E7D6106D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66-4CB6-A2C8-9654BA7DD46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66-4CB6-A2C8-9654BA7DD46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5871963186552577"/>
                  <c:y val="-6.676897566402333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066-4CB6-A2C8-9654BA7DD46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66-4CB6-A2C8-9654BA7DD4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066-4CB6-A2C8-9654BA7DD46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388672"/>
        <c:axId val="511406848"/>
      </c:barChart>
      <c:catAx>
        <c:axId val="511388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406848"/>
        <c:crosses val="autoZero"/>
        <c:auto val="1"/>
        <c:lblAlgn val="ctr"/>
        <c:lblOffset val="100"/>
        <c:noMultiLvlLbl val="0"/>
      </c:catAx>
      <c:valAx>
        <c:axId val="5114068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38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024653312788906E-2"/>
          <c:y val="2.3276633840644583E-2"/>
          <c:w val="0.96795069337442219"/>
          <c:h val="0.95344673231871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BC-4E00-B3A8-7A02E362A4E0}"/>
                </c:ext>
              </c:extLst>
            </c:dLbl>
            <c:dLbl>
              <c:idx val="3"/>
              <c:layout>
                <c:manualLayout>
                  <c:x val="0"/>
                  <c:y val="-4.47627573858549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BC-4E00-B3A8-7A02E362A4E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000000000000004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9BC-4E00-B3A8-7A02E362A4E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9BC-4E00-B3A8-7A02E362A4E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BC-4E00-B3A8-7A02E362A4E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9BC-4E00-B3A8-7A02E362A4E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9BC-4E00-B3A8-7A02E362A4E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.2999999999999989</c:v>
                </c:pt>
                <c:pt idx="1">
                  <c:v>2.5</c:v>
                </c:pt>
                <c:pt idx="2">
                  <c:v>3.5000000000000009</c:v>
                </c:pt>
                <c:pt idx="3">
                  <c:v>4.5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BC-4E00-B3A8-7A02E362A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4186431"/>
        <c:axId val="1"/>
      </c:barChart>
      <c:catAx>
        <c:axId val="174186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186431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1704982003708326"/>
          <c:w val="0.96256810080341071"/>
          <c:h val="0.61165990038416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FA-47BB-8EAB-8A91BC9207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FA-47BB-8EAB-8A91BC9207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FA-47BB-8EAB-8A91BC92071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863-447F-BFCA-9F6270ED35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FA-47BB-8EAB-8A91BC92071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1.00153463496034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FA-47BB-8EAB-8A91BC92071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440751244014393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9FA-47BB-8EAB-8A91BC92071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4407512440143939"/>
                  <c:y val="-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9FA-47BB-8EAB-8A91BC92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FA-47BB-8EAB-8A91BC92071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838464"/>
        <c:axId val="511860736"/>
      </c:barChart>
      <c:catAx>
        <c:axId val="5118384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860736"/>
        <c:crosses val="autoZero"/>
        <c:auto val="1"/>
        <c:lblAlgn val="ctr"/>
        <c:lblOffset val="100"/>
        <c:noMultiLvlLbl val="0"/>
      </c:catAx>
      <c:valAx>
        <c:axId val="5118607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83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31899196589249E-2"/>
          <c:y val="0.32628428081486238"/>
          <c:w val="0.96256810080341071"/>
          <c:h val="0.602425439606384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:1 exchan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96-4B96-AF4B-334B35C790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:n exch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96-4B96-AF4B-334B35C790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:m exchan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96-4B96-AF4B-334B35C790B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 eliminated artic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BE8-4BB4-B9D2-88C0520E2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96-4B96-AF4B-334B35C790B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 additional articl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65"/>
                  <c:y val="6.676897566402271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96-4B96-AF4B-334B35C790B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 eliminated artic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3431211942538172"/>
                  <c:y val="-6.1204187322692787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196-4B96-AF4B-334B35C790B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 additional articl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2391936219134105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196-4B96-AF4B-334B35C79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96-4B96-AF4B-334B35C790B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7"/>
        <c:overlap val="100"/>
        <c:axId val="511981056"/>
        <c:axId val="511982592"/>
      </c:barChart>
      <c:catAx>
        <c:axId val="5119810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1982592"/>
        <c:crosses val="autoZero"/>
        <c:auto val="1"/>
        <c:lblAlgn val="ctr"/>
        <c:lblOffset val="100"/>
        <c:noMultiLvlLbl val="0"/>
      </c:catAx>
      <c:valAx>
        <c:axId val="5119825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1981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de-DE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3F48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FAC-4A5B-842D-4798B017DDC6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FAC-4A5B-842D-4798B017DDC6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FAC-4A5B-842D-4798B017DDC6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FAC-4A5B-842D-4798B017DDC6}"/>
              </c:ext>
            </c:extLst>
          </c:dPt>
          <c:dPt>
            <c:idx val="4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FAC-4A5B-842D-4798B017DDC6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AC-4A5B-842D-4798B017DDC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FAC-4A5B-842D-4798B017DDC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FAC-4A5B-842D-4798B017DDC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FAC-4A5B-842D-4798B017DDC6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FAC-4A5B-842D-4798B017DDC6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FAC-4A5B-842D-4798B017DDC6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FAC-4A5B-842D-4798B017DD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1.6</c:v>
                </c:pt>
                <c:pt idx="1">
                  <c:v>-2.7</c:v>
                </c:pt>
                <c:pt idx="2">
                  <c:v>-0.4</c:v>
                </c:pt>
                <c:pt idx="3">
                  <c:v>-4</c:v>
                </c:pt>
                <c:pt idx="4">
                  <c:v>7.2</c:v>
                </c:pt>
                <c:pt idx="5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AC-4A5B-842D-4798B017DD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47712"/>
        <c:axId val="512959616"/>
      </c:barChart>
      <c:catAx>
        <c:axId val="51294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2959616"/>
        <c:crosses val="autoZero"/>
        <c:auto val="1"/>
        <c:lblAlgn val="ctr"/>
        <c:lblOffset val="100"/>
        <c:noMultiLvlLbl val="0"/>
      </c:catAx>
      <c:valAx>
        <c:axId val="512959616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4771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E4A-4593-ACDC-B57EBC2725FA}"/>
              </c:ext>
            </c:extLst>
          </c:dPt>
          <c:dPt>
            <c:idx val="1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4A-4593-ACDC-B57EBC2725FA}"/>
              </c:ext>
            </c:extLst>
          </c:dPt>
          <c:dPt>
            <c:idx val="2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E4A-4593-ACDC-B57EBC2725FA}"/>
              </c:ext>
            </c:extLst>
          </c:dPt>
          <c:dPt>
            <c:idx val="3"/>
            <c:invertIfNegative val="0"/>
            <c:bubble3D val="0"/>
            <c:spPr>
              <a:solidFill>
                <a:srgbClr val="FF7E2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4A-4593-ACDC-B57EBC2725FA}"/>
              </c:ext>
            </c:extLst>
          </c:dPt>
          <c:dPt>
            <c:idx val="4"/>
            <c:invertIfNegative val="0"/>
            <c:bubble3D val="0"/>
            <c:spPr>
              <a:solidFill>
                <a:srgbClr val="FF7E3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4A-4593-ACDC-B57EBC2725FA}"/>
              </c:ext>
            </c:extLst>
          </c:dPt>
          <c:dPt>
            <c:idx val="5"/>
            <c:invertIfNegative val="0"/>
            <c:bubble3D val="0"/>
            <c:spPr>
              <a:solidFill>
                <a:srgbClr val="D9DA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4A-4593-ACDC-B57EBC2725FA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E955484B-D463-492A-AC7F-A8BE6190E5B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E4A-4593-ACDC-B57EBC2725F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AA5EA1A2-761D-4F50-ABD8-24A8AB969814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E4A-4593-ACDC-B57EBC2725F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3C30D577-DC58-472E-9FFC-9A3DFFB0DD5D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E4A-4593-ACDC-B57EBC2725FA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024FF6AC-8DA9-4A5E-886D-932A94BE9C18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E4A-4593-ACDC-B57EBC2725FA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279B5A7D-FBEE-46F9-8ACC-7E77F8AEE60E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E4A-4593-ACDC-B57EBC2725FA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 smtClean="0">
                        <a:solidFill>
                          <a:schemeClr val="tx1"/>
                        </a:solidFill>
                        <a:latin typeface="Obi Sans ML 20 Regular"/>
                        <a:ea typeface="Obi Sans ML 20 Regular"/>
                        <a:cs typeface="Obi Sans ML 20 Regular"/>
                      </a:defRPr>
                    </a:pPr>
                    <a:fld id="{681DCA38-690C-425A-B4F8-D29EF17C8A8F}" type="VALUE">
                      <a:rPr lang="en-US"/>
                      <a:pPr>
                        <a:defRPr sz="1400" b="0" i="0" u="none" strike="noStrike" kern="1200" baseline="0" smtClean="0">
                          <a:solidFill>
                            <a:schemeClr val="tx1"/>
                          </a:solidFill>
                          <a:latin typeface="Obi Sans ML 20 Regular"/>
                          <a:ea typeface="Obi Sans ML 20 Regular"/>
                          <a:cs typeface="Obi Sans ML 20 Regular"/>
                        </a:defRPr>
                      </a:pPr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 smtClean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E4A-4593-ACDC-B57EBC2725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Obi Sans ML 20 PP Regular" panose="02000800040000020004" pitchFamily="50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000</c:formatCode>
                <c:ptCount val="6"/>
                <c:pt idx="0">
                  <c:v>2</c:v>
                </c:pt>
                <c:pt idx="1">
                  <c:v>2.2000000000000002</c:v>
                </c:pt>
                <c:pt idx="2">
                  <c:v>4.4000000000000004</c:v>
                </c:pt>
                <c:pt idx="3">
                  <c:v>3.3</c:v>
                </c:pt>
                <c:pt idx="4">
                  <c:v>5.8</c:v>
                </c:pt>
                <c:pt idx="5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4A-4593-ACDC-B57EBC2725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512997632"/>
        <c:axId val="513005440"/>
      </c:barChart>
      <c:catAx>
        <c:axId val="51299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Obi Sans ML 20 PP Regular" panose="02000800040000020004" pitchFamily="50" charset="0"/>
                <a:ea typeface="+mn-ea"/>
                <a:cs typeface="+mn-cs"/>
              </a:defRPr>
            </a:pPr>
            <a:endParaRPr lang="de-DE"/>
          </a:p>
        </c:txPr>
        <c:crossAx val="513005440"/>
        <c:crosses val="autoZero"/>
        <c:auto val="1"/>
        <c:lblAlgn val="ctr"/>
        <c:lblOffset val="100"/>
        <c:noMultiLvlLbl val="0"/>
      </c:catAx>
      <c:valAx>
        <c:axId val="513005440"/>
        <c:scaling>
          <c:orientation val="minMax"/>
        </c:scaling>
        <c:delete val="1"/>
        <c:axPos val="l"/>
        <c:numFmt formatCode="#,000" sourceLinked="1"/>
        <c:majorTickMark val="none"/>
        <c:minorTickMark val="none"/>
        <c:tickLblPos val="nextTo"/>
        <c:crossAx val="512997632"/>
        <c:crosses val="autoZero"/>
        <c:crossBetween val="between"/>
      </c:valAx>
      <c:spPr>
        <a:noFill/>
        <a:ln w="3175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Obi Sans ML 20 PP Regular" panose="02000800040000020004" pitchFamily="50" charset="0"/>
        </a:defRPr>
      </a:pPr>
      <a:endParaRPr lang="de-DE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7D88-4FE3-BADA-57E4CFE879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4624512"/>
        <c:axId val="514626304"/>
      </c:barChart>
      <c:catAx>
        <c:axId val="51462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6304"/>
        <c:crosses val="autoZero"/>
        <c:auto val="1"/>
        <c:lblAlgn val="ctr"/>
        <c:lblOffset val="100"/>
        <c:noMultiLvlLbl val="0"/>
      </c:catAx>
      <c:valAx>
        <c:axId val="514626304"/>
        <c:scaling>
          <c:orientation val="minMax"/>
          <c:max val="15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514624512"/>
        <c:crosses val="autoZero"/>
        <c:crossBetween val="midCat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99547511312219E-2"/>
          <c:y val="2.3508137432188065E-2"/>
          <c:w val="0.96380090497737558"/>
          <c:h val="0.952983725135623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64079359554472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C1-4FC1-9729-27DB725E91BB}"/>
                </c:ext>
              </c:extLst>
            </c:dLbl>
            <c:dLbl>
              <c:idx val="1"/>
              <c:layout>
                <c:manualLayout>
                  <c:x val="0.2192829794639749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C1-4FC1-9729-27DB725E91BB}"/>
                </c:ext>
              </c:extLst>
            </c:dLbl>
            <c:dLbl>
              <c:idx val="2"/>
              <c:layout>
                <c:manualLayout>
                  <c:x val="0.2996867386007657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C1-4FC1-9729-27DB725E91BB}"/>
                </c:ext>
              </c:extLst>
            </c:dLbl>
            <c:dLbl>
              <c:idx val="3"/>
              <c:layout>
                <c:manualLayout>
                  <c:x val="0.380438565958927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C1-4FC1-9729-27DB725E91B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12774103724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C1-4FC1-9729-27DB725E91BB}"/>
                </c:ext>
              </c:extLst>
            </c:dLbl>
            <c:dLbl>
              <c:idx val="1"/>
              <c:layout>
                <c:manualLayout>
                  <c:x val="0.37243299686738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C1-4FC1-9729-27DB725E91BB}"/>
                </c:ext>
              </c:extLst>
            </c:dLbl>
            <c:dLbl>
              <c:idx val="2"/>
              <c:layout>
                <c:manualLayout>
                  <c:x val="0.1632439958231813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C1-4FC1-9729-27DB725E91BB}"/>
                </c:ext>
              </c:extLst>
            </c:dLbl>
            <c:dLbl>
              <c:idx val="3"/>
              <c:layout>
                <c:manualLayout>
                  <c:x val="0.243299686738600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EC1-4FC1-9729-27DB725E91B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C1-4FC1-9729-27DB725E91BB}"/>
                </c:ext>
              </c:extLst>
            </c:dLbl>
            <c:dLbl>
              <c:idx val="1"/>
              <c:layout>
                <c:manualLayout>
                  <c:x val="0.178907065784893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C1-4FC1-9729-27DB725E91BB}"/>
                </c:ext>
              </c:extLst>
            </c:dLbl>
            <c:dLbl>
              <c:idx val="2"/>
              <c:layout>
                <c:manualLayout>
                  <c:x val="0.259658893143056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EC1-4FC1-9729-27DB725E91BB}"/>
                </c:ext>
              </c:extLst>
            </c:dLbl>
            <c:dLbl>
              <c:idx val="3"/>
              <c:layout>
                <c:manualLayout>
                  <c:x val="0.420466411416637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EC1-4FC1-9729-27DB725E91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EC1-4FC1-9729-27DB725E91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4250391"/>
        <c:axId val="1"/>
      </c:barChart>
      <c:catAx>
        <c:axId val="1742503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250391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11309949892626E-2"/>
          <c:y val="2.3508137432188065E-2"/>
          <c:w val="0.96277738010021474"/>
          <c:h val="0.952983725135623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F5-47D6-B48C-8676F0CFD5A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F5-47D6-B48C-8676F0CFD5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3999999999999995</c:v>
                </c:pt>
                <c:pt idx="1">
                  <c:v>4.4000000000000004</c:v>
                </c:pt>
                <c:pt idx="2">
                  <c:v>1.799999999999999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0F5-47D6-B48C-8676F0CFD5A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5-47D6-B48C-8676F0CFD5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0F5-47D6-B48C-8676F0CFD5A3}"/>
                </c:ext>
              </c:extLst>
            </c:dLbl>
            <c:dLbl>
              <c:idx val="2"/>
              <c:layout>
                <c:manualLayout>
                  <c:x val="-3.5790980672870435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5-47D6-B48C-8676F0CFD5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5-47D6-B48C-8676F0CFD5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.0000000000000009</c:v>
                </c:pt>
                <c:pt idx="3">
                  <c:v>5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0F5-47D6-B48C-8676F0CFD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4325175"/>
        <c:axId val="1"/>
      </c:barChart>
      <c:catAx>
        <c:axId val="174325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4325175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A4D-4CE5-8EDF-11E4854C47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4D-4CE5-8EDF-11E4854C47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A4D-4CE5-8EDF-11E4854C47C0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4D-4CE5-8EDF-11E4854C47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0921097189299E-2"/>
          <c:y val="2.3853211009174313E-2"/>
          <c:w val="0.96478157805621401"/>
          <c:h val="0.95229357798165137"/>
        </c:manualLayout>
      </c:layout>
      <c:lineChart>
        <c:grouping val="standard"/>
        <c:varyColors val="0"/>
        <c:ser>
          <c:idx val="0"/>
          <c:order val="0"/>
          <c:spPr>
            <a:ln w="28575" cap="flat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852-46F1-A86A-633867DE313A}"/>
            </c:ext>
          </c:extLst>
        </c:ser>
        <c:ser>
          <c:idx val="1"/>
          <c:order val="1"/>
          <c:spPr>
            <a:ln w="28575" cap="flat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852-46F1-A86A-633867DE313A}"/>
            </c:ext>
          </c:extLst>
        </c:ser>
        <c:ser>
          <c:idx val="2"/>
          <c:order val="2"/>
          <c:spPr>
            <a:ln w="28575" cap="flat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031832035218422E-2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852-46F1-A86A-633867DE313A}"/>
                </c:ext>
              </c:extLst>
            </c:dLbl>
            <c:dLbl>
              <c:idx val="1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52-46F1-A86A-633867DE313A}"/>
                </c:ext>
              </c:extLst>
            </c:dLbl>
            <c:dLbl>
              <c:idx val="2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52-46F1-A86A-633867DE313A}"/>
                </c:ext>
              </c:extLst>
            </c:dLbl>
            <c:dLbl>
              <c:idx val="3"/>
              <c:layout>
                <c:manualLayout>
                  <c:x val="0"/>
                  <c:y val="-4.26605504587155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852-46F1-A86A-633867DE31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852-46F1-A86A-633867DE3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015735"/>
        <c:axId val="1"/>
      </c:lineChart>
      <c:catAx>
        <c:axId val="178015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ap="flat" algn="ctr">
            <a:solidFill>
              <a:schemeClr val="bg1"/>
            </a:solidFill>
            <a:prstDash val="solid"/>
          </a:ln>
        </c:spPr>
        <c:crossAx val="178015735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1D-4A36-987D-98128BE0F4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1D-4A36-987D-98128BE0F4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73B1-4766-BAC9-07C28B673BB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73B1-4766-BAC9-07C28B673BB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73B1-4766-BAC9-07C28B673BBE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73B1-4766-BAC9-07C28B673BB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1D-4A36-987D-98128BE0F4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AE-43F3-9DF8-2CC94804736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E-43F3-9DF8-2CC94804736C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E338-44C2-A475-6C8C422A3DE8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E338-44C2-A475-6C8C422A3DE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338-44C2-A475-6C8C422A3DE8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Obi Sans ML 20 Regular"/>
                      <a:ea typeface="Obi Sans ML 20 Regular"/>
                      <a:cs typeface="Obi Sans ML 20 Regular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E338-44C2-A475-6C8C422A3DE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AE-43F3-9DF8-2CC94804736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39"/>
        <c:overlap val="100"/>
        <c:axId val="1391107712"/>
        <c:axId val="1583535968"/>
      </c:barChart>
      <c:catAx>
        <c:axId val="139110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C-4A36-9721-C5E33E34F1F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C-4A36-9721-C5E33E34F1F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4BFD-4ED3-8C1A-59C49B7D9F06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4BFD-4ED3-8C1A-59C49B7D9F06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4BFD-4ED3-8C1A-59C49B7D9F06}"/>
                </c:ext>
              </c:extLst>
            </c:dLbl>
            <c:dLbl>
              <c:idx val="3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Obi Sans ML 20 Bold"/>
                      <a:ea typeface="Obi Sans ML 20 Bold"/>
                      <a:cs typeface="Obi Sans ML 20 Bold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4BFD-4ED3-8C1A-59C49B7D9F0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BC-4A36-9721-C5E33E34F1F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9"/>
        <c:axId val="1391107712"/>
        <c:axId val="1583535968"/>
      </c:barChart>
      <c:catAx>
        <c:axId val="1391107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583535968"/>
        <c:crosses val="autoZero"/>
        <c:auto val="1"/>
        <c:lblAlgn val="ctr"/>
        <c:lblOffset val="100"/>
        <c:noMultiLvlLbl val="0"/>
      </c:catAx>
      <c:valAx>
        <c:axId val="15835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Obi Sans ML 20 Regular"/>
                <a:ea typeface="Obi Sans ML 20 Regular"/>
                <a:cs typeface="Obi Sans ML 20 Regular"/>
              </a:defRPr>
            </a:pPr>
            <a:endParaRPr lang="de-DE"/>
          </a:p>
        </c:txPr>
        <c:crossAx val="1391107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Obi Sans ML 20 Regular"/>
              <a:ea typeface="Obi Sans ML 20 Regular"/>
              <a:cs typeface="Obi Sans ML 20 Regular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AB4CC77-1172-4245-B688-46ACC5867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DAED3E-3C91-4F91-AD11-D06B39C57A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9FE11-3220-458D-A9D9-E7D8AC5A99F2}" type="datetimeFigureOut">
              <a:rPr lang="en-US" smtClean="0"/>
              <a:t>4/28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0E2377-E2E8-45C9-91C9-3A847F0D33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23ABA9-E8D4-432B-A37A-E391F4756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19B06-7023-4DAA-8F40-2F60920D09C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03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971.75732" units="1/in"/>
          <inkml:channelProperty channel="Y" name="resolution" value="5295.24854" units="1/in"/>
          <inkml:channelProperty channel="F" name="resolution" value="0" units="1/dev"/>
        </inkml:channelProperties>
      </inkml:inkSource>
      <inkml:timestamp xml:id="ts0" timeString="2021-07-13T11:20:46.596"/>
    </inkml:context>
    <inkml:brush xml:id="br0">
      <inkml:brushProperty name="width" value="0.07056" units="cm"/>
      <inkml:brushProperty name="height" value="0.07056" units="cm"/>
      <inkml:brushProperty name="color" value="#3F4846"/>
      <inkml:brushProperty name="fitToCurve" value="1"/>
    </inkml:brush>
  </inkml:definitions>
  <inkml:trace contextRef="#ctx0" brushRef="#br0">2052 246 5676,'14'-26'5289,"-13"11"-516,-1 1-258,-3 0-1677,-8-3-2580,0 2-387,-4 0 129,-4 1-129,-3 3 129,-3-1 0,-5 1 0,-3 0 129,-7 0 0,-2 1 0,-6 0 129,1 2 0,-7-2-129,0 4 129,-5 0 0,1 4 0,-3-2 0,-1 4-129,-1 0 0,-3 1 0,-2 4-129,-1 1-129,-5 3 129,1 1-129,-2 2 129,0 2 0,1 3 0,1 1 0,3 3 0,1 0 129,4 2-258,3 3 129,5 0 0,4 1 0,2 0-129,3 1 129,7 1 0,4 0 0,5-1 0,5 2 0,6-1 129,4 2-129,6 0 0,5-1 129,6 1-258,2-2 258,10 1-258,4-2 129,5 0 0,5-1 0,6-3 0,4 0-129,5-1 129,4 0 0,6-1 0,2-2 0,8-2 0,4-1 129,6 0-129,4-3 258,4-2-129,4-3 0,3-2 0,5-3 0,3-2 129,0-2-129,1-5 0,1-3-129,-2-3 129,1-4 0,-5-3-129,-3-2 0,-9-3 129,-4-2 0,-10-3 129,-6 0 0,-10-3 0,-9-1 0,-10-2 0,-8-1 0,-10-1 0,-8 0-129,-5 0-129,-10-2 129,-8 3-258,-9-1 0,-8 2-129,-12 1-129,-8 3 0,-12 0-387,-7 9-1161,-13-2-3225,-11 4 0,-8 4-387,-9 2-25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C9BAB90-364F-46C8-BAB4-E7E2FF04EF57}" type="datetimeFigureOut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02CFC06-94EA-4136-9CE5-0BE03E1D13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063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spcAft>
        <a:spcPts val="300"/>
      </a:spcAft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806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2443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26153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212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90028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7296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038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1241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3373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377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56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575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5657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568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24418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6575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0180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935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119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427783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134380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95151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6804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826521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3337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83114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05348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63183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08508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7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001040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22031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07860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461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16027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05879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22029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76590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565596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713908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12685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8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10719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7570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00322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7523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562939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924463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92294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6358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1195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17993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595957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9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774334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631273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05459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65303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49281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79978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016408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20507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3640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20407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306590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53492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13568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8780735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68201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2802453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636494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60447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738864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0563154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5846300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61223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982701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5961655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97939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1634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132019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860973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7113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912107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92990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12961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145324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578443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1041827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809727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6606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318243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778044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949668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233885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0949195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7351984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56337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6591104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1797964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2CFC06-94EA-4136-9CE5-0BE03E1D1315}" type="slidenum">
              <a:rPr lang="de-DE" smtClean="0"/>
              <a:pPr/>
              <a:t>1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0429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5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59C71922-AFC6-4AAC-9441-AB647BE0963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9F91AF84-CE6A-4380-BFCA-BFA8CFEBC677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52186502-0695-4C7C-ADF0-6391E14512E7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26074F6-1968-4AEC-BA38-2AC41DB10BAA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8BFF12C-5502-4471-91B2-63AE3EB563D2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66E2BEF9-FC20-467F-81F5-1170C6AF6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76" name="Grafik 7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22021C4D-425D-4A6B-BB05-52CAA2D64C3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78" name="Bildplatzhalter 77">
            <a:extLst>
              <a:ext uri="{FF2B5EF4-FFF2-40B4-BE49-F238E27FC236}">
                <a16:creationId xmlns:a16="http://schemas.microsoft.com/office/drawing/2014/main" id="{E5620436-026F-43E5-A82D-900038936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5" y="0"/>
            <a:ext cx="12191997" cy="6858000"/>
          </a:xfrm>
          <a:custGeom>
            <a:avLst/>
            <a:gdLst>
              <a:gd name="connsiteX0" fmla="*/ 9190375 w 12191997"/>
              <a:gd name="connsiteY0" fmla="*/ 5251451 h 6858000"/>
              <a:gd name="connsiteX1" fmla="*/ 9190375 w 12191997"/>
              <a:gd name="connsiteY1" fmla="*/ 5527239 h 6858000"/>
              <a:gd name="connsiteX2" fmla="*/ 8628626 w 12191997"/>
              <a:gd name="connsiteY2" fmla="*/ 5527239 h 6858000"/>
              <a:gd name="connsiteX3" fmla="*/ 8628626 w 12191997"/>
              <a:gd name="connsiteY3" fmla="*/ 5888929 h 6858000"/>
              <a:gd name="connsiteX4" fmla="*/ 9427735 w 12191997"/>
              <a:gd name="connsiteY4" fmla="*/ 5888929 h 6858000"/>
              <a:gd name="connsiteX5" fmla="*/ 9427735 w 12191997"/>
              <a:gd name="connsiteY5" fmla="*/ 6165850 h 6858000"/>
              <a:gd name="connsiteX6" fmla="*/ 9972670 w 12191997"/>
              <a:gd name="connsiteY6" fmla="*/ 6165850 h 6858000"/>
              <a:gd name="connsiteX7" fmla="*/ 9991969 w 12191997"/>
              <a:gd name="connsiteY7" fmla="*/ 6165850 h 6858000"/>
              <a:gd name="connsiteX8" fmla="*/ 9997068 w 12191997"/>
              <a:gd name="connsiteY8" fmla="*/ 6165850 h 6858000"/>
              <a:gd name="connsiteX9" fmla="*/ 10160790 w 12191997"/>
              <a:gd name="connsiteY9" fmla="*/ 6165850 h 6858000"/>
              <a:gd name="connsiteX10" fmla="*/ 12191995 w 12191997"/>
              <a:gd name="connsiteY10" fmla="*/ 6165850 h 6858000"/>
              <a:gd name="connsiteX11" fmla="*/ 12191995 w 12191997"/>
              <a:gd name="connsiteY11" fmla="*/ 5251451 h 6858000"/>
              <a:gd name="connsiteX12" fmla="*/ 10160790 w 12191997"/>
              <a:gd name="connsiteY12" fmla="*/ 5251451 h 6858000"/>
              <a:gd name="connsiteX13" fmla="*/ 9997068 w 12191997"/>
              <a:gd name="connsiteY13" fmla="*/ 5251451 h 6858000"/>
              <a:gd name="connsiteX14" fmla="*/ 9991970 w 12191997"/>
              <a:gd name="connsiteY14" fmla="*/ 5251451 h 6858000"/>
              <a:gd name="connsiteX15" fmla="*/ 9972670 w 12191997"/>
              <a:gd name="connsiteY15" fmla="*/ 5251451 h 6858000"/>
              <a:gd name="connsiteX16" fmla="*/ 0 w 12191997"/>
              <a:gd name="connsiteY16" fmla="*/ 0 h 6858000"/>
              <a:gd name="connsiteX17" fmla="*/ 12191997 w 12191997"/>
              <a:gd name="connsiteY17" fmla="*/ 0 h 6858000"/>
              <a:gd name="connsiteX18" fmla="*/ 12191997 w 12191997"/>
              <a:gd name="connsiteY18" fmla="*/ 6858000 h 6858000"/>
              <a:gd name="connsiteX19" fmla="*/ 0 w 12191997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7" h="6858000">
                <a:moveTo>
                  <a:pt x="9190375" y="5251451"/>
                </a:moveTo>
                <a:lnTo>
                  <a:pt x="9190375" y="5527239"/>
                </a:lnTo>
                <a:lnTo>
                  <a:pt x="8628626" y="5527239"/>
                </a:lnTo>
                <a:lnTo>
                  <a:pt x="8628626" y="5888929"/>
                </a:lnTo>
                <a:lnTo>
                  <a:pt x="9427735" y="5888929"/>
                </a:lnTo>
                <a:lnTo>
                  <a:pt x="9427735" y="6165850"/>
                </a:lnTo>
                <a:lnTo>
                  <a:pt x="9972670" y="6165850"/>
                </a:lnTo>
                <a:lnTo>
                  <a:pt x="9991969" y="6165850"/>
                </a:lnTo>
                <a:lnTo>
                  <a:pt x="9997068" y="6165850"/>
                </a:lnTo>
                <a:lnTo>
                  <a:pt x="10160790" y="6165850"/>
                </a:lnTo>
                <a:lnTo>
                  <a:pt x="12191995" y="6165850"/>
                </a:lnTo>
                <a:lnTo>
                  <a:pt x="12191995" y="5251451"/>
                </a:lnTo>
                <a:lnTo>
                  <a:pt x="10160790" y="5251451"/>
                </a:lnTo>
                <a:lnTo>
                  <a:pt x="9997068" y="5251451"/>
                </a:lnTo>
                <a:lnTo>
                  <a:pt x="9991970" y="5251451"/>
                </a:lnTo>
                <a:lnTo>
                  <a:pt x="9972670" y="5251451"/>
                </a:lnTo>
                <a:close/>
                <a:moveTo>
                  <a:pt x="0" y="0"/>
                </a:moveTo>
                <a:lnTo>
                  <a:pt x="12191997" y="0"/>
                </a:lnTo>
                <a:lnTo>
                  <a:pt x="12191997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solidFill>
            <a:schemeClr val="bg1"/>
          </a:solidFill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B72F7FD-3031-4DFA-A693-0D95418E9051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5276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0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F913D2-D3D4-43A2-9209-032C9D4F45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7339676-53B9-472C-AE36-FCC3A776C8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C7AECB6C-AA03-46B7-8FCA-432594FDDDA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A219364-1D52-42F6-B745-936E7843143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0C01603-A456-43F1-9F4B-471C985557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150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90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7E46D37F-CB0A-4D83-BFF7-B7391EDC473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6753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9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9" y="1592263"/>
            <a:ext cx="7120970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EF3E733-E274-42A6-AC66-E631779850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F5BF8FD-1887-4210-A691-568801A1F445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FE6A902-FA97-4947-9F2A-26EE9B5C3EE0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8A88D212-1526-4A75-8A7F-D07A43F998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A94E53A2-B533-4EFA-B343-FA0631C71E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8494005" y="1592263"/>
            <a:ext cx="2966158" cy="471646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3E0AEFB-AB3B-40CA-B62A-FFE8604A72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5E6973D-77DA-4EA8-A6E1-C61BCDC3D8C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A616933-E294-45EA-A061-46E386BBD13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7311294-1DC7-4FA6-9394-9AB42866EF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092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22C65BE4-BC29-4E74-863D-BFA08B5B8988}"/>
              </a:ext>
            </a:extLst>
          </p:cNvPr>
          <p:cNvSpPr/>
          <p:nvPr userDrawn="1"/>
        </p:nvSpPr>
        <p:spPr bwMode="gray">
          <a:xfrm>
            <a:off x="-10747" y="4516916"/>
            <a:ext cx="8135164" cy="2344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9" y="687600"/>
            <a:ext cx="1083627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2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387434-B166-464F-A1C0-706E6FFBE721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E6A8D6A-349C-465A-AE08-01E261F68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9" y="1592262"/>
            <a:ext cx="5238136" cy="26749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07F26C-0334-4D27-BE72-02EB524E3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22025" y="1592262"/>
            <a:ext cx="5238136" cy="26749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2F21158-8DDE-4392-8576-C4E4D8F733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4806000"/>
            <a:ext cx="7120970" cy="738664"/>
          </a:xfrm>
        </p:spPr>
        <p:txBody>
          <a:bodyPr>
            <a:no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ichtige Kernaussage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BC9D6FB-4474-4AA1-8133-F6F91EFCCF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D9694371-55F4-4A5D-8B62-3C752AF581F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47C5E8-BBA1-4AA6-876C-9E94B281B0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144EBFC-5571-472D-82C3-CFDBD5F50BE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6816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00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6994508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630433" y="1592263"/>
            <a:ext cx="2829727" cy="4716462"/>
          </a:xfrm>
        </p:spPr>
        <p:txBody>
          <a:bodyPr anchor="ctr"/>
          <a:lstStyle>
            <a:lvl1pPr marL="0" indent="0" rtl="0">
              <a:spcAft>
                <a:spcPts val="0"/>
              </a:spcAft>
              <a:buNone/>
              <a:defRPr sz="1800"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1DCF232-55BB-42D1-9470-B175F9DFBE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24417" y="1592262"/>
            <a:ext cx="0" cy="4716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0BF9AEC-BAE4-479D-ADFA-4AC46CC89E3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945823" y="3771891"/>
            <a:ext cx="357187" cy="357187"/>
            <a:chOff x="7566263" y="3771891"/>
            <a:chExt cx="357187" cy="357187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B417A0B-A319-4D9B-9D6F-0A804AFF14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6263" y="3771891"/>
              <a:ext cx="357187" cy="357187"/>
            </a:xfrm>
            <a:prstGeom prst="rect">
              <a:avLst/>
            </a:prstGeom>
            <a:solidFill>
              <a:schemeClr val="accent1"/>
            </a:solidFill>
            <a:ln w="254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C73A1C5-74EE-4A53-948A-92351B2B993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2493" y="3855500"/>
              <a:ext cx="104727" cy="189970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223FD2D0-F9D5-4C87-A572-0E0FE38C58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2D7B5D8F-4858-4D50-ADBF-ABD720F5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979F7CC-FC00-44C5-96B9-60ABCC5E9D5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06DCC780-72F2-4856-8BEA-DE3302D0A2E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8058F98-94C9-4646-AB9D-6F3ABB33F6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5D3DA55-D268-4B9A-B765-2855A97FA80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1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Pfei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36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2"/>
            <a:ext cx="10836275" cy="265801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C11F32-D77B-4ADF-A5CB-FE3F21E4A5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996915"/>
            <a:ext cx="10836275" cy="1311809"/>
          </a:xfrm>
        </p:spPr>
        <p:txBody>
          <a:bodyPr/>
          <a:lstStyle>
            <a:lvl1pPr marL="0" indent="0" algn="ctr" rtl="0">
              <a:spcAft>
                <a:spcPts val="0"/>
              </a:spcAft>
              <a:buNone/>
              <a:defRPr sz="1800"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FB5A7C2-AE6C-4B77-AADA-E38671AA25E2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9EDC90-1A57-4CDB-A01B-FBDB6DE1375B}"/>
              </a:ext>
            </a:extLst>
          </p:cNvPr>
          <p:cNvGrpSpPr/>
          <p:nvPr userDrawn="1"/>
        </p:nvGrpSpPr>
        <p:grpSpPr bwMode="gray">
          <a:xfrm>
            <a:off x="623888" y="4445000"/>
            <a:ext cx="10836272" cy="357187"/>
            <a:chOff x="623888" y="3771900"/>
            <a:chExt cx="10836272" cy="357187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1DCF232-55BB-42D1-9470-B175F9DFBE96}"/>
                </a:ext>
              </a:extLst>
            </p:cNvPr>
            <p:cNvCxnSpPr>
              <a:cxnSpLocks/>
            </p:cNvCxnSpPr>
            <p:nvPr userDrawn="1"/>
          </p:nvCxnSpPr>
          <p:spPr bwMode="gray">
            <a:xfrm flipH="1">
              <a:off x="623888" y="3950494"/>
              <a:ext cx="10836272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BF9AEC-BAE4-479D-ADFA-4AC46CC89E3F}"/>
                </a:ext>
              </a:extLst>
            </p:cNvPr>
            <p:cNvGrpSpPr>
              <a:grpSpLocks/>
            </p:cNvGrpSpPr>
            <p:nvPr userDrawn="1"/>
          </p:nvGrpSpPr>
          <p:grpSpPr bwMode="gray">
            <a:xfrm rot="5400000">
              <a:off x="5863430" y="3771900"/>
              <a:ext cx="357187" cy="357187"/>
              <a:chOff x="7566263" y="3771891"/>
              <a:chExt cx="357187" cy="357187"/>
            </a:xfrm>
          </p:grpSpPr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DB417A0B-A319-4D9B-9D6F-0A804AFF14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66263" y="3771891"/>
                <a:ext cx="357187" cy="357187"/>
              </a:xfrm>
              <a:prstGeom prst="rect">
                <a:avLst/>
              </a:prstGeom>
              <a:solidFill>
                <a:schemeClr val="accent1"/>
              </a:solidFill>
              <a:ln w="254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de-DE" dirty="0"/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CC73A1C5-74EE-4A53-948A-92351B2B993A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7692493" y="3855500"/>
                <a:ext cx="104727" cy="189970"/>
                <a:chOff x="804153" y="5133476"/>
                <a:chExt cx="68263" cy="123826"/>
              </a:xfrm>
              <a:solidFill>
                <a:schemeClr val="bg1"/>
              </a:solidFill>
            </p:grpSpPr>
            <p:sp>
              <p:nvSpPr>
                <p:cNvPr id="26" name="Freeform 6">
                  <a:extLst>
                    <a:ext uri="{FF2B5EF4-FFF2-40B4-BE49-F238E27FC236}">
                      <a16:creationId xmlns:a16="http://schemas.microsoft.com/office/drawing/2014/main" id="{223FD2D0-F9D5-4C87-A572-0E0FE38C58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5740" y="5189039"/>
                  <a:ext cx="66675" cy="68263"/>
                </a:xfrm>
                <a:custGeom>
                  <a:avLst/>
                  <a:gdLst>
                    <a:gd name="T0" fmla="*/ 496 w 549"/>
                    <a:gd name="T1" fmla="*/ 0 h 553"/>
                    <a:gd name="T2" fmla="*/ 510 w 549"/>
                    <a:gd name="T3" fmla="*/ 0 h 553"/>
                    <a:gd name="T4" fmla="*/ 524 w 549"/>
                    <a:gd name="T5" fmla="*/ 4 h 553"/>
                    <a:gd name="T6" fmla="*/ 536 w 549"/>
                    <a:gd name="T7" fmla="*/ 13 h 553"/>
                    <a:gd name="T8" fmla="*/ 544 w 549"/>
                    <a:gd name="T9" fmla="*/ 25 h 553"/>
                    <a:gd name="T10" fmla="*/ 549 w 549"/>
                    <a:gd name="T11" fmla="*/ 39 h 553"/>
                    <a:gd name="T12" fmla="*/ 549 w 549"/>
                    <a:gd name="T13" fmla="*/ 53 h 553"/>
                    <a:gd name="T14" fmla="*/ 544 w 549"/>
                    <a:gd name="T15" fmla="*/ 66 h 553"/>
                    <a:gd name="T16" fmla="*/ 536 w 549"/>
                    <a:gd name="T17" fmla="*/ 79 h 553"/>
                    <a:gd name="T18" fmla="*/ 78 w 549"/>
                    <a:gd name="T19" fmla="*/ 539 h 553"/>
                    <a:gd name="T20" fmla="*/ 68 w 549"/>
                    <a:gd name="T21" fmla="*/ 547 h 553"/>
                    <a:gd name="T22" fmla="*/ 56 w 549"/>
                    <a:gd name="T23" fmla="*/ 552 h 553"/>
                    <a:gd name="T24" fmla="*/ 45 w 549"/>
                    <a:gd name="T25" fmla="*/ 553 h 553"/>
                    <a:gd name="T26" fmla="*/ 34 w 549"/>
                    <a:gd name="T27" fmla="*/ 552 h 553"/>
                    <a:gd name="T28" fmla="*/ 22 w 549"/>
                    <a:gd name="T29" fmla="*/ 547 h 553"/>
                    <a:gd name="T30" fmla="*/ 13 w 549"/>
                    <a:gd name="T31" fmla="*/ 539 h 553"/>
                    <a:gd name="T32" fmla="*/ 4 w 549"/>
                    <a:gd name="T33" fmla="*/ 527 h 553"/>
                    <a:gd name="T34" fmla="*/ 0 w 549"/>
                    <a:gd name="T35" fmla="*/ 513 h 553"/>
                    <a:gd name="T36" fmla="*/ 0 w 549"/>
                    <a:gd name="T37" fmla="*/ 499 h 553"/>
                    <a:gd name="T38" fmla="*/ 4 w 549"/>
                    <a:gd name="T39" fmla="*/ 485 h 553"/>
                    <a:gd name="T40" fmla="*/ 13 w 549"/>
                    <a:gd name="T41" fmla="*/ 473 h 553"/>
                    <a:gd name="T42" fmla="*/ 470 w 549"/>
                    <a:gd name="T43" fmla="*/ 13 h 553"/>
                    <a:gd name="T44" fmla="*/ 482 w 549"/>
                    <a:gd name="T45" fmla="*/ 4 h 553"/>
                    <a:gd name="T46" fmla="*/ 496 w 549"/>
                    <a:gd name="T47" fmla="*/ 0 h 5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553">
                      <a:moveTo>
                        <a:pt x="496" y="0"/>
                      </a:moveTo>
                      <a:lnTo>
                        <a:pt x="510" y="0"/>
                      </a:lnTo>
                      <a:lnTo>
                        <a:pt x="524" y="4"/>
                      </a:lnTo>
                      <a:lnTo>
                        <a:pt x="536" y="13"/>
                      </a:lnTo>
                      <a:lnTo>
                        <a:pt x="544" y="25"/>
                      </a:lnTo>
                      <a:lnTo>
                        <a:pt x="549" y="39"/>
                      </a:lnTo>
                      <a:lnTo>
                        <a:pt x="549" y="53"/>
                      </a:lnTo>
                      <a:lnTo>
                        <a:pt x="544" y="66"/>
                      </a:lnTo>
                      <a:lnTo>
                        <a:pt x="536" y="79"/>
                      </a:lnTo>
                      <a:lnTo>
                        <a:pt x="78" y="539"/>
                      </a:lnTo>
                      <a:lnTo>
                        <a:pt x="68" y="547"/>
                      </a:lnTo>
                      <a:lnTo>
                        <a:pt x="56" y="552"/>
                      </a:lnTo>
                      <a:lnTo>
                        <a:pt x="45" y="553"/>
                      </a:lnTo>
                      <a:lnTo>
                        <a:pt x="34" y="552"/>
                      </a:lnTo>
                      <a:lnTo>
                        <a:pt x="22" y="547"/>
                      </a:lnTo>
                      <a:lnTo>
                        <a:pt x="13" y="539"/>
                      </a:lnTo>
                      <a:lnTo>
                        <a:pt x="4" y="527"/>
                      </a:lnTo>
                      <a:lnTo>
                        <a:pt x="0" y="513"/>
                      </a:lnTo>
                      <a:lnTo>
                        <a:pt x="0" y="499"/>
                      </a:lnTo>
                      <a:lnTo>
                        <a:pt x="4" y="485"/>
                      </a:lnTo>
                      <a:lnTo>
                        <a:pt x="13" y="473"/>
                      </a:lnTo>
                      <a:lnTo>
                        <a:pt x="470" y="13"/>
                      </a:lnTo>
                      <a:lnTo>
                        <a:pt x="482" y="4"/>
                      </a:lnTo>
                      <a:lnTo>
                        <a:pt x="496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  <p:sp>
              <p:nvSpPr>
                <p:cNvPr id="27" name="Freeform 7">
                  <a:extLst>
                    <a:ext uri="{FF2B5EF4-FFF2-40B4-BE49-F238E27FC236}">
                      <a16:creationId xmlns:a16="http://schemas.microsoft.com/office/drawing/2014/main" id="{2D7B5D8F-4858-4D50-ADBF-ABD720F5F5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153" y="5133476"/>
                  <a:ext cx="68263" cy="66675"/>
                </a:xfrm>
                <a:custGeom>
                  <a:avLst/>
                  <a:gdLst>
                    <a:gd name="T0" fmla="*/ 39 w 554"/>
                    <a:gd name="T1" fmla="*/ 0 h 557"/>
                    <a:gd name="T2" fmla="*/ 53 w 554"/>
                    <a:gd name="T3" fmla="*/ 0 h 557"/>
                    <a:gd name="T4" fmla="*/ 67 w 554"/>
                    <a:gd name="T5" fmla="*/ 4 h 557"/>
                    <a:gd name="T6" fmla="*/ 78 w 554"/>
                    <a:gd name="T7" fmla="*/ 13 h 557"/>
                    <a:gd name="T8" fmla="*/ 540 w 554"/>
                    <a:gd name="T9" fmla="*/ 478 h 557"/>
                    <a:gd name="T10" fmla="*/ 549 w 554"/>
                    <a:gd name="T11" fmla="*/ 490 h 557"/>
                    <a:gd name="T12" fmla="*/ 554 w 554"/>
                    <a:gd name="T13" fmla="*/ 503 h 557"/>
                    <a:gd name="T14" fmla="*/ 554 w 554"/>
                    <a:gd name="T15" fmla="*/ 518 h 557"/>
                    <a:gd name="T16" fmla="*/ 549 w 554"/>
                    <a:gd name="T17" fmla="*/ 531 h 557"/>
                    <a:gd name="T18" fmla="*/ 540 w 554"/>
                    <a:gd name="T19" fmla="*/ 544 h 557"/>
                    <a:gd name="T20" fmla="*/ 531 w 554"/>
                    <a:gd name="T21" fmla="*/ 551 h 557"/>
                    <a:gd name="T22" fmla="*/ 519 w 554"/>
                    <a:gd name="T23" fmla="*/ 556 h 557"/>
                    <a:gd name="T24" fmla="*/ 508 w 554"/>
                    <a:gd name="T25" fmla="*/ 557 h 557"/>
                    <a:gd name="T26" fmla="*/ 497 w 554"/>
                    <a:gd name="T27" fmla="*/ 556 h 557"/>
                    <a:gd name="T28" fmla="*/ 485 w 554"/>
                    <a:gd name="T29" fmla="*/ 551 h 557"/>
                    <a:gd name="T30" fmla="*/ 475 w 554"/>
                    <a:gd name="T31" fmla="*/ 544 h 557"/>
                    <a:gd name="T32" fmla="*/ 13 w 554"/>
                    <a:gd name="T33" fmla="*/ 79 h 557"/>
                    <a:gd name="T34" fmla="*/ 5 w 554"/>
                    <a:gd name="T35" fmla="*/ 66 h 557"/>
                    <a:gd name="T36" fmla="*/ 0 w 554"/>
                    <a:gd name="T37" fmla="*/ 53 h 557"/>
                    <a:gd name="T38" fmla="*/ 0 w 554"/>
                    <a:gd name="T39" fmla="*/ 39 h 557"/>
                    <a:gd name="T40" fmla="*/ 5 w 554"/>
                    <a:gd name="T41" fmla="*/ 25 h 557"/>
                    <a:gd name="T42" fmla="*/ 13 w 554"/>
                    <a:gd name="T43" fmla="*/ 13 h 557"/>
                    <a:gd name="T44" fmla="*/ 25 w 554"/>
                    <a:gd name="T45" fmla="*/ 4 h 557"/>
                    <a:gd name="T46" fmla="*/ 39 w 554"/>
                    <a:gd name="T47" fmla="*/ 0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4" h="557">
                      <a:moveTo>
                        <a:pt x="39" y="0"/>
                      </a:moveTo>
                      <a:lnTo>
                        <a:pt x="53" y="0"/>
                      </a:lnTo>
                      <a:lnTo>
                        <a:pt x="67" y="4"/>
                      </a:lnTo>
                      <a:lnTo>
                        <a:pt x="78" y="13"/>
                      </a:lnTo>
                      <a:lnTo>
                        <a:pt x="540" y="478"/>
                      </a:lnTo>
                      <a:lnTo>
                        <a:pt x="549" y="490"/>
                      </a:lnTo>
                      <a:lnTo>
                        <a:pt x="554" y="503"/>
                      </a:lnTo>
                      <a:lnTo>
                        <a:pt x="554" y="518"/>
                      </a:lnTo>
                      <a:lnTo>
                        <a:pt x="549" y="531"/>
                      </a:lnTo>
                      <a:lnTo>
                        <a:pt x="540" y="544"/>
                      </a:lnTo>
                      <a:lnTo>
                        <a:pt x="531" y="551"/>
                      </a:lnTo>
                      <a:lnTo>
                        <a:pt x="519" y="556"/>
                      </a:lnTo>
                      <a:lnTo>
                        <a:pt x="508" y="557"/>
                      </a:lnTo>
                      <a:lnTo>
                        <a:pt x="497" y="556"/>
                      </a:lnTo>
                      <a:lnTo>
                        <a:pt x="485" y="551"/>
                      </a:lnTo>
                      <a:lnTo>
                        <a:pt x="475" y="544"/>
                      </a:lnTo>
                      <a:lnTo>
                        <a:pt x="13" y="79"/>
                      </a:lnTo>
                      <a:lnTo>
                        <a:pt x="5" y="66"/>
                      </a:lnTo>
                      <a:lnTo>
                        <a:pt x="0" y="53"/>
                      </a:lnTo>
                      <a:lnTo>
                        <a:pt x="0" y="39"/>
                      </a:lnTo>
                      <a:lnTo>
                        <a:pt x="5" y="25"/>
                      </a:lnTo>
                      <a:lnTo>
                        <a:pt x="13" y="13"/>
                      </a:lnTo>
                      <a:lnTo>
                        <a:pt x="25" y="4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grpFill/>
                <a:ln w="1270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de-DE" dirty="0"/>
                </a:p>
              </p:txBody>
            </p:sp>
          </p:grpSp>
        </p:grpSp>
      </p:grp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6404C4E-15B1-4CC7-BEDE-E3124BF86CE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BD32FFC7-B01B-4CAB-89A3-95ACDCF4DF5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D5C0076-7653-425F-AD3D-FF2262D8E5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4DA7148-05DF-454E-9CEC-FE49728759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300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6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MAX. 2-ZEILIG</a:t>
            </a:r>
          </a:p>
        </p:txBody>
      </p:sp>
      <p:pic>
        <p:nvPicPr>
          <p:cNvPr id="12" name="Grafik 1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A32650A-39CB-4DA2-B6D6-59DBD093DA4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D074CA6-F875-4C4C-9B40-A9934022153A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171F5E0-C8BB-4A46-A985-85FEFFBE5B06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3D5596-4D74-4C65-AAF9-34F4540A9C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6BD8C1B-B84C-4EAF-8646-A3DA055A0721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D613182-A26E-4AF0-90F7-83A6F4CA08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84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messag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709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>
            <a:extLst>
              <a:ext uri="{FF2B5EF4-FFF2-40B4-BE49-F238E27FC236}">
                <a16:creationId xmlns:a16="http://schemas.microsoft.com/office/drawing/2014/main" id="{2401289D-5007-4F76-B118-517014732155}"/>
              </a:ext>
            </a:extLst>
          </p:cNvPr>
          <p:cNvSpPr/>
          <p:nvPr userDrawn="1"/>
        </p:nvSpPr>
        <p:spPr bwMode="white">
          <a:xfrm>
            <a:off x="8602661" y="5236211"/>
            <a:ext cx="1405734" cy="96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 rtl="0">
              <a:buAutoNum type="arabicPeriod"/>
            </a:pPr>
            <a:endParaRPr lang="de-DE" sz="1400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4ED82E-64E0-4DB9-8C47-92070A9C37F1}"/>
              </a:ext>
            </a:extLst>
          </p:cNvPr>
          <p:cNvGrpSpPr/>
          <p:nvPr userDrawn="1"/>
        </p:nvGrpSpPr>
        <p:grpSpPr bwMode="gray">
          <a:xfrm>
            <a:off x="8628630" y="5251451"/>
            <a:ext cx="1363343" cy="914398"/>
            <a:chOff x="7324725" y="5253531"/>
            <a:chExt cx="114890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D50CD14-EE51-4492-9D5A-ECF032270109}"/>
                </a:ext>
              </a:extLst>
            </p:cNvPr>
            <p:cNvSpPr/>
            <p:nvPr/>
          </p:nvSpPr>
          <p:spPr bwMode="gray">
            <a:xfrm>
              <a:off x="7798116" y="5253531"/>
              <a:ext cx="675511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9D14EB74-57A3-4A0F-95A4-850FC3351F5E}"/>
                </a:ext>
              </a:extLst>
            </p:cNvPr>
            <p:cNvSpPr/>
            <p:nvPr/>
          </p:nvSpPr>
          <p:spPr bwMode="gray">
            <a:xfrm>
              <a:off x="7998142" y="5720256"/>
              <a:ext cx="47548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5BCD1AA7-94B5-4C73-B57B-170467EF40B9}"/>
                </a:ext>
              </a:extLst>
            </p:cNvPr>
            <p:cNvSpPr/>
            <p:nvPr/>
          </p:nvSpPr>
          <p:spPr bwMode="gray">
            <a:xfrm>
              <a:off x="7324725" y="5485940"/>
              <a:ext cx="114890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98821B36-2EA4-45DA-8B08-1833B37E4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  <p:pic>
        <p:nvPicPr>
          <p:cNvPr id="58" name="Grafik 5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A7DAD66-E8EB-41B1-B177-60AA43593C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sp>
        <p:nvSpPr>
          <p:cNvPr id="67" name="Bildplatzhalter 66">
            <a:extLst>
              <a:ext uri="{FF2B5EF4-FFF2-40B4-BE49-F238E27FC236}">
                <a16:creationId xmlns:a16="http://schemas.microsoft.com/office/drawing/2014/main" id="{CD2487B9-CB7E-4688-AF63-0052266F0B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3" y="0"/>
            <a:ext cx="12191998" cy="6858000"/>
          </a:xfrm>
          <a:custGeom>
            <a:avLst/>
            <a:gdLst>
              <a:gd name="connsiteX0" fmla="*/ 9190379 w 12191998"/>
              <a:gd name="connsiteY0" fmla="*/ 5251451 h 6858000"/>
              <a:gd name="connsiteX1" fmla="*/ 9190379 w 12191998"/>
              <a:gd name="connsiteY1" fmla="*/ 5527239 h 6858000"/>
              <a:gd name="connsiteX2" fmla="*/ 8628629 w 12191998"/>
              <a:gd name="connsiteY2" fmla="*/ 5527239 h 6858000"/>
              <a:gd name="connsiteX3" fmla="*/ 8628629 w 12191998"/>
              <a:gd name="connsiteY3" fmla="*/ 5888929 h 6858000"/>
              <a:gd name="connsiteX4" fmla="*/ 9427739 w 12191998"/>
              <a:gd name="connsiteY4" fmla="*/ 5888929 h 6858000"/>
              <a:gd name="connsiteX5" fmla="*/ 9427739 w 12191998"/>
              <a:gd name="connsiteY5" fmla="*/ 6165850 h 6858000"/>
              <a:gd name="connsiteX6" fmla="*/ 9902822 w 12191998"/>
              <a:gd name="connsiteY6" fmla="*/ 6165850 h 6858000"/>
              <a:gd name="connsiteX7" fmla="*/ 9936366 w 12191998"/>
              <a:gd name="connsiteY7" fmla="*/ 6165850 h 6858000"/>
              <a:gd name="connsiteX8" fmla="*/ 9985532 w 12191998"/>
              <a:gd name="connsiteY8" fmla="*/ 6165850 h 6858000"/>
              <a:gd name="connsiteX9" fmla="*/ 9997070 w 12191998"/>
              <a:gd name="connsiteY9" fmla="*/ 6165850 h 6858000"/>
              <a:gd name="connsiteX10" fmla="*/ 10058397 w 12191998"/>
              <a:gd name="connsiteY10" fmla="*/ 6165850 h 6858000"/>
              <a:gd name="connsiteX11" fmla="*/ 10175872 w 12191998"/>
              <a:gd name="connsiteY11" fmla="*/ 6165850 h 6858000"/>
              <a:gd name="connsiteX12" fmla="*/ 12191997 w 12191998"/>
              <a:gd name="connsiteY12" fmla="*/ 6165850 h 6858000"/>
              <a:gd name="connsiteX13" fmla="*/ 12191997 w 12191998"/>
              <a:gd name="connsiteY13" fmla="*/ 5251451 h 6858000"/>
              <a:gd name="connsiteX14" fmla="*/ 10175872 w 12191998"/>
              <a:gd name="connsiteY14" fmla="*/ 5251451 h 6858000"/>
              <a:gd name="connsiteX15" fmla="*/ 10058397 w 12191998"/>
              <a:gd name="connsiteY15" fmla="*/ 5251451 h 6858000"/>
              <a:gd name="connsiteX16" fmla="*/ 9997070 w 12191998"/>
              <a:gd name="connsiteY16" fmla="*/ 5251451 h 6858000"/>
              <a:gd name="connsiteX17" fmla="*/ 9985532 w 12191998"/>
              <a:gd name="connsiteY17" fmla="*/ 5251451 h 6858000"/>
              <a:gd name="connsiteX18" fmla="*/ 9936366 w 12191998"/>
              <a:gd name="connsiteY18" fmla="*/ 5251451 h 6858000"/>
              <a:gd name="connsiteX19" fmla="*/ 9902822 w 12191998"/>
              <a:gd name="connsiteY19" fmla="*/ 5251451 h 6858000"/>
              <a:gd name="connsiteX20" fmla="*/ 0 w 12191998"/>
              <a:gd name="connsiteY20" fmla="*/ 0 h 6858000"/>
              <a:gd name="connsiteX21" fmla="*/ 12191998 w 12191998"/>
              <a:gd name="connsiteY21" fmla="*/ 0 h 6858000"/>
              <a:gd name="connsiteX22" fmla="*/ 12191998 w 12191998"/>
              <a:gd name="connsiteY22" fmla="*/ 6858000 h 6858000"/>
              <a:gd name="connsiteX23" fmla="*/ 0 w 12191998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1998" h="6858000">
                <a:moveTo>
                  <a:pt x="9190379" y="5251451"/>
                </a:moveTo>
                <a:lnTo>
                  <a:pt x="9190379" y="5527239"/>
                </a:lnTo>
                <a:lnTo>
                  <a:pt x="8628629" y="5527239"/>
                </a:lnTo>
                <a:lnTo>
                  <a:pt x="8628629" y="5888929"/>
                </a:lnTo>
                <a:lnTo>
                  <a:pt x="9427739" y="5888929"/>
                </a:lnTo>
                <a:lnTo>
                  <a:pt x="9427739" y="6165850"/>
                </a:lnTo>
                <a:lnTo>
                  <a:pt x="9902822" y="6165850"/>
                </a:lnTo>
                <a:lnTo>
                  <a:pt x="9936366" y="6165850"/>
                </a:lnTo>
                <a:lnTo>
                  <a:pt x="9985532" y="6165850"/>
                </a:lnTo>
                <a:lnTo>
                  <a:pt x="9997070" y="6165850"/>
                </a:lnTo>
                <a:lnTo>
                  <a:pt x="10058397" y="6165850"/>
                </a:lnTo>
                <a:lnTo>
                  <a:pt x="10175872" y="6165850"/>
                </a:lnTo>
                <a:lnTo>
                  <a:pt x="12191997" y="6165850"/>
                </a:lnTo>
                <a:lnTo>
                  <a:pt x="12191997" y="5251451"/>
                </a:lnTo>
                <a:lnTo>
                  <a:pt x="10175872" y="5251451"/>
                </a:lnTo>
                <a:lnTo>
                  <a:pt x="10058397" y="5251451"/>
                </a:lnTo>
                <a:lnTo>
                  <a:pt x="9997070" y="5251451"/>
                </a:lnTo>
                <a:lnTo>
                  <a:pt x="9985532" y="5251451"/>
                </a:lnTo>
                <a:lnTo>
                  <a:pt x="9936366" y="5251451"/>
                </a:lnTo>
                <a:lnTo>
                  <a:pt x="9902822" y="5251451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085A1C-151F-489E-AD71-23D2BF32A8D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623888" y="1116000"/>
            <a:ext cx="5055835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noProof="0" dirty="0"/>
              <a:t>KEYMESSAG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925C841-F5CB-4D2C-9A89-7F882A8CF43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de-DE" noProof="0" dirty="0"/>
              <a:t>MAX. 2-ZEILIG</a:t>
            </a:r>
          </a:p>
        </p:txBody>
      </p:sp>
    </p:spTree>
    <p:extLst>
      <p:ext uri="{BB962C8B-B14F-4D97-AF65-F5344CB8AC3E}">
        <p14:creationId xmlns:p14="http://schemas.microsoft.com/office/powerpoint/2010/main" val="3848853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CBA6E59-75DD-438F-BF77-C4A42DFB7B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3888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435F372D-CF41-40AB-839D-A5D7C578A4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286314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EBE2703F-42BD-4A4E-8077-81A7EECD8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102397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553B4F3E-F076-4020-87C7-A686D4BB7A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341652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620BAFB1-4E09-4562-8C0F-04EFEE0504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9580906" y="2124699"/>
            <a:ext cx="1879255" cy="1880009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278EC1-F284-44D6-8573-14782A988C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525643"/>
            <a:ext cx="1879254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348A553-B922-4918-B9DC-9016A21B26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888" y="4841114"/>
            <a:ext cx="1879254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59CE19DE-5AC0-42CC-80DD-DFEEEE5985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63142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87ADC2B1-A125-478A-8C76-FC96DCC7C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86314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39667EB-032B-4FBD-A693-505306B09E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02398" y="4525643"/>
            <a:ext cx="1879255" cy="276225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999B90A-668A-4560-8328-B9676FB762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02398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F0D537D6-2CC9-400F-AD47-C435F3C87C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341652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0B3440EF-4F3C-4F19-8AEE-53F46F81D8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41652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671851D0-2D85-4A57-9D79-ECB1A4BD4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80906" y="4525643"/>
            <a:ext cx="1879255" cy="276999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72EDC16B-26CB-4369-8443-63FFCE0B00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80906" y="4841114"/>
            <a:ext cx="1879255" cy="215444"/>
          </a:xfrm>
        </p:spPr>
        <p:txBody>
          <a:bodyPr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2C9401E-FFCE-4967-BAC8-94F361F7018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45F5F1E3-4E6F-49CC-9684-90F3F09EAD4D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807DC58-D1C9-4344-821A-FC7F84C975B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3FDD-1880-4299-9835-E8EBDDED20EB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230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3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02E56C63-7C1B-4AE7-9628-5358CCB3E9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20005" y="2049780"/>
            <a:ext cx="5692775" cy="3534728"/>
          </a:xfrm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9EB948A-6A06-433D-94CA-F43E75A0B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371332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95BD34B-F719-4140-8CE0-1CE46741B2B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C99C481C-1148-4310-896C-CC74B73C34E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AC5562-F1B9-46A7-84A0-FE06B5DC26C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681675-F508-4F20-8146-CEA26FBDFDF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260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9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B2F1F866-5169-4120-8FFB-1DF9844E9D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5105400" y="1870479"/>
            <a:ext cx="1880114" cy="4113994"/>
          </a:xfrm>
          <a:custGeom>
            <a:avLst/>
            <a:gdLst>
              <a:gd name="connsiteX0" fmla="*/ 201060 w 1880114"/>
              <a:gd name="connsiteY0" fmla="*/ 0 h 4113994"/>
              <a:gd name="connsiteX1" fmla="*/ 1679055 w 1880114"/>
              <a:gd name="connsiteY1" fmla="*/ 0 h 4113994"/>
              <a:gd name="connsiteX2" fmla="*/ 1880114 w 1880114"/>
              <a:gd name="connsiteY2" fmla="*/ 201059 h 4113994"/>
              <a:gd name="connsiteX3" fmla="*/ 1880114 w 1880114"/>
              <a:gd name="connsiteY3" fmla="*/ 3912935 h 4113994"/>
              <a:gd name="connsiteX4" fmla="*/ 1679055 w 1880114"/>
              <a:gd name="connsiteY4" fmla="*/ 4113994 h 4113994"/>
              <a:gd name="connsiteX5" fmla="*/ 201060 w 1880114"/>
              <a:gd name="connsiteY5" fmla="*/ 4113994 h 4113994"/>
              <a:gd name="connsiteX6" fmla="*/ 0 w 1880114"/>
              <a:gd name="connsiteY6" fmla="*/ 3912935 h 4113994"/>
              <a:gd name="connsiteX7" fmla="*/ 0 w 1880114"/>
              <a:gd name="connsiteY7" fmla="*/ 201059 h 4113994"/>
              <a:gd name="connsiteX8" fmla="*/ 201060 w 1880114"/>
              <a:gd name="connsiteY8" fmla="*/ 0 h 4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0114" h="4113994">
                <a:moveTo>
                  <a:pt x="201060" y="0"/>
                </a:moveTo>
                <a:lnTo>
                  <a:pt x="1679055" y="0"/>
                </a:lnTo>
                <a:cubicBezTo>
                  <a:pt x="1790097" y="0"/>
                  <a:pt x="1880114" y="90017"/>
                  <a:pt x="1880114" y="201059"/>
                </a:cubicBezTo>
                <a:lnTo>
                  <a:pt x="1880114" y="3912935"/>
                </a:lnTo>
                <a:cubicBezTo>
                  <a:pt x="1880114" y="4023977"/>
                  <a:pt x="1790097" y="4113994"/>
                  <a:pt x="1679055" y="4113994"/>
                </a:cubicBezTo>
                <a:lnTo>
                  <a:pt x="201060" y="4113994"/>
                </a:lnTo>
                <a:cubicBezTo>
                  <a:pt x="90017" y="4113994"/>
                  <a:pt x="0" y="4023977"/>
                  <a:pt x="0" y="3912935"/>
                </a:cubicBezTo>
                <a:lnTo>
                  <a:pt x="0" y="201059"/>
                </a:lnTo>
                <a:cubicBezTo>
                  <a:pt x="0" y="90017"/>
                  <a:pt x="90017" y="0"/>
                  <a:pt x="20106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A0D23F-5DEF-4323-8976-6C1B038EAE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9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D5B6E83-BF17-4D1C-82F3-A11F57416C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C227DF8-443B-4941-83A4-DC331DB432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78F8FF-811D-47AF-8765-89E8B91AA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9" y="4216575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BF6C776-A28F-479B-AFDB-88F2F94E79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1231106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47D7C45-E89F-44EF-A8C6-848F89944F5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388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3098E6-17D7-4206-8B3A-BFC67A2308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19455" y="1592262"/>
            <a:ext cx="3540706" cy="553998"/>
          </a:xfrm>
        </p:spPr>
        <p:txBody>
          <a:bodyPr anchor="b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0187C9-2C83-4B05-AE65-463EBAC07B4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6" y="2242049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178EE9B-072D-47AA-A1CC-0F05E072D0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1298A29-D662-4036-868F-8CE85AC2A9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919455" y="4216400"/>
            <a:ext cx="3540706" cy="554038"/>
          </a:xfrm>
        </p:spPr>
        <p:txBody>
          <a:bodyPr anchor="b">
            <a:noAutofit/>
          </a:bodyPr>
          <a:lstStyle>
            <a:lvl1pPr marL="0" indent="0" algn="l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 Aussag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48D5548-1083-45A5-B2CC-E716A445E9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919455" y="5070058"/>
            <a:ext cx="3540706" cy="12311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3D18FB02-2E18-4354-B214-90B188EC74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059378" y="4866362"/>
            <a:ext cx="440078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677A22C-5B3C-41B3-8ADB-7CEBACF32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6" t="7348" r="49667" b="11621"/>
          <a:stretch/>
        </p:blipFill>
        <p:spPr bwMode="gray">
          <a:xfrm>
            <a:off x="4899889" y="1742647"/>
            <a:ext cx="2291137" cy="4374920"/>
          </a:xfrm>
          <a:custGeom>
            <a:avLst/>
            <a:gdLst>
              <a:gd name="connsiteX0" fmla="*/ 409955 w 2291137"/>
              <a:gd name="connsiteY0" fmla="*/ 143303 h 4374920"/>
              <a:gd name="connsiteX1" fmla="*/ 210408 w 2291137"/>
              <a:gd name="connsiteY1" fmla="*/ 342850 h 4374920"/>
              <a:gd name="connsiteX2" fmla="*/ 210408 w 2291137"/>
              <a:gd name="connsiteY2" fmla="*/ 4026806 h 4374920"/>
              <a:gd name="connsiteX3" fmla="*/ 409955 w 2291137"/>
              <a:gd name="connsiteY3" fmla="*/ 4226353 h 4374920"/>
              <a:gd name="connsiteX4" fmla="*/ 1876833 w 2291137"/>
              <a:gd name="connsiteY4" fmla="*/ 4226353 h 4374920"/>
              <a:gd name="connsiteX5" fmla="*/ 2076380 w 2291137"/>
              <a:gd name="connsiteY5" fmla="*/ 4026806 h 4374920"/>
              <a:gd name="connsiteX6" fmla="*/ 2076380 w 2291137"/>
              <a:gd name="connsiteY6" fmla="*/ 342850 h 4374920"/>
              <a:gd name="connsiteX7" fmla="*/ 1876833 w 2291137"/>
              <a:gd name="connsiteY7" fmla="*/ 143303 h 4374920"/>
              <a:gd name="connsiteX8" fmla="*/ 0 w 2291137"/>
              <a:gd name="connsiteY8" fmla="*/ 0 h 4374920"/>
              <a:gd name="connsiteX9" fmla="*/ 2291137 w 2291137"/>
              <a:gd name="connsiteY9" fmla="*/ 0 h 4374920"/>
              <a:gd name="connsiteX10" fmla="*/ 2291137 w 2291137"/>
              <a:gd name="connsiteY10" fmla="*/ 4374920 h 4374920"/>
              <a:gd name="connsiteX11" fmla="*/ 0 w 2291137"/>
              <a:gd name="connsiteY11" fmla="*/ 4374920 h 437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91137" h="4374920">
                <a:moveTo>
                  <a:pt x="409955" y="143303"/>
                </a:moveTo>
                <a:cubicBezTo>
                  <a:pt x="299748" y="143303"/>
                  <a:pt x="210408" y="232643"/>
                  <a:pt x="210408" y="342850"/>
                </a:cubicBezTo>
                <a:lnTo>
                  <a:pt x="210408" y="4026806"/>
                </a:lnTo>
                <a:cubicBezTo>
                  <a:pt x="210408" y="4137013"/>
                  <a:pt x="299748" y="4226353"/>
                  <a:pt x="409955" y="4226353"/>
                </a:cubicBezTo>
                <a:lnTo>
                  <a:pt x="1876833" y="4226353"/>
                </a:lnTo>
                <a:cubicBezTo>
                  <a:pt x="1987040" y="4226353"/>
                  <a:pt x="2076380" y="4137013"/>
                  <a:pt x="2076380" y="4026806"/>
                </a:cubicBezTo>
                <a:lnTo>
                  <a:pt x="2076380" y="342850"/>
                </a:lnTo>
                <a:cubicBezTo>
                  <a:pt x="2076380" y="232643"/>
                  <a:pt x="1987040" y="143303"/>
                  <a:pt x="1876833" y="143303"/>
                </a:cubicBezTo>
                <a:close/>
                <a:moveTo>
                  <a:pt x="0" y="0"/>
                </a:moveTo>
                <a:lnTo>
                  <a:pt x="2291137" y="0"/>
                </a:lnTo>
                <a:lnTo>
                  <a:pt x="2291137" y="4374920"/>
                </a:lnTo>
                <a:lnTo>
                  <a:pt x="0" y="4374920"/>
                </a:lnTo>
                <a:close/>
              </a:path>
            </a:pathLst>
          </a:cu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6FBC61D-020A-4E88-924E-B75F6590B4F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EBC1A5AC-516A-477E-B6A4-CDC42435898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65FE241-0975-4710-A372-26DCB70C53B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68CE49F-8E1B-483B-B4A8-549EA38F1F9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308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927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bg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A76960C7-7630-405D-B656-3DDD8C123332}" type="datetime1">
              <a:rPr lang="de-DE" smtClean="0"/>
              <a:pPr/>
              <a:t>28.04.22</a:t>
            </a:fld>
            <a:endParaRPr lang="de-DE" dirty="0"/>
          </a:p>
        </p:txBody>
      </p:sp>
      <p:pic>
        <p:nvPicPr>
          <p:cNvPr id="39" name="Grafik 3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C463C1E-02BF-4CCE-9FD0-12FE4BDDC4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2" name="Grafik 39">
            <a:extLst>
              <a:ext uri="{FF2B5EF4-FFF2-40B4-BE49-F238E27FC236}">
                <a16:creationId xmlns:a16="http://schemas.microsoft.com/office/drawing/2014/main" id="{82CDFB96-B8C1-4627-A9BF-5697D7C8F0B5}"/>
              </a:ext>
            </a:extLst>
          </p:cNvPr>
          <p:cNvGrpSpPr/>
          <p:nvPr/>
        </p:nvGrpSpPr>
        <p:grpSpPr bwMode="gray">
          <a:xfrm>
            <a:off x="9282501" y="5337246"/>
            <a:ext cx="589279" cy="185137"/>
            <a:chOff x="9282501" y="5337246"/>
            <a:chExt cx="589279" cy="185137"/>
          </a:xfrm>
          <a:solidFill>
            <a:srgbClr val="FF7E21"/>
          </a:solidFill>
        </p:grpSpPr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32BAC84-5F4C-412D-8BB5-0F6AA167361D}"/>
                </a:ext>
              </a:extLst>
            </p:cNvPr>
            <p:cNvSpPr/>
            <p:nvPr/>
          </p:nvSpPr>
          <p:spPr bwMode="gray">
            <a:xfrm>
              <a:off x="9282501" y="5339504"/>
              <a:ext cx="114017" cy="180622"/>
            </a:xfrm>
            <a:custGeom>
              <a:avLst/>
              <a:gdLst>
                <a:gd name="connsiteX0" fmla="*/ 93698 w 114017"/>
                <a:gd name="connsiteY0" fmla="*/ 180622 h 180622"/>
                <a:gd name="connsiteX1" fmla="*/ 80151 w 114017"/>
                <a:gd name="connsiteY1" fmla="*/ 124178 h 180622"/>
                <a:gd name="connsiteX2" fmla="*/ 32738 w 114017"/>
                <a:gd name="connsiteY2" fmla="*/ 124178 h 180622"/>
                <a:gd name="connsiteX3" fmla="*/ 20320 w 114017"/>
                <a:gd name="connsiteY3" fmla="*/ 180622 h 180622"/>
                <a:gd name="connsiteX4" fmla="*/ 0 w 114017"/>
                <a:gd name="connsiteY4" fmla="*/ 180622 h 180622"/>
                <a:gd name="connsiteX5" fmla="*/ 44027 w 114017"/>
                <a:gd name="connsiteY5" fmla="*/ 0 h 180622"/>
                <a:gd name="connsiteX6" fmla="*/ 68862 w 114017"/>
                <a:gd name="connsiteY6" fmla="*/ 0 h 180622"/>
                <a:gd name="connsiteX7" fmla="*/ 114018 w 114017"/>
                <a:gd name="connsiteY7" fmla="*/ 180622 h 180622"/>
                <a:gd name="connsiteX8" fmla="*/ 93698 w 114017"/>
                <a:gd name="connsiteY8" fmla="*/ 180622 h 180622"/>
                <a:gd name="connsiteX9" fmla="*/ 64347 w 114017"/>
                <a:gd name="connsiteY9" fmla="*/ 55315 h 180622"/>
                <a:gd name="connsiteX10" fmla="*/ 56444 w 114017"/>
                <a:gd name="connsiteY10" fmla="*/ 15804 h 180622"/>
                <a:gd name="connsiteX11" fmla="*/ 48542 w 114017"/>
                <a:gd name="connsiteY11" fmla="*/ 55315 h 180622"/>
                <a:gd name="connsiteX12" fmla="*/ 36124 w 114017"/>
                <a:gd name="connsiteY12" fmla="*/ 107244 h 180622"/>
                <a:gd name="connsiteX13" fmla="*/ 76764 w 114017"/>
                <a:gd name="connsiteY13" fmla="*/ 107244 h 180622"/>
                <a:gd name="connsiteX14" fmla="*/ 64347 w 114017"/>
                <a:gd name="connsiteY14" fmla="*/ 55315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180622">
                  <a:moveTo>
                    <a:pt x="93698" y="180622"/>
                  </a:moveTo>
                  <a:lnTo>
                    <a:pt x="80151" y="124178"/>
                  </a:lnTo>
                  <a:lnTo>
                    <a:pt x="32738" y="124178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44027" y="0"/>
                  </a:lnTo>
                  <a:lnTo>
                    <a:pt x="68862" y="0"/>
                  </a:lnTo>
                  <a:lnTo>
                    <a:pt x="114018" y="180622"/>
                  </a:lnTo>
                  <a:lnTo>
                    <a:pt x="93698" y="180622"/>
                  </a:lnTo>
                  <a:close/>
                  <a:moveTo>
                    <a:pt x="64347" y="55315"/>
                  </a:moveTo>
                  <a:lnTo>
                    <a:pt x="56444" y="15804"/>
                  </a:lnTo>
                  <a:lnTo>
                    <a:pt x="48542" y="55315"/>
                  </a:lnTo>
                  <a:lnTo>
                    <a:pt x="36124" y="107244"/>
                  </a:lnTo>
                  <a:lnTo>
                    <a:pt x="76764" y="107244"/>
                  </a:lnTo>
                  <a:lnTo>
                    <a:pt x="64347" y="55315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C13B1D1E-6BA9-41DE-9460-45E8ED64492A}"/>
                </a:ext>
              </a:extLst>
            </p:cNvPr>
            <p:cNvSpPr/>
            <p:nvPr/>
          </p:nvSpPr>
          <p:spPr bwMode="gray">
            <a:xfrm>
              <a:off x="9425869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6AEAFC2-07DE-4D8D-A17B-ED03D8B652B5}"/>
                </a:ext>
              </a:extLst>
            </p:cNvPr>
            <p:cNvSpPr/>
            <p:nvPr/>
          </p:nvSpPr>
          <p:spPr bwMode="gray">
            <a:xfrm>
              <a:off x="9539887" y="5339504"/>
              <a:ext cx="85795" cy="180622"/>
            </a:xfrm>
            <a:custGeom>
              <a:avLst/>
              <a:gdLst>
                <a:gd name="connsiteX0" fmla="*/ 0 w 85795"/>
                <a:gd name="connsiteY0" fmla="*/ 180622 h 180622"/>
                <a:gd name="connsiteX1" fmla="*/ 0 w 85795"/>
                <a:gd name="connsiteY1" fmla="*/ 0 h 180622"/>
                <a:gd name="connsiteX2" fmla="*/ 20320 w 85795"/>
                <a:gd name="connsiteY2" fmla="*/ 0 h 180622"/>
                <a:gd name="connsiteX3" fmla="*/ 20320 w 85795"/>
                <a:gd name="connsiteY3" fmla="*/ 163689 h 180622"/>
                <a:gd name="connsiteX4" fmla="*/ 85795 w 85795"/>
                <a:gd name="connsiteY4" fmla="*/ 163689 h 180622"/>
                <a:gd name="connsiteX5" fmla="*/ 85795 w 85795"/>
                <a:gd name="connsiteY5" fmla="*/ 180622 h 180622"/>
                <a:gd name="connsiteX6" fmla="*/ 0 w 85795"/>
                <a:gd name="connsiteY6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95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63689"/>
                  </a:lnTo>
                  <a:lnTo>
                    <a:pt x="85795" y="163689"/>
                  </a:lnTo>
                  <a:lnTo>
                    <a:pt x="85795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F2A71D04-8916-414C-9DA8-A8AA7E08262F}"/>
                </a:ext>
              </a:extLst>
            </p:cNvPr>
            <p:cNvSpPr/>
            <p:nvPr/>
          </p:nvSpPr>
          <p:spPr bwMode="gray">
            <a:xfrm>
              <a:off x="9653905" y="5339504"/>
              <a:ext cx="89182" cy="180622"/>
            </a:xfrm>
            <a:custGeom>
              <a:avLst/>
              <a:gdLst>
                <a:gd name="connsiteX0" fmla="*/ 0 w 89182"/>
                <a:gd name="connsiteY0" fmla="*/ 180622 h 180622"/>
                <a:gd name="connsiteX1" fmla="*/ 0 w 89182"/>
                <a:gd name="connsiteY1" fmla="*/ 0 h 180622"/>
                <a:gd name="connsiteX2" fmla="*/ 86924 w 89182"/>
                <a:gd name="connsiteY2" fmla="*/ 0 h 180622"/>
                <a:gd name="connsiteX3" fmla="*/ 86924 w 89182"/>
                <a:gd name="connsiteY3" fmla="*/ 16933 h 180622"/>
                <a:gd name="connsiteX4" fmla="*/ 20320 w 89182"/>
                <a:gd name="connsiteY4" fmla="*/ 16933 h 180622"/>
                <a:gd name="connsiteX5" fmla="*/ 20320 w 89182"/>
                <a:gd name="connsiteY5" fmla="*/ 77893 h 180622"/>
                <a:gd name="connsiteX6" fmla="*/ 80151 w 89182"/>
                <a:gd name="connsiteY6" fmla="*/ 77893 h 180622"/>
                <a:gd name="connsiteX7" fmla="*/ 80151 w 89182"/>
                <a:gd name="connsiteY7" fmla="*/ 94827 h 180622"/>
                <a:gd name="connsiteX8" fmla="*/ 20320 w 89182"/>
                <a:gd name="connsiteY8" fmla="*/ 94827 h 180622"/>
                <a:gd name="connsiteX9" fmla="*/ 20320 w 89182"/>
                <a:gd name="connsiteY9" fmla="*/ 163689 h 180622"/>
                <a:gd name="connsiteX10" fmla="*/ 89182 w 89182"/>
                <a:gd name="connsiteY10" fmla="*/ 163689 h 180622"/>
                <a:gd name="connsiteX11" fmla="*/ 89182 w 89182"/>
                <a:gd name="connsiteY11" fmla="*/ 180622 h 180622"/>
                <a:gd name="connsiteX12" fmla="*/ 0 w 89182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182" h="180622">
                  <a:moveTo>
                    <a:pt x="0" y="180622"/>
                  </a:moveTo>
                  <a:lnTo>
                    <a:pt x="0" y="0"/>
                  </a:lnTo>
                  <a:lnTo>
                    <a:pt x="86924" y="0"/>
                  </a:lnTo>
                  <a:lnTo>
                    <a:pt x="86924" y="16933"/>
                  </a:lnTo>
                  <a:lnTo>
                    <a:pt x="20320" y="16933"/>
                  </a:lnTo>
                  <a:lnTo>
                    <a:pt x="20320" y="77893"/>
                  </a:lnTo>
                  <a:lnTo>
                    <a:pt x="80151" y="77893"/>
                  </a:lnTo>
                  <a:lnTo>
                    <a:pt x="80151" y="94827"/>
                  </a:lnTo>
                  <a:lnTo>
                    <a:pt x="20320" y="94827"/>
                  </a:lnTo>
                  <a:lnTo>
                    <a:pt x="20320" y="163689"/>
                  </a:lnTo>
                  <a:lnTo>
                    <a:pt x="89182" y="163689"/>
                  </a:lnTo>
                  <a:lnTo>
                    <a:pt x="89182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3F7B5A2-CCB4-4C75-95EA-A4F03F2BA6ED}"/>
                </a:ext>
              </a:extLst>
            </p:cNvPr>
            <p:cNvSpPr/>
            <p:nvPr/>
          </p:nvSpPr>
          <p:spPr bwMode="gray">
            <a:xfrm>
              <a:off x="9767922" y="5337246"/>
              <a:ext cx="103857" cy="185137"/>
            </a:xfrm>
            <a:custGeom>
              <a:avLst/>
              <a:gdLst>
                <a:gd name="connsiteX0" fmla="*/ 48542 w 103857"/>
                <a:gd name="connsiteY0" fmla="*/ 185138 h 185137"/>
                <a:gd name="connsiteX1" fmla="*/ 0 w 103857"/>
                <a:gd name="connsiteY1" fmla="*/ 178364 h 185137"/>
                <a:gd name="connsiteX2" fmla="*/ 0 w 103857"/>
                <a:gd name="connsiteY2" fmla="*/ 147884 h 185137"/>
                <a:gd name="connsiteX3" fmla="*/ 19191 w 103857"/>
                <a:gd name="connsiteY3" fmla="*/ 147884 h 185137"/>
                <a:gd name="connsiteX4" fmla="*/ 19191 w 103857"/>
                <a:gd name="connsiteY4" fmla="*/ 165946 h 185137"/>
                <a:gd name="connsiteX5" fmla="*/ 49671 w 103857"/>
                <a:gd name="connsiteY5" fmla="*/ 169333 h 185137"/>
                <a:gd name="connsiteX6" fmla="*/ 82409 w 103857"/>
                <a:gd name="connsiteY6" fmla="*/ 135467 h 185137"/>
                <a:gd name="connsiteX7" fmla="*/ 1129 w 103857"/>
                <a:gd name="connsiteY7" fmla="*/ 49671 h 185137"/>
                <a:gd name="connsiteX8" fmla="*/ 53058 w 103857"/>
                <a:gd name="connsiteY8" fmla="*/ 0 h 185137"/>
                <a:gd name="connsiteX9" fmla="*/ 97084 w 103857"/>
                <a:gd name="connsiteY9" fmla="*/ 6773 h 185137"/>
                <a:gd name="connsiteX10" fmla="*/ 97084 w 103857"/>
                <a:gd name="connsiteY10" fmla="*/ 38382 h 185137"/>
                <a:gd name="connsiteX11" fmla="*/ 77893 w 103857"/>
                <a:gd name="connsiteY11" fmla="*/ 38382 h 185137"/>
                <a:gd name="connsiteX12" fmla="*/ 77893 w 103857"/>
                <a:gd name="connsiteY12" fmla="*/ 19191 h 185137"/>
                <a:gd name="connsiteX13" fmla="*/ 56444 w 103857"/>
                <a:gd name="connsiteY13" fmla="*/ 15804 h 185137"/>
                <a:gd name="connsiteX14" fmla="*/ 21449 w 103857"/>
                <a:gd name="connsiteY14" fmla="*/ 46284 h 185137"/>
                <a:gd name="connsiteX15" fmla="*/ 103858 w 103857"/>
                <a:gd name="connsiteY15" fmla="*/ 133209 h 185137"/>
                <a:gd name="connsiteX16" fmla="*/ 48542 w 103857"/>
                <a:gd name="connsiteY16" fmla="*/ 185138 h 18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857" h="185137">
                  <a:moveTo>
                    <a:pt x="48542" y="185138"/>
                  </a:moveTo>
                  <a:cubicBezTo>
                    <a:pt x="18062" y="185138"/>
                    <a:pt x="0" y="178364"/>
                    <a:pt x="0" y="178364"/>
                  </a:cubicBezTo>
                  <a:lnTo>
                    <a:pt x="0" y="147884"/>
                  </a:lnTo>
                  <a:lnTo>
                    <a:pt x="19191" y="147884"/>
                  </a:lnTo>
                  <a:lnTo>
                    <a:pt x="19191" y="165946"/>
                  </a:lnTo>
                  <a:cubicBezTo>
                    <a:pt x="19191" y="165946"/>
                    <a:pt x="32738" y="169333"/>
                    <a:pt x="49671" y="169333"/>
                  </a:cubicBezTo>
                  <a:cubicBezTo>
                    <a:pt x="69991" y="169333"/>
                    <a:pt x="82409" y="159173"/>
                    <a:pt x="82409" y="135467"/>
                  </a:cubicBezTo>
                  <a:cubicBezTo>
                    <a:pt x="82409" y="92569"/>
                    <a:pt x="1129" y="103858"/>
                    <a:pt x="1129" y="49671"/>
                  </a:cubicBezTo>
                  <a:cubicBezTo>
                    <a:pt x="1129" y="5644"/>
                    <a:pt x="40640" y="0"/>
                    <a:pt x="53058" y="0"/>
                  </a:cubicBezTo>
                  <a:cubicBezTo>
                    <a:pt x="81280" y="0"/>
                    <a:pt x="97084" y="6773"/>
                    <a:pt x="97084" y="6773"/>
                  </a:cubicBezTo>
                  <a:lnTo>
                    <a:pt x="97084" y="38382"/>
                  </a:lnTo>
                  <a:lnTo>
                    <a:pt x="77893" y="38382"/>
                  </a:lnTo>
                  <a:lnTo>
                    <a:pt x="77893" y="19191"/>
                  </a:lnTo>
                  <a:cubicBezTo>
                    <a:pt x="77893" y="19191"/>
                    <a:pt x="71120" y="15804"/>
                    <a:pt x="56444" y="15804"/>
                  </a:cubicBezTo>
                  <a:cubicBezTo>
                    <a:pt x="40640" y="15804"/>
                    <a:pt x="21449" y="20320"/>
                    <a:pt x="21449" y="46284"/>
                  </a:cubicBezTo>
                  <a:cubicBezTo>
                    <a:pt x="21449" y="89182"/>
                    <a:pt x="103858" y="74507"/>
                    <a:pt x="103858" y="133209"/>
                  </a:cubicBezTo>
                  <a:cubicBezTo>
                    <a:pt x="103858" y="170462"/>
                    <a:pt x="81280" y="185138"/>
                    <a:pt x="48542" y="185138"/>
                  </a:cubicBez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48" name="Grafik 39">
            <a:extLst>
              <a:ext uri="{FF2B5EF4-FFF2-40B4-BE49-F238E27FC236}">
                <a16:creationId xmlns:a16="http://schemas.microsoft.com/office/drawing/2014/main" id="{8CA0E69C-E9B9-49E5-8481-751ADEAC1C20}"/>
              </a:ext>
            </a:extLst>
          </p:cNvPr>
          <p:cNvGrpSpPr/>
          <p:nvPr/>
        </p:nvGrpSpPr>
        <p:grpSpPr bwMode="gray">
          <a:xfrm>
            <a:off x="9548918" y="5891530"/>
            <a:ext cx="325119" cy="181750"/>
            <a:chOff x="9548918" y="5891530"/>
            <a:chExt cx="325119" cy="181750"/>
          </a:xfrm>
          <a:solidFill>
            <a:srgbClr val="FF7E2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04263EA-02C3-4DE6-BD4F-00B26972324F}"/>
                </a:ext>
              </a:extLst>
            </p:cNvPr>
            <p:cNvSpPr/>
            <p:nvPr/>
          </p:nvSpPr>
          <p:spPr bwMode="gray">
            <a:xfrm>
              <a:off x="9548918" y="5891530"/>
              <a:ext cx="133208" cy="181750"/>
            </a:xfrm>
            <a:custGeom>
              <a:avLst/>
              <a:gdLst>
                <a:gd name="connsiteX0" fmla="*/ 114018 w 133208"/>
                <a:gd name="connsiteY0" fmla="*/ 181751 h 181750"/>
                <a:gd name="connsiteX1" fmla="*/ 114018 w 133208"/>
                <a:gd name="connsiteY1" fmla="*/ 31609 h 181750"/>
                <a:gd name="connsiteX2" fmla="*/ 76764 w 133208"/>
                <a:gd name="connsiteY2" fmla="*/ 180622 h 181750"/>
                <a:gd name="connsiteX3" fmla="*/ 58702 w 133208"/>
                <a:gd name="connsiteY3" fmla="*/ 180622 h 181750"/>
                <a:gd name="connsiteX4" fmla="*/ 20320 w 133208"/>
                <a:gd name="connsiteY4" fmla="*/ 31609 h 181750"/>
                <a:gd name="connsiteX5" fmla="*/ 20320 w 133208"/>
                <a:gd name="connsiteY5" fmla="*/ 180622 h 181750"/>
                <a:gd name="connsiteX6" fmla="*/ 0 w 133208"/>
                <a:gd name="connsiteY6" fmla="*/ 180622 h 181750"/>
                <a:gd name="connsiteX7" fmla="*/ 0 w 133208"/>
                <a:gd name="connsiteY7" fmla="*/ 0 h 181750"/>
                <a:gd name="connsiteX8" fmla="*/ 31609 w 133208"/>
                <a:gd name="connsiteY8" fmla="*/ 0 h 181750"/>
                <a:gd name="connsiteX9" fmla="*/ 66604 w 133208"/>
                <a:gd name="connsiteY9" fmla="*/ 139982 h 181750"/>
                <a:gd name="connsiteX10" fmla="*/ 101600 w 133208"/>
                <a:gd name="connsiteY10" fmla="*/ 0 h 181750"/>
                <a:gd name="connsiteX11" fmla="*/ 133209 w 133208"/>
                <a:gd name="connsiteY11" fmla="*/ 0 h 181750"/>
                <a:gd name="connsiteX12" fmla="*/ 133209 w 133208"/>
                <a:gd name="connsiteY12" fmla="*/ 180622 h 181750"/>
                <a:gd name="connsiteX13" fmla="*/ 114018 w 133208"/>
                <a:gd name="connsiteY13" fmla="*/ 180622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208" h="181750">
                  <a:moveTo>
                    <a:pt x="114018" y="181751"/>
                  </a:moveTo>
                  <a:lnTo>
                    <a:pt x="114018" y="31609"/>
                  </a:lnTo>
                  <a:lnTo>
                    <a:pt x="76764" y="180622"/>
                  </a:lnTo>
                  <a:lnTo>
                    <a:pt x="58702" y="180622"/>
                  </a:lnTo>
                  <a:lnTo>
                    <a:pt x="20320" y="31609"/>
                  </a:lnTo>
                  <a:lnTo>
                    <a:pt x="20320" y="180622"/>
                  </a:lnTo>
                  <a:lnTo>
                    <a:pt x="0" y="180622"/>
                  </a:lnTo>
                  <a:lnTo>
                    <a:pt x="0" y="0"/>
                  </a:lnTo>
                  <a:lnTo>
                    <a:pt x="31609" y="0"/>
                  </a:lnTo>
                  <a:lnTo>
                    <a:pt x="66604" y="139982"/>
                  </a:lnTo>
                  <a:lnTo>
                    <a:pt x="101600" y="0"/>
                  </a:lnTo>
                  <a:lnTo>
                    <a:pt x="133209" y="0"/>
                  </a:lnTo>
                  <a:lnTo>
                    <a:pt x="133209" y="180622"/>
                  </a:lnTo>
                  <a:lnTo>
                    <a:pt x="114018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13B829F8-B777-439E-A528-4CA62AAF6C7B}"/>
                </a:ext>
              </a:extLst>
            </p:cNvPr>
            <p:cNvSpPr/>
            <p:nvPr/>
          </p:nvSpPr>
          <p:spPr bwMode="gray">
            <a:xfrm>
              <a:off x="9720509" y="5892659"/>
              <a:ext cx="20320" cy="180622"/>
            </a:xfrm>
            <a:custGeom>
              <a:avLst/>
              <a:gdLst>
                <a:gd name="connsiteX0" fmla="*/ 0 w 20320"/>
                <a:gd name="connsiteY0" fmla="*/ 180622 h 180622"/>
                <a:gd name="connsiteX1" fmla="*/ 0 w 20320"/>
                <a:gd name="connsiteY1" fmla="*/ 0 h 180622"/>
                <a:gd name="connsiteX2" fmla="*/ 20320 w 20320"/>
                <a:gd name="connsiteY2" fmla="*/ 0 h 180622"/>
                <a:gd name="connsiteX3" fmla="*/ 20320 w 20320"/>
                <a:gd name="connsiteY3" fmla="*/ 180622 h 180622"/>
                <a:gd name="connsiteX4" fmla="*/ 0 w 20320"/>
                <a:gd name="connsiteY4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" h="180622">
                  <a:moveTo>
                    <a:pt x="0" y="180622"/>
                  </a:moveTo>
                  <a:lnTo>
                    <a:pt x="0" y="0"/>
                  </a:lnTo>
                  <a:lnTo>
                    <a:pt x="20320" y="0"/>
                  </a:lnTo>
                  <a:lnTo>
                    <a:pt x="20320" y="180622"/>
                  </a:lnTo>
                  <a:lnTo>
                    <a:pt x="0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6F959D5-FB04-454F-B0CE-74D3EA342755}"/>
                </a:ext>
              </a:extLst>
            </p:cNvPr>
            <p:cNvSpPr/>
            <p:nvPr/>
          </p:nvSpPr>
          <p:spPr bwMode="gray">
            <a:xfrm>
              <a:off x="9770180" y="5892659"/>
              <a:ext cx="103857" cy="180622"/>
            </a:xfrm>
            <a:custGeom>
              <a:avLst/>
              <a:gdLst>
                <a:gd name="connsiteX0" fmla="*/ 62089 w 103857"/>
                <a:gd name="connsiteY0" fmla="*/ 16933 h 180622"/>
                <a:gd name="connsiteX1" fmla="*/ 62089 w 103857"/>
                <a:gd name="connsiteY1" fmla="*/ 180622 h 180622"/>
                <a:gd name="connsiteX2" fmla="*/ 41769 w 103857"/>
                <a:gd name="connsiteY2" fmla="*/ 180622 h 180622"/>
                <a:gd name="connsiteX3" fmla="*/ 41769 w 103857"/>
                <a:gd name="connsiteY3" fmla="*/ 16933 h 180622"/>
                <a:gd name="connsiteX4" fmla="*/ 0 w 103857"/>
                <a:gd name="connsiteY4" fmla="*/ 16933 h 180622"/>
                <a:gd name="connsiteX5" fmla="*/ 0 w 103857"/>
                <a:gd name="connsiteY5" fmla="*/ 0 h 180622"/>
                <a:gd name="connsiteX6" fmla="*/ 103858 w 103857"/>
                <a:gd name="connsiteY6" fmla="*/ 0 h 180622"/>
                <a:gd name="connsiteX7" fmla="*/ 103858 w 103857"/>
                <a:gd name="connsiteY7" fmla="*/ 16933 h 180622"/>
                <a:gd name="connsiteX8" fmla="*/ 62089 w 103857"/>
                <a:gd name="connsiteY8" fmla="*/ 16933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857" h="180622">
                  <a:moveTo>
                    <a:pt x="62089" y="16933"/>
                  </a:moveTo>
                  <a:lnTo>
                    <a:pt x="62089" y="180622"/>
                  </a:lnTo>
                  <a:lnTo>
                    <a:pt x="41769" y="180622"/>
                  </a:lnTo>
                  <a:lnTo>
                    <a:pt x="41769" y="16933"/>
                  </a:lnTo>
                  <a:lnTo>
                    <a:pt x="0" y="16933"/>
                  </a:lnTo>
                  <a:lnTo>
                    <a:pt x="0" y="0"/>
                  </a:lnTo>
                  <a:lnTo>
                    <a:pt x="103858" y="0"/>
                  </a:lnTo>
                  <a:lnTo>
                    <a:pt x="103858" y="16933"/>
                  </a:lnTo>
                  <a:lnTo>
                    <a:pt x="62089" y="16933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52" name="Grafik 39">
            <a:extLst>
              <a:ext uri="{FF2B5EF4-FFF2-40B4-BE49-F238E27FC236}">
                <a16:creationId xmlns:a16="http://schemas.microsoft.com/office/drawing/2014/main" id="{202023FA-3927-4768-A5FA-7DE53DAE7E7F}"/>
              </a:ext>
            </a:extLst>
          </p:cNvPr>
          <p:cNvGrpSpPr/>
          <p:nvPr/>
        </p:nvGrpSpPr>
        <p:grpSpPr bwMode="gray">
          <a:xfrm>
            <a:off x="8730474" y="5613823"/>
            <a:ext cx="1137919" cy="187395"/>
            <a:chOff x="8730474" y="5613823"/>
            <a:chExt cx="1137919" cy="187395"/>
          </a:xfrm>
          <a:solidFill>
            <a:srgbClr val="FF7E21"/>
          </a:solidFill>
        </p:grpSpPr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1ADF0553-56BA-4D2B-85C5-79A67D78C49C}"/>
                </a:ext>
              </a:extLst>
            </p:cNvPr>
            <p:cNvSpPr/>
            <p:nvPr/>
          </p:nvSpPr>
          <p:spPr bwMode="gray">
            <a:xfrm>
              <a:off x="8730474" y="5616081"/>
              <a:ext cx="216746" cy="180622"/>
            </a:xfrm>
            <a:custGeom>
              <a:avLst/>
              <a:gdLst>
                <a:gd name="connsiteX0" fmla="*/ 104987 w 216746"/>
                <a:gd name="connsiteY0" fmla="*/ 115147 h 180622"/>
                <a:gd name="connsiteX1" fmla="*/ 104987 w 216746"/>
                <a:gd name="connsiteY1" fmla="*/ 112889 h 180622"/>
                <a:gd name="connsiteX2" fmla="*/ 107244 w 216746"/>
                <a:gd name="connsiteY2" fmla="*/ 104987 h 180622"/>
                <a:gd name="connsiteX3" fmla="*/ 110631 w 216746"/>
                <a:gd name="connsiteY3" fmla="*/ 94827 h 180622"/>
                <a:gd name="connsiteX4" fmla="*/ 114018 w 216746"/>
                <a:gd name="connsiteY4" fmla="*/ 83538 h 180622"/>
                <a:gd name="connsiteX5" fmla="*/ 139982 w 216746"/>
                <a:gd name="connsiteY5" fmla="*/ 0 h 180622"/>
                <a:gd name="connsiteX6" fmla="*/ 216746 w 216746"/>
                <a:gd name="connsiteY6" fmla="*/ 0 h 180622"/>
                <a:gd name="connsiteX7" fmla="*/ 195298 w 216746"/>
                <a:gd name="connsiteY7" fmla="*/ 180622 h 180622"/>
                <a:gd name="connsiteX8" fmla="*/ 144498 w 216746"/>
                <a:gd name="connsiteY8" fmla="*/ 180622 h 180622"/>
                <a:gd name="connsiteX9" fmla="*/ 147884 w 216746"/>
                <a:gd name="connsiteY9" fmla="*/ 146755 h 180622"/>
                <a:gd name="connsiteX10" fmla="*/ 151271 w 216746"/>
                <a:gd name="connsiteY10" fmla="*/ 111760 h 180622"/>
                <a:gd name="connsiteX11" fmla="*/ 155787 w 216746"/>
                <a:gd name="connsiteY11" fmla="*/ 77893 h 180622"/>
                <a:gd name="connsiteX12" fmla="*/ 161431 w 216746"/>
                <a:gd name="connsiteY12" fmla="*/ 47413 h 180622"/>
                <a:gd name="connsiteX13" fmla="*/ 160302 w 216746"/>
                <a:gd name="connsiteY13" fmla="*/ 47413 h 180622"/>
                <a:gd name="connsiteX14" fmla="*/ 158044 w 216746"/>
                <a:gd name="connsiteY14" fmla="*/ 54187 h 180622"/>
                <a:gd name="connsiteX15" fmla="*/ 154658 w 216746"/>
                <a:gd name="connsiteY15" fmla="*/ 65475 h 180622"/>
                <a:gd name="connsiteX16" fmla="*/ 151271 w 216746"/>
                <a:gd name="connsiteY16" fmla="*/ 77893 h 180622"/>
                <a:gd name="connsiteX17" fmla="*/ 147884 w 216746"/>
                <a:gd name="connsiteY17" fmla="*/ 88053 h 180622"/>
                <a:gd name="connsiteX18" fmla="*/ 117404 w 216746"/>
                <a:gd name="connsiteY18" fmla="*/ 179493 h 180622"/>
                <a:gd name="connsiteX19" fmla="*/ 75635 w 216746"/>
                <a:gd name="connsiteY19" fmla="*/ 179493 h 180622"/>
                <a:gd name="connsiteX20" fmla="*/ 69991 w 216746"/>
                <a:gd name="connsiteY20" fmla="*/ 114018 h 180622"/>
                <a:gd name="connsiteX21" fmla="*/ 66604 w 216746"/>
                <a:gd name="connsiteY21" fmla="*/ 49671 h 180622"/>
                <a:gd name="connsiteX22" fmla="*/ 64347 w 216746"/>
                <a:gd name="connsiteY22" fmla="*/ 49671 h 180622"/>
                <a:gd name="connsiteX23" fmla="*/ 63218 w 216746"/>
                <a:gd name="connsiteY23" fmla="*/ 56444 h 180622"/>
                <a:gd name="connsiteX24" fmla="*/ 62089 w 216746"/>
                <a:gd name="connsiteY24" fmla="*/ 67733 h 180622"/>
                <a:gd name="connsiteX25" fmla="*/ 60960 w 216746"/>
                <a:gd name="connsiteY25" fmla="*/ 80151 h 180622"/>
                <a:gd name="connsiteX26" fmla="*/ 59831 w 216746"/>
                <a:gd name="connsiteY26" fmla="*/ 89182 h 180622"/>
                <a:gd name="connsiteX27" fmla="*/ 48542 w 216746"/>
                <a:gd name="connsiteY27" fmla="*/ 180622 h 180622"/>
                <a:gd name="connsiteX28" fmla="*/ 0 w 216746"/>
                <a:gd name="connsiteY28" fmla="*/ 180622 h 180622"/>
                <a:gd name="connsiteX29" fmla="*/ 21449 w 216746"/>
                <a:gd name="connsiteY29" fmla="*/ 0 h 180622"/>
                <a:gd name="connsiteX30" fmla="*/ 95955 w 216746"/>
                <a:gd name="connsiteY30" fmla="*/ 0 h 180622"/>
                <a:gd name="connsiteX31" fmla="*/ 102729 w 216746"/>
                <a:gd name="connsiteY31" fmla="*/ 83538 h 180622"/>
                <a:gd name="connsiteX32" fmla="*/ 103858 w 216746"/>
                <a:gd name="connsiteY32" fmla="*/ 99342 h 180622"/>
                <a:gd name="connsiteX33" fmla="*/ 103858 w 216746"/>
                <a:gd name="connsiteY33" fmla="*/ 111760 h 180622"/>
                <a:gd name="connsiteX34" fmla="*/ 104987 w 216746"/>
                <a:gd name="connsiteY34" fmla="*/ 115147 h 180622"/>
                <a:gd name="connsiteX35" fmla="*/ 104987 w 216746"/>
                <a:gd name="connsiteY35" fmla="*/ 115147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6746" h="180622">
                  <a:moveTo>
                    <a:pt x="104987" y="115147"/>
                  </a:moveTo>
                  <a:lnTo>
                    <a:pt x="104987" y="112889"/>
                  </a:lnTo>
                  <a:cubicBezTo>
                    <a:pt x="104987" y="110631"/>
                    <a:pt x="106115" y="108373"/>
                    <a:pt x="107244" y="104987"/>
                  </a:cubicBezTo>
                  <a:cubicBezTo>
                    <a:pt x="108373" y="101600"/>
                    <a:pt x="109502" y="98213"/>
                    <a:pt x="110631" y="94827"/>
                  </a:cubicBezTo>
                  <a:cubicBezTo>
                    <a:pt x="111760" y="91440"/>
                    <a:pt x="112889" y="86924"/>
                    <a:pt x="114018" y="83538"/>
                  </a:cubicBezTo>
                  <a:lnTo>
                    <a:pt x="139982" y="0"/>
                  </a:lnTo>
                  <a:lnTo>
                    <a:pt x="216746" y="0"/>
                  </a:lnTo>
                  <a:lnTo>
                    <a:pt x="195298" y="180622"/>
                  </a:lnTo>
                  <a:lnTo>
                    <a:pt x="144498" y="180622"/>
                  </a:lnTo>
                  <a:cubicBezTo>
                    <a:pt x="145627" y="170462"/>
                    <a:pt x="146755" y="159173"/>
                    <a:pt x="147884" y="146755"/>
                  </a:cubicBezTo>
                  <a:cubicBezTo>
                    <a:pt x="149013" y="135467"/>
                    <a:pt x="150142" y="124178"/>
                    <a:pt x="151271" y="111760"/>
                  </a:cubicBezTo>
                  <a:cubicBezTo>
                    <a:pt x="152400" y="100471"/>
                    <a:pt x="153529" y="89182"/>
                    <a:pt x="155787" y="77893"/>
                  </a:cubicBezTo>
                  <a:cubicBezTo>
                    <a:pt x="158044" y="66604"/>
                    <a:pt x="159173" y="56444"/>
                    <a:pt x="161431" y="47413"/>
                  </a:cubicBezTo>
                  <a:lnTo>
                    <a:pt x="160302" y="47413"/>
                  </a:lnTo>
                  <a:cubicBezTo>
                    <a:pt x="160302" y="48542"/>
                    <a:pt x="159173" y="50800"/>
                    <a:pt x="158044" y="54187"/>
                  </a:cubicBezTo>
                  <a:cubicBezTo>
                    <a:pt x="156915" y="57573"/>
                    <a:pt x="155787" y="60960"/>
                    <a:pt x="154658" y="65475"/>
                  </a:cubicBezTo>
                  <a:cubicBezTo>
                    <a:pt x="153529" y="69991"/>
                    <a:pt x="152400" y="73378"/>
                    <a:pt x="151271" y="77893"/>
                  </a:cubicBezTo>
                  <a:cubicBezTo>
                    <a:pt x="150142" y="82409"/>
                    <a:pt x="149013" y="85795"/>
                    <a:pt x="147884" y="88053"/>
                  </a:cubicBezTo>
                  <a:lnTo>
                    <a:pt x="117404" y="179493"/>
                  </a:lnTo>
                  <a:lnTo>
                    <a:pt x="75635" y="179493"/>
                  </a:lnTo>
                  <a:cubicBezTo>
                    <a:pt x="73378" y="158044"/>
                    <a:pt x="71120" y="136595"/>
                    <a:pt x="69991" y="114018"/>
                  </a:cubicBezTo>
                  <a:cubicBezTo>
                    <a:pt x="67733" y="92569"/>
                    <a:pt x="66604" y="71120"/>
                    <a:pt x="66604" y="49671"/>
                  </a:cubicBezTo>
                  <a:lnTo>
                    <a:pt x="64347" y="49671"/>
                  </a:lnTo>
                  <a:cubicBezTo>
                    <a:pt x="64347" y="50800"/>
                    <a:pt x="64347" y="53058"/>
                    <a:pt x="63218" y="56444"/>
                  </a:cubicBezTo>
                  <a:cubicBezTo>
                    <a:pt x="62089" y="59831"/>
                    <a:pt x="63218" y="63218"/>
                    <a:pt x="62089" y="67733"/>
                  </a:cubicBezTo>
                  <a:cubicBezTo>
                    <a:pt x="62089" y="72249"/>
                    <a:pt x="60960" y="75635"/>
                    <a:pt x="60960" y="80151"/>
                  </a:cubicBezTo>
                  <a:cubicBezTo>
                    <a:pt x="60960" y="84667"/>
                    <a:pt x="59831" y="86924"/>
                    <a:pt x="59831" y="89182"/>
                  </a:cubicBezTo>
                  <a:lnTo>
                    <a:pt x="48542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lnTo>
                    <a:pt x="102729" y="83538"/>
                  </a:lnTo>
                  <a:cubicBezTo>
                    <a:pt x="102729" y="89182"/>
                    <a:pt x="103858" y="93698"/>
                    <a:pt x="103858" y="99342"/>
                  </a:cubicBezTo>
                  <a:cubicBezTo>
                    <a:pt x="103858" y="103858"/>
                    <a:pt x="103858" y="108373"/>
                    <a:pt x="103858" y="111760"/>
                  </a:cubicBezTo>
                  <a:lnTo>
                    <a:pt x="104987" y="115147"/>
                  </a:lnTo>
                  <a:lnTo>
                    <a:pt x="104987" y="115147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7D6EFAC6-A8E7-4F8D-8FE1-0C948DA3D461}"/>
                </a:ext>
              </a:extLst>
            </p:cNvPr>
            <p:cNvSpPr/>
            <p:nvPr/>
          </p:nvSpPr>
          <p:spPr bwMode="gray">
            <a:xfrm>
              <a:off x="8940447" y="5614952"/>
              <a:ext cx="150142" cy="181750"/>
            </a:xfrm>
            <a:custGeom>
              <a:avLst/>
              <a:gdLst>
                <a:gd name="connsiteX0" fmla="*/ 97084 w 150142"/>
                <a:gd name="connsiteY0" fmla="*/ 181751 h 181750"/>
                <a:gd name="connsiteX1" fmla="*/ 93698 w 150142"/>
                <a:gd name="connsiteY1" fmla="*/ 137724 h 181750"/>
                <a:gd name="connsiteX2" fmla="*/ 64347 w 150142"/>
                <a:gd name="connsiteY2" fmla="*/ 137724 h 181750"/>
                <a:gd name="connsiteX3" fmla="*/ 58702 w 150142"/>
                <a:gd name="connsiteY3" fmla="*/ 159173 h 181750"/>
                <a:gd name="connsiteX4" fmla="*/ 53058 w 150142"/>
                <a:gd name="connsiteY4" fmla="*/ 180622 h 181750"/>
                <a:gd name="connsiteX5" fmla="*/ 0 w 150142"/>
                <a:gd name="connsiteY5" fmla="*/ 180622 h 181750"/>
                <a:gd name="connsiteX6" fmla="*/ 28222 w 150142"/>
                <a:gd name="connsiteY6" fmla="*/ 90311 h 181750"/>
                <a:gd name="connsiteX7" fmla="*/ 56444 w 150142"/>
                <a:gd name="connsiteY7" fmla="*/ 0 h 181750"/>
                <a:gd name="connsiteX8" fmla="*/ 136595 w 150142"/>
                <a:gd name="connsiteY8" fmla="*/ 0 h 181750"/>
                <a:gd name="connsiteX9" fmla="*/ 143369 w 150142"/>
                <a:gd name="connsiteY9" fmla="*/ 90311 h 181750"/>
                <a:gd name="connsiteX10" fmla="*/ 150142 w 150142"/>
                <a:gd name="connsiteY10" fmla="*/ 180622 h 181750"/>
                <a:gd name="connsiteX11" fmla="*/ 97084 w 150142"/>
                <a:gd name="connsiteY11" fmla="*/ 180622 h 181750"/>
                <a:gd name="connsiteX12" fmla="*/ 93698 w 150142"/>
                <a:gd name="connsiteY12" fmla="*/ 69991 h 181750"/>
                <a:gd name="connsiteX13" fmla="*/ 92569 w 150142"/>
                <a:gd name="connsiteY13" fmla="*/ 48542 h 181750"/>
                <a:gd name="connsiteX14" fmla="*/ 92569 w 150142"/>
                <a:gd name="connsiteY14" fmla="*/ 31609 h 181750"/>
                <a:gd name="connsiteX15" fmla="*/ 86924 w 150142"/>
                <a:gd name="connsiteY15" fmla="*/ 50800 h 181750"/>
                <a:gd name="connsiteX16" fmla="*/ 81280 w 150142"/>
                <a:gd name="connsiteY16" fmla="*/ 69991 h 181750"/>
                <a:gd name="connsiteX17" fmla="*/ 69991 w 150142"/>
                <a:gd name="connsiteY17" fmla="*/ 103858 h 181750"/>
                <a:gd name="connsiteX18" fmla="*/ 95955 w 150142"/>
                <a:gd name="connsiteY18" fmla="*/ 103858 h 181750"/>
                <a:gd name="connsiteX19" fmla="*/ 93698 w 150142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142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6595" y="0"/>
                  </a:lnTo>
                  <a:cubicBezTo>
                    <a:pt x="138853" y="30480"/>
                    <a:pt x="141111" y="60960"/>
                    <a:pt x="143369" y="90311"/>
                  </a:cubicBezTo>
                  <a:cubicBezTo>
                    <a:pt x="145627" y="119662"/>
                    <a:pt x="147884" y="150142"/>
                    <a:pt x="150142" y="180622"/>
                  </a:cubicBezTo>
                  <a:lnTo>
                    <a:pt x="97084" y="180622"/>
                  </a:lnTo>
                  <a:close/>
                  <a:moveTo>
                    <a:pt x="93698" y="69991"/>
                  </a:moveTo>
                  <a:cubicBezTo>
                    <a:pt x="93698" y="62089"/>
                    <a:pt x="92569" y="55315"/>
                    <a:pt x="92569" y="48542"/>
                  </a:cubicBezTo>
                  <a:cubicBezTo>
                    <a:pt x="92569" y="41769"/>
                    <a:pt x="92569" y="36124"/>
                    <a:pt x="92569" y="31609"/>
                  </a:cubicBezTo>
                  <a:cubicBezTo>
                    <a:pt x="90311" y="38382"/>
                    <a:pt x="89182" y="44027"/>
                    <a:pt x="86924" y="50800"/>
                  </a:cubicBezTo>
                  <a:cubicBezTo>
                    <a:pt x="84667" y="57573"/>
                    <a:pt x="83538" y="63218"/>
                    <a:pt x="81280" y="69991"/>
                  </a:cubicBezTo>
                  <a:lnTo>
                    <a:pt x="69991" y="103858"/>
                  </a:lnTo>
                  <a:lnTo>
                    <a:pt x="95955" y="103858"/>
                  </a:lnTo>
                  <a:lnTo>
                    <a:pt x="93698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CEDC9F05-54A4-4CAD-82B7-8F519864DBB8}"/>
                </a:ext>
              </a:extLst>
            </p:cNvPr>
            <p:cNvSpPr/>
            <p:nvPr/>
          </p:nvSpPr>
          <p:spPr bwMode="gray">
            <a:xfrm>
              <a:off x="9107523" y="5613823"/>
              <a:ext cx="142239" cy="187395"/>
            </a:xfrm>
            <a:custGeom>
              <a:avLst/>
              <a:gdLst>
                <a:gd name="connsiteX0" fmla="*/ 123049 w 142239"/>
                <a:gd name="connsiteY0" fmla="*/ 180622 h 187395"/>
                <a:gd name="connsiteX1" fmla="*/ 106115 w 142239"/>
                <a:gd name="connsiteY1" fmla="*/ 184009 h 187395"/>
                <a:gd name="connsiteX2" fmla="*/ 85795 w 142239"/>
                <a:gd name="connsiteY2" fmla="*/ 186266 h 187395"/>
                <a:gd name="connsiteX3" fmla="*/ 58702 w 142239"/>
                <a:gd name="connsiteY3" fmla="*/ 187395 h 187395"/>
                <a:gd name="connsiteX4" fmla="*/ 31609 w 142239"/>
                <a:gd name="connsiteY4" fmla="*/ 185138 h 187395"/>
                <a:gd name="connsiteX5" fmla="*/ 13547 w 142239"/>
                <a:gd name="connsiteY5" fmla="*/ 177235 h 187395"/>
                <a:gd name="connsiteX6" fmla="*/ 3387 w 142239"/>
                <a:gd name="connsiteY6" fmla="*/ 163689 h 187395"/>
                <a:gd name="connsiteX7" fmla="*/ 0 w 142239"/>
                <a:gd name="connsiteY7" fmla="*/ 144498 h 187395"/>
                <a:gd name="connsiteX8" fmla="*/ 0 w 142239"/>
                <a:gd name="connsiteY8" fmla="*/ 139982 h 187395"/>
                <a:gd name="connsiteX9" fmla="*/ 0 w 142239"/>
                <a:gd name="connsiteY9" fmla="*/ 134338 h 187395"/>
                <a:gd name="connsiteX10" fmla="*/ 10160 w 142239"/>
                <a:gd name="connsiteY10" fmla="*/ 48542 h 187395"/>
                <a:gd name="connsiteX11" fmla="*/ 18062 w 142239"/>
                <a:gd name="connsiteY11" fmla="*/ 23707 h 187395"/>
                <a:gd name="connsiteX12" fmla="*/ 33867 w 142239"/>
                <a:gd name="connsiteY12" fmla="*/ 9031 h 187395"/>
                <a:gd name="connsiteX13" fmla="*/ 55315 w 142239"/>
                <a:gd name="connsiteY13" fmla="*/ 2258 h 187395"/>
                <a:gd name="connsiteX14" fmla="*/ 81280 w 142239"/>
                <a:gd name="connsiteY14" fmla="*/ 0 h 187395"/>
                <a:gd name="connsiteX15" fmla="*/ 108373 w 142239"/>
                <a:gd name="connsiteY15" fmla="*/ 1129 h 187395"/>
                <a:gd name="connsiteX16" fmla="*/ 127564 w 142239"/>
                <a:gd name="connsiteY16" fmla="*/ 3387 h 187395"/>
                <a:gd name="connsiteX17" fmla="*/ 142240 w 142239"/>
                <a:gd name="connsiteY17" fmla="*/ 6773 h 187395"/>
                <a:gd name="connsiteX18" fmla="*/ 135467 w 142239"/>
                <a:gd name="connsiteY18" fmla="*/ 60960 h 187395"/>
                <a:gd name="connsiteX19" fmla="*/ 85795 w 142239"/>
                <a:gd name="connsiteY19" fmla="*/ 60960 h 187395"/>
                <a:gd name="connsiteX20" fmla="*/ 88053 w 142239"/>
                <a:gd name="connsiteY20" fmla="*/ 38382 h 187395"/>
                <a:gd name="connsiteX21" fmla="*/ 84667 w 142239"/>
                <a:gd name="connsiteY21" fmla="*/ 38382 h 187395"/>
                <a:gd name="connsiteX22" fmla="*/ 81280 w 142239"/>
                <a:gd name="connsiteY22" fmla="*/ 38382 h 187395"/>
                <a:gd name="connsiteX23" fmla="*/ 76764 w 142239"/>
                <a:gd name="connsiteY23" fmla="*/ 38382 h 187395"/>
                <a:gd name="connsiteX24" fmla="*/ 64347 w 142239"/>
                <a:gd name="connsiteY24" fmla="*/ 42898 h 187395"/>
                <a:gd name="connsiteX25" fmla="*/ 59831 w 142239"/>
                <a:gd name="connsiteY25" fmla="*/ 55316 h 187395"/>
                <a:gd name="connsiteX26" fmla="*/ 49671 w 142239"/>
                <a:gd name="connsiteY26" fmla="*/ 137724 h 187395"/>
                <a:gd name="connsiteX27" fmla="*/ 49671 w 142239"/>
                <a:gd name="connsiteY27" fmla="*/ 141111 h 187395"/>
                <a:gd name="connsiteX28" fmla="*/ 49671 w 142239"/>
                <a:gd name="connsiteY28" fmla="*/ 144498 h 187395"/>
                <a:gd name="connsiteX29" fmla="*/ 51929 w 142239"/>
                <a:gd name="connsiteY29" fmla="*/ 152400 h 187395"/>
                <a:gd name="connsiteX30" fmla="*/ 62089 w 142239"/>
                <a:gd name="connsiteY30" fmla="*/ 154658 h 187395"/>
                <a:gd name="connsiteX31" fmla="*/ 66604 w 142239"/>
                <a:gd name="connsiteY31" fmla="*/ 154658 h 187395"/>
                <a:gd name="connsiteX32" fmla="*/ 71120 w 142239"/>
                <a:gd name="connsiteY32" fmla="*/ 154658 h 187395"/>
                <a:gd name="connsiteX33" fmla="*/ 74507 w 142239"/>
                <a:gd name="connsiteY33" fmla="*/ 154658 h 187395"/>
                <a:gd name="connsiteX34" fmla="*/ 77893 w 142239"/>
                <a:gd name="connsiteY34" fmla="*/ 127564 h 187395"/>
                <a:gd name="connsiteX35" fmla="*/ 127564 w 142239"/>
                <a:gd name="connsiteY35" fmla="*/ 127564 h 187395"/>
                <a:gd name="connsiteX36" fmla="*/ 123049 w 142239"/>
                <a:gd name="connsiteY36" fmla="*/ 180622 h 18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2239" h="187395">
                  <a:moveTo>
                    <a:pt x="123049" y="180622"/>
                  </a:moveTo>
                  <a:cubicBezTo>
                    <a:pt x="118533" y="181751"/>
                    <a:pt x="112889" y="182880"/>
                    <a:pt x="106115" y="184009"/>
                  </a:cubicBezTo>
                  <a:cubicBezTo>
                    <a:pt x="100471" y="185138"/>
                    <a:pt x="93698" y="185138"/>
                    <a:pt x="85795" y="186266"/>
                  </a:cubicBezTo>
                  <a:cubicBezTo>
                    <a:pt x="77893" y="187395"/>
                    <a:pt x="68862" y="187395"/>
                    <a:pt x="58702" y="187395"/>
                  </a:cubicBezTo>
                  <a:cubicBezTo>
                    <a:pt x="48542" y="187395"/>
                    <a:pt x="39511" y="186266"/>
                    <a:pt x="31609" y="185138"/>
                  </a:cubicBezTo>
                  <a:cubicBezTo>
                    <a:pt x="23707" y="184009"/>
                    <a:pt x="18062" y="180622"/>
                    <a:pt x="13547" y="177235"/>
                  </a:cubicBezTo>
                  <a:cubicBezTo>
                    <a:pt x="9031" y="173849"/>
                    <a:pt x="5644" y="169333"/>
                    <a:pt x="3387" y="163689"/>
                  </a:cubicBezTo>
                  <a:cubicBezTo>
                    <a:pt x="1129" y="158044"/>
                    <a:pt x="0" y="152400"/>
                    <a:pt x="0" y="144498"/>
                  </a:cubicBezTo>
                  <a:lnTo>
                    <a:pt x="0" y="139982"/>
                  </a:lnTo>
                  <a:cubicBezTo>
                    <a:pt x="0" y="137724"/>
                    <a:pt x="0" y="136595"/>
                    <a:pt x="0" y="134338"/>
                  </a:cubicBezTo>
                  <a:lnTo>
                    <a:pt x="10160" y="48542"/>
                  </a:lnTo>
                  <a:cubicBezTo>
                    <a:pt x="11289" y="38382"/>
                    <a:pt x="14676" y="29351"/>
                    <a:pt x="18062" y="23707"/>
                  </a:cubicBezTo>
                  <a:cubicBezTo>
                    <a:pt x="22578" y="16933"/>
                    <a:pt x="27093" y="12418"/>
                    <a:pt x="33867" y="9031"/>
                  </a:cubicBezTo>
                  <a:cubicBezTo>
                    <a:pt x="40640" y="5644"/>
                    <a:pt x="47413" y="3387"/>
                    <a:pt x="55315" y="2258"/>
                  </a:cubicBezTo>
                  <a:cubicBezTo>
                    <a:pt x="63218" y="1129"/>
                    <a:pt x="72249" y="0"/>
                    <a:pt x="81280" y="0"/>
                  </a:cubicBezTo>
                  <a:cubicBezTo>
                    <a:pt x="91440" y="0"/>
                    <a:pt x="100471" y="0"/>
                    <a:pt x="108373" y="1129"/>
                  </a:cubicBezTo>
                  <a:cubicBezTo>
                    <a:pt x="116275" y="2258"/>
                    <a:pt x="121920" y="2258"/>
                    <a:pt x="127564" y="3387"/>
                  </a:cubicBezTo>
                  <a:cubicBezTo>
                    <a:pt x="133209" y="4516"/>
                    <a:pt x="138853" y="5644"/>
                    <a:pt x="142240" y="6773"/>
                  </a:cubicBezTo>
                  <a:lnTo>
                    <a:pt x="135467" y="60960"/>
                  </a:lnTo>
                  <a:lnTo>
                    <a:pt x="85795" y="60960"/>
                  </a:lnTo>
                  <a:lnTo>
                    <a:pt x="88053" y="38382"/>
                  </a:lnTo>
                  <a:cubicBezTo>
                    <a:pt x="86924" y="38382"/>
                    <a:pt x="85795" y="38382"/>
                    <a:pt x="84667" y="38382"/>
                  </a:cubicBezTo>
                  <a:cubicBezTo>
                    <a:pt x="83538" y="38382"/>
                    <a:pt x="82409" y="38382"/>
                    <a:pt x="81280" y="38382"/>
                  </a:cubicBezTo>
                  <a:cubicBezTo>
                    <a:pt x="80151" y="38382"/>
                    <a:pt x="77893" y="38382"/>
                    <a:pt x="76764" y="38382"/>
                  </a:cubicBezTo>
                  <a:cubicBezTo>
                    <a:pt x="71120" y="38382"/>
                    <a:pt x="66604" y="39511"/>
                    <a:pt x="64347" y="42898"/>
                  </a:cubicBezTo>
                  <a:cubicBezTo>
                    <a:pt x="62089" y="45156"/>
                    <a:pt x="60960" y="49671"/>
                    <a:pt x="59831" y="55316"/>
                  </a:cubicBezTo>
                  <a:lnTo>
                    <a:pt x="49671" y="137724"/>
                  </a:lnTo>
                  <a:cubicBezTo>
                    <a:pt x="49671" y="138853"/>
                    <a:pt x="49671" y="139982"/>
                    <a:pt x="49671" y="141111"/>
                  </a:cubicBezTo>
                  <a:cubicBezTo>
                    <a:pt x="49671" y="142240"/>
                    <a:pt x="49671" y="143369"/>
                    <a:pt x="49671" y="144498"/>
                  </a:cubicBezTo>
                  <a:cubicBezTo>
                    <a:pt x="49671" y="147884"/>
                    <a:pt x="50800" y="150142"/>
                    <a:pt x="51929" y="152400"/>
                  </a:cubicBezTo>
                  <a:cubicBezTo>
                    <a:pt x="54187" y="153529"/>
                    <a:pt x="56444" y="154658"/>
                    <a:pt x="62089" y="154658"/>
                  </a:cubicBezTo>
                  <a:cubicBezTo>
                    <a:pt x="63218" y="154658"/>
                    <a:pt x="65475" y="154658"/>
                    <a:pt x="66604" y="154658"/>
                  </a:cubicBezTo>
                  <a:cubicBezTo>
                    <a:pt x="67733" y="154658"/>
                    <a:pt x="68862" y="154658"/>
                    <a:pt x="71120" y="154658"/>
                  </a:cubicBezTo>
                  <a:lnTo>
                    <a:pt x="74507" y="154658"/>
                  </a:lnTo>
                  <a:lnTo>
                    <a:pt x="77893" y="127564"/>
                  </a:lnTo>
                  <a:lnTo>
                    <a:pt x="127564" y="127564"/>
                  </a:lnTo>
                  <a:lnTo>
                    <a:pt x="123049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BE46D76-0C94-4DB3-A662-AC3592125603}"/>
                </a:ext>
              </a:extLst>
            </p:cNvPr>
            <p:cNvSpPr/>
            <p:nvPr/>
          </p:nvSpPr>
          <p:spPr bwMode="gray">
            <a:xfrm>
              <a:off x="9253149" y="5616081"/>
              <a:ext cx="154657" cy="180622"/>
            </a:xfrm>
            <a:custGeom>
              <a:avLst/>
              <a:gdLst>
                <a:gd name="connsiteX0" fmla="*/ 80151 w 154657"/>
                <a:gd name="connsiteY0" fmla="*/ 180622 h 180622"/>
                <a:gd name="connsiteX1" fmla="*/ 89182 w 154657"/>
                <a:gd name="connsiteY1" fmla="*/ 104987 h 180622"/>
                <a:gd name="connsiteX2" fmla="*/ 62089 w 154657"/>
                <a:gd name="connsiteY2" fmla="*/ 104987 h 180622"/>
                <a:gd name="connsiteX3" fmla="*/ 53058 w 154657"/>
                <a:gd name="connsiteY3" fmla="*/ 180622 h 180622"/>
                <a:gd name="connsiteX4" fmla="*/ 0 w 154657"/>
                <a:gd name="connsiteY4" fmla="*/ 180622 h 180622"/>
                <a:gd name="connsiteX5" fmla="*/ 21449 w 154657"/>
                <a:gd name="connsiteY5" fmla="*/ 0 h 180622"/>
                <a:gd name="connsiteX6" fmla="*/ 74507 w 154657"/>
                <a:gd name="connsiteY6" fmla="*/ 0 h 180622"/>
                <a:gd name="connsiteX7" fmla="*/ 66604 w 154657"/>
                <a:gd name="connsiteY7" fmla="*/ 68862 h 180622"/>
                <a:gd name="connsiteX8" fmla="*/ 93698 w 154657"/>
                <a:gd name="connsiteY8" fmla="*/ 68862 h 180622"/>
                <a:gd name="connsiteX9" fmla="*/ 101600 w 154657"/>
                <a:gd name="connsiteY9" fmla="*/ 0 h 180622"/>
                <a:gd name="connsiteX10" fmla="*/ 154658 w 154657"/>
                <a:gd name="connsiteY10" fmla="*/ 0 h 180622"/>
                <a:gd name="connsiteX11" fmla="*/ 133209 w 154657"/>
                <a:gd name="connsiteY11" fmla="*/ 180622 h 180622"/>
                <a:gd name="connsiteX12" fmla="*/ 80151 w 154657"/>
                <a:gd name="connsiteY12" fmla="*/ 180622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4657" h="180622">
                  <a:moveTo>
                    <a:pt x="80151" y="180622"/>
                  </a:moveTo>
                  <a:lnTo>
                    <a:pt x="89182" y="104987"/>
                  </a:lnTo>
                  <a:lnTo>
                    <a:pt x="62089" y="104987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74507" y="0"/>
                  </a:lnTo>
                  <a:lnTo>
                    <a:pt x="66604" y="68862"/>
                  </a:lnTo>
                  <a:lnTo>
                    <a:pt x="93698" y="68862"/>
                  </a:lnTo>
                  <a:lnTo>
                    <a:pt x="101600" y="0"/>
                  </a:lnTo>
                  <a:lnTo>
                    <a:pt x="154658" y="0"/>
                  </a:lnTo>
                  <a:lnTo>
                    <a:pt x="133209" y="180622"/>
                  </a:lnTo>
                  <a:lnTo>
                    <a:pt x="80151" y="180622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222046-7E50-464B-A87A-40114E4DE340}"/>
                </a:ext>
              </a:extLst>
            </p:cNvPr>
            <p:cNvSpPr/>
            <p:nvPr/>
          </p:nvSpPr>
          <p:spPr bwMode="gray">
            <a:xfrm>
              <a:off x="9413452" y="5614952"/>
              <a:ext cx="145626" cy="180622"/>
            </a:xfrm>
            <a:custGeom>
              <a:avLst/>
              <a:gdLst>
                <a:gd name="connsiteX0" fmla="*/ 138853 w 145626"/>
                <a:gd name="connsiteY0" fmla="*/ 134338 h 180622"/>
                <a:gd name="connsiteX1" fmla="*/ 133209 w 145626"/>
                <a:gd name="connsiteY1" fmla="*/ 155786 h 180622"/>
                <a:gd name="connsiteX2" fmla="*/ 123049 w 145626"/>
                <a:gd name="connsiteY2" fmla="*/ 170462 h 180622"/>
                <a:gd name="connsiteX3" fmla="*/ 106115 w 145626"/>
                <a:gd name="connsiteY3" fmla="*/ 178364 h 180622"/>
                <a:gd name="connsiteX4" fmla="*/ 81280 w 145626"/>
                <a:gd name="connsiteY4" fmla="*/ 180622 h 180622"/>
                <a:gd name="connsiteX5" fmla="*/ 0 w 145626"/>
                <a:gd name="connsiteY5" fmla="*/ 180622 h 180622"/>
                <a:gd name="connsiteX6" fmla="*/ 21449 w 145626"/>
                <a:gd name="connsiteY6" fmla="*/ 0 h 180622"/>
                <a:gd name="connsiteX7" fmla="*/ 95955 w 145626"/>
                <a:gd name="connsiteY7" fmla="*/ 0 h 180622"/>
                <a:gd name="connsiteX8" fmla="*/ 116275 w 145626"/>
                <a:gd name="connsiteY8" fmla="*/ 1129 h 180622"/>
                <a:gd name="connsiteX9" fmla="*/ 132080 w 145626"/>
                <a:gd name="connsiteY9" fmla="*/ 4516 h 180622"/>
                <a:gd name="connsiteX10" fmla="*/ 142240 w 145626"/>
                <a:gd name="connsiteY10" fmla="*/ 13547 h 180622"/>
                <a:gd name="connsiteX11" fmla="*/ 145626 w 145626"/>
                <a:gd name="connsiteY11" fmla="*/ 30480 h 180622"/>
                <a:gd name="connsiteX12" fmla="*/ 145626 w 145626"/>
                <a:gd name="connsiteY12" fmla="*/ 34996 h 180622"/>
                <a:gd name="connsiteX13" fmla="*/ 145626 w 145626"/>
                <a:gd name="connsiteY13" fmla="*/ 39511 h 180622"/>
                <a:gd name="connsiteX14" fmla="*/ 144498 w 145626"/>
                <a:gd name="connsiteY14" fmla="*/ 48542 h 180622"/>
                <a:gd name="connsiteX15" fmla="*/ 142240 w 145626"/>
                <a:gd name="connsiteY15" fmla="*/ 60960 h 180622"/>
                <a:gd name="connsiteX16" fmla="*/ 138853 w 145626"/>
                <a:gd name="connsiteY16" fmla="*/ 72249 h 180622"/>
                <a:gd name="connsiteX17" fmla="*/ 130951 w 145626"/>
                <a:gd name="connsiteY17" fmla="*/ 81280 h 180622"/>
                <a:gd name="connsiteX18" fmla="*/ 118533 w 145626"/>
                <a:gd name="connsiteY18" fmla="*/ 86924 h 180622"/>
                <a:gd name="connsiteX19" fmla="*/ 136595 w 145626"/>
                <a:gd name="connsiteY19" fmla="*/ 97084 h 180622"/>
                <a:gd name="connsiteX20" fmla="*/ 141111 w 145626"/>
                <a:gd name="connsiteY20" fmla="*/ 112889 h 180622"/>
                <a:gd name="connsiteX21" fmla="*/ 139982 w 145626"/>
                <a:gd name="connsiteY21" fmla="*/ 124178 h 180622"/>
                <a:gd name="connsiteX22" fmla="*/ 138853 w 145626"/>
                <a:gd name="connsiteY22" fmla="*/ 134338 h 180622"/>
                <a:gd name="connsiteX23" fmla="*/ 88053 w 145626"/>
                <a:gd name="connsiteY23" fmla="*/ 117404 h 180622"/>
                <a:gd name="connsiteX24" fmla="*/ 88053 w 145626"/>
                <a:gd name="connsiteY24" fmla="*/ 112889 h 180622"/>
                <a:gd name="connsiteX25" fmla="*/ 85795 w 145626"/>
                <a:gd name="connsiteY25" fmla="*/ 106115 h 180622"/>
                <a:gd name="connsiteX26" fmla="*/ 75635 w 145626"/>
                <a:gd name="connsiteY26" fmla="*/ 103858 h 180622"/>
                <a:gd name="connsiteX27" fmla="*/ 60960 w 145626"/>
                <a:gd name="connsiteY27" fmla="*/ 103858 h 180622"/>
                <a:gd name="connsiteX28" fmla="*/ 56444 w 145626"/>
                <a:gd name="connsiteY28" fmla="*/ 144498 h 180622"/>
                <a:gd name="connsiteX29" fmla="*/ 69991 w 145626"/>
                <a:gd name="connsiteY29" fmla="*/ 144498 h 180622"/>
                <a:gd name="connsiteX30" fmla="*/ 79022 w 145626"/>
                <a:gd name="connsiteY30" fmla="*/ 143369 h 180622"/>
                <a:gd name="connsiteX31" fmla="*/ 83538 w 145626"/>
                <a:gd name="connsiteY31" fmla="*/ 139982 h 180622"/>
                <a:gd name="connsiteX32" fmla="*/ 85795 w 145626"/>
                <a:gd name="connsiteY32" fmla="*/ 135467 h 180622"/>
                <a:gd name="connsiteX33" fmla="*/ 86924 w 145626"/>
                <a:gd name="connsiteY33" fmla="*/ 129822 h 180622"/>
                <a:gd name="connsiteX34" fmla="*/ 88053 w 145626"/>
                <a:gd name="connsiteY34" fmla="*/ 117404 h 180622"/>
                <a:gd name="connsiteX35" fmla="*/ 77893 w 145626"/>
                <a:gd name="connsiteY35" fmla="*/ 69991 h 180622"/>
                <a:gd name="connsiteX36" fmla="*/ 88053 w 145626"/>
                <a:gd name="connsiteY36" fmla="*/ 66604 h 180622"/>
                <a:gd name="connsiteX37" fmla="*/ 91440 w 145626"/>
                <a:gd name="connsiteY37" fmla="*/ 57573 h 180622"/>
                <a:gd name="connsiteX38" fmla="*/ 92569 w 145626"/>
                <a:gd name="connsiteY38" fmla="*/ 45156 h 180622"/>
                <a:gd name="connsiteX39" fmla="*/ 92569 w 145626"/>
                <a:gd name="connsiteY39" fmla="*/ 44027 h 180622"/>
                <a:gd name="connsiteX40" fmla="*/ 92569 w 145626"/>
                <a:gd name="connsiteY40" fmla="*/ 42898 h 180622"/>
                <a:gd name="connsiteX41" fmla="*/ 89182 w 145626"/>
                <a:gd name="connsiteY41" fmla="*/ 37253 h 180622"/>
                <a:gd name="connsiteX42" fmla="*/ 80151 w 145626"/>
                <a:gd name="connsiteY42" fmla="*/ 36124 h 180622"/>
                <a:gd name="connsiteX43" fmla="*/ 68862 w 145626"/>
                <a:gd name="connsiteY43" fmla="*/ 36124 h 180622"/>
                <a:gd name="connsiteX44" fmla="*/ 64347 w 145626"/>
                <a:gd name="connsiteY44" fmla="*/ 71120 h 180622"/>
                <a:gd name="connsiteX45" fmla="*/ 77893 w 145626"/>
                <a:gd name="connsiteY45" fmla="*/ 71120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45626" h="180622">
                  <a:moveTo>
                    <a:pt x="138853" y="134338"/>
                  </a:moveTo>
                  <a:cubicBezTo>
                    <a:pt x="137724" y="143369"/>
                    <a:pt x="135467" y="150142"/>
                    <a:pt x="133209" y="155786"/>
                  </a:cubicBezTo>
                  <a:cubicBezTo>
                    <a:pt x="130951" y="161431"/>
                    <a:pt x="127564" y="167075"/>
                    <a:pt x="123049" y="170462"/>
                  </a:cubicBezTo>
                  <a:cubicBezTo>
                    <a:pt x="118533" y="173849"/>
                    <a:pt x="112889" y="177235"/>
                    <a:pt x="106115" y="178364"/>
                  </a:cubicBezTo>
                  <a:cubicBezTo>
                    <a:pt x="99342" y="180622"/>
                    <a:pt x="91440" y="180622"/>
                    <a:pt x="81280" y="180622"/>
                  </a:cubicBez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0631" y="0"/>
                    <a:pt x="116275" y="1129"/>
                  </a:cubicBezTo>
                  <a:cubicBezTo>
                    <a:pt x="123049" y="1129"/>
                    <a:pt x="127564" y="3387"/>
                    <a:pt x="132080" y="4516"/>
                  </a:cubicBezTo>
                  <a:cubicBezTo>
                    <a:pt x="136595" y="5644"/>
                    <a:pt x="139982" y="9031"/>
                    <a:pt x="142240" y="13547"/>
                  </a:cubicBezTo>
                  <a:cubicBezTo>
                    <a:pt x="144498" y="18062"/>
                    <a:pt x="145626" y="23707"/>
                    <a:pt x="145626" y="30480"/>
                  </a:cubicBezTo>
                  <a:cubicBezTo>
                    <a:pt x="145626" y="31609"/>
                    <a:pt x="145626" y="33867"/>
                    <a:pt x="145626" y="34996"/>
                  </a:cubicBezTo>
                  <a:cubicBezTo>
                    <a:pt x="145626" y="36124"/>
                    <a:pt x="145626" y="38382"/>
                    <a:pt x="145626" y="39511"/>
                  </a:cubicBezTo>
                  <a:lnTo>
                    <a:pt x="144498" y="48542"/>
                  </a:lnTo>
                  <a:cubicBezTo>
                    <a:pt x="144498" y="53058"/>
                    <a:pt x="143369" y="57573"/>
                    <a:pt x="142240" y="60960"/>
                  </a:cubicBezTo>
                  <a:cubicBezTo>
                    <a:pt x="141111" y="64347"/>
                    <a:pt x="139982" y="68862"/>
                    <a:pt x="138853" y="72249"/>
                  </a:cubicBezTo>
                  <a:cubicBezTo>
                    <a:pt x="136595" y="75635"/>
                    <a:pt x="134338" y="79022"/>
                    <a:pt x="130951" y="81280"/>
                  </a:cubicBezTo>
                  <a:cubicBezTo>
                    <a:pt x="127564" y="83538"/>
                    <a:pt x="123049" y="85795"/>
                    <a:pt x="118533" y="86924"/>
                  </a:cubicBezTo>
                  <a:cubicBezTo>
                    <a:pt x="127564" y="89182"/>
                    <a:pt x="133209" y="92569"/>
                    <a:pt x="136595" y="97084"/>
                  </a:cubicBezTo>
                  <a:cubicBezTo>
                    <a:pt x="139982" y="101600"/>
                    <a:pt x="141111" y="107244"/>
                    <a:pt x="141111" y="112889"/>
                  </a:cubicBezTo>
                  <a:cubicBezTo>
                    <a:pt x="141111" y="117404"/>
                    <a:pt x="141111" y="120791"/>
                    <a:pt x="139982" y="124178"/>
                  </a:cubicBezTo>
                  <a:lnTo>
                    <a:pt x="138853" y="134338"/>
                  </a:lnTo>
                  <a:close/>
                  <a:moveTo>
                    <a:pt x="88053" y="117404"/>
                  </a:moveTo>
                  <a:cubicBezTo>
                    <a:pt x="88053" y="116275"/>
                    <a:pt x="88053" y="115147"/>
                    <a:pt x="88053" y="112889"/>
                  </a:cubicBezTo>
                  <a:cubicBezTo>
                    <a:pt x="88053" y="109502"/>
                    <a:pt x="86924" y="107244"/>
                    <a:pt x="85795" y="106115"/>
                  </a:cubicBezTo>
                  <a:cubicBezTo>
                    <a:pt x="83538" y="104987"/>
                    <a:pt x="81280" y="103858"/>
                    <a:pt x="75635" y="103858"/>
                  </a:cubicBezTo>
                  <a:lnTo>
                    <a:pt x="60960" y="103858"/>
                  </a:lnTo>
                  <a:lnTo>
                    <a:pt x="56444" y="144498"/>
                  </a:lnTo>
                  <a:lnTo>
                    <a:pt x="69991" y="144498"/>
                  </a:lnTo>
                  <a:cubicBezTo>
                    <a:pt x="73378" y="144498"/>
                    <a:pt x="76764" y="144498"/>
                    <a:pt x="79022" y="143369"/>
                  </a:cubicBezTo>
                  <a:cubicBezTo>
                    <a:pt x="81280" y="142240"/>
                    <a:pt x="82409" y="141111"/>
                    <a:pt x="83538" y="139982"/>
                  </a:cubicBezTo>
                  <a:cubicBezTo>
                    <a:pt x="84667" y="138853"/>
                    <a:pt x="84667" y="136595"/>
                    <a:pt x="85795" y="135467"/>
                  </a:cubicBezTo>
                  <a:cubicBezTo>
                    <a:pt x="85795" y="133209"/>
                    <a:pt x="86924" y="132080"/>
                    <a:pt x="86924" y="129822"/>
                  </a:cubicBezTo>
                  <a:lnTo>
                    <a:pt x="88053" y="117404"/>
                  </a:lnTo>
                  <a:close/>
                  <a:moveTo>
                    <a:pt x="77893" y="69991"/>
                  </a:moveTo>
                  <a:cubicBezTo>
                    <a:pt x="83538" y="69991"/>
                    <a:pt x="86924" y="68862"/>
                    <a:pt x="88053" y="66604"/>
                  </a:cubicBezTo>
                  <a:cubicBezTo>
                    <a:pt x="89182" y="64347"/>
                    <a:pt x="90311" y="60960"/>
                    <a:pt x="91440" y="57573"/>
                  </a:cubicBezTo>
                  <a:lnTo>
                    <a:pt x="92569" y="45156"/>
                  </a:lnTo>
                  <a:cubicBezTo>
                    <a:pt x="92569" y="45156"/>
                    <a:pt x="92569" y="44027"/>
                    <a:pt x="92569" y="44027"/>
                  </a:cubicBezTo>
                  <a:cubicBezTo>
                    <a:pt x="92569" y="44027"/>
                    <a:pt x="92569" y="42898"/>
                    <a:pt x="92569" y="42898"/>
                  </a:cubicBezTo>
                  <a:cubicBezTo>
                    <a:pt x="92569" y="39511"/>
                    <a:pt x="91440" y="38382"/>
                    <a:pt x="89182" y="37253"/>
                  </a:cubicBezTo>
                  <a:cubicBezTo>
                    <a:pt x="86924" y="36124"/>
                    <a:pt x="84667" y="36124"/>
                    <a:pt x="80151" y="36124"/>
                  </a:cubicBezTo>
                  <a:lnTo>
                    <a:pt x="68862" y="36124"/>
                  </a:lnTo>
                  <a:lnTo>
                    <a:pt x="64347" y="71120"/>
                  </a:lnTo>
                  <a:lnTo>
                    <a:pt x="77893" y="71120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F84BD04D-E8D3-4A7C-B684-780454342406}"/>
                </a:ext>
              </a:extLst>
            </p:cNvPr>
            <p:cNvSpPr/>
            <p:nvPr/>
          </p:nvSpPr>
          <p:spPr bwMode="gray">
            <a:xfrm>
              <a:off x="9555691" y="5614952"/>
              <a:ext cx="151270" cy="181750"/>
            </a:xfrm>
            <a:custGeom>
              <a:avLst/>
              <a:gdLst>
                <a:gd name="connsiteX0" fmla="*/ 97084 w 151270"/>
                <a:gd name="connsiteY0" fmla="*/ 181751 h 181750"/>
                <a:gd name="connsiteX1" fmla="*/ 93698 w 151270"/>
                <a:gd name="connsiteY1" fmla="*/ 137724 h 181750"/>
                <a:gd name="connsiteX2" fmla="*/ 64347 w 151270"/>
                <a:gd name="connsiteY2" fmla="*/ 137724 h 181750"/>
                <a:gd name="connsiteX3" fmla="*/ 58702 w 151270"/>
                <a:gd name="connsiteY3" fmla="*/ 159173 h 181750"/>
                <a:gd name="connsiteX4" fmla="*/ 53058 w 151270"/>
                <a:gd name="connsiteY4" fmla="*/ 180622 h 181750"/>
                <a:gd name="connsiteX5" fmla="*/ 0 w 151270"/>
                <a:gd name="connsiteY5" fmla="*/ 180622 h 181750"/>
                <a:gd name="connsiteX6" fmla="*/ 28222 w 151270"/>
                <a:gd name="connsiteY6" fmla="*/ 90311 h 181750"/>
                <a:gd name="connsiteX7" fmla="*/ 56444 w 151270"/>
                <a:gd name="connsiteY7" fmla="*/ 0 h 181750"/>
                <a:gd name="connsiteX8" fmla="*/ 137724 w 151270"/>
                <a:gd name="connsiteY8" fmla="*/ 0 h 181750"/>
                <a:gd name="connsiteX9" fmla="*/ 144498 w 151270"/>
                <a:gd name="connsiteY9" fmla="*/ 90311 h 181750"/>
                <a:gd name="connsiteX10" fmla="*/ 151271 w 151270"/>
                <a:gd name="connsiteY10" fmla="*/ 180622 h 181750"/>
                <a:gd name="connsiteX11" fmla="*/ 97084 w 151270"/>
                <a:gd name="connsiteY11" fmla="*/ 180622 h 181750"/>
                <a:gd name="connsiteX12" fmla="*/ 94827 w 151270"/>
                <a:gd name="connsiteY12" fmla="*/ 69991 h 181750"/>
                <a:gd name="connsiteX13" fmla="*/ 93698 w 151270"/>
                <a:gd name="connsiteY13" fmla="*/ 48542 h 181750"/>
                <a:gd name="connsiteX14" fmla="*/ 93698 w 151270"/>
                <a:gd name="connsiteY14" fmla="*/ 31609 h 181750"/>
                <a:gd name="connsiteX15" fmla="*/ 88053 w 151270"/>
                <a:gd name="connsiteY15" fmla="*/ 50800 h 181750"/>
                <a:gd name="connsiteX16" fmla="*/ 82409 w 151270"/>
                <a:gd name="connsiteY16" fmla="*/ 69991 h 181750"/>
                <a:gd name="connsiteX17" fmla="*/ 71120 w 151270"/>
                <a:gd name="connsiteY17" fmla="*/ 103858 h 181750"/>
                <a:gd name="connsiteX18" fmla="*/ 97084 w 151270"/>
                <a:gd name="connsiteY18" fmla="*/ 103858 h 181750"/>
                <a:gd name="connsiteX19" fmla="*/ 94827 w 151270"/>
                <a:gd name="connsiteY19" fmla="*/ 69991 h 18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270" h="181750">
                  <a:moveTo>
                    <a:pt x="97084" y="181751"/>
                  </a:moveTo>
                  <a:lnTo>
                    <a:pt x="93698" y="137724"/>
                  </a:lnTo>
                  <a:lnTo>
                    <a:pt x="64347" y="137724"/>
                  </a:lnTo>
                  <a:cubicBezTo>
                    <a:pt x="62089" y="145626"/>
                    <a:pt x="59831" y="152400"/>
                    <a:pt x="58702" y="159173"/>
                  </a:cubicBezTo>
                  <a:cubicBezTo>
                    <a:pt x="56444" y="165947"/>
                    <a:pt x="54187" y="173849"/>
                    <a:pt x="53058" y="180622"/>
                  </a:cubicBezTo>
                  <a:lnTo>
                    <a:pt x="0" y="180622"/>
                  </a:lnTo>
                  <a:cubicBezTo>
                    <a:pt x="9031" y="150142"/>
                    <a:pt x="19191" y="119662"/>
                    <a:pt x="28222" y="90311"/>
                  </a:cubicBezTo>
                  <a:cubicBezTo>
                    <a:pt x="37253" y="60960"/>
                    <a:pt x="47413" y="30480"/>
                    <a:pt x="56444" y="0"/>
                  </a:cubicBezTo>
                  <a:lnTo>
                    <a:pt x="137724" y="0"/>
                  </a:lnTo>
                  <a:cubicBezTo>
                    <a:pt x="139982" y="30480"/>
                    <a:pt x="142240" y="60960"/>
                    <a:pt x="144498" y="90311"/>
                  </a:cubicBezTo>
                  <a:cubicBezTo>
                    <a:pt x="146755" y="119662"/>
                    <a:pt x="149013" y="150142"/>
                    <a:pt x="151271" y="180622"/>
                  </a:cubicBezTo>
                  <a:lnTo>
                    <a:pt x="97084" y="180622"/>
                  </a:lnTo>
                  <a:close/>
                  <a:moveTo>
                    <a:pt x="94827" y="69991"/>
                  </a:moveTo>
                  <a:cubicBezTo>
                    <a:pt x="94827" y="62089"/>
                    <a:pt x="93698" y="55315"/>
                    <a:pt x="93698" y="48542"/>
                  </a:cubicBezTo>
                  <a:cubicBezTo>
                    <a:pt x="93698" y="41769"/>
                    <a:pt x="93698" y="36124"/>
                    <a:pt x="93698" y="31609"/>
                  </a:cubicBezTo>
                  <a:cubicBezTo>
                    <a:pt x="91440" y="38382"/>
                    <a:pt x="90311" y="44027"/>
                    <a:pt x="88053" y="50800"/>
                  </a:cubicBezTo>
                  <a:cubicBezTo>
                    <a:pt x="85795" y="57573"/>
                    <a:pt x="84667" y="63218"/>
                    <a:pt x="82409" y="69991"/>
                  </a:cubicBezTo>
                  <a:lnTo>
                    <a:pt x="71120" y="103858"/>
                  </a:lnTo>
                  <a:lnTo>
                    <a:pt x="97084" y="103858"/>
                  </a:lnTo>
                  <a:lnTo>
                    <a:pt x="94827" y="69991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75EA8D5B-7FEF-48F2-B1D8-96E5AF05BF86}"/>
                </a:ext>
              </a:extLst>
            </p:cNvPr>
            <p:cNvSpPr/>
            <p:nvPr/>
          </p:nvSpPr>
          <p:spPr bwMode="gray">
            <a:xfrm>
              <a:off x="9720509" y="5616081"/>
              <a:ext cx="147884" cy="180622"/>
            </a:xfrm>
            <a:custGeom>
              <a:avLst/>
              <a:gdLst>
                <a:gd name="connsiteX0" fmla="*/ 85795 w 147884"/>
                <a:gd name="connsiteY0" fmla="*/ 180622 h 180622"/>
                <a:gd name="connsiteX1" fmla="*/ 68862 w 147884"/>
                <a:gd name="connsiteY1" fmla="*/ 103858 h 180622"/>
                <a:gd name="connsiteX2" fmla="*/ 62089 w 147884"/>
                <a:gd name="connsiteY2" fmla="*/ 103858 h 180622"/>
                <a:gd name="connsiteX3" fmla="*/ 53058 w 147884"/>
                <a:gd name="connsiteY3" fmla="*/ 180622 h 180622"/>
                <a:gd name="connsiteX4" fmla="*/ 0 w 147884"/>
                <a:gd name="connsiteY4" fmla="*/ 180622 h 180622"/>
                <a:gd name="connsiteX5" fmla="*/ 21449 w 147884"/>
                <a:gd name="connsiteY5" fmla="*/ 0 h 180622"/>
                <a:gd name="connsiteX6" fmla="*/ 95955 w 147884"/>
                <a:gd name="connsiteY6" fmla="*/ 0 h 180622"/>
                <a:gd name="connsiteX7" fmla="*/ 117404 w 147884"/>
                <a:gd name="connsiteY7" fmla="*/ 1129 h 180622"/>
                <a:gd name="connsiteX8" fmla="*/ 134338 w 147884"/>
                <a:gd name="connsiteY8" fmla="*/ 5644 h 180622"/>
                <a:gd name="connsiteX9" fmla="*/ 144498 w 147884"/>
                <a:gd name="connsiteY9" fmla="*/ 15804 h 180622"/>
                <a:gd name="connsiteX10" fmla="*/ 147884 w 147884"/>
                <a:gd name="connsiteY10" fmla="*/ 32738 h 180622"/>
                <a:gd name="connsiteX11" fmla="*/ 147884 w 147884"/>
                <a:gd name="connsiteY11" fmla="*/ 37253 h 180622"/>
                <a:gd name="connsiteX12" fmla="*/ 147884 w 147884"/>
                <a:gd name="connsiteY12" fmla="*/ 41769 h 180622"/>
                <a:gd name="connsiteX13" fmla="*/ 146755 w 147884"/>
                <a:gd name="connsiteY13" fmla="*/ 55316 h 180622"/>
                <a:gd name="connsiteX14" fmla="*/ 143369 w 147884"/>
                <a:gd name="connsiteY14" fmla="*/ 69991 h 180622"/>
                <a:gd name="connsiteX15" fmla="*/ 137724 w 147884"/>
                <a:gd name="connsiteY15" fmla="*/ 82409 h 180622"/>
                <a:gd name="connsiteX16" fmla="*/ 129822 w 147884"/>
                <a:gd name="connsiteY16" fmla="*/ 91440 h 180622"/>
                <a:gd name="connsiteX17" fmla="*/ 117404 w 147884"/>
                <a:gd name="connsiteY17" fmla="*/ 97084 h 180622"/>
                <a:gd name="connsiteX18" fmla="*/ 138853 w 147884"/>
                <a:gd name="connsiteY18" fmla="*/ 179493 h 180622"/>
                <a:gd name="connsiteX19" fmla="*/ 85795 w 147884"/>
                <a:gd name="connsiteY19" fmla="*/ 179493 h 180622"/>
                <a:gd name="connsiteX20" fmla="*/ 95955 w 147884"/>
                <a:gd name="connsiteY20" fmla="*/ 46284 h 180622"/>
                <a:gd name="connsiteX21" fmla="*/ 95955 w 147884"/>
                <a:gd name="connsiteY21" fmla="*/ 44027 h 180622"/>
                <a:gd name="connsiteX22" fmla="*/ 95955 w 147884"/>
                <a:gd name="connsiteY22" fmla="*/ 42898 h 180622"/>
                <a:gd name="connsiteX23" fmla="*/ 92569 w 147884"/>
                <a:gd name="connsiteY23" fmla="*/ 34996 h 180622"/>
                <a:gd name="connsiteX24" fmla="*/ 80151 w 147884"/>
                <a:gd name="connsiteY24" fmla="*/ 33867 h 180622"/>
                <a:gd name="connsiteX25" fmla="*/ 71120 w 147884"/>
                <a:gd name="connsiteY25" fmla="*/ 33867 h 180622"/>
                <a:gd name="connsiteX26" fmla="*/ 66604 w 147884"/>
                <a:gd name="connsiteY26" fmla="*/ 71120 h 180622"/>
                <a:gd name="connsiteX27" fmla="*/ 74507 w 147884"/>
                <a:gd name="connsiteY27" fmla="*/ 71120 h 180622"/>
                <a:gd name="connsiteX28" fmla="*/ 88053 w 147884"/>
                <a:gd name="connsiteY28" fmla="*/ 68862 h 180622"/>
                <a:gd name="connsiteX29" fmla="*/ 93698 w 147884"/>
                <a:gd name="connsiteY29" fmla="*/ 57573 h 180622"/>
                <a:gd name="connsiteX30" fmla="*/ 95955 w 147884"/>
                <a:gd name="connsiteY30" fmla="*/ 46284 h 180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884" h="180622">
                  <a:moveTo>
                    <a:pt x="85795" y="180622"/>
                  </a:moveTo>
                  <a:lnTo>
                    <a:pt x="68862" y="103858"/>
                  </a:lnTo>
                  <a:lnTo>
                    <a:pt x="62089" y="103858"/>
                  </a:lnTo>
                  <a:lnTo>
                    <a:pt x="53058" y="180622"/>
                  </a:lnTo>
                  <a:lnTo>
                    <a:pt x="0" y="180622"/>
                  </a:lnTo>
                  <a:lnTo>
                    <a:pt x="21449" y="0"/>
                  </a:lnTo>
                  <a:lnTo>
                    <a:pt x="95955" y="0"/>
                  </a:lnTo>
                  <a:cubicBezTo>
                    <a:pt x="103858" y="0"/>
                    <a:pt x="111760" y="0"/>
                    <a:pt x="117404" y="1129"/>
                  </a:cubicBezTo>
                  <a:cubicBezTo>
                    <a:pt x="124178" y="2258"/>
                    <a:pt x="129822" y="3387"/>
                    <a:pt x="134338" y="5644"/>
                  </a:cubicBezTo>
                  <a:cubicBezTo>
                    <a:pt x="138853" y="7902"/>
                    <a:pt x="142240" y="11289"/>
                    <a:pt x="144498" y="15804"/>
                  </a:cubicBezTo>
                  <a:cubicBezTo>
                    <a:pt x="146755" y="20320"/>
                    <a:pt x="147884" y="25964"/>
                    <a:pt x="147884" y="32738"/>
                  </a:cubicBezTo>
                  <a:cubicBezTo>
                    <a:pt x="147884" y="33867"/>
                    <a:pt x="147884" y="36124"/>
                    <a:pt x="147884" y="37253"/>
                  </a:cubicBezTo>
                  <a:cubicBezTo>
                    <a:pt x="147884" y="38382"/>
                    <a:pt x="147884" y="40640"/>
                    <a:pt x="147884" y="41769"/>
                  </a:cubicBezTo>
                  <a:lnTo>
                    <a:pt x="146755" y="55316"/>
                  </a:lnTo>
                  <a:cubicBezTo>
                    <a:pt x="145627" y="60960"/>
                    <a:pt x="144498" y="65475"/>
                    <a:pt x="143369" y="69991"/>
                  </a:cubicBezTo>
                  <a:cubicBezTo>
                    <a:pt x="142240" y="74507"/>
                    <a:pt x="139982" y="79022"/>
                    <a:pt x="137724" y="82409"/>
                  </a:cubicBezTo>
                  <a:cubicBezTo>
                    <a:pt x="135467" y="85795"/>
                    <a:pt x="133209" y="89182"/>
                    <a:pt x="129822" y="91440"/>
                  </a:cubicBezTo>
                  <a:cubicBezTo>
                    <a:pt x="126435" y="93698"/>
                    <a:pt x="121920" y="95955"/>
                    <a:pt x="117404" y="97084"/>
                  </a:cubicBezTo>
                  <a:lnTo>
                    <a:pt x="138853" y="179493"/>
                  </a:lnTo>
                  <a:lnTo>
                    <a:pt x="85795" y="179493"/>
                  </a:lnTo>
                  <a:close/>
                  <a:moveTo>
                    <a:pt x="95955" y="46284"/>
                  </a:moveTo>
                  <a:cubicBezTo>
                    <a:pt x="95955" y="45156"/>
                    <a:pt x="95955" y="45156"/>
                    <a:pt x="95955" y="44027"/>
                  </a:cubicBezTo>
                  <a:cubicBezTo>
                    <a:pt x="95955" y="44027"/>
                    <a:pt x="95955" y="42898"/>
                    <a:pt x="95955" y="42898"/>
                  </a:cubicBezTo>
                  <a:cubicBezTo>
                    <a:pt x="95955" y="38382"/>
                    <a:pt x="94827" y="36124"/>
                    <a:pt x="92569" y="34996"/>
                  </a:cubicBezTo>
                  <a:cubicBezTo>
                    <a:pt x="90311" y="33867"/>
                    <a:pt x="85795" y="33867"/>
                    <a:pt x="80151" y="33867"/>
                  </a:cubicBezTo>
                  <a:lnTo>
                    <a:pt x="71120" y="33867"/>
                  </a:lnTo>
                  <a:lnTo>
                    <a:pt x="66604" y="71120"/>
                  </a:lnTo>
                  <a:lnTo>
                    <a:pt x="74507" y="71120"/>
                  </a:lnTo>
                  <a:cubicBezTo>
                    <a:pt x="80151" y="71120"/>
                    <a:pt x="85795" y="69991"/>
                    <a:pt x="88053" y="68862"/>
                  </a:cubicBezTo>
                  <a:cubicBezTo>
                    <a:pt x="90311" y="67733"/>
                    <a:pt x="92569" y="63218"/>
                    <a:pt x="93698" y="57573"/>
                  </a:cubicBezTo>
                  <a:lnTo>
                    <a:pt x="95955" y="46284"/>
                  </a:lnTo>
                  <a:close/>
                </a:path>
              </a:pathLst>
            </a:custGeom>
            <a:solidFill>
              <a:srgbClr val="FF7E21"/>
            </a:solidFill>
            <a:ln w="112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B3C5AC67-2874-4469-AA30-3F9B1A186C2D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CE14529F-386F-4C90-937F-D8391C75026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AF0F1C0B-01D3-487F-9378-CDEFE60E299C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3F0D89C1-FD26-4E13-8491-523670EE7EBE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D4B4172-ED9E-4101-B0D7-E056B29265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58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81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b" anchorCtr="0">
            <a:noAutofit/>
          </a:bodyPr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065263-13AF-47EE-A2CA-C37071AC14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>
            <a:noAutofit/>
          </a:bodyPr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0204597-DF1C-43B6-85FE-264B3BB604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3888" y="274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A126B55-8306-4F14-ACC9-5B4801DBA4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493520" y="2929763"/>
            <a:ext cx="6251337" cy="276999"/>
          </a:xfrm>
        </p:spPr>
        <p:txBody>
          <a:bodyPr anchor="b" anchorCtr="0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743385-586F-496C-8B93-FF012E80DC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>
            <a:lvl1pPr rtl="0"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E117162-B314-4F68-860E-48F72A6CB1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389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DB9C994F-AA09-48A2-B352-DE9C01970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081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D5DAAD2-9A14-47B8-9BC6-51026D310E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5D55D619-27F6-4378-9341-171190DB7B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F189DA1C-DB23-4A0A-BE48-ACDBAEA0105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b"/>
          <a:lstStyle>
            <a:lvl1pPr marL="0" indent="0" rtl="0"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Step</a:t>
            </a:r>
            <a:endParaRPr lang="de-DE" dirty="0"/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01C6ADFE-BFDA-4D41-BEF0-E490A6ABB55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1493520" y="5510762"/>
            <a:ext cx="6251337" cy="21544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531AC1F-2A2C-4FA1-9F17-CFDE88AF2AA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E115F2C8-395A-40E5-BA77-0DE766D2265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FEBBDB1-6FDB-4A7C-BF69-7FDB39091F9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240B7E7-12E7-4347-A20D-F433AC7507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0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6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823E66-AA06-41C6-BCA1-4C2AF382D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5FCCEA0-7DC2-4F86-BBA7-B40C2E62D18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2DC7629-5BF0-4DF1-8B64-93D588975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C23BE9-9AF7-46F6-B722-3FEF6988F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400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1ADCADF-9674-4436-9651-6811AF1BC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1ADCADF-9674-4436-9651-6811AF1BC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56396C-B55F-46E2-9AB6-6F6A882DA77D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020241" y="2501901"/>
            <a:ext cx="7186318" cy="1854198"/>
            <a:chOff x="8648066" y="5251451"/>
            <a:chExt cx="3543934" cy="914399"/>
          </a:xfrm>
        </p:grpSpPr>
        <p:pic>
          <p:nvPicPr>
            <p:cNvPr id="14" name="Grafik 13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E0B27AD9-8689-4C7E-A28B-C96F2586B3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97073" y="5251451"/>
              <a:ext cx="2194927" cy="914399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D7029BE-EF7C-4C57-B1CA-51580CE66E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8648066" y="5251451"/>
              <a:ext cx="1309510" cy="914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60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34D9-29F3-4478-9830-1EE3B6573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47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34D9-29F3-4478-9830-1EE3B6573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DB27B642-C51B-4BE2-82DB-B8ABC7BBF1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3887" y="1116000"/>
            <a:ext cx="5925753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latin typeface="+mj-lt"/>
              </a:defRPr>
            </a:lvl2pPr>
            <a:lvl3pPr marL="360000" indent="0">
              <a:buNone/>
              <a:defRPr sz="7200">
                <a:latin typeface="+mj-lt"/>
              </a:defRPr>
            </a:lvl3pPr>
            <a:lvl4pPr marL="540000" indent="0">
              <a:buNone/>
              <a:defRPr sz="7200">
                <a:latin typeface="+mj-lt"/>
              </a:defRPr>
            </a:lvl4pPr>
            <a:lvl5pPr marL="720000" indent="0">
              <a:buNone/>
              <a:defRPr sz="7200">
                <a:latin typeface="+mj-lt"/>
              </a:defRPr>
            </a:lvl5pPr>
          </a:lstStyle>
          <a:p>
            <a:pPr lvl="0"/>
            <a:r>
              <a:rPr lang="de-DE" dirty="0"/>
              <a:t>Titel einfüg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B8F74EB-AA23-4A90-B856-1AD0B07A06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888" y="2080800"/>
            <a:ext cx="5331488" cy="1107996"/>
          </a:xfrm>
          <a:solidFill>
            <a:schemeClr val="accent1"/>
          </a:solidFill>
        </p:spPr>
        <p:txBody>
          <a:bodyPr wrap="none" lIns="144000" rIns="144000">
            <a:spAutoFit/>
          </a:bodyPr>
          <a:lstStyle>
            <a:lvl1pPr marL="0" indent="0" rtl="0">
              <a:buNone/>
              <a:defRPr sz="7200" cap="all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7200">
                <a:solidFill>
                  <a:schemeClr val="bg1"/>
                </a:solidFill>
                <a:latin typeface="+mj-lt"/>
              </a:defRPr>
            </a:lvl2pPr>
            <a:lvl3pPr marL="360000" indent="0">
              <a:buNone/>
              <a:defRPr sz="7200">
                <a:solidFill>
                  <a:schemeClr val="bg1"/>
                </a:solidFill>
                <a:latin typeface="+mj-lt"/>
              </a:defRPr>
            </a:lvl3pPr>
            <a:lvl4pPr marL="540000" indent="0">
              <a:buNone/>
              <a:defRPr sz="7200">
                <a:solidFill>
                  <a:schemeClr val="bg1"/>
                </a:solidFill>
                <a:latin typeface="+mj-lt"/>
              </a:defRPr>
            </a:lvl4pPr>
            <a:lvl5pPr marL="720000" indent="0">
              <a:buNone/>
              <a:defRPr sz="7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4A521FB1-BABD-4539-9D83-CF2BD06A0D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3888" y="3928440"/>
            <a:ext cx="1852137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 sz="2400">
                <a:latin typeface="+mj-lt"/>
              </a:defRPr>
            </a:lvl2pPr>
            <a:lvl3pPr marL="360000" indent="0">
              <a:buNone/>
              <a:defRPr sz="2400">
                <a:latin typeface="+mj-lt"/>
              </a:defRPr>
            </a:lvl3pPr>
            <a:lvl4pPr marL="540000" indent="0">
              <a:buNone/>
              <a:defRPr sz="2400">
                <a:latin typeface="+mj-lt"/>
              </a:defRPr>
            </a:lvl4pPr>
            <a:lvl5pPr marL="720000" indent="0">
              <a:buNone/>
              <a:defRPr sz="2400">
                <a:latin typeface="+mj-lt"/>
              </a:defRPr>
            </a:lvl5pPr>
          </a:lstStyle>
          <a:p>
            <a:pPr lvl="0"/>
            <a:r>
              <a:rPr lang="de-DE" dirty="0"/>
              <a:t>Max. 2-zeilig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FE4DE4B-67AC-4D25-BE24-4FAD9BC7D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546000"/>
            <a:ext cx="2598111" cy="442035"/>
          </a:xfrm>
          <a:solidFill>
            <a:schemeClr val="accent1"/>
          </a:solidFill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309D818-4BE1-4FCE-A198-929A1ADDB5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888" y="4665600"/>
            <a:ext cx="1691452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marL="0" indent="0" rtl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Name der Abteilung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965E2490-1819-41D9-8DD0-42054D96207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  <a:ln>
            <a:solidFill>
              <a:schemeClr val="tx1"/>
            </a:solidFill>
            <a:miter lim="800000"/>
          </a:ln>
        </p:spPr>
        <p:txBody>
          <a:bodyPr wrap="none" lIns="144000" tIns="36000" rIns="144000" bIns="36000">
            <a:spAutoFit/>
          </a:bodyPr>
          <a:lstStyle>
            <a:lvl1pPr algn="l" rtl="0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3514D721-549D-4774-97A9-16D403E8D8A9}" type="datetime1">
              <a:rPr lang="de-DE" smtClean="0"/>
              <a:pPr/>
              <a:t>28.04.22</a:t>
            </a:fld>
            <a:endParaRPr lang="de-DE" dirty="0"/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4ECD819-CC23-4CC5-A54F-0E01639155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DE37F96-F32A-4EC3-8A4D-E6F046686731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4B98BB7-8C21-4F5A-9F88-8226C7245D19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E71D6AD6-7773-48D3-8969-86469B2C23BF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F153D12-85C9-4B61-A717-3B276518F84C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B4438264-1C4D-4095-B291-2A4F90B210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534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64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EE2633B-5BF8-4CBA-A286-B5DCA89F72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1592263"/>
            <a:ext cx="10836274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C1143A-57D5-4937-B11A-718B84B6F2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0ABFC12-365D-452D-817D-CF5F622BFC5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38A36-3C65-476E-8536-C016B99F67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F42B69A-E771-4354-A2AF-860C71D1A1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22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D4C4DB6-75E3-48B1-90FD-C4FD72E63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A232A8-68E8-48AD-8FEF-448166B6F9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CF9677-B9F6-4E59-8CE0-666D657A08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0519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77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D04FB8B-DE2E-4E19-9F06-733BB357D1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22920" y="102278"/>
            <a:ext cx="4069081" cy="6651061"/>
          </a:xfrm>
          <a:custGeom>
            <a:avLst/>
            <a:gdLst>
              <a:gd name="connsiteX0" fmla="*/ 0 w 4067583"/>
              <a:gd name="connsiteY0" fmla="*/ 0 h 6753340"/>
              <a:gd name="connsiteX1" fmla="*/ 4067583 w 4067583"/>
              <a:gd name="connsiteY1" fmla="*/ 0 h 6753340"/>
              <a:gd name="connsiteX2" fmla="*/ 4067583 w 4067583"/>
              <a:gd name="connsiteY2" fmla="*/ 6753340 h 6753340"/>
              <a:gd name="connsiteX3" fmla="*/ 3441422 w 4067583"/>
              <a:gd name="connsiteY3" fmla="*/ 6753340 h 6753340"/>
              <a:gd name="connsiteX4" fmla="*/ 3441422 w 4067583"/>
              <a:gd name="connsiteY4" fmla="*/ 6392596 h 6753340"/>
              <a:gd name="connsiteX5" fmla="*/ 2569776 w 4067583"/>
              <a:gd name="connsiteY5" fmla="*/ 6392596 h 6753340"/>
              <a:gd name="connsiteX6" fmla="*/ 2569776 w 4067583"/>
              <a:gd name="connsiteY6" fmla="*/ 6753340 h 6753340"/>
              <a:gd name="connsiteX7" fmla="*/ 2528969 w 4067583"/>
              <a:gd name="connsiteY7" fmla="*/ 6753340 h 6753340"/>
              <a:gd name="connsiteX8" fmla="*/ 2528969 w 4067583"/>
              <a:gd name="connsiteY8" fmla="*/ 6592587 h 6753340"/>
              <a:gd name="connsiteX9" fmla="*/ 2528969 w 4067583"/>
              <a:gd name="connsiteY9" fmla="*/ 6555729 h 6753340"/>
              <a:gd name="connsiteX10" fmla="*/ 2528969 w 4067583"/>
              <a:gd name="connsiteY10" fmla="*/ 6392595 h 6753340"/>
              <a:gd name="connsiteX11" fmla="*/ 2098288 w 4067583"/>
              <a:gd name="connsiteY11" fmla="*/ 6392595 h 6753340"/>
              <a:gd name="connsiteX12" fmla="*/ 2098288 w 4067583"/>
              <a:gd name="connsiteY12" fmla="*/ 6555729 h 6753340"/>
              <a:gd name="connsiteX13" fmla="*/ 1805395 w 4067583"/>
              <a:gd name="connsiteY13" fmla="*/ 6555729 h 6753340"/>
              <a:gd name="connsiteX14" fmla="*/ 1805395 w 4067583"/>
              <a:gd name="connsiteY14" fmla="*/ 6753340 h 6753340"/>
              <a:gd name="connsiteX15" fmla="*/ 0 w 4067583"/>
              <a:gd name="connsiteY15" fmla="*/ 6753340 h 6753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7583" h="6753340">
                <a:moveTo>
                  <a:pt x="0" y="0"/>
                </a:moveTo>
                <a:lnTo>
                  <a:pt x="4067583" y="0"/>
                </a:lnTo>
                <a:lnTo>
                  <a:pt x="4067583" y="6753340"/>
                </a:lnTo>
                <a:lnTo>
                  <a:pt x="3441422" y="6753340"/>
                </a:lnTo>
                <a:lnTo>
                  <a:pt x="3441422" y="6392596"/>
                </a:lnTo>
                <a:lnTo>
                  <a:pt x="2569776" y="6392596"/>
                </a:lnTo>
                <a:lnTo>
                  <a:pt x="2569776" y="6753340"/>
                </a:lnTo>
                <a:lnTo>
                  <a:pt x="2528969" y="6753340"/>
                </a:lnTo>
                <a:lnTo>
                  <a:pt x="2528969" y="6592587"/>
                </a:lnTo>
                <a:lnTo>
                  <a:pt x="2528969" y="6555729"/>
                </a:lnTo>
                <a:lnTo>
                  <a:pt x="2528969" y="6392595"/>
                </a:lnTo>
                <a:lnTo>
                  <a:pt x="2098288" y="6392595"/>
                </a:lnTo>
                <a:lnTo>
                  <a:pt x="2098288" y="6555729"/>
                </a:lnTo>
                <a:lnTo>
                  <a:pt x="1805395" y="6555729"/>
                </a:lnTo>
                <a:lnTo>
                  <a:pt x="1805395" y="6753340"/>
                </a:lnTo>
                <a:lnTo>
                  <a:pt x="0" y="675334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7120970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1503D7C-D8C8-4425-9290-5B56FFEBDFF5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42C1939-91BD-4D3A-8FA5-D687944D9F1C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2157E082-C5D9-4E03-892E-0D55882BD759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C32F7E1-0306-49B2-9F23-87A5A8C1C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5BEDE7B-1C76-4CE6-A517-FDF2C8C938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pic>
        <p:nvPicPr>
          <p:cNvPr id="23" name="Grafik 2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B8821B2-2DA8-473A-95AE-02F3275563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A58572F-E640-4AD3-874B-678246197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3888" y="1592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DCC15F5-CE36-4229-867D-F1EE6E0092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493520" y="1777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7236CA1-8F6E-46F0-87E8-520F738A4E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888" y="2456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7C2524-1232-48C0-9D64-9964A9F16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93520" y="2641764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E0840F5-80C4-4D20-A266-4657886BE5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3888" y="3320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3B509A5A-A5F2-4AEA-8C30-4DC704B764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493520" y="3505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FAC95C-5B2A-445C-9DA1-A0FC299572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3888" y="4184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C40A4447-856C-4686-9D09-88BBBAEE8D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93520" y="4369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BF1F11E5-A3CA-4F8F-9624-278ACB413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3888" y="5048263"/>
            <a:ext cx="648000" cy="648000"/>
          </a:xfrm>
          <a:solidFill>
            <a:schemeClr val="accent1"/>
          </a:solidFill>
        </p:spPr>
        <p:txBody>
          <a:bodyPr anchor="ctr"/>
          <a:lstStyle>
            <a:lvl1pPr marL="0" indent="0" algn="ctr" rtl="0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B351BC8-F1D2-4FFB-A57A-405E4CDE1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93520" y="5233763"/>
            <a:ext cx="6251337" cy="276999"/>
          </a:xfrm>
        </p:spPr>
        <p:txBody>
          <a:bodyPr anchor="ctr">
            <a:noAutofit/>
          </a:bodyPr>
          <a:lstStyle>
            <a:lvl1pPr marL="0" indent="0" rtl="0">
              <a:buNone/>
              <a:defRPr sz="1800"/>
            </a:lvl1pPr>
          </a:lstStyle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D4818FD-1E7E-4451-A439-AFE53641EF22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fld id="{18CFFF75-597B-4EA2-9DAE-0F3D0378B926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BF8180C-60A5-467B-8E0D-573579D561E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08ECE-A02F-4695-B966-3C4B340416D8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67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8AB7A21-ED51-4F37-8FE2-6E3DDE95CF5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B8B6634-F586-42CB-945E-4B51179905E6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2594815-36FF-42B4-B609-668364843CF7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D9494DD-1974-485B-9E3D-C18CFEB965A4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D74ED43-2783-48C4-9B99-4FF953BC4095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B7F62C6-4DD7-4ACA-A368-6CB4586F0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0831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BDCB30-E812-4E64-AA2E-E8AEABF72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58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BDCB30-E812-4E64-AA2E-E8AEABF72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6D4F9A5-1402-4E1F-8DD5-060240EA2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68499" y="1584000"/>
            <a:ext cx="9491663" cy="1846659"/>
          </a:xfrm>
        </p:spPr>
        <p:txBody>
          <a:bodyPr wrap="square">
            <a:noAutofit/>
          </a:bodyPr>
          <a:lstStyle>
            <a:lvl1pPr marL="0" indent="0" rtl="0"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name einfügen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1CC844E-D1AC-4897-8F4B-0D0A545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2800" y="1584000"/>
            <a:ext cx="972000" cy="972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rtl="0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9" name="Grafik 18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C05FF26-EE42-4CEB-8F65-B0495AB0DA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97073" y="5251451"/>
            <a:ext cx="2194927" cy="91439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1B7086-528D-43CA-B9E7-8FAEFB7FB62E}"/>
              </a:ext>
            </a:extLst>
          </p:cNvPr>
          <p:cNvGrpSpPr/>
          <p:nvPr userDrawn="1"/>
        </p:nvGrpSpPr>
        <p:grpSpPr bwMode="gray">
          <a:xfrm>
            <a:off x="8628632" y="5251451"/>
            <a:ext cx="1307737" cy="914398"/>
            <a:chOff x="7324725" y="5253531"/>
            <a:chExt cx="1102042" cy="770572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87F1CCE-E24B-44D6-8363-8279B90778E2}"/>
                </a:ext>
              </a:extLst>
            </p:cNvPr>
            <p:cNvSpPr/>
            <p:nvPr/>
          </p:nvSpPr>
          <p:spPr bwMode="gray">
            <a:xfrm>
              <a:off x="7798117" y="5253531"/>
              <a:ext cx="628649" cy="303847"/>
            </a:xfrm>
            <a:custGeom>
              <a:avLst/>
              <a:gdLst>
                <a:gd name="connsiteX0" fmla="*/ 0 w 628649"/>
                <a:gd name="connsiteY0" fmla="*/ 0 h 303847"/>
                <a:gd name="connsiteX1" fmla="*/ 628650 w 628649"/>
                <a:gd name="connsiteY1" fmla="*/ 0 h 303847"/>
                <a:gd name="connsiteX2" fmla="*/ 628650 w 628649"/>
                <a:gd name="connsiteY2" fmla="*/ 303848 h 303847"/>
                <a:gd name="connsiteX3" fmla="*/ 0 w 628649"/>
                <a:gd name="connsiteY3" fmla="*/ 303848 h 303847"/>
                <a:gd name="connsiteX4" fmla="*/ 0 w 628649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49" h="303847">
                  <a:moveTo>
                    <a:pt x="0" y="0"/>
                  </a:moveTo>
                  <a:lnTo>
                    <a:pt x="628650" y="0"/>
                  </a:lnTo>
                  <a:lnTo>
                    <a:pt x="628650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AD2A4C1-5305-4936-8F20-5BCCD9220D02}"/>
                </a:ext>
              </a:extLst>
            </p:cNvPr>
            <p:cNvSpPr/>
            <p:nvPr/>
          </p:nvSpPr>
          <p:spPr bwMode="gray">
            <a:xfrm>
              <a:off x="7998142" y="5720256"/>
              <a:ext cx="428625" cy="303847"/>
            </a:xfrm>
            <a:custGeom>
              <a:avLst/>
              <a:gdLst>
                <a:gd name="connsiteX0" fmla="*/ 0 w 428625"/>
                <a:gd name="connsiteY0" fmla="*/ 0 h 303847"/>
                <a:gd name="connsiteX1" fmla="*/ 428625 w 428625"/>
                <a:gd name="connsiteY1" fmla="*/ 0 h 303847"/>
                <a:gd name="connsiteX2" fmla="*/ 428625 w 428625"/>
                <a:gd name="connsiteY2" fmla="*/ 303848 h 303847"/>
                <a:gd name="connsiteX3" fmla="*/ 0 w 428625"/>
                <a:gd name="connsiteY3" fmla="*/ 303848 h 303847"/>
                <a:gd name="connsiteX4" fmla="*/ 0 w 428625"/>
                <a:gd name="connsiteY4" fmla="*/ 0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25" h="303847">
                  <a:moveTo>
                    <a:pt x="0" y="0"/>
                  </a:moveTo>
                  <a:lnTo>
                    <a:pt x="428625" y="0"/>
                  </a:lnTo>
                  <a:lnTo>
                    <a:pt x="428625" y="303848"/>
                  </a:lnTo>
                  <a:lnTo>
                    <a:pt x="0" y="3038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E13AAC6-54A6-429C-9296-2E985CF10DFD}"/>
                </a:ext>
              </a:extLst>
            </p:cNvPr>
            <p:cNvSpPr/>
            <p:nvPr/>
          </p:nvSpPr>
          <p:spPr bwMode="gray">
            <a:xfrm>
              <a:off x="7324725" y="5485940"/>
              <a:ext cx="1102042" cy="304800"/>
            </a:xfrm>
            <a:custGeom>
              <a:avLst/>
              <a:gdLst>
                <a:gd name="connsiteX0" fmla="*/ 0 w 1102042"/>
                <a:gd name="connsiteY0" fmla="*/ 0 h 304800"/>
                <a:gd name="connsiteX1" fmla="*/ 1102043 w 1102042"/>
                <a:gd name="connsiteY1" fmla="*/ 0 h 304800"/>
                <a:gd name="connsiteX2" fmla="*/ 1102043 w 1102042"/>
                <a:gd name="connsiteY2" fmla="*/ 304800 h 304800"/>
                <a:gd name="connsiteX3" fmla="*/ 0 w 1102042"/>
                <a:gd name="connsiteY3" fmla="*/ 304800 h 304800"/>
                <a:gd name="connsiteX4" fmla="*/ 0 w 1102042"/>
                <a:gd name="connsiteY4" fmla="*/ 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042" h="304800">
                  <a:moveTo>
                    <a:pt x="0" y="0"/>
                  </a:moveTo>
                  <a:lnTo>
                    <a:pt x="1102043" y="0"/>
                  </a:lnTo>
                  <a:lnTo>
                    <a:pt x="1102043" y="304800"/>
                  </a:lnTo>
                  <a:lnTo>
                    <a:pt x="0" y="30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de-DE" dirty="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C6DE233-5B5F-4674-BF71-5DF4A6B9D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7396162" y="5329731"/>
              <a:ext cx="962025" cy="6191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5715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250BB8-95A9-4ECF-9048-D3D5F2E6C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65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250BB8-95A9-4ECF-9048-D3D5F2E6C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7E4ADE-4957-4495-9DB7-954C6B4B22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Action Title: Bitte Kernaussage der Seite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78FCCF4-0627-4460-9145-0FC8A9C392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888" y="1172389"/>
            <a:ext cx="10836274" cy="276999"/>
          </a:xfrm>
        </p:spPr>
        <p:txBody>
          <a:bodyPr>
            <a:noAutofit/>
          </a:bodyPr>
          <a:lstStyle>
            <a:lvl1pPr marL="0" indent="0" rtl="0">
              <a:buNone/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: Bitte kurz Inhalt der Folie umreiß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0717F2-883C-4905-936A-343FE6D1131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23888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4B12E4-42A4-49DB-94AC-F612F34E7BF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22026" y="1592263"/>
            <a:ext cx="5238137" cy="47164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14DF91-9A5C-40A6-8E15-47AF23BCF1D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8989DB65-F536-4740-823C-38C5FAC1DC61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D2A9C1-BC04-45F0-9DB9-5DF833B82A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Quelle: OBI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17C2A1-5B8D-46A4-A287-637830F77AF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6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F79266-EE7D-4826-906B-64521EBD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7378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"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21B096C-F588-4A7C-B668-6094116484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592263"/>
            <a:ext cx="1083627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26682F-6B0E-41E6-B44B-D67D9617A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fld id="{50587009-2D9A-4287-8465-64E7ADB44FAE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E91D7F-7E8D-4562-81F7-830A5672A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5" name="Grafik 2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094AAB8-12CD-4A52-8FF8-84177110971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94193" y="6392596"/>
            <a:ext cx="871646" cy="363125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DC2D6F-5339-41EB-9C1B-B9E3817D9A01}"/>
              </a:ext>
            </a:extLst>
          </p:cNvPr>
          <p:cNvGrpSpPr/>
          <p:nvPr userDrawn="1"/>
        </p:nvGrpSpPr>
        <p:grpSpPr bwMode="gray">
          <a:xfrm>
            <a:off x="9929813" y="6392595"/>
            <a:ext cx="723574" cy="363126"/>
            <a:chOff x="9929813" y="6392595"/>
            <a:chExt cx="723574" cy="363126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01F91BB3-D153-4EDB-80D7-14D54214CB3C}"/>
                </a:ext>
              </a:extLst>
            </p:cNvPr>
            <p:cNvSpPr/>
            <p:nvPr userDrawn="1"/>
          </p:nvSpPr>
          <p:spPr bwMode="gray">
            <a:xfrm>
              <a:off x="10222706" y="6392595"/>
              <a:ext cx="430681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 rtl="0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35066E1-EACE-4E7E-AB71-A95FBEB5F7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929813" y="6555729"/>
              <a:ext cx="723574" cy="1999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8FB1BAC-C753-4C67-BC7B-2F63C74A98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 bwMode="gray">
            <a:xfrm>
              <a:off x="9989093" y="6450807"/>
              <a:ext cx="607535" cy="252638"/>
            </a:xfrm>
            <a:prstGeom prst="rect">
              <a:avLst/>
            </a:prstGeom>
          </p:spPr>
        </p:pic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F012B79F-F315-4AAE-B79B-67D7EB460693}"/>
              </a:ext>
            </a:extLst>
          </p:cNvPr>
          <p:cNvSpPr>
            <a:spLocks/>
          </p:cNvSpPr>
          <p:nvPr userDrawn="1"/>
        </p:nvSpPr>
        <p:spPr bwMode="gray">
          <a:xfrm>
            <a:off x="-10748" y="6753340"/>
            <a:ext cx="8135164" cy="1077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7203C93-6D24-4D17-9E54-8A4AD4A6BE73}"/>
              </a:ext>
            </a:extLst>
          </p:cNvPr>
          <p:cNvSpPr>
            <a:spLocks/>
          </p:cNvSpPr>
          <p:nvPr userDrawn="1"/>
        </p:nvSpPr>
        <p:spPr bwMode="gray">
          <a:xfrm>
            <a:off x="8124417" y="6753340"/>
            <a:ext cx="4067583" cy="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105198E-3375-40BC-9FEE-2769948611AB}"/>
              </a:ext>
            </a:extLst>
          </p:cNvPr>
          <p:cNvSpPr>
            <a:spLocks/>
          </p:cNvSpPr>
          <p:nvPr userDrawn="1"/>
        </p:nvSpPr>
        <p:spPr>
          <a:xfrm>
            <a:off x="8124417" y="0"/>
            <a:ext cx="4067583" cy="108000"/>
          </a:xfrm>
          <a:prstGeom prst="rect">
            <a:avLst/>
          </a:prstGeom>
          <a:solidFill>
            <a:srgbClr val="FF7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>
              <a:latin typeface="Obi Sans ML 20 PP Regular" panose="02000800040000020004" pitchFamily="50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DEC33-CE63-4E7C-BFEF-280EF234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531032"/>
            <a:ext cx="712097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509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83" r:id="rId4"/>
    <p:sldLayoutId id="2147483654" r:id="rId5"/>
    <p:sldLayoutId id="2147483681" r:id="rId6"/>
    <p:sldLayoutId id="2147483663" r:id="rId7"/>
    <p:sldLayoutId id="2147483664" r:id="rId8"/>
    <p:sldLayoutId id="2147483666" r:id="rId9"/>
    <p:sldLayoutId id="2147483669" r:id="rId10"/>
    <p:sldLayoutId id="2147483667" r:id="rId11"/>
    <p:sldLayoutId id="2147483668" r:id="rId12"/>
    <p:sldLayoutId id="2147483686" r:id="rId13"/>
    <p:sldLayoutId id="2147483687" r:id="rId14"/>
    <p:sldLayoutId id="2147483671" r:id="rId15"/>
    <p:sldLayoutId id="2147483670" r:id="rId16"/>
    <p:sldLayoutId id="2147483684" r:id="rId17"/>
    <p:sldLayoutId id="2147483679" r:id="rId18"/>
    <p:sldLayoutId id="2147483680" r:id="rId19"/>
    <p:sldLayoutId id="2147483685" r:id="rId20"/>
    <p:sldLayoutId id="2147483655" r:id="rId21"/>
    <p:sldLayoutId id="2147483682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pos="347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1003" userDrawn="1">
          <p15:clr>
            <a:srgbClr val="F26B43"/>
          </p15:clr>
        </p15:guide>
        <p15:guide id="8" orient="horz" pos="2251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oV9rvDllKEg" TargetMode="External"/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6.jpg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57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58.xml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2.png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10" Type="http://schemas.openxmlformats.org/officeDocument/2006/relationships/image" Target="../media/image41.svg"/><Relationship Id="rId4" Type="http://schemas.openxmlformats.org/officeDocument/2006/relationships/notesSlide" Target="../notesSlides/notesSlide59.xml"/><Relationship Id="rId9" Type="http://schemas.openxmlformats.org/officeDocument/2006/relationships/image" Target="../media/image40.png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60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61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6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63.xml"/></Relationships>
</file>

<file path=ppt/slides/_rels/slide107.xml.rels><?xml version="1.0" encoding="UTF-8" standalone="yes"?>
<Relationships xmlns="http://schemas.openxmlformats.org/package/2006/relationships"><Relationship Id="rId117" Type="http://schemas.openxmlformats.org/officeDocument/2006/relationships/tags" Target="../tags/tag203.xml"/><Relationship Id="rId21" Type="http://schemas.openxmlformats.org/officeDocument/2006/relationships/tags" Target="../tags/tag107.xml"/><Relationship Id="rId42" Type="http://schemas.openxmlformats.org/officeDocument/2006/relationships/tags" Target="../tags/tag128.xml"/><Relationship Id="rId63" Type="http://schemas.openxmlformats.org/officeDocument/2006/relationships/tags" Target="../tags/tag149.xml"/><Relationship Id="rId84" Type="http://schemas.openxmlformats.org/officeDocument/2006/relationships/tags" Target="../tags/tag170.xml"/><Relationship Id="rId138" Type="http://schemas.openxmlformats.org/officeDocument/2006/relationships/tags" Target="../tags/tag224.xml"/><Relationship Id="rId107" Type="http://schemas.openxmlformats.org/officeDocument/2006/relationships/tags" Target="../tags/tag193.xml"/><Relationship Id="rId11" Type="http://schemas.openxmlformats.org/officeDocument/2006/relationships/tags" Target="../tags/tag97.xml"/><Relationship Id="rId32" Type="http://schemas.openxmlformats.org/officeDocument/2006/relationships/tags" Target="../tags/tag118.xml"/><Relationship Id="rId53" Type="http://schemas.openxmlformats.org/officeDocument/2006/relationships/tags" Target="../tags/tag139.xml"/><Relationship Id="rId74" Type="http://schemas.openxmlformats.org/officeDocument/2006/relationships/tags" Target="../tags/tag160.xml"/><Relationship Id="rId128" Type="http://schemas.openxmlformats.org/officeDocument/2006/relationships/tags" Target="../tags/tag214.xml"/><Relationship Id="rId149" Type="http://schemas.openxmlformats.org/officeDocument/2006/relationships/tags" Target="../tags/tag235.xml"/><Relationship Id="rId5" Type="http://schemas.openxmlformats.org/officeDocument/2006/relationships/tags" Target="../tags/tag91.xml"/><Relationship Id="rId95" Type="http://schemas.openxmlformats.org/officeDocument/2006/relationships/tags" Target="../tags/tag181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43" Type="http://schemas.openxmlformats.org/officeDocument/2006/relationships/tags" Target="../tags/tag129.xml"/><Relationship Id="rId48" Type="http://schemas.openxmlformats.org/officeDocument/2006/relationships/tags" Target="../tags/tag134.xml"/><Relationship Id="rId64" Type="http://schemas.openxmlformats.org/officeDocument/2006/relationships/tags" Target="../tags/tag150.xml"/><Relationship Id="rId69" Type="http://schemas.openxmlformats.org/officeDocument/2006/relationships/tags" Target="../tags/tag155.xml"/><Relationship Id="rId113" Type="http://schemas.openxmlformats.org/officeDocument/2006/relationships/tags" Target="../tags/tag199.xml"/><Relationship Id="rId118" Type="http://schemas.openxmlformats.org/officeDocument/2006/relationships/tags" Target="../tags/tag204.xml"/><Relationship Id="rId134" Type="http://schemas.openxmlformats.org/officeDocument/2006/relationships/tags" Target="../tags/tag220.xml"/><Relationship Id="rId139" Type="http://schemas.openxmlformats.org/officeDocument/2006/relationships/tags" Target="../tags/tag225.xml"/><Relationship Id="rId80" Type="http://schemas.openxmlformats.org/officeDocument/2006/relationships/tags" Target="../tags/tag166.xml"/><Relationship Id="rId85" Type="http://schemas.openxmlformats.org/officeDocument/2006/relationships/tags" Target="../tags/tag171.xml"/><Relationship Id="rId150" Type="http://schemas.openxmlformats.org/officeDocument/2006/relationships/tags" Target="../tags/tag236.xml"/><Relationship Id="rId155" Type="http://schemas.openxmlformats.org/officeDocument/2006/relationships/image" Target="../media/image1.emf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59" Type="http://schemas.openxmlformats.org/officeDocument/2006/relationships/tags" Target="../tags/tag145.xml"/><Relationship Id="rId103" Type="http://schemas.openxmlformats.org/officeDocument/2006/relationships/tags" Target="../tags/tag189.xml"/><Relationship Id="rId108" Type="http://schemas.openxmlformats.org/officeDocument/2006/relationships/tags" Target="../tags/tag194.xml"/><Relationship Id="rId124" Type="http://schemas.openxmlformats.org/officeDocument/2006/relationships/tags" Target="../tags/tag210.xml"/><Relationship Id="rId129" Type="http://schemas.openxmlformats.org/officeDocument/2006/relationships/tags" Target="../tags/tag215.xml"/><Relationship Id="rId54" Type="http://schemas.openxmlformats.org/officeDocument/2006/relationships/tags" Target="../tags/tag140.xml"/><Relationship Id="rId70" Type="http://schemas.openxmlformats.org/officeDocument/2006/relationships/tags" Target="../tags/tag156.xml"/><Relationship Id="rId75" Type="http://schemas.openxmlformats.org/officeDocument/2006/relationships/tags" Target="../tags/tag161.xml"/><Relationship Id="rId91" Type="http://schemas.openxmlformats.org/officeDocument/2006/relationships/tags" Target="../tags/tag177.xml"/><Relationship Id="rId96" Type="http://schemas.openxmlformats.org/officeDocument/2006/relationships/tags" Target="../tags/tag182.xml"/><Relationship Id="rId140" Type="http://schemas.openxmlformats.org/officeDocument/2006/relationships/tags" Target="../tags/tag226.xml"/><Relationship Id="rId145" Type="http://schemas.openxmlformats.org/officeDocument/2006/relationships/tags" Target="../tags/tag231.xml"/><Relationship Id="rId1" Type="http://schemas.openxmlformats.org/officeDocument/2006/relationships/vmlDrawing" Target="../drawings/vmlDrawing87.vml"/><Relationship Id="rId6" Type="http://schemas.openxmlformats.org/officeDocument/2006/relationships/tags" Target="../tags/tag92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49" Type="http://schemas.openxmlformats.org/officeDocument/2006/relationships/tags" Target="../tags/tag135.xml"/><Relationship Id="rId114" Type="http://schemas.openxmlformats.org/officeDocument/2006/relationships/tags" Target="../tags/tag200.xml"/><Relationship Id="rId119" Type="http://schemas.openxmlformats.org/officeDocument/2006/relationships/tags" Target="../tags/tag205.xml"/><Relationship Id="rId44" Type="http://schemas.openxmlformats.org/officeDocument/2006/relationships/tags" Target="../tags/tag130.xml"/><Relationship Id="rId60" Type="http://schemas.openxmlformats.org/officeDocument/2006/relationships/tags" Target="../tags/tag146.xml"/><Relationship Id="rId65" Type="http://schemas.openxmlformats.org/officeDocument/2006/relationships/tags" Target="../tags/tag151.xml"/><Relationship Id="rId81" Type="http://schemas.openxmlformats.org/officeDocument/2006/relationships/tags" Target="../tags/tag167.xml"/><Relationship Id="rId86" Type="http://schemas.openxmlformats.org/officeDocument/2006/relationships/tags" Target="../tags/tag172.xml"/><Relationship Id="rId130" Type="http://schemas.openxmlformats.org/officeDocument/2006/relationships/tags" Target="../tags/tag216.xml"/><Relationship Id="rId135" Type="http://schemas.openxmlformats.org/officeDocument/2006/relationships/tags" Target="../tags/tag221.xml"/><Relationship Id="rId151" Type="http://schemas.openxmlformats.org/officeDocument/2006/relationships/tags" Target="../tags/tag237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9" Type="http://schemas.openxmlformats.org/officeDocument/2006/relationships/tags" Target="../tags/tag125.xml"/><Relationship Id="rId109" Type="http://schemas.openxmlformats.org/officeDocument/2006/relationships/tags" Target="../tags/tag195.xml"/><Relationship Id="rId34" Type="http://schemas.openxmlformats.org/officeDocument/2006/relationships/tags" Target="../tags/tag120.xml"/><Relationship Id="rId50" Type="http://schemas.openxmlformats.org/officeDocument/2006/relationships/tags" Target="../tags/tag136.xml"/><Relationship Id="rId55" Type="http://schemas.openxmlformats.org/officeDocument/2006/relationships/tags" Target="../tags/tag141.xml"/><Relationship Id="rId76" Type="http://schemas.openxmlformats.org/officeDocument/2006/relationships/tags" Target="../tags/tag162.xml"/><Relationship Id="rId97" Type="http://schemas.openxmlformats.org/officeDocument/2006/relationships/tags" Target="../tags/tag183.xml"/><Relationship Id="rId104" Type="http://schemas.openxmlformats.org/officeDocument/2006/relationships/tags" Target="../tags/tag190.xml"/><Relationship Id="rId120" Type="http://schemas.openxmlformats.org/officeDocument/2006/relationships/tags" Target="../tags/tag206.xml"/><Relationship Id="rId125" Type="http://schemas.openxmlformats.org/officeDocument/2006/relationships/tags" Target="../tags/tag211.xml"/><Relationship Id="rId141" Type="http://schemas.openxmlformats.org/officeDocument/2006/relationships/tags" Target="../tags/tag227.xml"/><Relationship Id="rId146" Type="http://schemas.openxmlformats.org/officeDocument/2006/relationships/tags" Target="../tags/tag232.xml"/><Relationship Id="rId7" Type="http://schemas.openxmlformats.org/officeDocument/2006/relationships/tags" Target="../tags/tag93.xml"/><Relationship Id="rId71" Type="http://schemas.openxmlformats.org/officeDocument/2006/relationships/tags" Target="../tags/tag157.xml"/><Relationship Id="rId92" Type="http://schemas.openxmlformats.org/officeDocument/2006/relationships/tags" Target="../tags/tag178.xml"/><Relationship Id="rId2" Type="http://schemas.openxmlformats.org/officeDocument/2006/relationships/tags" Target="../tags/tag88.xml"/><Relationship Id="rId29" Type="http://schemas.openxmlformats.org/officeDocument/2006/relationships/tags" Target="../tags/tag115.xml"/><Relationship Id="rId24" Type="http://schemas.openxmlformats.org/officeDocument/2006/relationships/tags" Target="../tags/tag110.xml"/><Relationship Id="rId40" Type="http://schemas.openxmlformats.org/officeDocument/2006/relationships/tags" Target="../tags/tag126.xml"/><Relationship Id="rId45" Type="http://schemas.openxmlformats.org/officeDocument/2006/relationships/tags" Target="../tags/tag131.xml"/><Relationship Id="rId66" Type="http://schemas.openxmlformats.org/officeDocument/2006/relationships/tags" Target="../tags/tag152.xml"/><Relationship Id="rId87" Type="http://schemas.openxmlformats.org/officeDocument/2006/relationships/tags" Target="../tags/tag173.xml"/><Relationship Id="rId110" Type="http://schemas.openxmlformats.org/officeDocument/2006/relationships/tags" Target="../tags/tag196.xml"/><Relationship Id="rId115" Type="http://schemas.openxmlformats.org/officeDocument/2006/relationships/tags" Target="../tags/tag201.xml"/><Relationship Id="rId131" Type="http://schemas.openxmlformats.org/officeDocument/2006/relationships/tags" Target="../tags/tag217.xml"/><Relationship Id="rId136" Type="http://schemas.openxmlformats.org/officeDocument/2006/relationships/tags" Target="../tags/tag222.xml"/><Relationship Id="rId61" Type="http://schemas.openxmlformats.org/officeDocument/2006/relationships/tags" Target="../tags/tag147.xml"/><Relationship Id="rId82" Type="http://schemas.openxmlformats.org/officeDocument/2006/relationships/tags" Target="../tags/tag168.xml"/><Relationship Id="rId152" Type="http://schemas.openxmlformats.org/officeDocument/2006/relationships/slideLayout" Target="../slideLayouts/slideLayout5.xml"/><Relationship Id="rId19" Type="http://schemas.openxmlformats.org/officeDocument/2006/relationships/tags" Target="../tags/tag105.xml"/><Relationship Id="rId14" Type="http://schemas.openxmlformats.org/officeDocument/2006/relationships/tags" Target="../tags/tag100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56" Type="http://schemas.openxmlformats.org/officeDocument/2006/relationships/tags" Target="../tags/tag142.xml"/><Relationship Id="rId77" Type="http://schemas.openxmlformats.org/officeDocument/2006/relationships/tags" Target="../tags/tag163.xml"/><Relationship Id="rId100" Type="http://schemas.openxmlformats.org/officeDocument/2006/relationships/tags" Target="../tags/tag186.xml"/><Relationship Id="rId105" Type="http://schemas.openxmlformats.org/officeDocument/2006/relationships/tags" Target="../tags/tag191.xml"/><Relationship Id="rId126" Type="http://schemas.openxmlformats.org/officeDocument/2006/relationships/tags" Target="../tags/tag212.xml"/><Relationship Id="rId147" Type="http://schemas.openxmlformats.org/officeDocument/2006/relationships/tags" Target="../tags/tag233.xml"/><Relationship Id="rId8" Type="http://schemas.openxmlformats.org/officeDocument/2006/relationships/tags" Target="../tags/tag94.xml"/><Relationship Id="rId51" Type="http://schemas.openxmlformats.org/officeDocument/2006/relationships/tags" Target="../tags/tag137.xml"/><Relationship Id="rId72" Type="http://schemas.openxmlformats.org/officeDocument/2006/relationships/tags" Target="../tags/tag158.xml"/><Relationship Id="rId93" Type="http://schemas.openxmlformats.org/officeDocument/2006/relationships/tags" Target="../tags/tag179.xml"/><Relationship Id="rId98" Type="http://schemas.openxmlformats.org/officeDocument/2006/relationships/tags" Target="../tags/tag184.xml"/><Relationship Id="rId121" Type="http://schemas.openxmlformats.org/officeDocument/2006/relationships/tags" Target="../tags/tag207.xml"/><Relationship Id="rId142" Type="http://schemas.openxmlformats.org/officeDocument/2006/relationships/tags" Target="../tags/tag228.xml"/><Relationship Id="rId3" Type="http://schemas.openxmlformats.org/officeDocument/2006/relationships/tags" Target="../tags/tag89.xml"/><Relationship Id="rId25" Type="http://schemas.openxmlformats.org/officeDocument/2006/relationships/tags" Target="../tags/tag111.xml"/><Relationship Id="rId46" Type="http://schemas.openxmlformats.org/officeDocument/2006/relationships/tags" Target="../tags/tag132.xml"/><Relationship Id="rId67" Type="http://schemas.openxmlformats.org/officeDocument/2006/relationships/tags" Target="../tags/tag153.xml"/><Relationship Id="rId116" Type="http://schemas.openxmlformats.org/officeDocument/2006/relationships/tags" Target="../tags/tag202.xml"/><Relationship Id="rId137" Type="http://schemas.openxmlformats.org/officeDocument/2006/relationships/tags" Target="../tags/tag223.xml"/><Relationship Id="rId20" Type="http://schemas.openxmlformats.org/officeDocument/2006/relationships/tags" Target="../tags/tag106.xml"/><Relationship Id="rId41" Type="http://schemas.openxmlformats.org/officeDocument/2006/relationships/tags" Target="../tags/tag127.xml"/><Relationship Id="rId62" Type="http://schemas.openxmlformats.org/officeDocument/2006/relationships/tags" Target="../tags/tag148.xml"/><Relationship Id="rId83" Type="http://schemas.openxmlformats.org/officeDocument/2006/relationships/tags" Target="../tags/tag169.xml"/><Relationship Id="rId88" Type="http://schemas.openxmlformats.org/officeDocument/2006/relationships/tags" Target="../tags/tag174.xml"/><Relationship Id="rId111" Type="http://schemas.openxmlformats.org/officeDocument/2006/relationships/tags" Target="../tags/tag197.xml"/><Relationship Id="rId132" Type="http://schemas.openxmlformats.org/officeDocument/2006/relationships/tags" Target="../tags/tag218.xml"/><Relationship Id="rId153" Type="http://schemas.openxmlformats.org/officeDocument/2006/relationships/notesSlide" Target="../notesSlides/notesSlide64.xml"/><Relationship Id="rId15" Type="http://schemas.openxmlformats.org/officeDocument/2006/relationships/tags" Target="../tags/tag101.xml"/><Relationship Id="rId36" Type="http://schemas.openxmlformats.org/officeDocument/2006/relationships/tags" Target="../tags/tag122.xml"/><Relationship Id="rId57" Type="http://schemas.openxmlformats.org/officeDocument/2006/relationships/tags" Target="../tags/tag143.xml"/><Relationship Id="rId106" Type="http://schemas.openxmlformats.org/officeDocument/2006/relationships/tags" Target="../tags/tag192.xml"/><Relationship Id="rId127" Type="http://schemas.openxmlformats.org/officeDocument/2006/relationships/tags" Target="../tags/tag213.xml"/><Relationship Id="rId10" Type="http://schemas.openxmlformats.org/officeDocument/2006/relationships/tags" Target="../tags/tag96.xml"/><Relationship Id="rId31" Type="http://schemas.openxmlformats.org/officeDocument/2006/relationships/tags" Target="../tags/tag117.xml"/><Relationship Id="rId52" Type="http://schemas.openxmlformats.org/officeDocument/2006/relationships/tags" Target="../tags/tag138.xml"/><Relationship Id="rId73" Type="http://schemas.openxmlformats.org/officeDocument/2006/relationships/tags" Target="../tags/tag159.xml"/><Relationship Id="rId78" Type="http://schemas.openxmlformats.org/officeDocument/2006/relationships/tags" Target="../tags/tag164.xml"/><Relationship Id="rId94" Type="http://schemas.openxmlformats.org/officeDocument/2006/relationships/tags" Target="../tags/tag180.xml"/><Relationship Id="rId99" Type="http://schemas.openxmlformats.org/officeDocument/2006/relationships/tags" Target="../tags/tag185.xml"/><Relationship Id="rId101" Type="http://schemas.openxmlformats.org/officeDocument/2006/relationships/tags" Target="../tags/tag187.xml"/><Relationship Id="rId122" Type="http://schemas.openxmlformats.org/officeDocument/2006/relationships/tags" Target="../tags/tag208.xml"/><Relationship Id="rId143" Type="http://schemas.openxmlformats.org/officeDocument/2006/relationships/tags" Target="../tags/tag229.xml"/><Relationship Id="rId148" Type="http://schemas.openxmlformats.org/officeDocument/2006/relationships/tags" Target="../tags/tag234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26" Type="http://schemas.openxmlformats.org/officeDocument/2006/relationships/tags" Target="../tags/tag112.xml"/><Relationship Id="rId47" Type="http://schemas.openxmlformats.org/officeDocument/2006/relationships/tags" Target="../tags/tag133.xml"/><Relationship Id="rId68" Type="http://schemas.openxmlformats.org/officeDocument/2006/relationships/tags" Target="../tags/tag154.xml"/><Relationship Id="rId89" Type="http://schemas.openxmlformats.org/officeDocument/2006/relationships/tags" Target="../tags/tag175.xml"/><Relationship Id="rId112" Type="http://schemas.openxmlformats.org/officeDocument/2006/relationships/tags" Target="../tags/tag198.xml"/><Relationship Id="rId133" Type="http://schemas.openxmlformats.org/officeDocument/2006/relationships/tags" Target="../tags/tag219.xml"/><Relationship Id="rId154" Type="http://schemas.openxmlformats.org/officeDocument/2006/relationships/oleObject" Target="../embeddings/oleObject80.bin"/><Relationship Id="rId16" Type="http://schemas.openxmlformats.org/officeDocument/2006/relationships/tags" Target="../tags/tag102.xml"/><Relationship Id="rId37" Type="http://schemas.openxmlformats.org/officeDocument/2006/relationships/tags" Target="../tags/tag123.xml"/><Relationship Id="rId58" Type="http://schemas.openxmlformats.org/officeDocument/2006/relationships/tags" Target="../tags/tag144.xml"/><Relationship Id="rId79" Type="http://schemas.openxmlformats.org/officeDocument/2006/relationships/tags" Target="../tags/tag165.xml"/><Relationship Id="rId102" Type="http://schemas.openxmlformats.org/officeDocument/2006/relationships/tags" Target="../tags/tag188.xml"/><Relationship Id="rId123" Type="http://schemas.openxmlformats.org/officeDocument/2006/relationships/tags" Target="../tags/tag209.xml"/><Relationship Id="rId144" Type="http://schemas.openxmlformats.org/officeDocument/2006/relationships/tags" Target="../tags/tag230.xml"/><Relationship Id="rId90" Type="http://schemas.openxmlformats.org/officeDocument/2006/relationships/tags" Target="../tags/tag176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65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6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67.xml"/></Relationships>
</file>

<file path=ppt/slides/_rels/slide111.xml.rels><?xml version="1.0" encoding="UTF-8" standalone="yes"?>
<Relationships xmlns="http://schemas.openxmlformats.org/package/2006/relationships"><Relationship Id="rId13" Type="http://schemas.openxmlformats.org/officeDocument/2006/relationships/tags" Target="../tags/tag252.xml"/><Relationship Id="rId18" Type="http://schemas.openxmlformats.org/officeDocument/2006/relationships/tags" Target="../tags/tag257.xml"/><Relationship Id="rId26" Type="http://schemas.openxmlformats.org/officeDocument/2006/relationships/tags" Target="../tags/tag265.xml"/><Relationship Id="rId39" Type="http://schemas.openxmlformats.org/officeDocument/2006/relationships/tags" Target="../tags/tag278.xml"/><Relationship Id="rId21" Type="http://schemas.openxmlformats.org/officeDocument/2006/relationships/tags" Target="../tags/tag260.xml"/><Relationship Id="rId34" Type="http://schemas.openxmlformats.org/officeDocument/2006/relationships/tags" Target="../tags/tag273.xml"/><Relationship Id="rId42" Type="http://schemas.openxmlformats.org/officeDocument/2006/relationships/tags" Target="../tags/tag281.xml"/><Relationship Id="rId47" Type="http://schemas.openxmlformats.org/officeDocument/2006/relationships/image" Target="../media/image1.emf"/><Relationship Id="rId7" Type="http://schemas.openxmlformats.org/officeDocument/2006/relationships/tags" Target="../tags/tag246.xml"/><Relationship Id="rId2" Type="http://schemas.openxmlformats.org/officeDocument/2006/relationships/tags" Target="../tags/tag241.xml"/><Relationship Id="rId16" Type="http://schemas.openxmlformats.org/officeDocument/2006/relationships/tags" Target="../tags/tag255.xml"/><Relationship Id="rId29" Type="http://schemas.openxmlformats.org/officeDocument/2006/relationships/tags" Target="../tags/tag268.xml"/><Relationship Id="rId11" Type="http://schemas.openxmlformats.org/officeDocument/2006/relationships/tags" Target="../tags/tag250.xml"/><Relationship Id="rId24" Type="http://schemas.openxmlformats.org/officeDocument/2006/relationships/tags" Target="../tags/tag263.xml"/><Relationship Id="rId32" Type="http://schemas.openxmlformats.org/officeDocument/2006/relationships/tags" Target="../tags/tag271.xml"/><Relationship Id="rId37" Type="http://schemas.openxmlformats.org/officeDocument/2006/relationships/tags" Target="../tags/tag276.xml"/><Relationship Id="rId40" Type="http://schemas.openxmlformats.org/officeDocument/2006/relationships/tags" Target="../tags/tag279.xml"/><Relationship Id="rId45" Type="http://schemas.openxmlformats.org/officeDocument/2006/relationships/notesSlide" Target="../notesSlides/notesSlide68.xml"/><Relationship Id="rId5" Type="http://schemas.openxmlformats.org/officeDocument/2006/relationships/tags" Target="../tags/tag244.xml"/><Relationship Id="rId15" Type="http://schemas.openxmlformats.org/officeDocument/2006/relationships/tags" Target="../tags/tag254.xml"/><Relationship Id="rId23" Type="http://schemas.openxmlformats.org/officeDocument/2006/relationships/tags" Target="../tags/tag262.xml"/><Relationship Id="rId28" Type="http://schemas.openxmlformats.org/officeDocument/2006/relationships/tags" Target="../tags/tag267.xml"/><Relationship Id="rId36" Type="http://schemas.openxmlformats.org/officeDocument/2006/relationships/tags" Target="../tags/tag275.xml"/><Relationship Id="rId49" Type="http://schemas.openxmlformats.org/officeDocument/2006/relationships/chart" Target="../charts/chart2.xml"/><Relationship Id="rId10" Type="http://schemas.openxmlformats.org/officeDocument/2006/relationships/tags" Target="../tags/tag249.xml"/><Relationship Id="rId19" Type="http://schemas.openxmlformats.org/officeDocument/2006/relationships/tags" Target="../tags/tag258.xml"/><Relationship Id="rId31" Type="http://schemas.openxmlformats.org/officeDocument/2006/relationships/tags" Target="../tags/tag270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tags" Target="../tags/tag253.xml"/><Relationship Id="rId22" Type="http://schemas.openxmlformats.org/officeDocument/2006/relationships/tags" Target="../tags/tag261.xml"/><Relationship Id="rId27" Type="http://schemas.openxmlformats.org/officeDocument/2006/relationships/tags" Target="../tags/tag266.xml"/><Relationship Id="rId30" Type="http://schemas.openxmlformats.org/officeDocument/2006/relationships/tags" Target="../tags/tag269.xml"/><Relationship Id="rId35" Type="http://schemas.openxmlformats.org/officeDocument/2006/relationships/tags" Target="../tags/tag274.xml"/><Relationship Id="rId43" Type="http://schemas.openxmlformats.org/officeDocument/2006/relationships/tags" Target="../tags/tag282.xml"/><Relationship Id="rId48" Type="http://schemas.openxmlformats.org/officeDocument/2006/relationships/chart" Target="../charts/chart1.xml"/><Relationship Id="rId8" Type="http://schemas.openxmlformats.org/officeDocument/2006/relationships/tags" Target="../tags/tag247.xml"/><Relationship Id="rId3" Type="http://schemas.openxmlformats.org/officeDocument/2006/relationships/tags" Target="../tags/tag242.xml"/><Relationship Id="rId12" Type="http://schemas.openxmlformats.org/officeDocument/2006/relationships/tags" Target="../tags/tag251.xml"/><Relationship Id="rId17" Type="http://schemas.openxmlformats.org/officeDocument/2006/relationships/tags" Target="../tags/tag256.xml"/><Relationship Id="rId25" Type="http://schemas.openxmlformats.org/officeDocument/2006/relationships/tags" Target="../tags/tag264.xml"/><Relationship Id="rId33" Type="http://schemas.openxmlformats.org/officeDocument/2006/relationships/tags" Target="../tags/tag272.xml"/><Relationship Id="rId38" Type="http://schemas.openxmlformats.org/officeDocument/2006/relationships/tags" Target="../tags/tag277.xml"/><Relationship Id="rId46" Type="http://schemas.openxmlformats.org/officeDocument/2006/relationships/oleObject" Target="../embeddings/oleObject84.bin"/><Relationship Id="rId20" Type="http://schemas.openxmlformats.org/officeDocument/2006/relationships/tags" Target="../tags/tag259.xml"/><Relationship Id="rId41" Type="http://schemas.openxmlformats.org/officeDocument/2006/relationships/tags" Target="../tags/tag280.xml"/><Relationship Id="rId1" Type="http://schemas.openxmlformats.org/officeDocument/2006/relationships/vmlDrawing" Target="../drawings/vmlDrawing91.vml"/><Relationship Id="rId6" Type="http://schemas.openxmlformats.org/officeDocument/2006/relationships/tags" Target="../tags/tag245.xml"/></Relationships>
</file>

<file path=ppt/slides/_rels/slide112.xml.rels><?xml version="1.0" encoding="UTF-8" standalone="yes"?>
<Relationships xmlns="http://schemas.openxmlformats.org/package/2006/relationships"><Relationship Id="rId13" Type="http://schemas.openxmlformats.org/officeDocument/2006/relationships/tags" Target="../tags/tag294.xml"/><Relationship Id="rId18" Type="http://schemas.openxmlformats.org/officeDocument/2006/relationships/tags" Target="../tags/tag299.xml"/><Relationship Id="rId26" Type="http://schemas.openxmlformats.org/officeDocument/2006/relationships/tags" Target="../tags/tag307.xml"/><Relationship Id="rId39" Type="http://schemas.openxmlformats.org/officeDocument/2006/relationships/tags" Target="../tags/tag320.xml"/><Relationship Id="rId21" Type="http://schemas.openxmlformats.org/officeDocument/2006/relationships/tags" Target="../tags/tag302.xml"/><Relationship Id="rId34" Type="http://schemas.openxmlformats.org/officeDocument/2006/relationships/tags" Target="../tags/tag315.xml"/><Relationship Id="rId42" Type="http://schemas.openxmlformats.org/officeDocument/2006/relationships/tags" Target="../tags/tag323.xml"/><Relationship Id="rId47" Type="http://schemas.openxmlformats.org/officeDocument/2006/relationships/image" Target="../media/image1.emf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6" Type="http://schemas.openxmlformats.org/officeDocument/2006/relationships/tags" Target="../tags/tag297.xml"/><Relationship Id="rId29" Type="http://schemas.openxmlformats.org/officeDocument/2006/relationships/tags" Target="../tags/tag310.xml"/><Relationship Id="rId11" Type="http://schemas.openxmlformats.org/officeDocument/2006/relationships/tags" Target="../tags/tag292.xml"/><Relationship Id="rId24" Type="http://schemas.openxmlformats.org/officeDocument/2006/relationships/tags" Target="../tags/tag305.xml"/><Relationship Id="rId32" Type="http://schemas.openxmlformats.org/officeDocument/2006/relationships/tags" Target="../tags/tag313.xml"/><Relationship Id="rId37" Type="http://schemas.openxmlformats.org/officeDocument/2006/relationships/tags" Target="../tags/tag318.xml"/><Relationship Id="rId40" Type="http://schemas.openxmlformats.org/officeDocument/2006/relationships/tags" Target="../tags/tag321.xml"/><Relationship Id="rId45" Type="http://schemas.openxmlformats.org/officeDocument/2006/relationships/notesSlide" Target="../notesSlides/notesSlide69.xml"/><Relationship Id="rId5" Type="http://schemas.openxmlformats.org/officeDocument/2006/relationships/tags" Target="../tags/tag286.xml"/><Relationship Id="rId15" Type="http://schemas.openxmlformats.org/officeDocument/2006/relationships/tags" Target="../tags/tag296.xml"/><Relationship Id="rId23" Type="http://schemas.openxmlformats.org/officeDocument/2006/relationships/tags" Target="../tags/tag304.xml"/><Relationship Id="rId28" Type="http://schemas.openxmlformats.org/officeDocument/2006/relationships/tags" Target="../tags/tag309.xml"/><Relationship Id="rId36" Type="http://schemas.openxmlformats.org/officeDocument/2006/relationships/tags" Target="../tags/tag317.xml"/><Relationship Id="rId49" Type="http://schemas.openxmlformats.org/officeDocument/2006/relationships/chart" Target="../charts/chart4.xml"/><Relationship Id="rId10" Type="http://schemas.openxmlformats.org/officeDocument/2006/relationships/tags" Target="../tags/tag291.xml"/><Relationship Id="rId19" Type="http://schemas.openxmlformats.org/officeDocument/2006/relationships/tags" Target="../tags/tag300.xml"/><Relationship Id="rId31" Type="http://schemas.openxmlformats.org/officeDocument/2006/relationships/tags" Target="../tags/tag312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tags" Target="../tags/tag295.xml"/><Relationship Id="rId22" Type="http://schemas.openxmlformats.org/officeDocument/2006/relationships/tags" Target="../tags/tag303.xml"/><Relationship Id="rId27" Type="http://schemas.openxmlformats.org/officeDocument/2006/relationships/tags" Target="../tags/tag308.xml"/><Relationship Id="rId30" Type="http://schemas.openxmlformats.org/officeDocument/2006/relationships/tags" Target="../tags/tag311.xml"/><Relationship Id="rId35" Type="http://schemas.openxmlformats.org/officeDocument/2006/relationships/tags" Target="../tags/tag316.xml"/><Relationship Id="rId43" Type="http://schemas.openxmlformats.org/officeDocument/2006/relationships/tags" Target="../tags/tag324.xml"/><Relationship Id="rId48" Type="http://schemas.openxmlformats.org/officeDocument/2006/relationships/chart" Target="../charts/chart3.xml"/><Relationship Id="rId8" Type="http://schemas.openxmlformats.org/officeDocument/2006/relationships/tags" Target="../tags/tag289.xml"/><Relationship Id="rId3" Type="http://schemas.openxmlformats.org/officeDocument/2006/relationships/tags" Target="../tags/tag284.xml"/><Relationship Id="rId12" Type="http://schemas.openxmlformats.org/officeDocument/2006/relationships/tags" Target="../tags/tag293.xml"/><Relationship Id="rId17" Type="http://schemas.openxmlformats.org/officeDocument/2006/relationships/tags" Target="../tags/tag298.xml"/><Relationship Id="rId25" Type="http://schemas.openxmlformats.org/officeDocument/2006/relationships/tags" Target="../tags/tag306.xml"/><Relationship Id="rId33" Type="http://schemas.openxmlformats.org/officeDocument/2006/relationships/tags" Target="../tags/tag314.xml"/><Relationship Id="rId38" Type="http://schemas.openxmlformats.org/officeDocument/2006/relationships/tags" Target="../tags/tag319.xml"/><Relationship Id="rId46" Type="http://schemas.openxmlformats.org/officeDocument/2006/relationships/oleObject" Target="../embeddings/oleObject85.bin"/><Relationship Id="rId20" Type="http://schemas.openxmlformats.org/officeDocument/2006/relationships/tags" Target="../tags/tag301.xml"/><Relationship Id="rId41" Type="http://schemas.openxmlformats.org/officeDocument/2006/relationships/tags" Target="../tags/tag322.xml"/><Relationship Id="rId1" Type="http://schemas.openxmlformats.org/officeDocument/2006/relationships/vmlDrawing" Target="../drawings/vmlDrawing92.vml"/><Relationship Id="rId6" Type="http://schemas.openxmlformats.org/officeDocument/2006/relationships/tags" Target="../tags/tag287.xml"/></Relationships>
</file>

<file path=ppt/slides/_rels/slide113.xml.rels><?xml version="1.0" encoding="UTF-8" standalone="yes"?>
<Relationships xmlns="http://schemas.openxmlformats.org/package/2006/relationships"><Relationship Id="rId13" Type="http://schemas.openxmlformats.org/officeDocument/2006/relationships/tags" Target="../tags/tag336.xml"/><Relationship Id="rId18" Type="http://schemas.openxmlformats.org/officeDocument/2006/relationships/tags" Target="../tags/tag341.xml"/><Relationship Id="rId26" Type="http://schemas.openxmlformats.org/officeDocument/2006/relationships/tags" Target="../tags/tag349.xml"/><Relationship Id="rId21" Type="http://schemas.openxmlformats.org/officeDocument/2006/relationships/tags" Target="../tags/tag344.xml"/><Relationship Id="rId34" Type="http://schemas.openxmlformats.org/officeDocument/2006/relationships/oleObject" Target="../embeddings/oleObject86.bin"/><Relationship Id="rId7" Type="http://schemas.openxmlformats.org/officeDocument/2006/relationships/tags" Target="../tags/tag330.xml"/><Relationship Id="rId12" Type="http://schemas.openxmlformats.org/officeDocument/2006/relationships/tags" Target="../tags/tag335.xml"/><Relationship Id="rId17" Type="http://schemas.openxmlformats.org/officeDocument/2006/relationships/tags" Target="../tags/tag340.xml"/><Relationship Id="rId25" Type="http://schemas.openxmlformats.org/officeDocument/2006/relationships/tags" Target="../tags/tag348.xml"/><Relationship Id="rId33" Type="http://schemas.openxmlformats.org/officeDocument/2006/relationships/notesSlide" Target="../notesSlides/notesSlide70.xml"/><Relationship Id="rId2" Type="http://schemas.openxmlformats.org/officeDocument/2006/relationships/tags" Target="../tags/tag325.xml"/><Relationship Id="rId16" Type="http://schemas.openxmlformats.org/officeDocument/2006/relationships/tags" Target="../tags/tag339.xml"/><Relationship Id="rId20" Type="http://schemas.openxmlformats.org/officeDocument/2006/relationships/tags" Target="../tags/tag343.xml"/><Relationship Id="rId29" Type="http://schemas.openxmlformats.org/officeDocument/2006/relationships/tags" Target="../tags/tag352.xml"/><Relationship Id="rId1" Type="http://schemas.openxmlformats.org/officeDocument/2006/relationships/vmlDrawing" Target="../drawings/vmlDrawing93.vml"/><Relationship Id="rId6" Type="http://schemas.openxmlformats.org/officeDocument/2006/relationships/tags" Target="../tags/tag329.xml"/><Relationship Id="rId11" Type="http://schemas.openxmlformats.org/officeDocument/2006/relationships/tags" Target="../tags/tag334.xml"/><Relationship Id="rId24" Type="http://schemas.openxmlformats.org/officeDocument/2006/relationships/tags" Target="../tags/tag347.xml"/><Relationship Id="rId32" Type="http://schemas.openxmlformats.org/officeDocument/2006/relationships/slideLayout" Target="../slideLayouts/slideLayout5.xml"/><Relationship Id="rId37" Type="http://schemas.openxmlformats.org/officeDocument/2006/relationships/chart" Target="../charts/chart6.xml"/><Relationship Id="rId5" Type="http://schemas.openxmlformats.org/officeDocument/2006/relationships/tags" Target="../tags/tag328.xml"/><Relationship Id="rId15" Type="http://schemas.openxmlformats.org/officeDocument/2006/relationships/tags" Target="../tags/tag338.xml"/><Relationship Id="rId23" Type="http://schemas.openxmlformats.org/officeDocument/2006/relationships/tags" Target="../tags/tag346.xml"/><Relationship Id="rId28" Type="http://schemas.openxmlformats.org/officeDocument/2006/relationships/tags" Target="../tags/tag351.xml"/><Relationship Id="rId36" Type="http://schemas.openxmlformats.org/officeDocument/2006/relationships/chart" Target="../charts/chart5.xml"/><Relationship Id="rId10" Type="http://schemas.openxmlformats.org/officeDocument/2006/relationships/tags" Target="../tags/tag333.xml"/><Relationship Id="rId19" Type="http://schemas.openxmlformats.org/officeDocument/2006/relationships/tags" Target="../tags/tag342.xml"/><Relationship Id="rId31" Type="http://schemas.openxmlformats.org/officeDocument/2006/relationships/tags" Target="../tags/tag354.xml"/><Relationship Id="rId4" Type="http://schemas.openxmlformats.org/officeDocument/2006/relationships/tags" Target="../tags/tag327.xml"/><Relationship Id="rId9" Type="http://schemas.openxmlformats.org/officeDocument/2006/relationships/tags" Target="../tags/tag332.xml"/><Relationship Id="rId14" Type="http://schemas.openxmlformats.org/officeDocument/2006/relationships/tags" Target="../tags/tag337.xml"/><Relationship Id="rId22" Type="http://schemas.openxmlformats.org/officeDocument/2006/relationships/tags" Target="../tags/tag345.xml"/><Relationship Id="rId27" Type="http://schemas.openxmlformats.org/officeDocument/2006/relationships/tags" Target="../tags/tag350.xml"/><Relationship Id="rId30" Type="http://schemas.openxmlformats.org/officeDocument/2006/relationships/tags" Target="../tags/tag353.xml"/><Relationship Id="rId35" Type="http://schemas.openxmlformats.org/officeDocument/2006/relationships/image" Target="../media/image1.emf"/><Relationship Id="rId8" Type="http://schemas.openxmlformats.org/officeDocument/2006/relationships/tags" Target="../tags/tag331.xml"/><Relationship Id="rId3" Type="http://schemas.openxmlformats.org/officeDocument/2006/relationships/tags" Target="../tags/tag326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7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71.xm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9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notesSlide" Target="../notesSlides/notesSlide72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1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73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74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34.jpg"/><Relationship Id="rId2" Type="http://schemas.openxmlformats.org/officeDocument/2006/relationships/tags" Target="../tags/tag35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75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50.jpg"/><Relationship Id="rId2" Type="http://schemas.openxmlformats.org/officeDocument/2006/relationships/tags" Target="../tags/tag36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7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77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78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79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80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81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82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83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notesSlide" Target="../notesSlides/notesSlide84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notesSlide" Target="../notesSlides/notesSlide85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notesSlide" Target="../notesSlides/notesSlide8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jp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51.jpg"/><Relationship Id="rId2" Type="http://schemas.openxmlformats.org/officeDocument/2006/relationships/tags" Target="../tags/tag37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notesSlide" Target="../notesSlides/notesSlide87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46.jpg"/><Relationship Id="rId2" Type="http://schemas.openxmlformats.org/officeDocument/2006/relationships/tags" Target="../tags/tag37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notesSlide" Target="../notesSlides/notesSlide88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89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chart" Target="../charts/chart13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notesSlide" Target="../notesSlides/notesSlide90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7.jpg"/><Relationship Id="rId2" Type="http://schemas.openxmlformats.org/officeDocument/2006/relationships/tags" Target="../tags/tag37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notesSlide" Target="../notesSlides/notesSlide91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notesSlide" Target="../notesSlides/notesSlide92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notesSlide" Target="../notesSlides/notesSlide93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4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notesSlide" Target="../notesSlides/notesSlide94.xml"/><Relationship Id="rId9" Type="http://schemas.openxmlformats.org/officeDocument/2006/relationships/chart" Target="../charts/chart16.xml"/></Relationships>
</file>

<file path=ppt/slides/_rels/slide13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7.xml"/><Relationship Id="rId2" Type="http://schemas.openxmlformats.org/officeDocument/2006/relationships/tags" Target="../tags/tag37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11" Type="http://schemas.openxmlformats.org/officeDocument/2006/relationships/chart" Target="../charts/chart21.xml"/><Relationship Id="rId5" Type="http://schemas.openxmlformats.org/officeDocument/2006/relationships/oleObject" Target="../embeddings/oleObject111.bin"/><Relationship Id="rId10" Type="http://schemas.openxmlformats.org/officeDocument/2006/relationships/chart" Target="../charts/chart20.xml"/><Relationship Id="rId4" Type="http://schemas.openxmlformats.org/officeDocument/2006/relationships/notesSlide" Target="../notesSlides/notesSlide95.xml"/><Relationship Id="rId9" Type="http://schemas.openxmlformats.org/officeDocument/2006/relationships/chart" Target="../charts/chart19.xml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13" Type="http://schemas.openxmlformats.org/officeDocument/2006/relationships/image" Target="../media/image125.png"/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2.xml"/><Relationship Id="rId12" Type="http://schemas.openxmlformats.org/officeDocument/2006/relationships/image" Target="../media/image124.png"/><Relationship Id="rId2" Type="http://schemas.openxmlformats.org/officeDocument/2006/relationships/tags" Target="../tags/tag38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11" Type="http://schemas.openxmlformats.org/officeDocument/2006/relationships/image" Target="../media/image121.png"/><Relationship Id="rId5" Type="http://schemas.openxmlformats.org/officeDocument/2006/relationships/oleObject" Target="../embeddings/oleObject112.bin"/><Relationship Id="rId10" Type="http://schemas.openxmlformats.org/officeDocument/2006/relationships/image" Target="../media/image117.png"/><Relationship Id="rId4" Type="http://schemas.openxmlformats.org/officeDocument/2006/relationships/notesSlide" Target="../notesSlides/notesSlide96.xml"/><Relationship Id="rId9" Type="http://schemas.openxmlformats.org/officeDocument/2006/relationships/image" Target="../media/image11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24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notesSlide" Target="../notesSlides/notesSlide97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oV9rvDllKEg" TargetMode="External"/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brianc/node-postgres/blob/2013d77b28be5a0d563addb1852eb97e9693e452/packages/pg/lib/client.js#L549" TargetMode="External"/><Relationship Id="rId2" Type="http://schemas.openxmlformats.org/officeDocument/2006/relationships/hyperlink" Target="https://github.com/Automattic/mongoose/blob/321995d769ff085aa0a4553b2befb012eb2c11c8/lib/drivers/node-mongodb-native/collection.js#L141" TargetMode="Externa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0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2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tags" Target="../tags/tag37.xml"/><Relationship Id="rId16" Type="http://schemas.openxmlformats.org/officeDocument/2006/relationships/image" Target="../media/image37.png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32.bin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slideLayout" Target="../slideLayouts/slideLayout5.xml"/><Relationship Id="rId7" Type="http://schemas.openxmlformats.org/officeDocument/2006/relationships/customXml" Target="../ink/ink1.xml"/><Relationship Id="rId12" Type="http://schemas.openxmlformats.org/officeDocument/2006/relationships/image" Target="../media/image43.sv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41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9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50.jpeg"/><Relationship Id="rId18" Type="http://schemas.openxmlformats.org/officeDocument/2006/relationships/image" Target="../media/image55.jpeg"/><Relationship Id="rId26" Type="http://schemas.microsoft.com/office/2007/relationships/hdphoto" Target="../media/hdphoto2.wdp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58.png"/><Relationship Id="rId7" Type="http://schemas.openxmlformats.org/officeDocument/2006/relationships/image" Target="../media/image44.jpeg"/><Relationship Id="rId12" Type="http://schemas.openxmlformats.org/officeDocument/2006/relationships/image" Target="../media/image49.jpeg"/><Relationship Id="rId17" Type="http://schemas.openxmlformats.org/officeDocument/2006/relationships/image" Target="../media/image54.jpeg"/><Relationship Id="rId25" Type="http://schemas.openxmlformats.org/officeDocument/2006/relationships/image" Target="../media/image61.png"/><Relationship Id="rId2" Type="http://schemas.openxmlformats.org/officeDocument/2006/relationships/tags" Target="../tags/tag44.xml"/><Relationship Id="rId16" Type="http://schemas.openxmlformats.org/officeDocument/2006/relationships/image" Target="../media/image53.jpeg"/><Relationship Id="rId20" Type="http://schemas.openxmlformats.org/officeDocument/2006/relationships/image" Target="../media/image57.png"/><Relationship Id="rId29" Type="http://schemas.openxmlformats.org/officeDocument/2006/relationships/image" Target="../media/image63.png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openxmlformats.org/officeDocument/2006/relationships/image" Target="../media/image48.jpeg"/><Relationship Id="rId24" Type="http://schemas.openxmlformats.org/officeDocument/2006/relationships/image" Target="../media/image60.png"/><Relationship Id="rId32" Type="http://schemas.openxmlformats.org/officeDocument/2006/relationships/image" Target="../media/image66.png"/><Relationship Id="rId5" Type="http://schemas.openxmlformats.org/officeDocument/2006/relationships/oleObject" Target="../embeddings/oleObject39.bin"/><Relationship Id="rId15" Type="http://schemas.openxmlformats.org/officeDocument/2006/relationships/image" Target="../media/image52.jpeg"/><Relationship Id="rId23" Type="http://schemas.openxmlformats.org/officeDocument/2006/relationships/image" Target="../media/image59.png"/><Relationship Id="rId28" Type="http://schemas.microsoft.com/office/2007/relationships/hdphoto" Target="../media/hdphoto3.wdp"/><Relationship Id="rId10" Type="http://schemas.openxmlformats.org/officeDocument/2006/relationships/image" Target="../media/image47.jpeg"/><Relationship Id="rId19" Type="http://schemas.openxmlformats.org/officeDocument/2006/relationships/image" Target="../media/image56.png"/><Relationship Id="rId31" Type="http://schemas.openxmlformats.org/officeDocument/2006/relationships/image" Target="../media/image65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6.jpeg"/><Relationship Id="rId14" Type="http://schemas.openxmlformats.org/officeDocument/2006/relationships/image" Target="../media/image51.jpeg"/><Relationship Id="rId22" Type="http://schemas.microsoft.com/office/2007/relationships/hdphoto" Target="../media/hdphoto1.wdp"/><Relationship Id="rId27" Type="http://schemas.openxmlformats.org/officeDocument/2006/relationships/image" Target="../media/image62.png"/><Relationship Id="rId30" Type="http://schemas.openxmlformats.org/officeDocument/2006/relationships/image" Target="../media/image64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png"/><Relationship Id="rId18" Type="http://schemas.openxmlformats.org/officeDocument/2006/relationships/image" Target="../media/image78.png"/><Relationship Id="rId26" Type="http://schemas.openxmlformats.org/officeDocument/2006/relationships/image" Target="../media/image86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81.jpe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17" Type="http://schemas.openxmlformats.org/officeDocument/2006/relationships/image" Target="../media/image77.svg"/><Relationship Id="rId25" Type="http://schemas.openxmlformats.org/officeDocument/2006/relationships/image" Target="../media/image85.png"/><Relationship Id="rId2" Type="http://schemas.openxmlformats.org/officeDocument/2006/relationships/tags" Target="../tags/tag45.xml"/><Relationship Id="rId16" Type="http://schemas.openxmlformats.org/officeDocument/2006/relationships/image" Target="../media/image76.png"/><Relationship Id="rId20" Type="http://schemas.openxmlformats.org/officeDocument/2006/relationships/image" Target="../media/image80.png"/><Relationship Id="rId29" Type="http://schemas.openxmlformats.org/officeDocument/2006/relationships/image" Target="../media/image89.png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image" Target="../media/image71.png"/><Relationship Id="rId24" Type="http://schemas.openxmlformats.org/officeDocument/2006/relationships/image" Target="../media/image84.png"/><Relationship Id="rId5" Type="http://schemas.openxmlformats.org/officeDocument/2006/relationships/oleObject" Target="../embeddings/oleObject40.bin"/><Relationship Id="rId15" Type="http://schemas.openxmlformats.org/officeDocument/2006/relationships/image" Target="../media/image75.png"/><Relationship Id="rId23" Type="http://schemas.openxmlformats.org/officeDocument/2006/relationships/image" Target="../media/image83.png"/><Relationship Id="rId28" Type="http://schemas.openxmlformats.org/officeDocument/2006/relationships/image" Target="../media/image88.png"/><Relationship Id="rId10" Type="http://schemas.openxmlformats.org/officeDocument/2006/relationships/image" Target="../media/image70.svg"/><Relationship Id="rId19" Type="http://schemas.openxmlformats.org/officeDocument/2006/relationships/image" Target="../media/image79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69.png"/><Relationship Id="rId14" Type="http://schemas.openxmlformats.org/officeDocument/2006/relationships/image" Target="../media/image74.png"/><Relationship Id="rId22" Type="http://schemas.openxmlformats.org/officeDocument/2006/relationships/image" Target="../media/image82.png"/><Relationship Id="rId27" Type="http://schemas.openxmlformats.org/officeDocument/2006/relationships/image" Target="../media/image87.png"/><Relationship Id="rId30" Type="http://schemas.openxmlformats.org/officeDocument/2006/relationships/image" Target="../media/image90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7.png"/><Relationship Id="rId18" Type="http://schemas.openxmlformats.org/officeDocument/2006/relationships/image" Target="../media/image102.png"/><Relationship Id="rId26" Type="http://schemas.openxmlformats.org/officeDocument/2006/relationships/image" Target="../media/image110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05.jpeg"/><Relationship Id="rId7" Type="http://schemas.openxmlformats.org/officeDocument/2006/relationships/image" Target="../media/image91.png"/><Relationship Id="rId12" Type="http://schemas.openxmlformats.org/officeDocument/2006/relationships/image" Target="../media/image96.png"/><Relationship Id="rId17" Type="http://schemas.openxmlformats.org/officeDocument/2006/relationships/image" Target="../media/image101.png"/><Relationship Id="rId25" Type="http://schemas.openxmlformats.org/officeDocument/2006/relationships/image" Target="../media/image109.png"/><Relationship Id="rId2" Type="http://schemas.openxmlformats.org/officeDocument/2006/relationships/tags" Target="../tags/tag46.xml"/><Relationship Id="rId16" Type="http://schemas.openxmlformats.org/officeDocument/2006/relationships/image" Target="../media/image100.jpeg"/><Relationship Id="rId20" Type="http://schemas.openxmlformats.org/officeDocument/2006/relationships/image" Target="../media/image104.png"/><Relationship Id="rId29" Type="http://schemas.openxmlformats.org/officeDocument/2006/relationships/image" Target="../media/image113.png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image" Target="../media/image95.png"/><Relationship Id="rId24" Type="http://schemas.openxmlformats.org/officeDocument/2006/relationships/image" Target="../media/image108.png"/><Relationship Id="rId5" Type="http://schemas.openxmlformats.org/officeDocument/2006/relationships/oleObject" Target="../embeddings/oleObject41.bin"/><Relationship Id="rId15" Type="http://schemas.openxmlformats.org/officeDocument/2006/relationships/image" Target="../media/image99.jpeg"/><Relationship Id="rId23" Type="http://schemas.openxmlformats.org/officeDocument/2006/relationships/image" Target="../media/image107.png"/><Relationship Id="rId28" Type="http://schemas.openxmlformats.org/officeDocument/2006/relationships/image" Target="../media/image112.tiff"/><Relationship Id="rId10" Type="http://schemas.openxmlformats.org/officeDocument/2006/relationships/image" Target="../media/image94.png"/><Relationship Id="rId19" Type="http://schemas.openxmlformats.org/officeDocument/2006/relationships/image" Target="../media/image103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93.jpeg"/><Relationship Id="rId14" Type="http://schemas.openxmlformats.org/officeDocument/2006/relationships/image" Target="../media/image98.png"/><Relationship Id="rId22" Type="http://schemas.openxmlformats.org/officeDocument/2006/relationships/image" Target="../media/image106.png"/><Relationship Id="rId27" Type="http://schemas.openxmlformats.org/officeDocument/2006/relationships/image" Target="../media/image111.png"/><Relationship Id="rId30" Type="http://schemas.openxmlformats.org/officeDocument/2006/relationships/image" Target="../media/image114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2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25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13" Type="http://schemas.openxmlformats.org/officeDocument/2006/relationships/image" Target="../media/image121.png"/><Relationship Id="rId18" Type="http://schemas.openxmlformats.org/officeDocument/2006/relationships/image" Target="../media/image126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29.png"/><Relationship Id="rId7" Type="http://schemas.openxmlformats.org/officeDocument/2006/relationships/image" Target="../media/image115.png"/><Relationship Id="rId12" Type="http://schemas.openxmlformats.org/officeDocument/2006/relationships/image" Target="../media/image120.png"/><Relationship Id="rId17" Type="http://schemas.openxmlformats.org/officeDocument/2006/relationships/image" Target="../media/image125.png"/><Relationship Id="rId2" Type="http://schemas.openxmlformats.org/officeDocument/2006/relationships/tags" Target="../tags/tag51.xml"/><Relationship Id="rId16" Type="http://schemas.openxmlformats.org/officeDocument/2006/relationships/image" Target="../media/image124.png"/><Relationship Id="rId20" Type="http://schemas.openxmlformats.org/officeDocument/2006/relationships/image" Target="../media/image128.png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11" Type="http://schemas.openxmlformats.org/officeDocument/2006/relationships/image" Target="../media/image119.png"/><Relationship Id="rId5" Type="http://schemas.openxmlformats.org/officeDocument/2006/relationships/oleObject" Target="../embeddings/oleObject46.bin"/><Relationship Id="rId15" Type="http://schemas.openxmlformats.org/officeDocument/2006/relationships/image" Target="../media/image123.png"/><Relationship Id="rId10" Type="http://schemas.openxmlformats.org/officeDocument/2006/relationships/image" Target="../media/image118.png"/><Relationship Id="rId19" Type="http://schemas.openxmlformats.org/officeDocument/2006/relationships/image" Target="../media/image127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117.png"/><Relationship Id="rId14" Type="http://schemas.openxmlformats.org/officeDocument/2006/relationships/image" Target="../media/image122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0.jp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8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1.jp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2.jp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30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3.jp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31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4.jp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3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5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34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6.jp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5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7.jp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ztspvPYybIY" TargetMode="External"/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8.jp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3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9.jp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38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0.jp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39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1.jp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40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2.jp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41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3.jp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notesSlide" Target="../notesSlides/notesSlide4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4.jp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43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44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45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jp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4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5.jp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7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6.jp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8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7.jp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9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8.jp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50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9.jp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5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0.jp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52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1.jpg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3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54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55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8860851" cy="1107996"/>
          </a:xfrm>
        </p:spPr>
        <p:txBody>
          <a:bodyPr/>
          <a:lstStyle/>
          <a:p>
            <a:r>
              <a:rPr lang="de-DE" dirty="0"/>
              <a:t>Asynchrone </a:t>
            </a:r>
            <a:r>
              <a:rPr lang="de-DE" dirty="0" err="1"/>
              <a:t>pattern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4243113" cy="1107996"/>
          </a:xfrm>
        </p:spPr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D8FE888-0245-CF42-AC02-40E538FB5F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4665600"/>
            <a:ext cx="1694145" cy="288147"/>
          </a:xfrm>
        </p:spPr>
        <p:txBody>
          <a:bodyPr/>
          <a:lstStyle/>
          <a:p>
            <a:r>
              <a:rPr lang="de-DE" dirty="0"/>
              <a:t>Maximilian Schmidt</a:t>
            </a:r>
          </a:p>
        </p:txBody>
      </p:sp>
    </p:spTree>
    <p:extLst>
      <p:ext uri="{BB962C8B-B14F-4D97-AF65-F5344CB8AC3E}">
        <p14:creationId xmlns:p14="http://schemas.microsoft.com/office/powerpoint/2010/main" val="2523747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EE9A31-C3BA-8544-9C4C-A9C479393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n-</a:t>
            </a:r>
            <a:r>
              <a:rPr lang="de-DE" dirty="0" err="1"/>
              <a:t>blocking</a:t>
            </a:r>
            <a:r>
              <a:rPr lang="de-DE" dirty="0"/>
              <a:t> IO ermöglicht effizienteres Ausnutzen eines einzelnen Threads, wie etwa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D8EF4-28A7-0244-BF4C-B845A97E4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4B5690-F37C-FB4C-BAE4-195590B6A7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7A60-0ABC-144C-AEEB-A525016477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66A7E1-3A93-0C43-902C-B1BAB0E5B4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B3D9007-ED14-5642-98F4-688FF5169DF2}"/>
              </a:ext>
            </a:extLst>
          </p:cNvPr>
          <p:cNvSpPr txBox="1"/>
          <p:nvPr/>
        </p:nvSpPr>
        <p:spPr>
          <a:xfrm>
            <a:off x="755780" y="2343969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Non-</a:t>
            </a:r>
            <a:r>
              <a:rPr lang="de-DE" sz="1400" dirty="0" err="1"/>
              <a:t>blocking</a:t>
            </a:r>
            <a:r>
              <a:rPr lang="de-DE" sz="1400" dirty="0"/>
              <a:t> IO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8B82509-362F-4F49-ADCA-FEBD593D6850}"/>
              </a:ext>
            </a:extLst>
          </p:cNvPr>
          <p:cNvSpPr txBox="1"/>
          <p:nvPr/>
        </p:nvSpPr>
        <p:spPr>
          <a:xfrm>
            <a:off x="2045401" y="4712048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2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5D97E39-0D17-9247-AA25-6872CF30261A}"/>
              </a:ext>
            </a:extLst>
          </p:cNvPr>
          <p:cNvSpPr/>
          <p:nvPr/>
        </p:nvSpPr>
        <p:spPr>
          <a:xfrm>
            <a:off x="2768241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34B9E5E-0A61-9C44-8DCB-6DDB06897206}"/>
              </a:ext>
            </a:extLst>
          </p:cNvPr>
          <p:cNvSpPr/>
          <p:nvPr/>
        </p:nvSpPr>
        <p:spPr>
          <a:xfrm>
            <a:off x="4613832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2D9818B-9453-8E49-926A-FB9CEA6476DD}"/>
              </a:ext>
            </a:extLst>
          </p:cNvPr>
          <p:cNvSpPr/>
          <p:nvPr/>
        </p:nvSpPr>
        <p:spPr>
          <a:xfrm>
            <a:off x="6459423" y="2174904"/>
            <a:ext cx="1713118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1F3AE91-AEA2-424B-89AC-99642747ED2D}"/>
              </a:ext>
            </a:extLst>
          </p:cNvPr>
          <p:cNvSpPr/>
          <p:nvPr/>
        </p:nvSpPr>
        <p:spPr>
          <a:xfrm>
            <a:off x="8305015" y="2174904"/>
            <a:ext cx="1713118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158903-A7C0-AD4D-A6EF-944ED918E829}"/>
              </a:ext>
            </a:extLst>
          </p:cNvPr>
          <p:cNvSpPr/>
          <p:nvPr/>
        </p:nvSpPr>
        <p:spPr>
          <a:xfrm>
            <a:off x="2768240" y="3691506"/>
            <a:ext cx="2476931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99BDD9E-4E3F-2A4D-BF59-92E50620337D}"/>
              </a:ext>
            </a:extLst>
          </p:cNvPr>
          <p:cNvSpPr/>
          <p:nvPr/>
        </p:nvSpPr>
        <p:spPr>
          <a:xfrm>
            <a:off x="5765377" y="3691506"/>
            <a:ext cx="2675755" cy="587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1FA484-D9A0-4541-8E83-55E9F6509F74}"/>
              </a:ext>
            </a:extLst>
          </p:cNvPr>
          <p:cNvSpPr/>
          <p:nvPr/>
        </p:nvSpPr>
        <p:spPr>
          <a:xfrm>
            <a:off x="3030956" y="4517121"/>
            <a:ext cx="3048715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248420C-1D5E-A14F-BE9B-DE2041A382C9}"/>
              </a:ext>
            </a:extLst>
          </p:cNvPr>
          <p:cNvSpPr/>
          <p:nvPr/>
        </p:nvSpPr>
        <p:spPr>
          <a:xfrm>
            <a:off x="8739840" y="4517121"/>
            <a:ext cx="1278293" cy="58782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Task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3CAADF1-375B-674B-B238-4F0DE443BC87}"/>
              </a:ext>
            </a:extLst>
          </p:cNvPr>
          <p:cNvCxnSpPr>
            <a:cxnSpLocks/>
          </p:cNvCxnSpPr>
          <p:nvPr/>
        </p:nvCxnSpPr>
        <p:spPr>
          <a:xfrm>
            <a:off x="2750486" y="5580078"/>
            <a:ext cx="7364705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81238D4F-0772-C84F-A929-3D4E598B7633}"/>
              </a:ext>
            </a:extLst>
          </p:cNvPr>
          <p:cNvSpPr txBox="1"/>
          <p:nvPr/>
        </p:nvSpPr>
        <p:spPr>
          <a:xfrm>
            <a:off x="10252301" y="5472356"/>
            <a:ext cx="310592" cy="215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FE82F4D-E240-9643-A129-2328F4C8E40E}"/>
              </a:ext>
            </a:extLst>
          </p:cNvPr>
          <p:cNvSpPr txBox="1"/>
          <p:nvPr/>
        </p:nvSpPr>
        <p:spPr>
          <a:xfrm>
            <a:off x="10562893" y="5862623"/>
            <a:ext cx="14101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>
                <a:hlinkClick r:id="rId2"/>
              </a:rPr>
              <a:t>Rob Pike – Concurrency is not parallelism    </a:t>
            </a:r>
            <a:r>
              <a:rPr lang="de-DE" sz="1000" dirty="0"/>
              <a:t>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D5417A-3838-1676-26B5-820484CB5C6A}"/>
              </a:ext>
            </a:extLst>
          </p:cNvPr>
          <p:cNvSpPr txBox="1"/>
          <p:nvPr/>
        </p:nvSpPr>
        <p:spPr>
          <a:xfrm>
            <a:off x="908180" y="445454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locking IO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E26AFF8-9CAA-734C-4900-986FC6ECF384}"/>
              </a:ext>
            </a:extLst>
          </p:cNvPr>
          <p:cNvSpPr txBox="1"/>
          <p:nvPr/>
        </p:nvSpPr>
        <p:spPr>
          <a:xfrm>
            <a:off x="2045401" y="3893817"/>
            <a:ext cx="14101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Thread 1</a:t>
            </a:r>
          </a:p>
        </p:txBody>
      </p:sp>
    </p:spTree>
    <p:extLst>
      <p:ext uri="{BB962C8B-B14F-4D97-AF65-F5344CB8AC3E}">
        <p14:creationId xmlns:p14="http://schemas.microsoft.com/office/powerpoint/2010/main" val="653648663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1C83B0-D634-4EBB-B115-F370F08D5D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1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1C83B0-D634-4EBB-B115-F370F08D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2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8ECA6D5D-A6F5-40BB-823E-4AF683E0612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7845" b="7845"/>
          <a:stretch/>
        </p:blipFill>
        <p:spPr>
          <a:xfrm>
            <a:off x="3" y="0"/>
            <a:ext cx="12191998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DB9DD5-71E0-416A-B5B7-6FE1E46B7E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F0D8899-C8E0-4CF7-924B-A95C0AC044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</p:spTree>
    <p:extLst>
      <p:ext uri="{BB962C8B-B14F-4D97-AF65-F5344CB8AC3E}">
        <p14:creationId xmlns:p14="http://schemas.microsoft.com/office/powerpoint/2010/main" val="3311710547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86905B-9C93-474F-872E-607B1C9008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3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86905B-9C93-474F-872E-607B1C900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FD6536B-B593-475C-A683-08DC1A12A5F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93F556-2F93-4773-981A-BE3E41C7115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BE26F98-DD15-4550-8382-F50C99A0CE3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0A7BD1-261B-4581-BB6B-8963E4AD4A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1</a:t>
            </a:fld>
            <a:endParaRPr lang="de-DE" dirty="0"/>
          </a:p>
        </p:txBody>
      </p:sp>
      <p:graphicFrame>
        <p:nvGraphicFramePr>
          <p:cNvPr id="5" name="Tabelle 7">
            <a:extLst>
              <a:ext uri="{FF2B5EF4-FFF2-40B4-BE49-F238E27FC236}">
                <a16:creationId xmlns:a16="http://schemas.microsoft.com/office/drawing/2014/main" id="{27787D33-5E12-4F94-99AE-622534E701FE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023389546"/>
              </p:ext>
            </p:extLst>
          </p:nvPr>
        </p:nvGraphicFramePr>
        <p:xfrm>
          <a:off x="623887" y="1592263"/>
          <a:ext cx="10836275" cy="319992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67255">
                  <a:extLst>
                    <a:ext uri="{9D8B030D-6E8A-4147-A177-3AD203B41FA5}">
                      <a16:colId xmlns:a16="http://schemas.microsoft.com/office/drawing/2014/main" val="2576187757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438540790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334064594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1528514672"/>
                    </a:ext>
                  </a:extLst>
                </a:gridCol>
                <a:gridCol w="2167255">
                  <a:extLst>
                    <a:ext uri="{9D8B030D-6E8A-4147-A177-3AD203B41FA5}">
                      <a16:colId xmlns:a16="http://schemas.microsoft.com/office/drawing/2014/main" val="35444345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178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/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147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84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847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2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Donec quam felis, ultricies nec, pellentesque</a:t>
                      </a:r>
                    </a:p>
                  </a:txBody>
                  <a:tcPr marL="72000" marR="72000" marT="72000" marB="72000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151412"/>
                  </a:ext>
                </a:extLst>
              </a:tr>
            </a:tbl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28CA9F8-2F07-48FB-9DC6-4E9A2ABB2E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07690752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58BD7E9-DAA3-4591-8561-C034891EAF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1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58BD7E9-DAA3-4591-8561-C034891EA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37EB94C3-BF67-48B3-B86C-53BAA97A0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566971"/>
              </p:ext>
            </p:extLst>
          </p:nvPr>
        </p:nvGraphicFramePr>
        <p:xfrm>
          <a:off x="623888" y="1592263"/>
          <a:ext cx="10836275" cy="31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084">
                  <a:extLst>
                    <a:ext uri="{9D8B030D-6E8A-4147-A177-3AD203B41FA5}">
                      <a16:colId xmlns:a16="http://schemas.microsoft.com/office/drawing/2014/main" val="61411051"/>
                    </a:ext>
                  </a:extLst>
                </a:gridCol>
                <a:gridCol w="2805249">
                  <a:extLst>
                    <a:ext uri="{9D8B030D-6E8A-4147-A177-3AD203B41FA5}">
                      <a16:colId xmlns:a16="http://schemas.microsoft.com/office/drawing/2014/main" val="3737125915"/>
                    </a:ext>
                  </a:extLst>
                </a:gridCol>
                <a:gridCol w="1051560">
                  <a:extLst>
                    <a:ext uri="{9D8B030D-6E8A-4147-A177-3AD203B41FA5}">
                      <a16:colId xmlns:a16="http://schemas.microsoft.com/office/drawing/2014/main" val="3822703858"/>
                    </a:ext>
                  </a:extLst>
                </a:gridCol>
                <a:gridCol w="1357449">
                  <a:extLst>
                    <a:ext uri="{9D8B030D-6E8A-4147-A177-3AD203B41FA5}">
                      <a16:colId xmlns:a16="http://schemas.microsoft.com/office/drawing/2014/main" val="1224474093"/>
                    </a:ext>
                  </a:extLst>
                </a:gridCol>
                <a:gridCol w="5004933">
                  <a:extLst>
                    <a:ext uri="{9D8B030D-6E8A-4147-A177-3AD203B41FA5}">
                      <a16:colId xmlns:a16="http://schemas.microsoft.com/office/drawing/2014/main" val="4127569785"/>
                    </a:ext>
                  </a:extLst>
                </a:gridCol>
              </a:tblGrid>
              <a:tr h="215713"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Titel</a:t>
                      </a:r>
                    </a:p>
                  </a:txBody>
                  <a:tcPr marL="72000" marR="72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Components</a:t>
                      </a:r>
                    </a:p>
                  </a:txBody>
                  <a:tcPr marL="108000" marR="108000" marT="0" marB="72000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578059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1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381985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2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793610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3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3153471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4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7827"/>
                  </a:ext>
                </a:extLst>
              </a:tr>
              <a:tr h="355486">
                <a:tc>
                  <a:txBody>
                    <a:bodyPr/>
                    <a:lstStyle/>
                    <a:p>
                      <a:pPr algn="ctr" rtl="0"/>
                      <a:r>
                        <a:rPr lang="de-DE" sz="1800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800" dirty="0">
                          <a:solidFill>
                            <a:schemeClr val="tx1"/>
                          </a:solidFill>
                          <a:latin typeface="+mj-lt"/>
                        </a:rPr>
                        <a:t>Option 5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amet, consectetur adipiscing elit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eiu odaliqua</a:t>
                      </a:r>
                    </a:p>
                  </a:txBody>
                  <a:tcPr marL="108000" marR="108000" marT="72000" marB="7200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758558"/>
                  </a:ext>
                </a:extLst>
              </a:tr>
            </a:tbl>
          </a:graphicData>
        </a:graphic>
      </p:graphicFrame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216595"/>
            <a:ext cx="288000" cy="288000"/>
            <a:chOff x="1407731" y="3276641"/>
            <a:chExt cx="558000" cy="550800"/>
          </a:xfrm>
        </p:grpSpPr>
        <p:sp>
          <p:nvSpPr>
            <p:cNvPr id="28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3791285"/>
            <a:ext cx="288000" cy="288000"/>
            <a:chOff x="1407731" y="2539256"/>
            <a:chExt cx="558000" cy="550800"/>
          </a:xfrm>
        </p:grpSpPr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F936D67-80B9-4C1D-B245-F039FB258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jekt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2E7AD1-C50E-4945-838A-4512DB5AA19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9ADF804-D36A-4431-93C2-3C8AD854557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F246AD-6414-42FE-B3A2-69136AF483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2</a:t>
            </a:fld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825F81B-65DD-43AC-AEE5-70273F11E269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071141"/>
            <a:ext cx="288000" cy="288000"/>
            <a:chOff x="1407731" y="1812214"/>
            <a:chExt cx="558000" cy="550800"/>
          </a:xfrm>
        </p:grpSpPr>
        <p:sp>
          <p:nvSpPr>
            <p:cNvPr id="42" name="Freeform 70">
              <a:extLst>
                <a:ext uri="{FF2B5EF4-FFF2-40B4-BE49-F238E27FC236}">
                  <a16:creationId xmlns:a16="http://schemas.microsoft.com/office/drawing/2014/main" id="{8E080D9E-710E-4AD4-99DF-986E752E9E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3A86FDF-7D78-42E0-B381-EFF2106C0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540673-CCFB-4EAE-9471-E08580A66F7A}"/>
              </a:ext>
            </a:extLst>
          </p:cNvPr>
          <p:cNvGrpSpPr>
            <a:grpSpLocks/>
          </p:cNvGrpSpPr>
          <p:nvPr/>
        </p:nvGrpSpPr>
        <p:grpSpPr bwMode="gray">
          <a:xfrm>
            <a:off x="4127393" y="2644523"/>
            <a:ext cx="288000" cy="288000"/>
            <a:chOff x="1407731" y="1812214"/>
            <a:chExt cx="558000" cy="550800"/>
          </a:xfrm>
        </p:grpSpPr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6872D89D-1B68-45C2-B2EF-B5562994FF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07D60120-8CFB-4D92-B1EA-C2E4566A7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9FD2319-3E36-4C6C-A85B-0BA60E1D9061}"/>
              </a:ext>
            </a:extLst>
          </p:cNvPr>
          <p:cNvGrpSpPr>
            <a:grpSpLocks/>
          </p:cNvGrpSpPr>
          <p:nvPr/>
        </p:nvGrpSpPr>
        <p:grpSpPr bwMode="gray">
          <a:xfrm>
            <a:off x="5175143" y="4368803"/>
            <a:ext cx="288000" cy="288000"/>
            <a:chOff x="1407731" y="1812214"/>
            <a:chExt cx="558000" cy="550800"/>
          </a:xfrm>
        </p:grpSpPr>
        <p:sp>
          <p:nvSpPr>
            <p:cNvPr id="54" name="Freeform 70">
              <a:extLst>
                <a:ext uri="{FF2B5EF4-FFF2-40B4-BE49-F238E27FC236}">
                  <a16:creationId xmlns:a16="http://schemas.microsoft.com/office/drawing/2014/main" id="{476A4D9E-3A33-4F4D-9CF1-D75957F32D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975BAE1C-3E1B-486E-A371-F030362BD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EF397ADF-3B27-4863-BEB2-D16803CCA7BF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6364566"/>
            <a:ext cx="150255" cy="150255"/>
            <a:chOff x="1407731" y="1812214"/>
            <a:chExt cx="558000" cy="550800"/>
          </a:xfrm>
        </p:grpSpPr>
        <p:sp>
          <p:nvSpPr>
            <p:cNvPr id="60" name="Freeform 70">
              <a:extLst>
                <a:ext uri="{FF2B5EF4-FFF2-40B4-BE49-F238E27FC236}">
                  <a16:creationId xmlns:a16="http://schemas.microsoft.com/office/drawing/2014/main" id="{21EC570C-384A-4A64-BE8C-1831772957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D63219B8-7A84-4539-BED2-DDF73E61D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2835901" y="6364094"/>
            <a:ext cx="151200" cy="151200"/>
            <a:chOff x="1407731" y="3276641"/>
            <a:chExt cx="558000" cy="550800"/>
          </a:xfrm>
        </p:grpSpPr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>
            <a:grpSpLocks/>
          </p:cNvGrpSpPr>
          <p:nvPr/>
        </p:nvGrpSpPr>
        <p:grpSpPr bwMode="gray">
          <a:xfrm>
            <a:off x="1733654" y="6364094"/>
            <a:ext cx="151200" cy="151200"/>
            <a:chOff x="1407731" y="2539256"/>
            <a:chExt cx="558000" cy="550800"/>
          </a:xfrm>
        </p:grpSpPr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47" name="Textfeld 46">
            <a:extLst>
              <a:ext uri="{FF2B5EF4-FFF2-40B4-BE49-F238E27FC236}">
                <a16:creationId xmlns:a16="http://schemas.microsoft.com/office/drawing/2014/main" id="{DE2376C8-A7DD-4080-B070-8D40BD04543B}"/>
              </a:ext>
            </a:extLst>
          </p:cNvPr>
          <p:cNvSpPr txBox="1">
            <a:spLocks/>
          </p:cNvSpPr>
          <p:nvPr/>
        </p:nvSpPr>
        <p:spPr>
          <a:xfrm>
            <a:off x="846139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C8C4584-0E4B-41A0-B715-9B44EBD3347B}"/>
              </a:ext>
            </a:extLst>
          </p:cNvPr>
          <p:cNvSpPr txBox="1">
            <a:spLocks/>
          </p:cNvSpPr>
          <p:nvPr/>
        </p:nvSpPr>
        <p:spPr>
          <a:xfrm>
            <a:off x="1951596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F6C11CA-4843-40DB-8C47-7E52F2A70AF5}"/>
              </a:ext>
            </a:extLst>
          </p:cNvPr>
          <p:cNvSpPr txBox="1">
            <a:spLocks/>
          </p:cNvSpPr>
          <p:nvPr/>
        </p:nvSpPr>
        <p:spPr>
          <a:xfrm>
            <a:off x="3057053" y="6355817"/>
            <a:ext cx="81756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Legend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37253CE-E84F-4951-9B47-252B898C7E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8085089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9E8862-37A2-4F99-8B3F-28EE0415F3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2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9E8862-37A2-4F99-8B3F-28EE0415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9AAFE2-16C1-4F3A-B974-4266F40039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el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6422C5-D568-498A-93AD-99D47B336E1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218CEC6-2F85-49BB-A42C-BEA2096EB2B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8D0937-987B-4424-9A9A-FF8DB8F330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3</a:t>
            </a:fld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AE4FEC6C-A25C-41BA-9664-91672F655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49684"/>
              </p:ext>
            </p:extLst>
          </p:nvPr>
        </p:nvGraphicFramePr>
        <p:xfrm>
          <a:off x="623888" y="1592263"/>
          <a:ext cx="10836272" cy="356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4534">
                  <a:extLst>
                    <a:ext uri="{9D8B030D-6E8A-4147-A177-3AD203B41FA5}">
                      <a16:colId xmlns:a16="http://schemas.microsoft.com/office/drawing/2014/main" val="3886637944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67336448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412742053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246921429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171946892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762253126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3043638841"/>
                    </a:ext>
                  </a:extLst>
                </a:gridCol>
                <a:gridCol w="1354534">
                  <a:extLst>
                    <a:ext uri="{9D8B030D-6E8A-4147-A177-3AD203B41FA5}">
                      <a16:colId xmlns:a16="http://schemas.microsoft.com/office/drawing/2014/main" val="1544424074"/>
                    </a:ext>
                  </a:extLst>
                </a:gridCol>
              </a:tblGrid>
              <a:tr h="142748"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orem</a:t>
                      </a:r>
                    </a:p>
                  </a:txBody>
                  <a:tcPr marL="72000" marR="72000" marT="0" marB="72000"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Dolo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S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Ame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Consecetur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Elit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b="0" dirty="0">
                          <a:solidFill>
                            <a:schemeClr val="tx1"/>
                          </a:solidFill>
                          <a:latin typeface="+mj-lt"/>
                        </a:rPr>
                        <a:t>Lipsum</a:t>
                      </a:r>
                    </a:p>
                  </a:txBody>
                  <a:tcPr marL="72000" marR="72000" marT="0" marB="7200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789416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rtl="0"/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Lorem ipsum dolor</a:t>
                      </a:r>
                    </a:p>
                  </a:txBody>
                  <a:tcPr marL="72000" marR="72000" marT="72000" marB="720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061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17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491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249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319225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  <a:latin typeface="+mj-lt"/>
                        </a:rPr>
                        <a:t>Sit amet</a:t>
                      </a:r>
                    </a:p>
                  </a:txBody>
                  <a:tcPr marL="72000" marR="72000" marT="72000" marB="72000">
                    <a:solidFill>
                      <a:srgbClr val="E4E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776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7670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812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247608"/>
                  </a:ext>
                </a:extLst>
              </a:tr>
            </a:tbl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6F95F7-886B-43DB-B711-739F58950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942150116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15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schrit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C958DB6-C341-428F-88CE-D8350CBC3C8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4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DF6A69F-8365-4949-93FA-AC03227E8D01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3486329"/>
            <a:ext cx="10836270" cy="662651"/>
            <a:chOff x="623888" y="2910812"/>
            <a:chExt cx="10836270" cy="662651"/>
          </a:xfrm>
        </p:grpSpPr>
        <p:sp>
          <p:nvSpPr>
            <p:cNvPr id="10" name="Pfeil: Fünfeck 9">
              <a:extLst>
                <a:ext uri="{FF2B5EF4-FFF2-40B4-BE49-F238E27FC236}">
                  <a16:creationId xmlns:a16="http://schemas.microsoft.com/office/drawing/2014/main" id="{A6F5C432-6F5A-4A5A-AF55-D563DD842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790068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71331561-35B9-4063-9F30-30E50F2DFF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5956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101A5C7B-F5E0-42B7-A5D4-A3C0D6B2BC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51612B7-3C00-4FE1-B014-5B3790A99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70090" y="2910812"/>
              <a:ext cx="2790068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8A95701-C8F1-46C6-9406-3FAC012C683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6438"/>
            <a:ext cx="10836270" cy="662651"/>
            <a:chOff x="623888" y="1596438"/>
            <a:chExt cx="10836270" cy="662651"/>
          </a:xfrm>
        </p:grpSpPr>
        <p:sp>
          <p:nvSpPr>
            <p:cNvPr id="14" name="Pfeil: Fünfeck 13">
              <a:extLst>
                <a:ext uri="{FF2B5EF4-FFF2-40B4-BE49-F238E27FC236}">
                  <a16:creationId xmlns:a16="http://schemas.microsoft.com/office/drawing/2014/main" id="{EC27F459-9170-4AF1-A667-5B26CE609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1596438"/>
              <a:ext cx="547213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" name="Pfeil: Chevron 16">
              <a:extLst>
                <a:ext uri="{FF2B5EF4-FFF2-40B4-BE49-F238E27FC236}">
                  <a16:creationId xmlns:a16="http://schemas.microsoft.com/office/drawing/2014/main" id="{E259DD6C-EE5A-4EE4-A46C-16DB6BBF6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1596438"/>
              <a:ext cx="547213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FC6F811-0475-4834-878A-041F8E632A93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2541384"/>
            <a:ext cx="10836270" cy="662651"/>
            <a:chOff x="623888" y="2370834"/>
            <a:chExt cx="10836270" cy="662651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C3CDC689-B6EB-46D1-865C-4B53CA9F9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137434CB-5A8F-4D64-B327-FF20597CE6D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3CC8EB89-2918-453D-A986-7FAF4D071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A1E2876-6859-4A88-B2AA-1C984FF0B0B4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4431274"/>
            <a:ext cx="10836270" cy="662651"/>
            <a:chOff x="623888" y="2910812"/>
            <a:chExt cx="10836270" cy="662651"/>
          </a:xfrm>
        </p:grpSpPr>
        <p:sp>
          <p:nvSpPr>
            <p:cNvPr id="25" name="Pfeil: Fünfeck 24">
              <a:extLst>
                <a:ext uri="{FF2B5EF4-FFF2-40B4-BE49-F238E27FC236}">
                  <a16:creationId xmlns:a16="http://schemas.microsoft.com/office/drawing/2014/main" id="{0CFB1959-33C9-4487-8875-E9D1376FB2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10812"/>
              <a:ext cx="2253654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6" name="Pfeil: Chevron 25">
              <a:extLst>
                <a:ext uri="{FF2B5EF4-FFF2-40B4-BE49-F238E27FC236}">
                  <a16:creationId xmlns:a16="http://schemas.microsoft.com/office/drawing/2014/main" id="{58B87E74-CC66-4E5D-9D9C-5A5DD7626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542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Pfeil: Chevron 26">
              <a:extLst>
                <a:ext uri="{FF2B5EF4-FFF2-40B4-BE49-F238E27FC236}">
                  <a16:creationId xmlns:a16="http://schemas.microsoft.com/office/drawing/2014/main" id="{3B40EC27-5D91-422D-A3B9-1CCEB8668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850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Pfeil: Chevron 27">
              <a:extLst>
                <a:ext uri="{FF2B5EF4-FFF2-40B4-BE49-F238E27FC236}">
                  <a16:creationId xmlns:a16="http://schemas.microsoft.com/office/drawing/2014/main" id="{EEE573CD-3CB5-4F9E-9FBE-9B298601C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6504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Chevron 28">
              <a:extLst>
                <a:ext uri="{FF2B5EF4-FFF2-40B4-BE49-F238E27FC236}">
                  <a16:creationId xmlns:a16="http://schemas.microsoft.com/office/drawing/2014/main" id="{EBF74D32-AA46-4754-A9F7-625F5967A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5196" y="2910812"/>
              <a:ext cx="2253654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17BD623-219B-4F9C-A888-B6774EACA704}"/>
              </a:ext>
            </a:extLst>
          </p:cNvPr>
          <p:cNvGrpSpPr/>
          <p:nvPr/>
        </p:nvGrpSpPr>
        <p:grpSpPr bwMode="gray">
          <a:xfrm>
            <a:off x="623889" y="5376220"/>
            <a:ext cx="10836269" cy="662651"/>
            <a:chOff x="623889" y="2910812"/>
            <a:chExt cx="10836269" cy="662651"/>
          </a:xfrm>
        </p:grpSpPr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75B57E09-AA2C-4E49-95F7-41C4642E4B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9" y="2910812"/>
              <a:ext cx="1896045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2" name="Pfeil: Chevron 31">
              <a:extLst>
                <a:ext uri="{FF2B5EF4-FFF2-40B4-BE49-F238E27FC236}">
                  <a16:creationId xmlns:a16="http://schemas.microsoft.com/office/drawing/2014/main" id="{271DC5CA-EF1E-4721-987D-22219E7845C4}"/>
                </a:ext>
              </a:extLst>
            </p:cNvPr>
            <p:cNvSpPr>
              <a:spLocks/>
            </p:cNvSpPr>
            <p:nvPr/>
          </p:nvSpPr>
          <p:spPr bwMode="gray">
            <a:xfrm>
              <a:off x="241193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Pfeil: Chevron 32">
              <a:extLst>
                <a:ext uri="{FF2B5EF4-FFF2-40B4-BE49-F238E27FC236}">
                  <a16:creationId xmlns:a16="http://schemas.microsoft.com/office/drawing/2014/main" id="{EC2C4280-0438-43A7-B3FF-4020EA274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4" name="Pfeil: Chevron 33">
              <a:extLst>
                <a:ext uri="{FF2B5EF4-FFF2-40B4-BE49-F238E27FC236}">
                  <a16:creationId xmlns:a16="http://schemas.microsoft.com/office/drawing/2014/main" id="{9741B541-709B-41D5-906C-7B2A6E393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411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Chevron 34">
              <a:extLst>
                <a:ext uri="{FF2B5EF4-FFF2-40B4-BE49-F238E27FC236}">
                  <a16:creationId xmlns:a16="http://schemas.microsoft.com/office/drawing/2014/main" id="{A4640B27-FC76-4C48-A6D7-EE91C553F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Pfeil: Chevron 35">
              <a:extLst>
                <a:ext uri="{FF2B5EF4-FFF2-40B4-BE49-F238E27FC236}">
                  <a16:creationId xmlns:a16="http://schemas.microsoft.com/office/drawing/2014/main" id="{3066B0B6-34B4-4C26-9C1C-F9A947E0A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023" y="2910812"/>
              <a:ext cx="1896045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A280EA-CD3C-453A-8445-0A2FD7D43C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05616068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203DEC5-4768-4948-B4D3-2E3B82A0AE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81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203DEC5-4768-4948-B4D3-2E3B82A0A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CEC0D5-55C6-44A3-B2B3-D22A74F0CDA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9ED82-59A6-40BE-BCF3-8EC9F0E10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inea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054B3F-E6B8-4072-AC3D-006447A3F61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70BE74-AD3A-4410-97A6-8E7B989CABA7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8FCCF7-FF19-49AA-A6EB-0E95826E4C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5</a:t>
            </a:fld>
            <a:endParaRPr lang="de-DE" dirty="0"/>
          </a:p>
        </p:txBody>
      </p:sp>
      <p:sp>
        <p:nvSpPr>
          <p:cNvPr id="10" name="Pfeil: Fünfeck 9">
            <a:extLst>
              <a:ext uri="{FF2B5EF4-FFF2-40B4-BE49-F238E27FC236}">
                <a16:creationId xmlns:a16="http://schemas.microsoft.com/office/drawing/2014/main" id="{A6F5C432-6F5A-4A5A-AF55-D563DD842965}"/>
              </a:ext>
            </a:extLst>
          </p:cNvPr>
          <p:cNvSpPr>
            <a:spLocks/>
          </p:cNvSpPr>
          <p:nvPr/>
        </p:nvSpPr>
        <p:spPr bwMode="gray">
          <a:xfrm>
            <a:off x="623888" y="1596438"/>
            <a:ext cx="2790068" cy="662651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71331561-35B9-4063-9F30-30E50F2DFF94}"/>
              </a:ext>
            </a:extLst>
          </p:cNvPr>
          <p:cNvSpPr>
            <a:spLocks/>
          </p:cNvSpPr>
          <p:nvPr/>
        </p:nvSpPr>
        <p:spPr bwMode="gray">
          <a:xfrm>
            <a:off x="3305956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2" name="Pfeil: Chevron 11">
            <a:extLst>
              <a:ext uri="{FF2B5EF4-FFF2-40B4-BE49-F238E27FC236}">
                <a16:creationId xmlns:a16="http://schemas.microsoft.com/office/drawing/2014/main" id="{101A5C7B-F5E0-42B7-A5D4-A3C0D6B2BC45}"/>
              </a:ext>
            </a:extLst>
          </p:cNvPr>
          <p:cNvSpPr>
            <a:spLocks/>
          </p:cNvSpPr>
          <p:nvPr/>
        </p:nvSpPr>
        <p:spPr bwMode="gray">
          <a:xfrm>
            <a:off x="5988023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sp>
        <p:nvSpPr>
          <p:cNvPr id="13" name="Pfeil: Chevron 12">
            <a:extLst>
              <a:ext uri="{FF2B5EF4-FFF2-40B4-BE49-F238E27FC236}">
                <a16:creationId xmlns:a16="http://schemas.microsoft.com/office/drawing/2014/main" id="{651612B7-3C00-4FE1-B014-5B3790A99E48}"/>
              </a:ext>
            </a:extLst>
          </p:cNvPr>
          <p:cNvSpPr>
            <a:spLocks/>
          </p:cNvSpPr>
          <p:nvPr/>
        </p:nvSpPr>
        <p:spPr bwMode="gray">
          <a:xfrm>
            <a:off x="8670090" y="1596438"/>
            <a:ext cx="2790068" cy="662651"/>
          </a:xfrm>
          <a:prstGeom prst="chevron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62D57C5A-1DE1-4E47-8D4F-70F43DD691E7}"/>
              </a:ext>
            </a:extLst>
          </p:cNvPr>
          <p:cNvCxnSpPr>
            <a:cxnSpLocks/>
          </p:cNvCxnSpPr>
          <p:nvPr/>
        </p:nvCxnSpPr>
        <p:spPr bwMode="gray">
          <a:xfrm>
            <a:off x="32653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82">
            <a:extLst>
              <a:ext uri="{FF2B5EF4-FFF2-40B4-BE49-F238E27FC236}">
                <a16:creationId xmlns:a16="http://schemas.microsoft.com/office/drawing/2014/main" id="{D36E06FA-E4B9-45FD-B766-DC857816AC5B}"/>
              </a:ext>
            </a:extLst>
          </p:cNvPr>
          <p:cNvSpPr txBox="1">
            <a:spLocks/>
          </p:cNvSpPr>
          <p:nvPr/>
        </p:nvSpPr>
        <p:spPr bwMode="gray">
          <a:xfrm>
            <a:off x="626973" y="2545454"/>
            <a:ext cx="2407043" cy="1585049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C434681-4785-4911-A40B-AFB95568BB2D}"/>
              </a:ext>
            </a:extLst>
          </p:cNvPr>
          <p:cNvCxnSpPr>
            <a:cxnSpLocks/>
          </p:cNvCxnSpPr>
          <p:nvPr/>
        </p:nvCxnSpPr>
        <p:spPr bwMode="gray">
          <a:xfrm>
            <a:off x="595135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9FB55BB4-5A70-4609-858A-87E2F3FB5EEE}"/>
              </a:ext>
            </a:extLst>
          </p:cNvPr>
          <p:cNvCxnSpPr>
            <a:cxnSpLocks/>
          </p:cNvCxnSpPr>
          <p:nvPr/>
        </p:nvCxnSpPr>
        <p:spPr bwMode="gray">
          <a:xfrm>
            <a:off x="8637409" y="2335622"/>
            <a:ext cx="0" cy="3973103"/>
          </a:xfrm>
          <a:prstGeom prst="line">
            <a:avLst/>
          </a:prstGeom>
          <a:ln w="127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2">
            <a:extLst>
              <a:ext uri="{FF2B5EF4-FFF2-40B4-BE49-F238E27FC236}">
                <a16:creationId xmlns:a16="http://schemas.microsoft.com/office/drawing/2014/main" id="{46EC343F-950F-4E1E-8E1F-A06548B389C7}"/>
              </a:ext>
            </a:extLst>
          </p:cNvPr>
          <p:cNvSpPr txBox="1">
            <a:spLocks/>
          </p:cNvSpPr>
          <p:nvPr/>
        </p:nvSpPr>
        <p:spPr bwMode="gray">
          <a:xfrm>
            <a:off x="3495675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2" name="TextBox 82">
            <a:extLst>
              <a:ext uri="{FF2B5EF4-FFF2-40B4-BE49-F238E27FC236}">
                <a16:creationId xmlns:a16="http://schemas.microsoft.com/office/drawing/2014/main" id="{21766793-1855-4B28-B7EA-1BC34529FEB6}"/>
              </a:ext>
            </a:extLst>
          </p:cNvPr>
          <p:cNvSpPr txBox="1">
            <a:spLocks/>
          </p:cNvSpPr>
          <p:nvPr/>
        </p:nvSpPr>
        <p:spPr bwMode="gray">
          <a:xfrm>
            <a:off x="6182188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43" name="TextBox 82">
            <a:extLst>
              <a:ext uri="{FF2B5EF4-FFF2-40B4-BE49-F238E27FC236}">
                <a16:creationId xmlns:a16="http://schemas.microsoft.com/office/drawing/2014/main" id="{D9BBE962-6C95-4AED-8B90-8BA6449FA98C}"/>
              </a:ext>
            </a:extLst>
          </p:cNvPr>
          <p:cNvSpPr txBox="1">
            <a:spLocks/>
          </p:cNvSpPr>
          <p:nvPr/>
        </p:nvSpPr>
        <p:spPr bwMode="gray">
          <a:xfrm>
            <a:off x="8868700" y="2545454"/>
            <a:ext cx="2224394" cy="1800493"/>
          </a:xfrm>
          <a:prstGeom prst="rect">
            <a:avLst/>
          </a:prstGeom>
          <a:noFill/>
        </p:spPr>
        <p:txBody>
          <a:bodyPr wrap="square" lIns="144000" tIns="0" rIns="0" bIns="0" rtlCol="0" anchor="t">
            <a:spAutoFit/>
          </a:bodyPr>
          <a:lstStyle/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13F3FD-BD0E-4C22-AF44-53F868413DF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28684938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EAF09C3-B30C-43AF-AA8D-E5A99F9BB1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03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EAF09C3-B30C-43AF-AA8D-E5A99F9BB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B519D1-F495-4D3D-B17C-FE917FCC466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1/2)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315C5-3462-4020-A2B9-8E363416FC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Manu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BBABBC-AA5B-42F6-B215-73F32D48C68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35BC3A8-1FBE-4524-9C1F-27589617357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31B323-91EF-45FB-8A66-A36CEB9B99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6</a:t>
            </a:fld>
            <a:endParaRPr lang="de-DE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50C5C92-C530-4050-B351-E0F1D82C5659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B3DFDDA-E0CF-4B42-9D49-7F17B9509849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57" name="Group 20">
            <a:extLst>
              <a:ext uri="{FF2B5EF4-FFF2-40B4-BE49-F238E27FC236}">
                <a16:creationId xmlns:a16="http://schemas.microsoft.com/office/drawing/2014/main" id="{F3B11545-85BA-4DCC-9751-31F4FC66EC70}"/>
              </a:ext>
            </a:extLst>
          </p:cNvPr>
          <p:cNvGrpSpPr/>
          <p:nvPr/>
        </p:nvGrpSpPr>
        <p:grpSpPr bwMode="gray">
          <a:xfrm>
            <a:off x="3857015" y="1947781"/>
            <a:ext cx="274929" cy="4046619"/>
            <a:chOff x="3857015" y="1822900"/>
            <a:chExt cx="274929" cy="4046619"/>
          </a:xfrm>
        </p:grpSpPr>
        <p:cxnSp>
          <p:nvCxnSpPr>
            <p:cNvPr id="58" name="Straight Connector 167">
              <a:extLst>
                <a:ext uri="{FF2B5EF4-FFF2-40B4-BE49-F238E27FC236}">
                  <a16:creationId xmlns:a16="http://schemas.microsoft.com/office/drawing/2014/main" id="{8F2BB63E-D68B-41BB-8F8E-9C1786D02D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92859" y="1822900"/>
              <a:ext cx="0" cy="3850063"/>
            </a:xfrm>
            <a:prstGeom prst="line">
              <a:avLst/>
            </a:prstGeom>
            <a:ln w="3810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Isosceles Triangle 19">
              <a:extLst>
                <a:ext uri="{FF2B5EF4-FFF2-40B4-BE49-F238E27FC236}">
                  <a16:creationId xmlns:a16="http://schemas.microsoft.com/office/drawing/2014/main" id="{4B9D3A7C-C67D-42C4-BB41-61C129DE5906}"/>
                </a:ext>
              </a:extLst>
            </p:cNvPr>
            <p:cNvSpPr/>
            <p:nvPr/>
          </p:nvSpPr>
          <p:spPr bwMode="gray">
            <a:xfrm>
              <a:off x="3857015" y="5707171"/>
              <a:ext cx="274929" cy="162348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 w="0"/>
                <a:solidFill>
                  <a:srgbClr val="5E5E5E"/>
                </a:solidFill>
                <a:effectLst>
                  <a:outerShdw blurRad="38100" dist="19050" dir="2700000" algn="tl" rotWithShape="0">
                    <a:srgbClr val="5E5E5E">
                      <a:alpha val="40000"/>
                    </a:srgbClr>
                  </a:outerShdw>
                </a:effectLst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60" name="Arrow: Chevron 98">
            <a:extLst>
              <a:ext uri="{FF2B5EF4-FFF2-40B4-BE49-F238E27FC236}">
                <a16:creationId xmlns:a16="http://schemas.microsoft.com/office/drawing/2014/main" id="{B18BE00D-29C7-4BF3-BA7E-DCED504BA471}"/>
              </a:ext>
            </a:extLst>
          </p:cNvPr>
          <p:cNvSpPr>
            <a:spLocks/>
          </p:cNvSpPr>
          <p:nvPr/>
        </p:nvSpPr>
        <p:spPr bwMode="gray">
          <a:xfrm>
            <a:off x="623888" y="1596262"/>
            <a:ext cx="729566" cy="300719"/>
          </a:xfrm>
          <a:prstGeom prst="homePlate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7</a:t>
            </a:r>
          </a:p>
        </p:txBody>
      </p:sp>
      <p:sp>
        <p:nvSpPr>
          <p:cNvPr id="61" name="Arrow: Chevron 99">
            <a:extLst>
              <a:ext uri="{FF2B5EF4-FFF2-40B4-BE49-F238E27FC236}">
                <a16:creationId xmlns:a16="http://schemas.microsoft.com/office/drawing/2014/main" id="{FB553698-42B4-4AAD-8A84-5CC6B8781AD5}"/>
              </a:ext>
            </a:extLst>
          </p:cNvPr>
          <p:cNvSpPr>
            <a:spLocks/>
          </p:cNvSpPr>
          <p:nvPr/>
        </p:nvSpPr>
        <p:spPr bwMode="gray">
          <a:xfrm>
            <a:off x="129260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</a:t>
            </a:r>
          </a:p>
        </p:txBody>
      </p:sp>
      <p:sp>
        <p:nvSpPr>
          <p:cNvPr id="62" name="Arrow: Chevron 100">
            <a:extLst>
              <a:ext uri="{FF2B5EF4-FFF2-40B4-BE49-F238E27FC236}">
                <a16:creationId xmlns:a16="http://schemas.microsoft.com/office/drawing/2014/main" id="{8ACE55BC-F6EB-47CB-89DE-C94961956207}"/>
              </a:ext>
            </a:extLst>
          </p:cNvPr>
          <p:cNvSpPr>
            <a:spLocks/>
          </p:cNvSpPr>
          <p:nvPr/>
        </p:nvSpPr>
        <p:spPr bwMode="gray">
          <a:xfrm>
            <a:off x="196766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4</a:t>
            </a:r>
          </a:p>
        </p:txBody>
      </p:sp>
      <p:sp>
        <p:nvSpPr>
          <p:cNvPr id="63" name="Arrow: Chevron 101">
            <a:extLst>
              <a:ext uri="{FF2B5EF4-FFF2-40B4-BE49-F238E27FC236}">
                <a16:creationId xmlns:a16="http://schemas.microsoft.com/office/drawing/2014/main" id="{F6CC6350-2089-44F6-9533-23512AE6D5AB}"/>
              </a:ext>
            </a:extLst>
          </p:cNvPr>
          <p:cNvSpPr>
            <a:spLocks/>
          </p:cNvSpPr>
          <p:nvPr/>
        </p:nvSpPr>
        <p:spPr bwMode="gray">
          <a:xfrm>
            <a:off x="264273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6</a:t>
            </a:r>
          </a:p>
        </p:txBody>
      </p:sp>
      <p:sp>
        <p:nvSpPr>
          <p:cNvPr id="64" name="Arrow: Chevron 102">
            <a:extLst>
              <a:ext uri="{FF2B5EF4-FFF2-40B4-BE49-F238E27FC236}">
                <a16:creationId xmlns:a16="http://schemas.microsoft.com/office/drawing/2014/main" id="{8CA006CE-82F2-4255-8DA3-1A79BFD2D0AA}"/>
              </a:ext>
            </a:extLst>
          </p:cNvPr>
          <p:cNvSpPr>
            <a:spLocks/>
          </p:cNvSpPr>
          <p:nvPr/>
        </p:nvSpPr>
        <p:spPr bwMode="gray">
          <a:xfrm>
            <a:off x="331779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8</a:t>
            </a:r>
          </a:p>
        </p:txBody>
      </p:sp>
      <p:sp>
        <p:nvSpPr>
          <p:cNvPr id="65" name="Arrow: Chevron 103">
            <a:extLst>
              <a:ext uri="{FF2B5EF4-FFF2-40B4-BE49-F238E27FC236}">
                <a16:creationId xmlns:a16="http://schemas.microsoft.com/office/drawing/2014/main" id="{FBFF29FE-C786-4AB3-86B8-6AE484980EBD}"/>
              </a:ext>
            </a:extLst>
          </p:cNvPr>
          <p:cNvSpPr>
            <a:spLocks/>
          </p:cNvSpPr>
          <p:nvPr/>
        </p:nvSpPr>
        <p:spPr bwMode="gray">
          <a:xfrm>
            <a:off x="399285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0</a:t>
            </a:r>
          </a:p>
        </p:txBody>
      </p:sp>
      <p:sp>
        <p:nvSpPr>
          <p:cNvPr id="66" name="Arrow: Chevron 104">
            <a:extLst>
              <a:ext uri="{FF2B5EF4-FFF2-40B4-BE49-F238E27FC236}">
                <a16:creationId xmlns:a16="http://schemas.microsoft.com/office/drawing/2014/main" id="{9C89DA77-F29A-4D23-ADEB-2525FC3BECB1}"/>
              </a:ext>
            </a:extLst>
          </p:cNvPr>
          <p:cNvSpPr>
            <a:spLocks/>
          </p:cNvSpPr>
          <p:nvPr/>
        </p:nvSpPr>
        <p:spPr bwMode="gray">
          <a:xfrm>
            <a:off x="466792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2</a:t>
            </a:r>
          </a:p>
        </p:txBody>
      </p:sp>
      <p:sp>
        <p:nvSpPr>
          <p:cNvPr id="67" name="Arrow: Chevron 105">
            <a:extLst>
              <a:ext uri="{FF2B5EF4-FFF2-40B4-BE49-F238E27FC236}">
                <a16:creationId xmlns:a16="http://schemas.microsoft.com/office/drawing/2014/main" id="{26916970-A9A2-478B-BB15-F5D32D65B9FE}"/>
              </a:ext>
            </a:extLst>
          </p:cNvPr>
          <p:cNvSpPr>
            <a:spLocks/>
          </p:cNvSpPr>
          <p:nvPr/>
        </p:nvSpPr>
        <p:spPr bwMode="gray">
          <a:xfrm>
            <a:off x="5342987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4</a:t>
            </a:r>
          </a:p>
        </p:txBody>
      </p:sp>
      <p:sp>
        <p:nvSpPr>
          <p:cNvPr id="68" name="Arrow: Chevron 106">
            <a:extLst>
              <a:ext uri="{FF2B5EF4-FFF2-40B4-BE49-F238E27FC236}">
                <a16:creationId xmlns:a16="http://schemas.microsoft.com/office/drawing/2014/main" id="{9C06FBE0-9AAC-49F6-AC88-2B49CF08F70D}"/>
              </a:ext>
            </a:extLst>
          </p:cNvPr>
          <p:cNvSpPr>
            <a:spLocks/>
          </p:cNvSpPr>
          <p:nvPr/>
        </p:nvSpPr>
        <p:spPr bwMode="gray">
          <a:xfrm>
            <a:off x="6018051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6</a:t>
            </a:r>
          </a:p>
        </p:txBody>
      </p:sp>
      <p:sp>
        <p:nvSpPr>
          <p:cNvPr id="69" name="Arrow: Chevron 107">
            <a:extLst>
              <a:ext uri="{FF2B5EF4-FFF2-40B4-BE49-F238E27FC236}">
                <a16:creationId xmlns:a16="http://schemas.microsoft.com/office/drawing/2014/main" id="{FD41F58E-ADAF-41AD-80C3-B480CCFD4F7E}"/>
              </a:ext>
            </a:extLst>
          </p:cNvPr>
          <p:cNvSpPr>
            <a:spLocks/>
          </p:cNvSpPr>
          <p:nvPr/>
        </p:nvSpPr>
        <p:spPr bwMode="gray">
          <a:xfrm>
            <a:off x="6693115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18</a:t>
            </a:r>
          </a:p>
        </p:txBody>
      </p:sp>
      <p:sp>
        <p:nvSpPr>
          <p:cNvPr id="70" name="Arrow: Chevron 108">
            <a:extLst>
              <a:ext uri="{FF2B5EF4-FFF2-40B4-BE49-F238E27FC236}">
                <a16:creationId xmlns:a16="http://schemas.microsoft.com/office/drawing/2014/main" id="{4E4E51F2-BF0A-4C78-9EE8-E55F16AA34CC}"/>
              </a:ext>
            </a:extLst>
          </p:cNvPr>
          <p:cNvSpPr>
            <a:spLocks/>
          </p:cNvSpPr>
          <p:nvPr/>
        </p:nvSpPr>
        <p:spPr bwMode="gray">
          <a:xfrm>
            <a:off x="7368178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0</a:t>
            </a:r>
          </a:p>
        </p:txBody>
      </p:sp>
      <p:sp>
        <p:nvSpPr>
          <p:cNvPr id="71" name="Arrow: Chevron 109">
            <a:extLst>
              <a:ext uri="{FF2B5EF4-FFF2-40B4-BE49-F238E27FC236}">
                <a16:creationId xmlns:a16="http://schemas.microsoft.com/office/drawing/2014/main" id="{D36B103F-0341-41E6-AEAB-54267168A468}"/>
              </a:ext>
            </a:extLst>
          </p:cNvPr>
          <p:cNvSpPr>
            <a:spLocks/>
          </p:cNvSpPr>
          <p:nvPr/>
        </p:nvSpPr>
        <p:spPr bwMode="gray">
          <a:xfrm>
            <a:off x="8043242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2</a:t>
            </a:r>
          </a:p>
        </p:txBody>
      </p:sp>
      <p:sp>
        <p:nvSpPr>
          <p:cNvPr id="72" name="Arrow: Chevron 111">
            <a:extLst>
              <a:ext uri="{FF2B5EF4-FFF2-40B4-BE49-F238E27FC236}">
                <a16:creationId xmlns:a16="http://schemas.microsoft.com/office/drawing/2014/main" id="{B8BB6140-25CF-481F-8B7D-4516464833E9}"/>
              </a:ext>
            </a:extLst>
          </p:cNvPr>
          <p:cNvSpPr>
            <a:spLocks/>
          </p:cNvSpPr>
          <p:nvPr/>
        </p:nvSpPr>
        <p:spPr bwMode="gray">
          <a:xfrm>
            <a:off x="8718306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4</a:t>
            </a:r>
          </a:p>
        </p:txBody>
      </p:sp>
      <p:sp>
        <p:nvSpPr>
          <p:cNvPr id="73" name="Arrow: Chevron 119">
            <a:extLst>
              <a:ext uri="{FF2B5EF4-FFF2-40B4-BE49-F238E27FC236}">
                <a16:creationId xmlns:a16="http://schemas.microsoft.com/office/drawing/2014/main" id="{6BCD1752-D3BC-4055-97DD-AD5C58184C79}"/>
              </a:ext>
            </a:extLst>
          </p:cNvPr>
          <p:cNvSpPr>
            <a:spLocks/>
          </p:cNvSpPr>
          <p:nvPr/>
        </p:nvSpPr>
        <p:spPr bwMode="gray">
          <a:xfrm>
            <a:off x="9393369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6</a:t>
            </a:r>
          </a:p>
        </p:txBody>
      </p:sp>
      <p:sp>
        <p:nvSpPr>
          <p:cNvPr id="74" name="Arrow: Chevron 120">
            <a:extLst>
              <a:ext uri="{FF2B5EF4-FFF2-40B4-BE49-F238E27FC236}">
                <a16:creationId xmlns:a16="http://schemas.microsoft.com/office/drawing/2014/main" id="{FC4710F1-5427-43FF-94EA-7B4F23C8A867}"/>
              </a:ext>
            </a:extLst>
          </p:cNvPr>
          <p:cNvSpPr>
            <a:spLocks/>
          </p:cNvSpPr>
          <p:nvPr/>
        </p:nvSpPr>
        <p:spPr bwMode="gray">
          <a:xfrm>
            <a:off x="10068433" y="1596262"/>
            <a:ext cx="735915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28</a:t>
            </a:r>
          </a:p>
        </p:txBody>
      </p:sp>
      <p:sp>
        <p:nvSpPr>
          <p:cNvPr id="75" name="Arrow: Chevron 121">
            <a:extLst>
              <a:ext uri="{FF2B5EF4-FFF2-40B4-BE49-F238E27FC236}">
                <a16:creationId xmlns:a16="http://schemas.microsoft.com/office/drawing/2014/main" id="{7F0EB90E-0D62-4C91-B7D6-EDFDA2A9E57D}"/>
              </a:ext>
            </a:extLst>
          </p:cNvPr>
          <p:cNvSpPr>
            <a:spLocks/>
          </p:cNvSpPr>
          <p:nvPr/>
        </p:nvSpPr>
        <p:spPr bwMode="gray">
          <a:xfrm>
            <a:off x="10743498" y="1596262"/>
            <a:ext cx="716666" cy="300719"/>
          </a:xfrm>
          <a:prstGeom prst="chevron">
            <a:avLst>
              <a:gd name="adj" fmla="val 33174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W30</a:t>
            </a:r>
          </a:p>
        </p:txBody>
      </p:sp>
      <p:grpSp>
        <p:nvGrpSpPr>
          <p:cNvPr id="76" name="Group 18">
            <a:extLst>
              <a:ext uri="{FF2B5EF4-FFF2-40B4-BE49-F238E27FC236}">
                <a16:creationId xmlns:a16="http://schemas.microsoft.com/office/drawing/2014/main" id="{EE0CE685-DA85-4A95-BB69-C5A4DBA030D8}"/>
              </a:ext>
            </a:extLst>
          </p:cNvPr>
          <p:cNvGrpSpPr/>
          <p:nvPr/>
        </p:nvGrpSpPr>
        <p:grpSpPr bwMode="gray">
          <a:xfrm>
            <a:off x="965200" y="1896981"/>
            <a:ext cx="10131552" cy="4138083"/>
            <a:chOff x="965200" y="1841710"/>
            <a:chExt cx="10131552" cy="4073391"/>
          </a:xfrm>
        </p:grpSpPr>
        <p:cxnSp>
          <p:nvCxnSpPr>
            <p:cNvPr id="77" name="Straight Connector 12">
              <a:extLst>
                <a:ext uri="{FF2B5EF4-FFF2-40B4-BE49-F238E27FC236}">
                  <a16:creationId xmlns:a16="http://schemas.microsoft.com/office/drawing/2014/main" id="{2D284FB0-7438-441B-A75D-B7E9540532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6520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126">
              <a:extLst>
                <a:ext uri="{FF2B5EF4-FFF2-40B4-BE49-F238E27FC236}">
                  <a16:creationId xmlns:a16="http://schemas.microsoft.com/office/drawing/2014/main" id="{B92B1C0E-B852-47A3-BD7A-FF5EE8A7180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6357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127">
              <a:extLst>
                <a:ext uri="{FF2B5EF4-FFF2-40B4-BE49-F238E27FC236}">
                  <a16:creationId xmlns:a16="http://schemas.microsoft.com/office/drawing/2014/main" id="{6B1AC641-57DF-40EB-B9FE-EB54E6DE936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30022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129">
              <a:extLst>
                <a:ext uri="{FF2B5EF4-FFF2-40B4-BE49-F238E27FC236}">
                  <a16:creationId xmlns:a16="http://schemas.microsoft.com/office/drawing/2014/main" id="{72479DD1-CA1D-4AFA-92F7-C8E88058EE3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97688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130">
              <a:extLst>
                <a:ext uri="{FF2B5EF4-FFF2-40B4-BE49-F238E27FC236}">
                  <a16:creationId xmlns:a16="http://schemas.microsoft.com/office/drawing/2014/main" id="{5295EA7D-30B4-40FF-A5DE-6B6B59AC51A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65353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131">
              <a:extLst>
                <a:ext uri="{FF2B5EF4-FFF2-40B4-BE49-F238E27FC236}">
                  <a16:creationId xmlns:a16="http://schemas.microsoft.com/office/drawing/2014/main" id="{B09A25B8-7F2F-4048-A6B1-7725056FA14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33019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132">
              <a:extLst>
                <a:ext uri="{FF2B5EF4-FFF2-40B4-BE49-F238E27FC236}">
                  <a16:creationId xmlns:a16="http://schemas.microsoft.com/office/drawing/2014/main" id="{E836D718-9643-461C-8AE4-9C063CE9933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0684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133">
              <a:extLst>
                <a:ext uri="{FF2B5EF4-FFF2-40B4-BE49-F238E27FC236}">
                  <a16:creationId xmlns:a16="http://schemas.microsoft.com/office/drawing/2014/main" id="{692693A2-36E8-4992-AA70-136F6924525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68350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134">
              <a:extLst>
                <a:ext uri="{FF2B5EF4-FFF2-40B4-BE49-F238E27FC236}">
                  <a16:creationId xmlns:a16="http://schemas.microsoft.com/office/drawing/2014/main" id="{D26E9609-9697-4D66-A410-F8A72A301EF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016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135">
              <a:extLst>
                <a:ext uri="{FF2B5EF4-FFF2-40B4-BE49-F238E27FC236}">
                  <a16:creationId xmlns:a16="http://schemas.microsoft.com/office/drawing/2014/main" id="{0FBFD251-6EDC-469E-8470-2841797F5F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03681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136">
              <a:extLst>
                <a:ext uri="{FF2B5EF4-FFF2-40B4-BE49-F238E27FC236}">
                  <a16:creationId xmlns:a16="http://schemas.microsoft.com/office/drawing/2014/main" id="{4F6E8D0B-A3E8-4569-AAA2-EA8F7BB0C25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71347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137">
              <a:extLst>
                <a:ext uri="{FF2B5EF4-FFF2-40B4-BE49-F238E27FC236}">
                  <a16:creationId xmlns:a16="http://schemas.microsoft.com/office/drawing/2014/main" id="{28C3CBBB-D0D8-45E1-B10F-3243A99460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90128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138">
              <a:extLst>
                <a:ext uri="{FF2B5EF4-FFF2-40B4-BE49-F238E27FC236}">
                  <a16:creationId xmlns:a16="http://schemas.microsoft.com/office/drawing/2014/main" id="{15DBA2BE-9DAF-44EC-A4AF-EC238E1D400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066784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139">
              <a:extLst>
                <a:ext uri="{FF2B5EF4-FFF2-40B4-BE49-F238E27FC236}">
                  <a16:creationId xmlns:a16="http://schemas.microsoft.com/office/drawing/2014/main" id="{1752023D-410B-4FC2-A60D-376B4AC939C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743440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140">
              <a:extLst>
                <a:ext uri="{FF2B5EF4-FFF2-40B4-BE49-F238E27FC236}">
                  <a16:creationId xmlns:a16="http://schemas.microsoft.com/office/drawing/2014/main" id="{6B5A3DBE-81D6-4E09-9A4B-812B28AFF53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420096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141">
              <a:extLst>
                <a:ext uri="{FF2B5EF4-FFF2-40B4-BE49-F238E27FC236}">
                  <a16:creationId xmlns:a16="http://schemas.microsoft.com/office/drawing/2014/main" id="{F2926F23-3F30-4517-9F6A-F80D98864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1096752" y="1841710"/>
              <a:ext cx="0" cy="4073391"/>
            </a:xfrm>
            <a:prstGeom prst="line">
              <a:avLst/>
            </a:prstGeom>
            <a:ln w="12700">
              <a:solidFill>
                <a:srgbClr val="E4E4E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tangle: Rounded Corners 148">
            <a:extLst>
              <a:ext uri="{FF2B5EF4-FFF2-40B4-BE49-F238E27FC236}">
                <a16:creationId xmlns:a16="http://schemas.microsoft.com/office/drawing/2014/main" id="{5E9BC96D-3A7E-4A11-A481-96FF0B2842EC}"/>
              </a:ext>
            </a:extLst>
          </p:cNvPr>
          <p:cNvSpPr/>
          <p:nvPr/>
        </p:nvSpPr>
        <p:spPr bwMode="gray">
          <a:xfrm>
            <a:off x="4335248" y="3218760"/>
            <a:ext cx="1682804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0" name="Rectangle: Rounded Corners 149">
            <a:extLst>
              <a:ext uri="{FF2B5EF4-FFF2-40B4-BE49-F238E27FC236}">
                <a16:creationId xmlns:a16="http://schemas.microsoft.com/office/drawing/2014/main" id="{5B070464-862A-49A0-8559-46464A03CBEE}"/>
              </a:ext>
            </a:extLst>
          </p:cNvPr>
          <p:cNvSpPr/>
          <p:nvPr/>
        </p:nvSpPr>
        <p:spPr bwMode="gray">
          <a:xfrm>
            <a:off x="9413948" y="3229641"/>
            <a:ext cx="2046211" cy="30831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d ut pers</a:t>
            </a:r>
          </a:p>
        </p:txBody>
      </p:sp>
      <p:sp>
        <p:nvSpPr>
          <p:cNvPr id="101" name="Rectangle: Rounded Corners 150">
            <a:extLst>
              <a:ext uri="{FF2B5EF4-FFF2-40B4-BE49-F238E27FC236}">
                <a16:creationId xmlns:a16="http://schemas.microsoft.com/office/drawing/2014/main" id="{3ACD75A7-6EB9-47AE-BB6A-D00FDB854D40}"/>
              </a:ext>
            </a:extLst>
          </p:cNvPr>
          <p:cNvSpPr/>
          <p:nvPr/>
        </p:nvSpPr>
        <p:spPr bwMode="gray">
          <a:xfrm>
            <a:off x="2295592" y="3831570"/>
            <a:ext cx="3387912" cy="33007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lvl="0">
              <a:defRPr/>
            </a:pPr>
            <a:r>
              <a:rPr lang="de-DE" sz="1200" dirty="0">
                <a:solidFill>
                  <a:schemeClr val="tx1"/>
                </a:solidFill>
                <a:latin typeface="+mj-lt"/>
              </a:rPr>
              <a:t>Lorem Ipsum dolor set </a:t>
            </a:r>
          </a:p>
        </p:txBody>
      </p: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C6730C25-B179-465A-91FE-D76F995139A1}"/>
              </a:ext>
            </a:extLst>
          </p:cNvPr>
          <p:cNvGrpSpPr/>
          <p:nvPr/>
        </p:nvGrpSpPr>
        <p:grpSpPr bwMode="gray">
          <a:xfrm>
            <a:off x="623887" y="1951850"/>
            <a:ext cx="7783067" cy="509658"/>
            <a:chOff x="607060" y="1951850"/>
            <a:chExt cx="7783067" cy="509658"/>
          </a:xfrm>
        </p:grpSpPr>
        <p:grpSp>
          <p:nvGrpSpPr>
            <p:cNvPr id="115" name="Gruppieren 114">
              <a:extLst>
                <a:ext uri="{FF2B5EF4-FFF2-40B4-BE49-F238E27FC236}">
                  <a16:creationId xmlns:a16="http://schemas.microsoft.com/office/drawing/2014/main" id="{C1730EB5-871C-4779-A383-ECD1E4BA5F6F}"/>
                </a:ext>
              </a:extLst>
            </p:cNvPr>
            <p:cNvGrpSpPr/>
            <p:nvPr/>
          </p:nvGrpSpPr>
          <p:grpSpPr bwMode="gray">
            <a:xfrm>
              <a:off x="607060" y="1951850"/>
              <a:ext cx="7766241" cy="330072"/>
              <a:chOff x="607060" y="1951850"/>
              <a:chExt cx="7766241" cy="330072"/>
            </a:xfrm>
          </p:grpSpPr>
          <p:sp>
            <p:nvSpPr>
              <p:cNvPr id="93" name="Rectangle: Rounded Corners 142">
                <a:extLst>
                  <a:ext uri="{FF2B5EF4-FFF2-40B4-BE49-F238E27FC236}">
                    <a16:creationId xmlns:a16="http://schemas.microsoft.com/office/drawing/2014/main" id="{4DD3D114-C495-4340-97B0-9FF9C981E3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5371" y="1951850"/>
                <a:ext cx="7457930" cy="33007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piciatis unde</a:t>
                </a:r>
              </a:p>
            </p:txBody>
          </p:sp>
          <p:sp>
            <p:nvSpPr>
              <p:cNvPr id="94" name="Oval 143">
                <a:extLst>
                  <a:ext uri="{FF2B5EF4-FFF2-40B4-BE49-F238E27FC236}">
                    <a16:creationId xmlns:a16="http://schemas.microsoft.com/office/drawing/2014/main" id="{86AB47ED-20D2-46FE-A3E5-3778342D2085}"/>
                  </a:ext>
                </a:extLst>
              </p:cNvPr>
              <p:cNvSpPr/>
              <p:nvPr/>
            </p:nvSpPr>
            <p:spPr bwMode="gray">
              <a:xfrm>
                <a:off x="607060" y="195185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0</a:t>
                </a:r>
              </a:p>
            </p:txBody>
          </p:sp>
        </p:grpSp>
        <p:sp>
          <p:nvSpPr>
            <p:cNvPr id="104" name="Rectangle 16">
              <a:extLst>
                <a:ext uri="{FF2B5EF4-FFF2-40B4-BE49-F238E27FC236}">
                  <a16:creationId xmlns:a16="http://schemas.microsoft.com/office/drawing/2014/main" id="{31053B27-BF03-48D7-8CD5-8B518B36C010}"/>
                </a:ext>
              </a:extLst>
            </p:cNvPr>
            <p:cNvSpPr>
              <a:spLocks/>
            </p:cNvSpPr>
            <p:nvPr/>
          </p:nvSpPr>
          <p:spPr bwMode="gray">
            <a:xfrm>
              <a:off x="915371" y="2299925"/>
              <a:ext cx="74747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ut perspiciatis unde</a:t>
              </a:r>
            </a:p>
          </p:txBody>
        </p: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1D95DD1-52C3-4AF6-B55B-258BBA5F64EE}"/>
              </a:ext>
            </a:extLst>
          </p:cNvPr>
          <p:cNvGrpSpPr/>
          <p:nvPr/>
        </p:nvGrpSpPr>
        <p:grpSpPr bwMode="gray">
          <a:xfrm>
            <a:off x="1283717" y="2555971"/>
            <a:ext cx="1483867" cy="516340"/>
            <a:chOff x="1283717" y="2555971"/>
            <a:chExt cx="1483867" cy="516340"/>
          </a:xfrm>
        </p:grpSpPr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CF8EA932-51E5-44BA-B109-C1B8362A7412}"/>
                </a:ext>
              </a:extLst>
            </p:cNvPr>
            <p:cNvGrpSpPr/>
            <p:nvPr/>
          </p:nvGrpSpPr>
          <p:grpSpPr bwMode="gray">
            <a:xfrm>
              <a:off x="1283717" y="2555971"/>
              <a:ext cx="1483867" cy="330072"/>
              <a:chOff x="1283717" y="2555971"/>
              <a:chExt cx="1483867" cy="330072"/>
            </a:xfrm>
          </p:grpSpPr>
          <p:sp>
            <p:nvSpPr>
              <p:cNvPr id="95" name="Rectangle: Rounded Corners 144">
                <a:extLst>
                  <a:ext uri="{FF2B5EF4-FFF2-40B4-BE49-F238E27FC236}">
                    <a16:creationId xmlns:a16="http://schemas.microsoft.com/office/drawing/2014/main" id="{9B823138-DD98-4F31-944E-26FA40B334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2028" y="2555971"/>
                <a:ext cx="117555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6" name="Oval 145">
                <a:extLst>
                  <a:ext uri="{FF2B5EF4-FFF2-40B4-BE49-F238E27FC236}">
                    <a16:creationId xmlns:a16="http://schemas.microsoft.com/office/drawing/2014/main" id="{AAE2DAE3-B232-4AF7-8BCC-8E6319B027A4}"/>
                  </a:ext>
                </a:extLst>
              </p:cNvPr>
              <p:cNvSpPr/>
              <p:nvPr/>
            </p:nvSpPr>
            <p:spPr bwMode="gray">
              <a:xfrm>
                <a:off x="1283717" y="2555971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1</a:t>
                </a:r>
              </a:p>
            </p:txBody>
          </p:sp>
        </p:grpSp>
        <p:sp>
          <p:nvSpPr>
            <p:cNvPr id="105" name="Rectangle 153">
              <a:extLst>
                <a:ext uri="{FF2B5EF4-FFF2-40B4-BE49-F238E27FC236}">
                  <a16:creationId xmlns:a16="http://schemas.microsoft.com/office/drawing/2014/main" id="{281799A2-31AC-427B-8568-EB97212C640F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2028" y="2910728"/>
              <a:ext cx="117555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D17B3C7F-1921-4F4A-93D0-C752F75A12A4}"/>
              </a:ext>
            </a:extLst>
          </p:cNvPr>
          <p:cNvGrpSpPr/>
          <p:nvPr/>
        </p:nvGrpSpPr>
        <p:grpSpPr bwMode="gray">
          <a:xfrm>
            <a:off x="1932732" y="3218760"/>
            <a:ext cx="2080467" cy="512996"/>
            <a:chOff x="1932732" y="3218760"/>
            <a:chExt cx="2080467" cy="512996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F097F590-2FBB-4B8E-983C-44634A610B75}"/>
                </a:ext>
              </a:extLst>
            </p:cNvPr>
            <p:cNvGrpSpPr/>
            <p:nvPr/>
          </p:nvGrpSpPr>
          <p:grpSpPr bwMode="gray">
            <a:xfrm>
              <a:off x="1932732" y="3218760"/>
              <a:ext cx="2080467" cy="330072"/>
              <a:chOff x="1932732" y="3218760"/>
              <a:chExt cx="2080467" cy="330072"/>
            </a:xfrm>
          </p:grpSpPr>
          <p:sp>
            <p:nvSpPr>
              <p:cNvPr id="97" name="Rectangle: Rounded Corners 146">
                <a:extLst>
                  <a:ext uri="{FF2B5EF4-FFF2-40B4-BE49-F238E27FC236}">
                    <a16:creationId xmlns:a16="http://schemas.microsoft.com/office/drawing/2014/main" id="{9542723F-2266-48BF-B102-35F4120B1F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1042" y="3218760"/>
                <a:ext cx="1772157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d ut pers</a:t>
                </a:r>
              </a:p>
            </p:txBody>
          </p:sp>
          <p:sp>
            <p:nvSpPr>
              <p:cNvPr id="98" name="Oval 147">
                <a:extLst>
                  <a:ext uri="{FF2B5EF4-FFF2-40B4-BE49-F238E27FC236}">
                    <a16:creationId xmlns:a16="http://schemas.microsoft.com/office/drawing/2014/main" id="{832F99FB-C57D-40BF-A09C-60B3A189393F}"/>
                  </a:ext>
                </a:extLst>
              </p:cNvPr>
              <p:cNvSpPr/>
              <p:nvPr/>
            </p:nvSpPr>
            <p:spPr bwMode="gray">
              <a:xfrm>
                <a:off x="1932732" y="3218760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106" name="Rectangle 154">
              <a:extLst>
                <a:ext uri="{FF2B5EF4-FFF2-40B4-BE49-F238E27FC236}">
                  <a16:creationId xmlns:a16="http://schemas.microsoft.com/office/drawing/2014/main" id="{0B0CAFB8-42E0-4D0A-834D-37A490FF74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1043" y="3570173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522C33-0B66-42C9-898A-BCAF1C39E803}"/>
              </a:ext>
            </a:extLst>
          </p:cNvPr>
          <p:cNvGrpSpPr/>
          <p:nvPr/>
        </p:nvGrpSpPr>
        <p:grpSpPr bwMode="gray">
          <a:xfrm>
            <a:off x="3830782" y="4233323"/>
            <a:ext cx="1852720" cy="523148"/>
            <a:chOff x="3830782" y="4233323"/>
            <a:chExt cx="1852720" cy="523148"/>
          </a:xfrm>
        </p:grpSpPr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FE17858B-7844-4190-AA23-52586FEFA776}"/>
                </a:ext>
              </a:extLst>
            </p:cNvPr>
            <p:cNvGrpSpPr/>
            <p:nvPr/>
          </p:nvGrpSpPr>
          <p:grpSpPr bwMode="gray">
            <a:xfrm>
              <a:off x="3830782" y="4233323"/>
              <a:ext cx="1852720" cy="330072"/>
              <a:chOff x="3830782" y="4233323"/>
              <a:chExt cx="1852720" cy="330072"/>
            </a:xfrm>
          </p:grpSpPr>
          <p:sp>
            <p:nvSpPr>
              <p:cNvPr id="102" name="Rectangle: Rounded Corners 151">
                <a:extLst>
                  <a:ext uri="{FF2B5EF4-FFF2-40B4-BE49-F238E27FC236}">
                    <a16:creationId xmlns:a16="http://schemas.microsoft.com/office/drawing/2014/main" id="{31D4C142-6F5F-4D0A-8999-18C458120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8703" y="4233323"/>
                <a:ext cx="1554799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</a:t>
                </a:r>
              </a:p>
            </p:txBody>
          </p:sp>
          <p:sp>
            <p:nvSpPr>
              <p:cNvPr id="103" name="Oval 152">
                <a:extLst>
                  <a:ext uri="{FF2B5EF4-FFF2-40B4-BE49-F238E27FC236}">
                    <a16:creationId xmlns:a16="http://schemas.microsoft.com/office/drawing/2014/main" id="{C55753B5-D245-4A9D-BC15-78DF3457D46D}"/>
                  </a:ext>
                </a:extLst>
              </p:cNvPr>
              <p:cNvSpPr/>
              <p:nvPr/>
            </p:nvSpPr>
            <p:spPr bwMode="gray">
              <a:xfrm>
                <a:off x="3830782" y="423332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3</a:t>
                </a:r>
              </a:p>
            </p:txBody>
          </p:sp>
        </p:grpSp>
        <p:sp>
          <p:nvSpPr>
            <p:cNvPr id="107" name="Rectangle 155">
              <a:extLst>
                <a:ext uri="{FF2B5EF4-FFF2-40B4-BE49-F238E27FC236}">
                  <a16:creationId xmlns:a16="http://schemas.microsoft.com/office/drawing/2014/main" id="{552A7F66-0029-41CB-A415-9A014A856F0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28703" y="4594888"/>
              <a:ext cx="1554799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1C6096AA-2F17-4AD1-97DF-A7CC2E70FD63}"/>
              </a:ext>
            </a:extLst>
          </p:cNvPr>
          <p:cNvGrpSpPr/>
          <p:nvPr/>
        </p:nvGrpSpPr>
        <p:grpSpPr bwMode="gray">
          <a:xfrm>
            <a:off x="5947342" y="4744407"/>
            <a:ext cx="2060127" cy="523148"/>
            <a:chOff x="5947342" y="4744407"/>
            <a:chExt cx="2060127" cy="523148"/>
          </a:xfrm>
        </p:grpSpPr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A49BB23F-BF1C-45AC-B6DF-DD54973245F5}"/>
                </a:ext>
              </a:extLst>
            </p:cNvPr>
            <p:cNvGrpSpPr/>
            <p:nvPr/>
          </p:nvGrpSpPr>
          <p:grpSpPr bwMode="gray">
            <a:xfrm>
              <a:off x="5947342" y="4744407"/>
              <a:ext cx="2060127" cy="330072"/>
              <a:chOff x="5947342" y="4744407"/>
              <a:chExt cx="2060127" cy="330072"/>
            </a:xfrm>
          </p:grpSpPr>
          <p:sp>
            <p:nvSpPr>
              <p:cNvPr id="108" name="Rectangle: Rounded Corners 158">
                <a:extLst>
                  <a:ext uri="{FF2B5EF4-FFF2-40B4-BE49-F238E27FC236}">
                    <a16:creationId xmlns:a16="http://schemas.microsoft.com/office/drawing/2014/main" id="{A432CC80-B126-4943-A5D1-04C6665DC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55653" y="4744407"/>
                <a:ext cx="1751816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09" name="Oval 159">
                <a:extLst>
                  <a:ext uri="{FF2B5EF4-FFF2-40B4-BE49-F238E27FC236}">
                    <a16:creationId xmlns:a16="http://schemas.microsoft.com/office/drawing/2014/main" id="{26CB21BE-CF49-456F-B9DF-254DB5A80E7D}"/>
                  </a:ext>
                </a:extLst>
              </p:cNvPr>
              <p:cNvSpPr/>
              <p:nvPr/>
            </p:nvSpPr>
            <p:spPr bwMode="gray">
              <a:xfrm>
                <a:off x="5947342" y="4744407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4</a:t>
                </a:r>
              </a:p>
            </p:txBody>
          </p:sp>
        </p:grpSp>
        <p:sp>
          <p:nvSpPr>
            <p:cNvPr id="110" name="Rectangle 160">
              <a:extLst>
                <a:ext uri="{FF2B5EF4-FFF2-40B4-BE49-F238E27FC236}">
                  <a16:creationId xmlns:a16="http://schemas.microsoft.com/office/drawing/2014/main" id="{4F923537-3051-498A-A781-20F917F6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5653" y="5105972"/>
              <a:ext cx="1751816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DAF8EF42-3F61-4E7A-8EED-0E594C750912}"/>
              </a:ext>
            </a:extLst>
          </p:cNvPr>
          <p:cNvGrpSpPr/>
          <p:nvPr/>
        </p:nvGrpSpPr>
        <p:grpSpPr bwMode="gray">
          <a:xfrm>
            <a:off x="7031887" y="5421503"/>
            <a:ext cx="4447525" cy="523148"/>
            <a:chOff x="7031887" y="5421503"/>
            <a:chExt cx="4447525" cy="523148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C0520FD0-1B14-4718-A704-61E3C8E7D9DD}"/>
                </a:ext>
              </a:extLst>
            </p:cNvPr>
            <p:cNvGrpSpPr/>
            <p:nvPr/>
          </p:nvGrpSpPr>
          <p:grpSpPr bwMode="gray">
            <a:xfrm>
              <a:off x="7031887" y="5421503"/>
              <a:ext cx="4428276" cy="330072"/>
              <a:chOff x="7031887" y="5421503"/>
              <a:chExt cx="4428276" cy="330072"/>
            </a:xfrm>
          </p:grpSpPr>
          <p:sp>
            <p:nvSpPr>
              <p:cNvPr id="111" name="Rectangle: Rounded Corners 164">
                <a:extLst>
                  <a:ext uri="{FF2B5EF4-FFF2-40B4-BE49-F238E27FC236}">
                    <a16:creationId xmlns:a16="http://schemas.microsoft.com/office/drawing/2014/main" id="{DAED426E-9561-4D57-B022-B0CEA31A51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40198" y="5421503"/>
                <a:ext cx="4119965" cy="330072"/>
              </a:xfrm>
              <a:prstGeom prst="rect">
                <a:avLst/>
              </a:prstGeom>
              <a:solidFill>
                <a:srgbClr val="E4E4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ctr">
                <a:noAutofit/>
              </a:bodyPr>
              <a:lstStyle/>
              <a:p>
                <a:pPr lvl="0">
                  <a:defRPr/>
                </a:pPr>
                <a:r>
                  <a:rPr lang="de-DE" sz="1200" b="1" dirty="0">
                    <a:solidFill>
                      <a:schemeClr val="tx1"/>
                    </a:solidFill>
                    <a:latin typeface="+mj-lt"/>
                  </a:rPr>
                  <a:t>Lorem Ipsum dolor set </a:t>
                </a:r>
              </a:p>
            </p:txBody>
          </p:sp>
          <p:sp>
            <p:nvSpPr>
              <p:cNvPr id="112" name="Oval 165">
                <a:extLst>
                  <a:ext uri="{FF2B5EF4-FFF2-40B4-BE49-F238E27FC236}">
                    <a16:creationId xmlns:a16="http://schemas.microsoft.com/office/drawing/2014/main" id="{7D0F1E1A-32E9-4904-A3DA-6A7D3E52A765}"/>
                  </a:ext>
                </a:extLst>
              </p:cNvPr>
              <p:cNvSpPr/>
              <p:nvPr/>
            </p:nvSpPr>
            <p:spPr bwMode="gray">
              <a:xfrm>
                <a:off x="7031887" y="5421503"/>
                <a:ext cx="308311" cy="33007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5</a:t>
                </a:r>
              </a:p>
            </p:txBody>
          </p:sp>
        </p:grpSp>
        <p:sp>
          <p:nvSpPr>
            <p:cNvPr id="113" name="Rectangle 166">
              <a:extLst>
                <a:ext uri="{FF2B5EF4-FFF2-40B4-BE49-F238E27FC236}">
                  <a16:creationId xmlns:a16="http://schemas.microsoft.com/office/drawing/2014/main" id="{9F4DF123-BA70-4E11-9C1F-37BBE5920E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198" y="5783068"/>
              <a:ext cx="4139214" cy="161583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7E37"/>
                </a:buClr>
                <a:buSzTx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ed erspiciatis</a:t>
              </a:r>
            </a:p>
          </p:txBody>
        </p:sp>
      </p:grpSp>
      <p:sp>
        <p:nvSpPr>
          <p:cNvPr id="114" name="Rectangle 168">
            <a:extLst>
              <a:ext uri="{FF2B5EF4-FFF2-40B4-BE49-F238E27FC236}">
                <a16:creationId xmlns:a16="http://schemas.microsoft.com/office/drawing/2014/main" id="{A00F5C98-0F04-4187-885B-F8D36E284F9B}"/>
              </a:ext>
            </a:extLst>
          </p:cNvPr>
          <p:cNvSpPr/>
          <p:nvPr/>
        </p:nvSpPr>
        <p:spPr bwMode="gray">
          <a:xfrm>
            <a:off x="3433530" y="6038356"/>
            <a:ext cx="111865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FF7E37"/>
              </a:buClr>
            </a:pPr>
            <a:r>
              <a:rPr lang="de-DE" sz="1200" dirty="0">
                <a:latin typeface="+mj-lt"/>
              </a:rPr>
              <a:t>Sed erspiciatis</a:t>
            </a: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C37AE9F-16EF-4CB4-9EF6-43D893D62CD4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C14BADFE-DFEC-4C3E-8D8C-1AD96CB5B22D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6F800E-C798-48F6-B465-5D73499769F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126439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>
            <a:extLst>
              <a:ext uri="{FF2B5EF4-FFF2-40B4-BE49-F238E27FC236}">
                <a16:creationId xmlns:a16="http://schemas.microsoft.com/office/drawing/2014/main" id="{30E06E32-0038-41FD-936C-DB8F43E8BA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802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35" name="think-cell Folie" r:id="rId154" imgW="306" imgH="306" progId="TCLayout.ActiveDocument.1">
                  <p:embed/>
                </p:oleObj>
              </mc:Choice>
              <mc:Fallback>
                <p:oleObj name="think-cell Folie" r:id="rId154" imgW="306" imgH="306" progId="TCLayout.ActiveDocument.1">
                  <p:embed/>
                  <p:pic>
                    <p:nvPicPr>
                      <p:cNvPr id="70" name="Objekt 69" hidden="1">
                        <a:extLst>
                          <a:ext uri="{FF2B5EF4-FFF2-40B4-BE49-F238E27FC236}">
                            <a16:creationId xmlns:a16="http://schemas.microsoft.com/office/drawing/2014/main" id="{30E06E32-0038-41FD-936C-DB8F43E8B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24AC96A-E1E3-4520-BC2C-4ED2E1F396F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Gantt Chart (2/2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C38CD70-136E-459F-882C-3BC2AE728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74D2CC-F749-49BC-999E-A96E45E53104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59D80A7F-26CE-4198-92DB-6D8876A58B5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236378-7355-4DD5-9B44-48A62617B9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7</a:t>
            </a:fld>
            <a:endParaRPr lang="de-DE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7DC7D50F-9229-4B15-B4EB-D9A97BE65F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2388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7FD644-753D-4C79-9AB9-CE30C0E80A2E}" type="datetime'''''''''''J''a''''''''''''''''''''''n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68" name="Textplatzhalter 2">
            <a:extLst>
              <a:ext uri="{FF2B5EF4-FFF2-40B4-BE49-F238E27FC236}">
                <a16:creationId xmlns:a16="http://schemas.microsoft.com/office/drawing/2014/main" id="{10DB4D98-AA99-4DA1-8331-72C00D306BB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44639" y="1600200"/>
            <a:ext cx="8302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D03865-38C4-4F9D-AE07-A9BCB7E05C4F}" type="datetime'''''''''F''eb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3" name="Textplatzhalter 2">
            <a:extLst>
              <a:ext uri="{FF2B5EF4-FFF2-40B4-BE49-F238E27FC236}">
                <a16:creationId xmlns:a16="http://schemas.microsoft.com/office/drawing/2014/main" id="{35835C89-255E-4478-A1A7-E9EC66B9FB0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374900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E02E46-1B39-4F3B-99C5-55473E01F445}" type="datetime'''''''''''M''a''r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44" name="Textplatzhalter 2">
            <a:extLst>
              <a:ext uri="{FF2B5EF4-FFF2-40B4-BE49-F238E27FC236}">
                <a16:creationId xmlns:a16="http://schemas.microsoft.com/office/drawing/2014/main" id="{B9BFB1D7-6CEC-44EA-9467-793F9E489F7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95650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EBEDE-4A8A-406F-BF6F-BF4AC8CFD59D}" type="datetime'''''''''''''''''''A''p''''''r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19" name="Textplatzhalter 2">
            <a:extLst>
              <a:ext uri="{FF2B5EF4-FFF2-40B4-BE49-F238E27FC236}">
                <a16:creationId xmlns:a16="http://schemas.microsoft.com/office/drawing/2014/main" id="{6BDCD78B-84F7-41D6-87C1-198527EB50C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86238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93AB9-2331-49D3-803E-65258B4D09FF}" type="datetime'''''''''''''''''''''''''''''''''''''M''''''a''y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20" name="Textplatzhalter 2">
            <a:extLst>
              <a:ext uri="{FF2B5EF4-FFF2-40B4-BE49-F238E27FC236}">
                <a16:creationId xmlns:a16="http://schemas.microsoft.com/office/drawing/2014/main" id="{C4FD90A8-21DF-4675-B7DE-9161C528D6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069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CA1854-DA60-4CA5-8779-B8FDB737549D}" type="datetime'''''''''''''''''''Ju''''''''''''''''''''''''''''n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975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AD4A70-AD2D-4148-8D49-3059B429A6E6}" type="datetime'''Ju''''''''''''''''''''''''''''l'''''''''''''''''''''''''">
              <a:rPr lang="de-DE" altLang="en-US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B50EAD2-CD85-4106-8B3F-7D4CAD4792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18326" y="1600200"/>
            <a:ext cx="919163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A31266-7F7A-436E-903F-F60FB1F57BFD}" type="datetime'A''u''''''''''''''''''''''''''''''''''g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135550F-81A8-4823-83B6-95CE0F79EA1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837488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CE96A8-711E-4F83-9477-35B88EF60788}" type="datetime'''''S''ep''''''''''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A23BBC81-21A1-4099-BE9E-C8FB0C4BDB5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28075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803095-FFA5-4C8B-9DEE-EBB27B03FE46}" type="datetime'''''''O''''c''''''t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B724FC4-F69B-4D25-9C67-87B1DADEDF4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648825" y="1600200"/>
            <a:ext cx="890588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C8EB5-E47E-41E0-9D57-EBEC276C27D2}" type="datetime'N''''''''''''''''''''''''''''o''''''''v''''''''''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99" name="Textplatzhalter 2">
            <a:extLst>
              <a:ext uri="{FF2B5EF4-FFF2-40B4-BE49-F238E27FC236}">
                <a16:creationId xmlns:a16="http://schemas.microsoft.com/office/drawing/2014/main" id="{5FCFAFFC-1658-4A2F-AB9B-BB184630EF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539413" y="1600200"/>
            <a:ext cx="920750" cy="260350"/>
          </a:xfrm>
          <a:prstGeom prst="rect">
            <a:avLst/>
          </a:prstGeom>
          <a:solidFill>
            <a:srgbClr val="E4E4E4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4B8A3D-34EF-453F-B248-A3491FFD6287}" type="datetime'''''''''''''''''D''''''''''''''''''''''''e''''c'''''''''''''">
              <a:rPr lang="de-DE" altLang="en-US" smtClean="0"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de-DE" dirty="0">
              <a:latin typeface="+mj-lt"/>
              <a:ea typeface="+mj-ea"/>
              <a:cs typeface="+mj-cs"/>
            </a:endParaRPr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6851A20F-D84E-42F6-8CD9-473732E29B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23888" y="1860550"/>
            <a:ext cx="889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sp>
        <p:nvSpPr>
          <p:cNvPr id="159" name="Textplatzhalter 2">
            <a:extLst>
              <a:ext uri="{FF2B5EF4-FFF2-40B4-BE49-F238E27FC236}">
                <a16:creationId xmlns:a16="http://schemas.microsoft.com/office/drawing/2014/main" id="{9DDB8B29-9F4B-4AAE-8EC5-E559A47398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2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81A1DE-CD73-4C63-AD43-36514D71A3D8}" type="datetime'''''''''''0''''''''''''''''''''''''1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</a:t>
            </a:fld>
            <a:endParaRPr lang="de-DE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F662605C-E0FF-4EFC-9138-8F55992BB8C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0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71889-AF69-49B2-89E8-335D65569058}" type="datetime'0''''''''''''''''''''''''''2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2</a:t>
            </a:fld>
            <a:endParaRPr lang="de-DE" dirty="0"/>
          </a:p>
        </p:txBody>
      </p:sp>
      <p:sp>
        <p:nvSpPr>
          <p:cNvPr id="161" name="Textplatzhalter 2">
            <a:extLst>
              <a:ext uri="{FF2B5EF4-FFF2-40B4-BE49-F238E27FC236}">
                <a16:creationId xmlns:a16="http://schemas.microsoft.com/office/drawing/2014/main" id="{F01B64F6-CDFD-45D5-A885-D8FE08D45B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28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84E2C-B458-4673-B214-90A93BF8E74A}" type="datetime'''03''''''''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3</a:t>
            </a:fld>
            <a:endParaRPr lang="de-DE" dirty="0"/>
          </a:p>
        </p:txBody>
      </p:sp>
      <p:sp>
        <p:nvSpPr>
          <p:cNvPr id="162" name="Textplatzhalter 2">
            <a:extLst>
              <a:ext uri="{FF2B5EF4-FFF2-40B4-BE49-F238E27FC236}">
                <a16:creationId xmlns:a16="http://schemas.microsoft.com/office/drawing/2014/main" id="{DB9984A7-A6E3-4A7F-AD8A-F78C65DB8D7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36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18825-AD29-4E37-AC0A-ECD6ECBFA94F}" type="datetime'''''''''''''''''''''''''''0''''''''''''''''''''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4</a:t>
            </a:fld>
            <a:endParaRPr lang="de-DE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20C35DC-DF14-444A-B610-A3422A957D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544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70163D-2F60-4DAD-8FA0-9B46B761E934}" type="datetime'''''''''''''''''''''''''''''''''05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5</a:t>
            </a:fld>
            <a:endParaRPr lang="de-DE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6D6F3F9B-1D27-4F8C-BC2B-33E465BF5FF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752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F07F85-2CFB-4F25-ACCD-3257FFE10A89}" type="datetime'''''''''''''''''''''''''''''''''''''06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6</a:t>
            </a:fld>
            <a:endParaRPr lang="de-DE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DA9B04CC-6D1C-452F-92A6-2EC19F7938E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960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88414-01A6-4FF4-B34C-C1AF91424FDC}" type="datetime'''''''''''''''''''''''''''''''''0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7</a:t>
            </a:fld>
            <a:endParaRPr lang="de-DE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08C0B9D6-27E2-4EC2-9164-1A8B93143C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66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F40951-CB90-4CF4-BC82-A3A9F483BBF7}" type="datetime'''''''0''''''''''''''''''''''''''''''''''''8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</a:t>
            </a:fld>
            <a:endParaRPr lang="de-DE" dirty="0"/>
          </a:p>
        </p:txBody>
      </p:sp>
      <p:sp>
        <p:nvSpPr>
          <p:cNvPr id="135" name="Textplatzhalter 2">
            <a:extLst>
              <a:ext uri="{FF2B5EF4-FFF2-40B4-BE49-F238E27FC236}">
                <a16:creationId xmlns:a16="http://schemas.microsoft.com/office/drawing/2014/main" id="{714178B2-88B4-4B18-B1FE-CEDA1AF491D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74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3A860E-B64C-4B4C-BD77-B56BE27EA822}" type="datetime'09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</a:t>
            </a:fld>
            <a:endParaRPr lang="de-DE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1D21EC3E-6773-4E73-AC10-84AE7E7BF26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582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FCAF4C-A3C9-4840-8D26-E6F231D22F74}" type="datetime'''''''''1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dirty="0"/>
          </a:p>
        </p:txBody>
      </p:sp>
      <p:sp>
        <p:nvSpPr>
          <p:cNvPr id="137" name="Textplatzhalter 2">
            <a:extLst>
              <a:ext uri="{FF2B5EF4-FFF2-40B4-BE49-F238E27FC236}">
                <a16:creationId xmlns:a16="http://schemas.microsoft.com/office/drawing/2014/main" id="{34CA3612-6208-4D3A-ABD4-DA2DF568870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90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671E7-48BF-4130-A94D-D3D03FDD5285}" type="datetime'''''''1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e-DE" dirty="0"/>
          </a:p>
        </p:txBody>
      </p: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1B0728BB-2A11-4808-A6B8-5F5C79F2D16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998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FCDB2-02A5-41D4-AF2A-F572DCBDCFF7}" type="datetime'''''''''''''''1''''''''''''''''''''''''''''''''''2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86FC9AB0-E2EE-43BF-B061-8C3444D898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206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681045-E748-4375-9E1D-F3DAAAC54C81}" type="datetime'''''''''''''''1''''''''''''''''''''''''''''''3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de-DE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F404A139-F6F5-4448-B7EC-467EC5D5FAE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14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493A32-E130-4F35-A6F5-7D1B97FFF8F9}" type="datetime'''''''''''''''''''''''''''''''1''''''''''''''4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dirty="0"/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7C4415DD-FD74-4B4A-A195-9BD612DE55E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22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43C312-DF06-4675-B9D0-44395A7C6FD4}" type="datetime'''''''1''5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de-DE" dirty="0"/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B1A79800-56FC-4144-A801-3B22B5D80AE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830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B0D12-746A-4C58-85D9-8FBD960EAD3B}" type="datetime'''''''1''''''''''''''''''6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e-DE" dirty="0"/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B4A2A8D5-8D97-4773-A5F4-95D82251EC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38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61418-9632-4B3D-8BCC-8D708479FA13}" type="datetime'''1''''''7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de-DE" dirty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B4DFF207-DE98-4871-ABC9-8B0F29EAA99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246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A27AD-B156-4DB1-A7C7-68310EE6A971}" type="datetime'''''''''''''''''''''''''''''''''1''''''''''''8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de-DE" dirty="0"/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36A3EEB0-A1DD-443A-9D69-9FEB0AE0498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452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80D47B-9724-469C-A774-F5F657CE6C03}" type="datetime'''''''''''19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de-DE" dirty="0"/>
          </a:p>
        </p:txBody>
      </p:sp>
      <p:sp>
        <p:nvSpPr>
          <p:cNvPr id="113" name="Textplatzhalter 2">
            <a:extLst>
              <a:ext uri="{FF2B5EF4-FFF2-40B4-BE49-F238E27FC236}">
                <a16:creationId xmlns:a16="http://schemas.microsoft.com/office/drawing/2014/main" id="{7C700108-54DE-4AB4-8F96-6F58F42F913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660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DA85D-D7E6-4A10-8139-CDAB630F17C1}" type="datetime'''''''''''''''2''0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de-DE" dirty="0"/>
          </a:p>
        </p:txBody>
      </p:sp>
      <p:sp>
        <p:nvSpPr>
          <p:cNvPr id="114" name="Textplatzhalter 2">
            <a:extLst>
              <a:ext uri="{FF2B5EF4-FFF2-40B4-BE49-F238E27FC236}">
                <a16:creationId xmlns:a16="http://schemas.microsoft.com/office/drawing/2014/main" id="{701A5C7F-018E-4FD3-8C7C-A4AFCEDDA1D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68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CFB50-F0D3-429C-A4C2-9B94CF9B8606}" type="datetime'''''2''''''''''''''''''''''''''''1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de-DE" dirty="0"/>
          </a:p>
        </p:txBody>
      </p:sp>
      <p:sp>
        <p:nvSpPr>
          <p:cNvPr id="115" name="Textplatzhalter 2">
            <a:extLst>
              <a:ext uri="{FF2B5EF4-FFF2-40B4-BE49-F238E27FC236}">
                <a16:creationId xmlns:a16="http://schemas.microsoft.com/office/drawing/2014/main" id="{240F97C2-A5FA-4B59-B493-F0F97748AEE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076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420F3-67DE-4D49-8F53-D459B8F83829}" type="datetime'''''''''''''''''''''''''''''2''''''''''''2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dirty="0"/>
          </a:p>
        </p:txBody>
      </p:sp>
      <p:sp>
        <p:nvSpPr>
          <p:cNvPr id="116" name="Textplatzhalter 2">
            <a:extLst>
              <a:ext uri="{FF2B5EF4-FFF2-40B4-BE49-F238E27FC236}">
                <a16:creationId xmlns:a16="http://schemas.microsoft.com/office/drawing/2014/main" id="{D677F2F0-34C6-4E2E-BA8D-4C948C52DE7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84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1FEBC5-EAEE-4691-B7A2-4153B3DA52A0}" type="datetime'''''''''''''''''''''''''''2''''''''''''''''3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de-DE" dirty="0"/>
          </a:p>
        </p:txBody>
      </p: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9B4EECB8-2DFA-434F-8167-638F64F67C5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492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5533C0-DB3F-476C-AECF-FB3F83D49B4B}" type="datetime'2''''''4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de-DE" dirty="0"/>
          </a:p>
        </p:txBody>
      </p:sp>
      <p:sp>
        <p:nvSpPr>
          <p:cNvPr id="118" name="Textplatzhalter 2">
            <a:extLst>
              <a:ext uri="{FF2B5EF4-FFF2-40B4-BE49-F238E27FC236}">
                <a16:creationId xmlns:a16="http://schemas.microsoft.com/office/drawing/2014/main" id="{CBCE9D99-27F3-4E07-AB16-347FBCAE1DE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700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C0C144-1B76-4D3D-AC92-5B08424BBAC4}" type="datetime'''''''''''''''2''''5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908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B3BEDC-9CF0-4F60-8057-1E5902E54791}" type="datetime'2''''''''''''''6'''''''">
              <a:rPr lang="de-DE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2EFA360-B2C8-455C-A8F6-EF3D7CED74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116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F0B4F6-8925-4B32-82C1-C2F9C951A59B}" type="datetime'''''''''''''''''''''''''''''''''2''''7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B2FD50-B481-48D0-B86D-75C342290C3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324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C6760-6E54-4061-8B95-1982958A49F3}" type="datetime'''''''''''''''2''''''8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de-DE" dirty="0"/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07DC364-6403-4CCA-B515-CB1A138B16F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532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99E5F6-FDD6-4A30-B275-31DDF443FD67}" type="datetime'''''2''''''''''''''''''9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20252EF-6EC4-4842-8255-705720D5D01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8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62C11-2CFD-4ECD-8229-D8BEACE68022}" type="datetime'''3''''''''''''''''''''0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F2F49A2-D018-4E4E-8C5A-8DEA130C5BD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46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8E7DE-42A7-4706-9476-A8EE0C624CA4}" type="datetime'''''''''''3''''''''''''''''''1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E86B95-E498-427C-89C9-ACC5112586C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54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6B36-1EC5-4D60-B086-7E94943D234E}" type="datetime'''''''''''''''''3''''2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de-DE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DFBC0A75-79D6-424D-8896-D5791B77990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362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39928B-6A55-4FF4-A6C5-B25DF0E7BA21}" type="datetime'''''''''''''3''''''''''''''''3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A920BE9-F729-46C7-BB76-DCD6C89F732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70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C6E7B4-DF6F-47BF-83F3-55A9706B704A}" type="datetime'''3''''''''4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84C99D37-50E1-418C-9D19-B5BD87CF09C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778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7C617A-B4D3-4A2B-8E7F-A9B3835F2FD7}" type="datetime'''''''3''''''''''''''''''''''''''''''''5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63EF066-B2DC-4B35-B7C9-DDB4AD37573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986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27CE88-3367-4016-A442-188A9D63284F}" type="datetime'''''''''''''''3''''6''''''''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de-DE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4C86ED6-8588-4E53-AB5E-2AC4BBE3646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194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2D5152-1AF5-4485-9615-BCBD842FBCC0}" type="datetime'''''''''''''''''3''''''''''''''''''''''''''''''''''''7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de-DE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5B3D35E2-A273-4DDE-9020-D25B5AE346C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402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1DD95-1968-4BD3-9BB7-D0BAA7F27FDB}" type="datetime'''''''''38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de-DE" dirty="0"/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09B08B4-2318-4112-B329-965550EA36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610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F785A4-7A97-4C85-893C-CBBA4A904DC4}" type="datetime'3''''''''''''''''''''''''''9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de-DE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0980052E-FB36-43FF-B4A3-B061CFE3883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818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77ED8-3CD1-49B4-BCDC-8FF450E26919}" type="datetime'''''''''''''''''''''''4''''''0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922839E0-6E85-4E8B-9023-0E760B9FF65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0249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55BAE-D6D1-42D5-ABCE-5A0EB60C7100}" type="datetime'''''''''''''''4''''''''''''''''''''''''''1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de-DE" dirty="0"/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50ED599B-16E5-424D-BFCD-4912F2C1487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92329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A7415-3804-444C-8C04-5AC7E1893A3E}" type="datetime'4''''''''''''''''''''''''''2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de-DE" dirty="0"/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F924A514-2BD6-44DB-A3A4-4F9D08D0F51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944086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DF088A-727E-4702-989F-C75CFBBD8A9A}" type="datetime'''''''''''''''''''4''''3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de-DE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0B572900-4E07-408A-81A3-6D4E7C3DE9C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64882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398B16-164E-4702-90BE-BC15B3EB564A}" type="datetime'''''''''''''''''''''''''4''''''''''4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de-DE" dirty="0"/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2F7DD89-F73A-4D0D-8866-033B0F5EE2D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985678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9DAE7E-E96F-44A0-9EEA-E3726CB8040E}" type="datetime'''''''''''''''''''''''''''''''''''4''''''''''''5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de-DE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DE57E079-1831-4329-82DF-B6C5C036F00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06475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F88D6B-B139-4540-AE8E-78A1B6C2D937}" type="datetime'''''4''''''''''''''''6''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FC24DE70-F28A-42FE-907E-22CFB746AE9B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272714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68808E-7751-4842-A34F-F3839F0C19A2}" type="datetime'''''''''''''''''''''''''''''4''''''''7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</a:t>
            </a:fld>
            <a:endParaRPr lang="de-DE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FFF3BD4D-6B74-45FE-B3B6-07E462D8FC8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0480676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A6E2E2-3E39-4883-A260-D438376D4E4F}" type="datetime'''4''''''''''''''''''''''8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de-DE" dirty="0"/>
          </a:p>
        </p:txBody>
      </p: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54157EAA-480C-4BAA-98CD-1B80A0483A3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0688639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646D3-89FB-4E9A-870D-4B71A5DEEA8B}" type="datetime'''4''''9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</a:t>
            </a:fld>
            <a:endParaRPr lang="de-DE" dirty="0"/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A1C15E7F-4C6E-4ED5-8B55-5BA651A3DF6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0896601" y="1860550"/>
            <a:ext cx="2079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ED5536-BD66-4CDE-85C5-658A5E72F3E0}" type="datetime'''''''''''''''''''50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de-DE" dirty="0"/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A11156B7-232E-4BF3-A23B-EEA4CB698BB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1104564" y="1860550"/>
            <a:ext cx="20637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AB4377-BEE3-4330-B83B-C440A6E56F2C}" type="datetime'''''''''''5''''''''''1'''''''''''''''''''''''''''''''">
              <a:rPr lang="de-DE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</a:t>
            </a:fld>
            <a:endParaRPr lang="de-DE" dirty="0"/>
          </a:p>
        </p:txBody>
      </p: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E64E3C8D-78D4-4CEA-9AA8-32E72672FCC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1310939" y="1860550"/>
            <a:ext cx="1492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12EF022-B9B0-4140-8332-29505329427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51069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A52BF8DD-7991-4F8A-8B2B-6B1BBE8E4A3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59975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452C022F-EFFE-4A74-A3A3-9848DA9CB53F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69183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E96F4FF-5797-4207-A0FB-7F999A8EB3C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78374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FDD05AFD-A2E0-41B5-B575-CD19B2C7B1C9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9648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r Verbinder 169">
            <a:extLst>
              <a:ext uri="{FF2B5EF4-FFF2-40B4-BE49-F238E27FC236}">
                <a16:creationId xmlns:a16="http://schemas.microsoft.com/office/drawing/2014/main" id="{2A8ED4EF-33F3-49E3-91D6-6C2DD1AB3445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105394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8637744-A641-4C1B-8565-0DAE0B06BA6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32956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135E57D9-3599-4479-92E8-914E928D0B7F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623888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2161DB1-41FD-46D4-9FE5-DC86D570E093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11460163" y="2120900"/>
            <a:ext cx="0" cy="33670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Gerader Verbinder 145">
            <a:extLst>
              <a:ext uri="{FF2B5EF4-FFF2-40B4-BE49-F238E27FC236}">
                <a16:creationId xmlns:a16="http://schemas.microsoft.com/office/drawing/2014/main" id="{9F633865-4BD4-47F6-B3EC-008C85BD51F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87280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546E43CE-D915-4688-A44E-EB136ABBDF2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1544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D2397D5C-EDA7-4A73-8C40-D8C051695F9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2374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941B0B8-212D-4532-9E81-ACC55573C637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41862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607C3CAA-EBC5-41CD-BDCF-7E8F496F4B5B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5492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147559E-3FA7-4FDD-9989-20ECBAC17778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4246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7E4E6843-DD6E-4F89-8FB9-44041AF3BCF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7570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10383E0C-46BF-41EB-8D0B-BD02473667E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2166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Gerader Verbinder 146">
            <a:extLst>
              <a:ext uri="{FF2B5EF4-FFF2-40B4-BE49-F238E27FC236}">
                <a16:creationId xmlns:a16="http://schemas.microsoft.com/office/drawing/2014/main" id="{66CEABB7-CD77-4424-A662-5178C9EA202D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8194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2A7DD0C-EE2E-42AE-95FC-55CB8706855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4038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D45B0AFA-349F-490D-97FB-167BA94ED5EE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>
            <a:off x="7362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A92D7BB7-FE9F-4EB7-8430-F102F048BDFA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7154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697FD363-D48D-421B-A8EB-C67A876D88F8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>
            <a:off x="5700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Gerader Verbinder 125">
            <a:extLst>
              <a:ext uri="{FF2B5EF4-FFF2-40B4-BE49-F238E27FC236}">
                <a16:creationId xmlns:a16="http://schemas.microsoft.com/office/drawing/2014/main" id="{82CB0553-6DB0-4490-9C0E-3818ECCC1B09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6946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2053B15F-DEAC-4DD6-A123-92B0302F0AEC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11310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Gerader Verbinder 124">
            <a:extLst>
              <a:ext uri="{FF2B5EF4-FFF2-40B4-BE49-F238E27FC236}">
                <a16:creationId xmlns:a16="http://schemas.microsoft.com/office/drawing/2014/main" id="{519CDD8A-077C-49A9-A402-16C89B6904B6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6738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774E261F-5B81-494A-95E2-EDC16513AB39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6532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34D3BB1F-C189-4DE7-ACA1-77F3906A4F8A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6324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FD974F3F-4D28-4428-9122-E5D7AF3653E1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6116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0F5DE6FE-DC22-4999-B959-E4220A6D70BF}"/>
              </a:ext>
            </a:extLst>
          </p:cNvPr>
          <p:cNvCxnSpPr/>
          <p:nvPr>
            <p:custDataLst>
              <p:tags r:id="rId96"/>
            </p:custDataLst>
          </p:nvPr>
        </p:nvCxnSpPr>
        <p:spPr bwMode="gray">
          <a:xfrm>
            <a:off x="5284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108E938F-4312-4599-B1B3-6BDFD0ED43D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5908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B96BD881-14FA-410B-8985-013A1EED5899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712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CD66497F-5D69-4FFD-83B0-D5B8B861AD08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920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8648FA8-DAB6-4381-8FA9-D8E5477E99AD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>
            <a:off x="1128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8C74CAA-3948-48DD-9C1A-C3B296CED92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1336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BEF078C3-F0C4-4BB7-A0D7-EC65DB355F0F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gray">
          <a:xfrm>
            <a:off x="10480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BF1BC6AB-20D5-43CF-B865-4C84C2E35C3C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gray">
          <a:xfrm>
            <a:off x="1752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9916AB9B-7A82-4C33-B579-043193F261BF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gray">
          <a:xfrm>
            <a:off x="1960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BEF482B4-347E-469B-B36A-7A23EC8591FA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>
            <a:off x="2582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3B96D4F-9905-44A7-9E96-7664A2421E17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2998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15A3F9FA-E3ED-4F85-9EF3-74A0CE5F5040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3206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24E14DCE-A214-42F6-91F6-10569C4A31C4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3414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A58A279-335D-4212-8E35-4126FE68CD83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>
            <a:off x="362267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D3E9038E-CE3D-4652-A8BF-9FBEE5CBCADB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3830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29362323-501C-49D8-83EB-E406AB2F335B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4452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8C2403D4-5E95-45BC-B5A3-0386F4CD2EBD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4660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993337DA-DA0D-4982-8DCD-A06F4A5902C7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4868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7785961E-91D1-401D-B337-DE19B174A78C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5076825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9068810F-DE31-44EF-BB0B-413D453AE1A3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7778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1890CFEF-3E09-4500-A099-3E699C0B7EFC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1006475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34480A6A-6018-46AD-B606-C305B7D82BAF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7986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A99BC819-5B61-49F6-93CD-4D39EB4F9981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8402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42407A68-0DFD-4B63-86C5-A352DA96911D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1027271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Gerader Verbinder 148">
            <a:extLst>
              <a:ext uri="{FF2B5EF4-FFF2-40B4-BE49-F238E27FC236}">
                <a16:creationId xmlns:a16="http://schemas.microsoft.com/office/drawing/2014/main" id="{6A878D30-E919-4627-81E1-7EFDA0164338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>
            <a:off x="8610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9BBC1B85-F0E0-4602-8CCA-7140CB1C7F8B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8818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C11BBE-BB9B-4CAD-9DF1-C33DCFD7AE66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90249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61647716-138C-4744-A5C9-453EDA7C204E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92329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Gerader Verbinder 152">
            <a:extLst>
              <a:ext uri="{FF2B5EF4-FFF2-40B4-BE49-F238E27FC236}">
                <a16:creationId xmlns:a16="http://schemas.microsoft.com/office/drawing/2014/main" id="{81EB7FC1-06F8-4BDE-BDA9-B05C6A023742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gray">
          <a:xfrm>
            <a:off x="94408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A3E43DD2-CE51-4083-B576-B2A793E090A4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gray">
          <a:xfrm>
            <a:off x="985678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16915C2D-A0FD-42BD-8873-445077E46B37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gray">
          <a:xfrm>
            <a:off x="10688638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BEEB491F-1655-460C-838B-40838439BD17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gray">
          <a:xfrm>
            <a:off x="10896600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B902BADD-246C-4F44-AB3C-80E52AA0CA14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gray">
          <a:xfrm>
            <a:off x="11104563" y="2120900"/>
            <a:ext cx="0" cy="33670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07D1F09F-A75F-423C-BB97-69BE5D77C1F7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gray">
          <a:xfrm>
            <a:off x="623888" y="3243263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97DCAF3D-DC79-4F87-AF30-C6DEBBC97A29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gray">
          <a:xfrm>
            <a:off x="623888" y="4365625"/>
            <a:ext cx="10836275" cy="0"/>
          </a:xfrm>
          <a:prstGeom prst="line">
            <a:avLst/>
          </a:prstGeom>
          <a:ln w="31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06306EE-8DD6-4249-A5AC-87718D38D6BF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gray">
          <a:xfrm>
            <a:off x="623888" y="5487988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78EB27D-B00B-4C68-9EDB-F2F6B7AB36E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>
            <a:off x="2790825" y="2120900"/>
            <a:ext cx="0" cy="353060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B96FDA9-1F5D-4218-AD89-C9DAE9A35C2C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623888" y="2120900"/>
            <a:ext cx="108362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455A3D5B-847E-4667-9544-C6CC096A84E6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8550275" y="2879725"/>
            <a:ext cx="273208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A34C0B-95A9-41B2-91C8-C84D2ADFCB41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424363" y="2879725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C13A5864-16FD-4999-8468-4BEA0B899DD3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7778749" y="5124450"/>
            <a:ext cx="2166938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C7634597-D851-4E1B-B924-088B8B064CEF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1128713" y="2879725"/>
            <a:ext cx="2493963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77FE162A-80B3-4F35-BF0F-6DCC027D2D80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712788" y="2389188"/>
            <a:ext cx="5908675" cy="793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B844C26-11C4-47CB-AA44-E0514D0B48B1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1544638" y="3511550"/>
            <a:ext cx="27305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206034-A36C-4657-983B-3E5B60D88603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2405063" y="4002088"/>
            <a:ext cx="2732087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A98DE3B-DD3B-4B29-AB2F-82E346798199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6116638" y="4633913"/>
            <a:ext cx="2286000" cy="793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DCF79509-17FD-4CB7-956E-9880740A1507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2733675" y="5594350"/>
            <a:ext cx="114300" cy="114300"/>
          </a:xfrm>
          <a:prstGeom prst="triangl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 useBgFill="1">
        <p:nvSpPr>
          <p:cNvPr id="15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9517063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9" name="Textplatzhalter 2">
            <a:extLst>
              <a:ext uri="{FF2B5EF4-FFF2-40B4-BE49-F238E27FC236}">
                <a16:creationId xmlns:a16="http://schemas.microsoft.com/office/drawing/2014/main" id="{5DE61BEF-1BCB-433B-9D27-EE6DC6217373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3319462" y="4108450"/>
            <a:ext cx="9032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</a:t>
            </a:r>
          </a:p>
        </p:txBody>
      </p:sp>
      <p:sp useBgFill="1">
        <p:nvSpPr>
          <p:cNvPr id="156" name="Textplatzhalter 2">
            <a:extLst>
              <a:ext uri="{FF2B5EF4-FFF2-40B4-BE49-F238E27FC236}">
                <a16:creationId xmlns:a16="http://schemas.microsoft.com/office/drawing/2014/main" id="{4815E7D8-AC9F-4274-B377-DC742E9EA7AC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5391150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2266950" y="5730875"/>
            <a:ext cx="10493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erspiciati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2813050" y="2495550"/>
            <a:ext cx="17081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piciatis unde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57" name="Textplatzhalter 2">
            <a:extLst>
              <a:ext uri="{FF2B5EF4-FFF2-40B4-BE49-F238E27FC236}">
                <a16:creationId xmlns:a16="http://schemas.microsoft.com/office/drawing/2014/main" id="{F8DD71CD-C931-47F8-B79E-A665398159C7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1976438" y="2986088"/>
            <a:ext cx="798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Sed ut pers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78" name="Textplatzhalter 2">
            <a:extLst>
              <a:ext uri="{FF2B5EF4-FFF2-40B4-BE49-F238E27FC236}">
                <a16:creationId xmlns:a16="http://schemas.microsoft.com/office/drawing/2014/main" id="{2AB73D70-D72A-4560-BD6A-4427E19128B2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2101850" y="3617913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effectLst/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0" name="Textplatzhalter 2">
            <a:extLst>
              <a:ext uri="{FF2B5EF4-FFF2-40B4-BE49-F238E27FC236}">
                <a16:creationId xmlns:a16="http://schemas.microsoft.com/office/drawing/2014/main" id="{B6B9BF56-F94A-4AA4-A2E8-7B853F6611F2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6451600" y="4740275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  <a:endParaRPr lang="de-DE" dirty="0">
              <a:latin typeface="+mj-lt"/>
              <a:ea typeface="+mj-ea"/>
              <a:cs typeface="+mj-cs"/>
            </a:endParaRPr>
          </a:p>
        </p:txBody>
      </p:sp>
      <p:sp useBgFill="1">
        <p:nvSpPr>
          <p:cNvPr id="181" name="Textplatzhalter 2">
            <a:extLst>
              <a:ext uri="{FF2B5EF4-FFF2-40B4-BE49-F238E27FC236}">
                <a16:creationId xmlns:a16="http://schemas.microsoft.com/office/drawing/2014/main" id="{81209C0E-EB05-407E-8AD2-B038465AEDE1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8053389" y="5230814"/>
            <a:ext cx="161607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latin typeface="+mj-lt"/>
                <a:ea typeface="+mj-ea"/>
                <a:cs typeface="+mj-cs"/>
              </a:rPr>
              <a:t>Lorem Ipsum dolor set 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F44E5335-672C-42C1-B2AE-E8860C19DE03}"/>
              </a:ext>
            </a:extLst>
          </p:cNvPr>
          <p:cNvSpPr>
            <a:spLocks/>
          </p:cNvSpPr>
          <p:nvPr/>
        </p:nvSpPr>
        <p:spPr bwMode="gray">
          <a:xfrm>
            <a:off x="623888" y="6386059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1F060063-99D5-43EF-9B37-CDBFC16B1CC0}"/>
              </a:ext>
            </a:extLst>
          </p:cNvPr>
          <p:cNvSpPr>
            <a:spLocks/>
          </p:cNvSpPr>
          <p:nvPr/>
        </p:nvSpPr>
        <p:spPr bwMode="gray">
          <a:xfrm>
            <a:off x="2036763" y="6386059"/>
            <a:ext cx="107950" cy="107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9" name="Textfeld 188">
            <a:extLst>
              <a:ext uri="{FF2B5EF4-FFF2-40B4-BE49-F238E27FC236}">
                <a16:creationId xmlns:a16="http://schemas.microsoft.com/office/drawing/2014/main" id="{15FE1259-995E-4C4F-B0D5-5ACE262064A5}"/>
              </a:ext>
            </a:extLst>
          </p:cNvPr>
          <p:cNvSpPr txBox="1">
            <a:spLocks/>
          </p:cNvSpPr>
          <p:nvPr/>
        </p:nvSpPr>
        <p:spPr>
          <a:xfrm>
            <a:off x="781051" y="6355817"/>
            <a:ext cx="111442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Nicht im Projektumfang</a:t>
            </a:r>
          </a:p>
        </p:txBody>
      </p:sp>
      <p:sp>
        <p:nvSpPr>
          <p:cNvPr id="190" name="Textfeld 189">
            <a:extLst>
              <a:ext uri="{FF2B5EF4-FFF2-40B4-BE49-F238E27FC236}">
                <a16:creationId xmlns:a16="http://schemas.microsoft.com/office/drawing/2014/main" id="{1581FF5A-DF18-429C-9BF4-DA8FFE02D243}"/>
              </a:ext>
            </a:extLst>
          </p:cNvPr>
          <p:cNvSpPr txBox="1">
            <a:spLocks/>
          </p:cNvSpPr>
          <p:nvPr/>
        </p:nvSpPr>
        <p:spPr>
          <a:xfrm>
            <a:off x="2198529" y="6355817"/>
            <a:ext cx="84470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00" dirty="0"/>
              <a:t>Im Projektumfang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6B9935-D5B0-4700-BF9A-33894A7F965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409235082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kt 70" hidden="1">
            <a:extLst>
              <a:ext uri="{FF2B5EF4-FFF2-40B4-BE49-F238E27FC236}">
                <a16:creationId xmlns:a16="http://schemas.microsoft.com/office/drawing/2014/main" id="{DF6FE36B-94D0-4DE1-8CB0-2907DA3A9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2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1" name="Objekt 70" hidden="1">
                        <a:extLst>
                          <a:ext uri="{FF2B5EF4-FFF2-40B4-BE49-F238E27FC236}">
                            <a16:creationId xmlns:a16="http://schemas.microsoft.com/office/drawing/2014/main" id="{DF6FE36B-94D0-4DE1-8CB0-2907DA3A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1642B7-50FD-45D5-B6D6-EE00C14ED3E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rozesskrei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7FB597-B65B-411C-9FEC-FEE35921FB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5EB4673-88B5-422C-94F7-21B900A21C7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4381CA-1213-4880-B012-2E76D56A09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8</a:t>
            </a:fld>
            <a:endParaRPr lang="de-DE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D7714377-62C5-459C-928C-68180BD7EB64}"/>
              </a:ext>
            </a:extLst>
          </p:cNvPr>
          <p:cNvGrpSpPr/>
          <p:nvPr/>
        </p:nvGrpSpPr>
        <p:grpSpPr bwMode="gray">
          <a:xfrm>
            <a:off x="615809" y="1610664"/>
            <a:ext cx="2333258" cy="2334307"/>
            <a:chOff x="615809" y="1610664"/>
            <a:chExt cx="2333258" cy="2334307"/>
          </a:xfrm>
          <a:solidFill>
            <a:srgbClr val="E4E4E4"/>
          </a:solidFill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7B571831-BF25-40D4-8FFA-DE62C427B5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15809" y="1610664"/>
              <a:ext cx="2333258" cy="2334307"/>
              <a:chOff x="615809" y="1610664"/>
              <a:chExt cx="2333258" cy="2334307"/>
            </a:xfrm>
            <a:grpFill/>
          </p:grpSpPr>
          <p:sp>
            <p:nvSpPr>
              <p:cNvPr id="20" name="Freeform: Shape 34">
                <a:extLst>
                  <a:ext uri="{FF2B5EF4-FFF2-40B4-BE49-F238E27FC236}">
                    <a16:creationId xmlns:a16="http://schemas.microsoft.com/office/drawing/2014/main" id="{6715EA81-389A-4B83-9959-59948E3E5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809" y="1610665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35">
                <a:extLst>
                  <a:ext uri="{FF2B5EF4-FFF2-40B4-BE49-F238E27FC236}">
                    <a16:creationId xmlns:a16="http://schemas.microsoft.com/office/drawing/2014/main" id="{F8B4A8AA-5D2B-4EF4-9DC5-30918663E43F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611916" y="1610664"/>
                <a:ext cx="1337151" cy="2334306"/>
              </a:xfrm>
              <a:custGeom>
                <a:avLst/>
                <a:gdLst>
                  <a:gd name="connsiteX0" fmla="*/ 1147197 w 1338888"/>
                  <a:gd name="connsiteY0" fmla="*/ 0 h 2340917"/>
                  <a:gd name="connsiteX1" fmla="*/ 1338888 w 1338888"/>
                  <a:gd name="connsiteY1" fmla="*/ 325041 h 2340917"/>
                  <a:gd name="connsiteX2" fmla="*/ 1147197 w 1338888"/>
                  <a:gd name="connsiteY2" fmla="*/ 652165 h 2340917"/>
                  <a:gd name="connsiteX3" fmla="*/ 1064895 w 1338888"/>
                  <a:gd name="connsiteY3" fmla="*/ 662583 h 2340917"/>
                  <a:gd name="connsiteX4" fmla="*/ 984677 w 1338888"/>
                  <a:gd name="connsiteY4" fmla="*/ 686545 h 2340917"/>
                  <a:gd name="connsiteX5" fmla="*/ 911751 w 1338888"/>
                  <a:gd name="connsiteY5" fmla="*/ 719882 h 2340917"/>
                  <a:gd name="connsiteX6" fmla="*/ 844035 w 1338888"/>
                  <a:gd name="connsiteY6" fmla="*/ 766763 h 2340917"/>
                  <a:gd name="connsiteX7" fmla="*/ 785694 w 1338888"/>
                  <a:gd name="connsiteY7" fmla="*/ 821978 h 2340917"/>
                  <a:gd name="connsiteX8" fmla="*/ 735688 w 1338888"/>
                  <a:gd name="connsiteY8" fmla="*/ 885528 h 2340917"/>
                  <a:gd name="connsiteX9" fmla="*/ 696099 w 1338888"/>
                  <a:gd name="connsiteY9" fmla="*/ 955328 h 2340917"/>
                  <a:gd name="connsiteX10" fmla="*/ 670054 w 1338888"/>
                  <a:gd name="connsiteY10" fmla="*/ 1033463 h 2340917"/>
                  <a:gd name="connsiteX11" fmla="*/ 653453 w 1338888"/>
                  <a:gd name="connsiteY11" fmla="*/ 1110612 h 2340917"/>
                  <a:gd name="connsiteX12" fmla="*/ 650081 w 1338888"/>
                  <a:gd name="connsiteY12" fmla="*/ 1167087 h 2340917"/>
                  <a:gd name="connsiteX13" fmla="*/ 651533 w 1338888"/>
                  <a:gd name="connsiteY13" fmla="*/ 1192486 h 2340917"/>
                  <a:gd name="connsiteX14" fmla="*/ 652166 w 1338888"/>
                  <a:gd name="connsiteY14" fmla="*/ 1192857 h 2340917"/>
                  <a:gd name="connsiteX15" fmla="*/ 664667 w 1338888"/>
                  <a:gd name="connsiteY15" fmla="*/ 1278284 h 2340917"/>
                  <a:gd name="connsiteX16" fmla="*/ 686545 w 1338888"/>
                  <a:gd name="connsiteY16" fmla="*/ 1355377 h 2340917"/>
                  <a:gd name="connsiteX17" fmla="*/ 720928 w 1338888"/>
                  <a:gd name="connsiteY17" fmla="*/ 1427090 h 2340917"/>
                  <a:gd name="connsiteX18" fmla="*/ 723759 w 1338888"/>
                  <a:gd name="connsiteY18" fmla="*/ 1432486 h 2340917"/>
                  <a:gd name="connsiteX19" fmla="*/ 749587 w 1338888"/>
                  <a:gd name="connsiteY19" fmla="*/ 1468881 h 2340917"/>
                  <a:gd name="connsiteX20" fmla="*/ 770930 w 1338888"/>
                  <a:gd name="connsiteY20" fmla="*/ 1497337 h 2340917"/>
                  <a:gd name="connsiteX21" fmla="*/ 819894 w 1338888"/>
                  <a:gd name="connsiteY21" fmla="*/ 1548385 h 2340917"/>
                  <a:gd name="connsiteX22" fmla="*/ 817495 w 1338888"/>
                  <a:gd name="connsiteY22" fmla="*/ 1549437 h 2340917"/>
                  <a:gd name="connsiteX23" fmla="*/ 821979 w 1338888"/>
                  <a:gd name="connsiteY23" fmla="*/ 1554360 h 2340917"/>
                  <a:gd name="connsiteX24" fmla="*/ 887612 w 1338888"/>
                  <a:gd name="connsiteY24" fmla="*/ 1605409 h 2340917"/>
                  <a:gd name="connsiteX25" fmla="*/ 957412 w 1338888"/>
                  <a:gd name="connsiteY25" fmla="*/ 1643955 h 2340917"/>
                  <a:gd name="connsiteX26" fmla="*/ 1035547 w 1338888"/>
                  <a:gd name="connsiteY26" fmla="*/ 1671042 h 2340917"/>
                  <a:gd name="connsiteX27" fmla="*/ 1117849 w 1338888"/>
                  <a:gd name="connsiteY27" fmla="*/ 1687710 h 2340917"/>
                  <a:gd name="connsiteX28" fmla="*/ 924075 w 1338888"/>
                  <a:gd name="connsiteY28" fmla="*/ 2017960 h 2340917"/>
                  <a:gd name="connsiteX29" fmla="*/ 1115765 w 1338888"/>
                  <a:gd name="connsiteY29" fmla="*/ 2340917 h 2340917"/>
                  <a:gd name="connsiteX30" fmla="*/ 984499 w 1338888"/>
                  <a:gd name="connsiteY30" fmla="*/ 2328416 h 2340917"/>
                  <a:gd name="connsiteX31" fmla="*/ 860525 w 1338888"/>
                  <a:gd name="connsiteY31" fmla="*/ 2301329 h 2340917"/>
                  <a:gd name="connsiteX32" fmla="*/ 741760 w 1338888"/>
                  <a:gd name="connsiteY32" fmla="*/ 2260699 h 2340917"/>
                  <a:gd name="connsiteX33" fmla="*/ 628205 w 1338888"/>
                  <a:gd name="connsiteY33" fmla="*/ 2209651 h 2340917"/>
                  <a:gd name="connsiteX34" fmla="*/ 520899 w 1338888"/>
                  <a:gd name="connsiteY34" fmla="*/ 2144018 h 2340917"/>
                  <a:gd name="connsiteX35" fmla="*/ 421929 w 1338888"/>
                  <a:gd name="connsiteY35" fmla="*/ 2071092 h 2340917"/>
                  <a:gd name="connsiteX36" fmla="*/ 332334 w 1338888"/>
                  <a:gd name="connsiteY36" fmla="*/ 1986706 h 2340917"/>
                  <a:gd name="connsiteX37" fmla="*/ 252116 w 1338888"/>
                  <a:gd name="connsiteY37" fmla="*/ 1893986 h 2340917"/>
                  <a:gd name="connsiteX38" fmla="*/ 179190 w 1338888"/>
                  <a:gd name="connsiteY38" fmla="*/ 1791890 h 2340917"/>
                  <a:gd name="connsiteX39" fmla="*/ 118766 w 1338888"/>
                  <a:gd name="connsiteY39" fmla="*/ 1685627 h 2340917"/>
                  <a:gd name="connsiteX40" fmla="*/ 70843 w 1338888"/>
                  <a:gd name="connsiteY40" fmla="*/ 1568946 h 2340917"/>
                  <a:gd name="connsiteX41" fmla="*/ 34380 w 1338888"/>
                  <a:gd name="connsiteY41" fmla="*/ 1448097 h 2340917"/>
                  <a:gd name="connsiteX42" fmla="*/ 25444 w 1338888"/>
                  <a:gd name="connsiteY42" fmla="*/ 1403045 h 2340917"/>
                  <a:gd name="connsiteX43" fmla="*/ 23961 w 1338888"/>
                  <a:gd name="connsiteY43" fmla="*/ 1397325 h 2340917"/>
                  <a:gd name="connsiteX44" fmla="*/ 22969 w 1338888"/>
                  <a:gd name="connsiteY44" fmla="*/ 1390567 h 2340917"/>
                  <a:gd name="connsiteX45" fmla="*/ 9377 w 1338888"/>
                  <a:gd name="connsiteY45" fmla="*/ 1322040 h 2340917"/>
                  <a:gd name="connsiteX46" fmla="*/ 1 w 1338888"/>
                  <a:gd name="connsiteY46" fmla="*/ 1192857 h 2340917"/>
                  <a:gd name="connsiteX47" fmla="*/ 1553 w 1338888"/>
                  <a:gd name="connsiteY47" fmla="*/ 1191941 h 2340917"/>
                  <a:gd name="connsiteX48" fmla="*/ 0 w 1338888"/>
                  <a:gd name="connsiteY48" fmla="*/ 1167087 h 2340917"/>
                  <a:gd name="connsiteX49" fmla="*/ 3559 w 1338888"/>
                  <a:gd name="connsiteY49" fmla="*/ 1111676 h 2340917"/>
                  <a:gd name="connsiteX50" fmla="*/ 179 w 1338888"/>
                  <a:gd name="connsiteY50" fmla="*/ 1113682 h 2340917"/>
                  <a:gd name="connsiteX51" fmla="*/ 12681 w 1338888"/>
                  <a:gd name="connsiteY51" fmla="*/ 984499 h 2340917"/>
                  <a:gd name="connsiteX52" fmla="*/ 41851 w 1338888"/>
                  <a:gd name="connsiteY52" fmla="*/ 858441 h 2340917"/>
                  <a:gd name="connsiteX53" fmla="*/ 48494 w 1338888"/>
                  <a:gd name="connsiteY53" fmla="*/ 837975 h 2340917"/>
                  <a:gd name="connsiteX54" fmla="*/ 51048 w 1338888"/>
                  <a:gd name="connsiteY54" fmla="*/ 827462 h 2340917"/>
                  <a:gd name="connsiteX55" fmla="*/ 51971 w 1338888"/>
                  <a:gd name="connsiteY55" fmla="*/ 827259 h 2340917"/>
                  <a:gd name="connsiteX56" fmla="*/ 80397 w 1338888"/>
                  <a:gd name="connsiteY56" fmla="*/ 739676 h 2340917"/>
                  <a:gd name="connsiteX57" fmla="*/ 133529 w 1338888"/>
                  <a:gd name="connsiteY57" fmla="*/ 626120 h 2340917"/>
                  <a:gd name="connsiteX58" fmla="*/ 197079 w 1338888"/>
                  <a:gd name="connsiteY58" fmla="*/ 518815 h 2340917"/>
                  <a:gd name="connsiteX59" fmla="*/ 270004 w 1338888"/>
                  <a:gd name="connsiteY59" fmla="*/ 421928 h 2340917"/>
                  <a:gd name="connsiteX60" fmla="*/ 354390 w 1338888"/>
                  <a:gd name="connsiteY60" fmla="*/ 330250 h 2340917"/>
                  <a:gd name="connsiteX61" fmla="*/ 447110 w 1338888"/>
                  <a:gd name="connsiteY61" fmla="*/ 250032 h 2340917"/>
                  <a:gd name="connsiteX62" fmla="*/ 548164 w 1338888"/>
                  <a:gd name="connsiteY62" fmla="*/ 179189 h 2340917"/>
                  <a:gd name="connsiteX63" fmla="*/ 655469 w 1338888"/>
                  <a:gd name="connsiteY63" fmla="*/ 118765 h 2340917"/>
                  <a:gd name="connsiteX64" fmla="*/ 772151 w 1338888"/>
                  <a:gd name="connsiteY64" fmla="*/ 67717 h 2340917"/>
                  <a:gd name="connsiteX65" fmla="*/ 892999 w 1338888"/>
                  <a:gd name="connsiteY65" fmla="*/ 31254 h 2340917"/>
                  <a:gd name="connsiteX66" fmla="*/ 1019056 w 1338888"/>
                  <a:gd name="connsiteY66" fmla="*/ 9376 h 2340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338888" h="2340917">
                    <a:moveTo>
                      <a:pt x="1147197" y="0"/>
                    </a:moveTo>
                    <a:lnTo>
                      <a:pt x="1338888" y="325041"/>
                    </a:lnTo>
                    <a:lnTo>
                      <a:pt x="1147197" y="652165"/>
                    </a:lnTo>
                    <a:lnTo>
                      <a:pt x="1064895" y="662583"/>
                    </a:lnTo>
                    <a:lnTo>
                      <a:pt x="984677" y="686545"/>
                    </a:lnTo>
                    <a:lnTo>
                      <a:pt x="911751" y="719882"/>
                    </a:lnTo>
                    <a:lnTo>
                      <a:pt x="844035" y="766763"/>
                    </a:lnTo>
                    <a:lnTo>
                      <a:pt x="785694" y="821978"/>
                    </a:lnTo>
                    <a:lnTo>
                      <a:pt x="735688" y="885528"/>
                    </a:lnTo>
                    <a:lnTo>
                      <a:pt x="696099" y="955328"/>
                    </a:lnTo>
                    <a:lnTo>
                      <a:pt x="670054" y="1033463"/>
                    </a:lnTo>
                    <a:lnTo>
                      <a:pt x="653453" y="1110612"/>
                    </a:lnTo>
                    <a:lnTo>
                      <a:pt x="650081" y="1167087"/>
                    </a:lnTo>
                    <a:lnTo>
                      <a:pt x="651533" y="1192486"/>
                    </a:lnTo>
                    <a:lnTo>
                      <a:pt x="652166" y="1192857"/>
                    </a:lnTo>
                    <a:lnTo>
                      <a:pt x="664667" y="1278284"/>
                    </a:lnTo>
                    <a:lnTo>
                      <a:pt x="686545" y="1355377"/>
                    </a:lnTo>
                    <a:lnTo>
                      <a:pt x="720928" y="1427090"/>
                    </a:lnTo>
                    <a:lnTo>
                      <a:pt x="723759" y="1432486"/>
                    </a:lnTo>
                    <a:lnTo>
                      <a:pt x="749587" y="1468881"/>
                    </a:lnTo>
                    <a:lnTo>
                      <a:pt x="770930" y="1497337"/>
                    </a:lnTo>
                    <a:lnTo>
                      <a:pt x="819894" y="1548385"/>
                    </a:lnTo>
                    <a:lnTo>
                      <a:pt x="817495" y="1549437"/>
                    </a:lnTo>
                    <a:lnTo>
                      <a:pt x="821979" y="1554360"/>
                    </a:lnTo>
                    <a:lnTo>
                      <a:pt x="887612" y="1605409"/>
                    </a:lnTo>
                    <a:lnTo>
                      <a:pt x="957412" y="1643955"/>
                    </a:lnTo>
                    <a:lnTo>
                      <a:pt x="1035547" y="1671042"/>
                    </a:lnTo>
                    <a:lnTo>
                      <a:pt x="1117849" y="1687710"/>
                    </a:lnTo>
                    <a:lnTo>
                      <a:pt x="924075" y="2017960"/>
                    </a:lnTo>
                    <a:lnTo>
                      <a:pt x="1115765" y="2340917"/>
                    </a:lnTo>
                    <a:lnTo>
                      <a:pt x="984499" y="2328416"/>
                    </a:lnTo>
                    <a:lnTo>
                      <a:pt x="860525" y="2301329"/>
                    </a:lnTo>
                    <a:lnTo>
                      <a:pt x="741760" y="2260699"/>
                    </a:lnTo>
                    <a:lnTo>
                      <a:pt x="628205" y="2209651"/>
                    </a:lnTo>
                    <a:lnTo>
                      <a:pt x="520899" y="2144018"/>
                    </a:lnTo>
                    <a:lnTo>
                      <a:pt x="421929" y="2071092"/>
                    </a:lnTo>
                    <a:lnTo>
                      <a:pt x="332334" y="1986706"/>
                    </a:lnTo>
                    <a:lnTo>
                      <a:pt x="252116" y="1893986"/>
                    </a:lnTo>
                    <a:lnTo>
                      <a:pt x="179190" y="1791890"/>
                    </a:lnTo>
                    <a:lnTo>
                      <a:pt x="118766" y="1685627"/>
                    </a:lnTo>
                    <a:lnTo>
                      <a:pt x="70843" y="1568946"/>
                    </a:lnTo>
                    <a:lnTo>
                      <a:pt x="34380" y="1448097"/>
                    </a:lnTo>
                    <a:lnTo>
                      <a:pt x="25444" y="1403045"/>
                    </a:lnTo>
                    <a:lnTo>
                      <a:pt x="23961" y="1397325"/>
                    </a:lnTo>
                    <a:lnTo>
                      <a:pt x="22969" y="1390567"/>
                    </a:lnTo>
                    <a:lnTo>
                      <a:pt x="9377" y="1322040"/>
                    </a:lnTo>
                    <a:lnTo>
                      <a:pt x="1" y="1192857"/>
                    </a:lnTo>
                    <a:lnTo>
                      <a:pt x="1553" y="1191941"/>
                    </a:lnTo>
                    <a:lnTo>
                      <a:pt x="0" y="1167087"/>
                    </a:lnTo>
                    <a:lnTo>
                      <a:pt x="3559" y="1111676"/>
                    </a:lnTo>
                    <a:lnTo>
                      <a:pt x="179" y="1113682"/>
                    </a:lnTo>
                    <a:lnTo>
                      <a:pt x="12681" y="984499"/>
                    </a:lnTo>
                    <a:lnTo>
                      <a:pt x="41851" y="858441"/>
                    </a:lnTo>
                    <a:lnTo>
                      <a:pt x="48494" y="837975"/>
                    </a:lnTo>
                    <a:lnTo>
                      <a:pt x="51048" y="827462"/>
                    </a:lnTo>
                    <a:lnTo>
                      <a:pt x="51971" y="827259"/>
                    </a:lnTo>
                    <a:lnTo>
                      <a:pt x="80397" y="739676"/>
                    </a:lnTo>
                    <a:lnTo>
                      <a:pt x="133529" y="626120"/>
                    </a:lnTo>
                    <a:lnTo>
                      <a:pt x="197079" y="518815"/>
                    </a:lnTo>
                    <a:lnTo>
                      <a:pt x="270004" y="421928"/>
                    </a:lnTo>
                    <a:lnTo>
                      <a:pt x="354390" y="330250"/>
                    </a:lnTo>
                    <a:lnTo>
                      <a:pt x="447110" y="250032"/>
                    </a:lnTo>
                    <a:lnTo>
                      <a:pt x="548164" y="179189"/>
                    </a:lnTo>
                    <a:lnTo>
                      <a:pt x="655469" y="118765"/>
                    </a:lnTo>
                    <a:lnTo>
                      <a:pt x="772151" y="67717"/>
                    </a:lnTo>
                    <a:lnTo>
                      <a:pt x="892999" y="31254"/>
                    </a:lnTo>
                    <a:lnTo>
                      <a:pt x="1019056" y="9376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71">
              <a:extLst>
                <a:ext uri="{FF2B5EF4-FFF2-40B4-BE49-F238E27FC236}">
                  <a16:creationId xmlns:a16="http://schemas.microsoft.com/office/drawing/2014/main" id="{816A98B0-E1ED-4E53-AA41-5FCB0E58F8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17006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EFC324E-73CF-4B7B-A80D-49B87183262B}"/>
              </a:ext>
            </a:extLst>
          </p:cNvPr>
          <p:cNvGrpSpPr/>
          <p:nvPr/>
        </p:nvGrpSpPr>
        <p:grpSpPr bwMode="gray">
          <a:xfrm>
            <a:off x="3447178" y="1610664"/>
            <a:ext cx="2333258" cy="2334307"/>
            <a:chOff x="3447178" y="1610664"/>
            <a:chExt cx="2333258" cy="2334307"/>
          </a:xfrm>
          <a:solidFill>
            <a:srgbClr val="E4E4E4"/>
          </a:solidFill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DA70E3B3-9B4D-4FEA-95D5-5BF61769EFD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447178" y="1610664"/>
              <a:ext cx="2333258" cy="2334307"/>
              <a:chOff x="3447178" y="1610664"/>
              <a:chExt cx="2333258" cy="2334307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1EB52826-DDEE-4BA9-8C8F-DF2D4C196C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764" y="3051946"/>
                <a:ext cx="1980054" cy="893025"/>
              </a:xfrm>
              <a:custGeom>
                <a:avLst/>
                <a:gdLst>
                  <a:gd name="T0" fmla="*/ 177 w 1878"/>
                  <a:gd name="T1" fmla="*/ 0 h 847"/>
                  <a:gd name="T2" fmla="*/ 536 w 1878"/>
                  <a:gd name="T3" fmla="*/ 2 h 847"/>
                  <a:gd name="T4" fmla="*/ 577 w 1878"/>
                  <a:gd name="T5" fmla="*/ 61 h 847"/>
                  <a:gd name="T6" fmla="*/ 626 w 1878"/>
                  <a:gd name="T7" fmla="*/ 109 h 847"/>
                  <a:gd name="T8" fmla="*/ 682 w 1878"/>
                  <a:gd name="T9" fmla="*/ 151 h 847"/>
                  <a:gd name="T10" fmla="*/ 745 w 1878"/>
                  <a:gd name="T11" fmla="*/ 186 h 847"/>
                  <a:gd name="T12" fmla="*/ 810 w 1878"/>
                  <a:gd name="T13" fmla="*/ 210 h 847"/>
                  <a:gd name="T14" fmla="*/ 878 w 1878"/>
                  <a:gd name="T15" fmla="*/ 226 h 847"/>
                  <a:gd name="T16" fmla="*/ 950 w 1878"/>
                  <a:gd name="T17" fmla="*/ 230 h 847"/>
                  <a:gd name="T18" fmla="*/ 1027 w 1878"/>
                  <a:gd name="T19" fmla="*/ 224 h 847"/>
                  <a:gd name="T20" fmla="*/ 1101 w 1878"/>
                  <a:gd name="T21" fmla="*/ 205 h 847"/>
                  <a:gd name="T22" fmla="*/ 1171 w 1878"/>
                  <a:gd name="T23" fmla="*/ 177 h 847"/>
                  <a:gd name="T24" fmla="*/ 1236 w 1878"/>
                  <a:gd name="T25" fmla="*/ 137 h 847"/>
                  <a:gd name="T26" fmla="*/ 1294 w 1878"/>
                  <a:gd name="T27" fmla="*/ 86 h 847"/>
                  <a:gd name="T28" fmla="*/ 1345 w 1878"/>
                  <a:gd name="T29" fmla="*/ 28 h 847"/>
                  <a:gd name="T30" fmla="*/ 1525 w 1878"/>
                  <a:gd name="T31" fmla="*/ 342 h 847"/>
                  <a:gd name="T32" fmla="*/ 1878 w 1878"/>
                  <a:gd name="T33" fmla="*/ 340 h 847"/>
                  <a:gd name="T34" fmla="*/ 1813 w 1878"/>
                  <a:gd name="T35" fmla="*/ 431 h 847"/>
                  <a:gd name="T36" fmla="*/ 1741 w 1878"/>
                  <a:gd name="T37" fmla="*/ 512 h 847"/>
                  <a:gd name="T38" fmla="*/ 1660 w 1878"/>
                  <a:gd name="T39" fmla="*/ 587 h 847"/>
                  <a:gd name="T40" fmla="*/ 1571 w 1878"/>
                  <a:gd name="T41" fmla="*/ 654 h 847"/>
                  <a:gd name="T42" fmla="*/ 1478 w 1878"/>
                  <a:gd name="T43" fmla="*/ 710 h 847"/>
                  <a:gd name="T44" fmla="*/ 1380 w 1878"/>
                  <a:gd name="T45" fmla="*/ 759 h 847"/>
                  <a:gd name="T46" fmla="*/ 1278 w 1878"/>
                  <a:gd name="T47" fmla="*/ 796 h 847"/>
                  <a:gd name="T48" fmla="*/ 1171 w 1878"/>
                  <a:gd name="T49" fmla="*/ 824 h 847"/>
                  <a:gd name="T50" fmla="*/ 1061 w 1878"/>
                  <a:gd name="T51" fmla="*/ 840 h 847"/>
                  <a:gd name="T52" fmla="*/ 950 w 1878"/>
                  <a:gd name="T53" fmla="*/ 847 h 847"/>
                  <a:gd name="T54" fmla="*/ 833 w 1878"/>
                  <a:gd name="T55" fmla="*/ 840 h 847"/>
                  <a:gd name="T56" fmla="*/ 722 w 1878"/>
                  <a:gd name="T57" fmla="*/ 822 h 847"/>
                  <a:gd name="T58" fmla="*/ 610 w 1878"/>
                  <a:gd name="T59" fmla="*/ 794 h 847"/>
                  <a:gd name="T60" fmla="*/ 505 w 1878"/>
                  <a:gd name="T61" fmla="*/ 754 h 847"/>
                  <a:gd name="T62" fmla="*/ 405 w 1878"/>
                  <a:gd name="T63" fmla="*/ 703 h 847"/>
                  <a:gd name="T64" fmla="*/ 310 w 1878"/>
                  <a:gd name="T65" fmla="*/ 643 h 847"/>
                  <a:gd name="T66" fmla="*/ 221 w 1878"/>
                  <a:gd name="T67" fmla="*/ 573 h 847"/>
                  <a:gd name="T68" fmla="*/ 140 w 1878"/>
                  <a:gd name="T69" fmla="*/ 494 h 847"/>
                  <a:gd name="T70" fmla="*/ 65 w 1878"/>
                  <a:gd name="T71" fmla="*/ 405 h 847"/>
                  <a:gd name="T72" fmla="*/ 0 w 1878"/>
                  <a:gd name="T73" fmla="*/ 310 h 847"/>
                  <a:gd name="T74" fmla="*/ 177 w 1878"/>
                  <a:gd name="T75" fmla="*/ 0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78" h="847">
                    <a:moveTo>
                      <a:pt x="177" y="0"/>
                    </a:moveTo>
                    <a:lnTo>
                      <a:pt x="536" y="2"/>
                    </a:lnTo>
                    <a:lnTo>
                      <a:pt x="577" y="61"/>
                    </a:lnTo>
                    <a:lnTo>
                      <a:pt x="626" y="109"/>
                    </a:lnTo>
                    <a:lnTo>
                      <a:pt x="682" y="151"/>
                    </a:lnTo>
                    <a:lnTo>
                      <a:pt x="745" y="186"/>
                    </a:lnTo>
                    <a:lnTo>
                      <a:pt x="810" y="210"/>
                    </a:lnTo>
                    <a:lnTo>
                      <a:pt x="878" y="226"/>
                    </a:lnTo>
                    <a:lnTo>
                      <a:pt x="950" y="230"/>
                    </a:lnTo>
                    <a:lnTo>
                      <a:pt x="1027" y="224"/>
                    </a:lnTo>
                    <a:lnTo>
                      <a:pt x="1101" y="205"/>
                    </a:lnTo>
                    <a:lnTo>
                      <a:pt x="1171" y="177"/>
                    </a:lnTo>
                    <a:lnTo>
                      <a:pt x="1236" y="137"/>
                    </a:lnTo>
                    <a:lnTo>
                      <a:pt x="1294" y="86"/>
                    </a:lnTo>
                    <a:lnTo>
                      <a:pt x="1345" y="28"/>
                    </a:lnTo>
                    <a:lnTo>
                      <a:pt x="1525" y="342"/>
                    </a:lnTo>
                    <a:lnTo>
                      <a:pt x="1878" y="340"/>
                    </a:lnTo>
                    <a:lnTo>
                      <a:pt x="1813" y="431"/>
                    </a:lnTo>
                    <a:lnTo>
                      <a:pt x="1741" y="512"/>
                    </a:lnTo>
                    <a:lnTo>
                      <a:pt x="1660" y="587"/>
                    </a:lnTo>
                    <a:lnTo>
                      <a:pt x="1571" y="654"/>
                    </a:lnTo>
                    <a:lnTo>
                      <a:pt x="1478" y="710"/>
                    </a:lnTo>
                    <a:lnTo>
                      <a:pt x="1380" y="759"/>
                    </a:lnTo>
                    <a:lnTo>
                      <a:pt x="1278" y="796"/>
                    </a:lnTo>
                    <a:lnTo>
                      <a:pt x="1171" y="824"/>
                    </a:lnTo>
                    <a:lnTo>
                      <a:pt x="1061" y="840"/>
                    </a:lnTo>
                    <a:lnTo>
                      <a:pt x="950" y="847"/>
                    </a:lnTo>
                    <a:lnTo>
                      <a:pt x="833" y="840"/>
                    </a:lnTo>
                    <a:lnTo>
                      <a:pt x="722" y="822"/>
                    </a:lnTo>
                    <a:lnTo>
                      <a:pt x="610" y="794"/>
                    </a:lnTo>
                    <a:lnTo>
                      <a:pt x="505" y="754"/>
                    </a:lnTo>
                    <a:lnTo>
                      <a:pt x="405" y="703"/>
                    </a:lnTo>
                    <a:lnTo>
                      <a:pt x="310" y="643"/>
                    </a:lnTo>
                    <a:lnTo>
                      <a:pt x="221" y="573"/>
                    </a:lnTo>
                    <a:lnTo>
                      <a:pt x="140" y="494"/>
                    </a:lnTo>
                    <a:lnTo>
                      <a:pt x="65" y="405"/>
                    </a:lnTo>
                    <a:lnTo>
                      <a:pt x="0" y="310"/>
                    </a:lnTo>
                    <a:lnTo>
                      <a:pt x="177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C0D8D97-ADD1-4151-A6FB-B4F49FFDB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69160" y="1610664"/>
                <a:ext cx="1111276" cy="1733333"/>
              </a:xfrm>
              <a:custGeom>
                <a:avLst/>
                <a:gdLst>
                  <a:gd name="T0" fmla="*/ 2 w 1054"/>
                  <a:gd name="T1" fmla="*/ 0 h 1644"/>
                  <a:gd name="T2" fmla="*/ 126 w 1054"/>
                  <a:gd name="T3" fmla="*/ 14 h 1644"/>
                  <a:gd name="T4" fmla="*/ 244 w 1054"/>
                  <a:gd name="T5" fmla="*/ 40 h 1644"/>
                  <a:gd name="T6" fmla="*/ 358 w 1054"/>
                  <a:gd name="T7" fmla="*/ 77 h 1644"/>
                  <a:gd name="T8" fmla="*/ 468 w 1054"/>
                  <a:gd name="T9" fmla="*/ 128 h 1644"/>
                  <a:gd name="T10" fmla="*/ 568 w 1054"/>
                  <a:gd name="T11" fmla="*/ 189 h 1644"/>
                  <a:gd name="T12" fmla="*/ 663 w 1054"/>
                  <a:gd name="T13" fmla="*/ 261 h 1644"/>
                  <a:gd name="T14" fmla="*/ 747 w 1054"/>
                  <a:gd name="T15" fmla="*/ 343 h 1644"/>
                  <a:gd name="T16" fmla="*/ 824 w 1054"/>
                  <a:gd name="T17" fmla="*/ 431 h 1644"/>
                  <a:gd name="T18" fmla="*/ 891 w 1054"/>
                  <a:gd name="T19" fmla="*/ 529 h 1644"/>
                  <a:gd name="T20" fmla="*/ 950 w 1054"/>
                  <a:gd name="T21" fmla="*/ 634 h 1644"/>
                  <a:gd name="T22" fmla="*/ 994 w 1054"/>
                  <a:gd name="T23" fmla="*/ 743 h 1644"/>
                  <a:gd name="T24" fmla="*/ 1026 w 1054"/>
                  <a:gd name="T25" fmla="*/ 859 h 1644"/>
                  <a:gd name="T26" fmla="*/ 1047 w 1054"/>
                  <a:gd name="T27" fmla="*/ 981 h 1644"/>
                  <a:gd name="T28" fmla="*/ 1054 w 1054"/>
                  <a:gd name="T29" fmla="*/ 1106 h 1644"/>
                  <a:gd name="T30" fmla="*/ 1050 w 1054"/>
                  <a:gd name="T31" fmla="*/ 1218 h 1644"/>
                  <a:gd name="T32" fmla="*/ 1031 w 1054"/>
                  <a:gd name="T33" fmla="*/ 1330 h 1644"/>
                  <a:gd name="T34" fmla="*/ 1005 w 1054"/>
                  <a:gd name="T35" fmla="*/ 1437 h 1644"/>
                  <a:gd name="T36" fmla="*/ 966 w 1054"/>
                  <a:gd name="T37" fmla="*/ 1542 h 1644"/>
                  <a:gd name="T38" fmla="*/ 917 w 1054"/>
                  <a:gd name="T39" fmla="*/ 1642 h 1644"/>
                  <a:gd name="T40" fmla="*/ 561 w 1054"/>
                  <a:gd name="T41" fmla="*/ 1644 h 1644"/>
                  <a:gd name="T42" fmla="*/ 384 w 1054"/>
                  <a:gd name="T43" fmla="*/ 1334 h 1644"/>
                  <a:gd name="T44" fmla="*/ 414 w 1054"/>
                  <a:gd name="T45" fmla="*/ 1260 h 1644"/>
                  <a:gd name="T46" fmla="*/ 433 w 1054"/>
                  <a:gd name="T47" fmla="*/ 1185 h 1644"/>
                  <a:gd name="T48" fmla="*/ 438 w 1054"/>
                  <a:gd name="T49" fmla="*/ 1106 h 1644"/>
                  <a:gd name="T50" fmla="*/ 431 w 1054"/>
                  <a:gd name="T51" fmla="*/ 1025 h 1644"/>
                  <a:gd name="T52" fmla="*/ 412 w 1054"/>
                  <a:gd name="T53" fmla="*/ 946 h 1644"/>
                  <a:gd name="T54" fmla="*/ 379 w 1054"/>
                  <a:gd name="T55" fmla="*/ 873 h 1644"/>
                  <a:gd name="T56" fmla="*/ 337 w 1054"/>
                  <a:gd name="T57" fmla="*/ 808 h 1644"/>
                  <a:gd name="T58" fmla="*/ 284 w 1054"/>
                  <a:gd name="T59" fmla="*/ 750 h 1644"/>
                  <a:gd name="T60" fmla="*/ 223 w 1054"/>
                  <a:gd name="T61" fmla="*/ 699 h 1644"/>
                  <a:gd name="T62" fmla="*/ 154 w 1054"/>
                  <a:gd name="T63" fmla="*/ 662 h 1644"/>
                  <a:gd name="T64" fmla="*/ 79 w 1054"/>
                  <a:gd name="T65" fmla="*/ 634 h 1644"/>
                  <a:gd name="T66" fmla="*/ 0 w 1054"/>
                  <a:gd name="T67" fmla="*/ 617 h 1644"/>
                  <a:gd name="T68" fmla="*/ 182 w 1054"/>
                  <a:gd name="T69" fmla="*/ 308 h 1644"/>
                  <a:gd name="T70" fmla="*/ 2 w 1054"/>
                  <a:gd name="T71" fmla="*/ 0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4" h="1644">
                    <a:moveTo>
                      <a:pt x="2" y="0"/>
                    </a:moveTo>
                    <a:lnTo>
                      <a:pt x="126" y="14"/>
                    </a:lnTo>
                    <a:lnTo>
                      <a:pt x="244" y="40"/>
                    </a:lnTo>
                    <a:lnTo>
                      <a:pt x="358" y="77"/>
                    </a:lnTo>
                    <a:lnTo>
                      <a:pt x="468" y="128"/>
                    </a:lnTo>
                    <a:lnTo>
                      <a:pt x="568" y="189"/>
                    </a:lnTo>
                    <a:lnTo>
                      <a:pt x="663" y="261"/>
                    </a:lnTo>
                    <a:lnTo>
                      <a:pt x="747" y="343"/>
                    </a:lnTo>
                    <a:lnTo>
                      <a:pt x="824" y="431"/>
                    </a:lnTo>
                    <a:lnTo>
                      <a:pt x="891" y="529"/>
                    </a:lnTo>
                    <a:lnTo>
                      <a:pt x="950" y="634"/>
                    </a:lnTo>
                    <a:lnTo>
                      <a:pt x="994" y="743"/>
                    </a:lnTo>
                    <a:lnTo>
                      <a:pt x="1026" y="859"/>
                    </a:lnTo>
                    <a:lnTo>
                      <a:pt x="1047" y="981"/>
                    </a:lnTo>
                    <a:lnTo>
                      <a:pt x="1054" y="1106"/>
                    </a:lnTo>
                    <a:lnTo>
                      <a:pt x="1050" y="1218"/>
                    </a:lnTo>
                    <a:lnTo>
                      <a:pt x="1031" y="1330"/>
                    </a:lnTo>
                    <a:lnTo>
                      <a:pt x="1005" y="1437"/>
                    </a:lnTo>
                    <a:lnTo>
                      <a:pt x="966" y="1542"/>
                    </a:lnTo>
                    <a:lnTo>
                      <a:pt x="917" y="1642"/>
                    </a:lnTo>
                    <a:lnTo>
                      <a:pt x="561" y="1644"/>
                    </a:lnTo>
                    <a:lnTo>
                      <a:pt x="384" y="1334"/>
                    </a:lnTo>
                    <a:lnTo>
                      <a:pt x="414" y="1260"/>
                    </a:lnTo>
                    <a:lnTo>
                      <a:pt x="433" y="1185"/>
                    </a:lnTo>
                    <a:lnTo>
                      <a:pt x="438" y="1106"/>
                    </a:lnTo>
                    <a:lnTo>
                      <a:pt x="431" y="1025"/>
                    </a:lnTo>
                    <a:lnTo>
                      <a:pt x="412" y="946"/>
                    </a:lnTo>
                    <a:lnTo>
                      <a:pt x="379" y="873"/>
                    </a:lnTo>
                    <a:lnTo>
                      <a:pt x="337" y="808"/>
                    </a:lnTo>
                    <a:lnTo>
                      <a:pt x="284" y="750"/>
                    </a:lnTo>
                    <a:lnTo>
                      <a:pt x="223" y="699"/>
                    </a:lnTo>
                    <a:lnTo>
                      <a:pt x="154" y="662"/>
                    </a:lnTo>
                    <a:lnTo>
                      <a:pt x="79" y="634"/>
                    </a:lnTo>
                    <a:lnTo>
                      <a:pt x="0" y="617"/>
                    </a:lnTo>
                    <a:lnTo>
                      <a:pt x="182" y="30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4987DED-8550-4764-AA8B-8329920F05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7178" y="1610664"/>
                <a:ext cx="1334796" cy="1698540"/>
              </a:xfrm>
              <a:custGeom>
                <a:avLst/>
                <a:gdLst>
                  <a:gd name="T0" fmla="*/ 1087 w 1266"/>
                  <a:gd name="T1" fmla="*/ 0 h 1611"/>
                  <a:gd name="T2" fmla="*/ 1266 w 1266"/>
                  <a:gd name="T3" fmla="*/ 308 h 1611"/>
                  <a:gd name="T4" fmla="*/ 1085 w 1266"/>
                  <a:gd name="T5" fmla="*/ 615 h 1611"/>
                  <a:gd name="T6" fmla="*/ 1010 w 1266"/>
                  <a:gd name="T7" fmla="*/ 624 h 1611"/>
                  <a:gd name="T8" fmla="*/ 936 w 1266"/>
                  <a:gd name="T9" fmla="*/ 645 h 1611"/>
                  <a:gd name="T10" fmla="*/ 870 w 1266"/>
                  <a:gd name="T11" fmla="*/ 678 h 1611"/>
                  <a:gd name="T12" fmla="*/ 808 w 1266"/>
                  <a:gd name="T13" fmla="*/ 717 h 1611"/>
                  <a:gd name="T14" fmla="*/ 754 w 1266"/>
                  <a:gd name="T15" fmla="*/ 766 h 1611"/>
                  <a:gd name="T16" fmla="*/ 705 w 1266"/>
                  <a:gd name="T17" fmla="*/ 822 h 1611"/>
                  <a:gd name="T18" fmla="*/ 668 w 1266"/>
                  <a:gd name="T19" fmla="*/ 887 h 1611"/>
                  <a:gd name="T20" fmla="*/ 640 w 1266"/>
                  <a:gd name="T21" fmla="*/ 955 h 1611"/>
                  <a:gd name="T22" fmla="*/ 621 w 1266"/>
                  <a:gd name="T23" fmla="*/ 1029 h 1611"/>
                  <a:gd name="T24" fmla="*/ 617 w 1266"/>
                  <a:gd name="T25" fmla="*/ 1106 h 1611"/>
                  <a:gd name="T26" fmla="*/ 621 w 1266"/>
                  <a:gd name="T27" fmla="*/ 1174 h 1611"/>
                  <a:gd name="T28" fmla="*/ 635 w 1266"/>
                  <a:gd name="T29" fmla="*/ 1241 h 1611"/>
                  <a:gd name="T30" fmla="*/ 659 w 1266"/>
                  <a:gd name="T31" fmla="*/ 1306 h 1611"/>
                  <a:gd name="T32" fmla="*/ 298 w 1266"/>
                  <a:gd name="T33" fmla="*/ 1304 h 1611"/>
                  <a:gd name="T34" fmla="*/ 121 w 1266"/>
                  <a:gd name="T35" fmla="*/ 1611 h 1611"/>
                  <a:gd name="T36" fmla="*/ 79 w 1266"/>
                  <a:gd name="T37" fmla="*/ 1516 h 1611"/>
                  <a:gd name="T38" fmla="*/ 44 w 1266"/>
                  <a:gd name="T39" fmla="*/ 1418 h 1611"/>
                  <a:gd name="T40" fmla="*/ 21 w 1266"/>
                  <a:gd name="T41" fmla="*/ 1316 h 1611"/>
                  <a:gd name="T42" fmla="*/ 5 w 1266"/>
                  <a:gd name="T43" fmla="*/ 1211 h 1611"/>
                  <a:gd name="T44" fmla="*/ 0 w 1266"/>
                  <a:gd name="T45" fmla="*/ 1106 h 1611"/>
                  <a:gd name="T46" fmla="*/ 7 w 1266"/>
                  <a:gd name="T47" fmla="*/ 978 h 1611"/>
                  <a:gd name="T48" fmla="*/ 28 w 1266"/>
                  <a:gd name="T49" fmla="*/ 855 h 1611"/>
                  <a:gd name="T50" fmla="*/ 63 w 1266"/>
                  <a:gd name="T51" fmla="*/ 738 h 1611"/>
                  <a:gd name="T52" fmla="*/ 109 w 1266"/>
                  <a:gd name="T53" fmla="*/ 624 h 1611"/>
                  <a:gd name="T54" fmla="*/ 170 w 1266"/>
                  <a:gd name="T55" fmla="*/ 520 h 1611"/>
                  <a:gd name="T56" fmla="*/ 237 w 1266"/>
                  <a:gd name="T57" fmla="*/ 422 h 1611"/>
                  <a:gd name="T58" fmla="*/ 319 w 1266"/>
                  <a:gd name="T59" fmla="*/ 331 h 1611"/>
                  <a:gd name="T60" fmla="*/ 407 w 1266"/>
                  <a:gd name="T61" fmla="*/ 249 h 1611"/>
                  <a:gd name="T62" fmla="*/ 503 w 1266"/>
                  <a:gd name="T63" fmla="*/ 180 h 1611"/>
                  <a:gd name="T64" fmla="*/ 607 w 1266"/>
                  <a:gd name="T65" fmla="*/ 119 h 1611"/>
                  <a:gd name="T66" fmla="*/ 719 w 1266"/>
                  <a:gd name="T67" fmla="*/ 70 h 1611"/>
                  <a:gd name="T68" fmla="*/ 838 w 1266"/>
                  <a:gd name="T69" fmla="*/ 33 h 1611"/>
                  <a:gd name="T70" fmla="*/ 959 w 1266"/>
                  <a:gd name="T71" fmla="*/ 10 h 1611"/>
                  <a:gd name="T72" fmla="*/ 1087 w 1266"/>
                  <a:gd name="T73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66" h="1611">
                    <a:moveTo>
                      <a:pt x="1087" y="0"/>
                    </a:moveTo>
                    <a:lnTo>
                      <a:pt x="1266" y="308"/>
                    </a:lnTo>
                    <a:lnTo>
                      <a:pt x="1085" y="615"/>
                    </a:lnTo>
                    <a:lnTo>
                      <a:pt x="1010" y="624"/>
                    </a:lnTo>
                    <a:lnTo>
                      <a:pt x="936" y="645"/>
                    </a:lnTo>
                    <a:lnTo>
                      <a:pt x="870" y="678"/>
                    </a:lnTo>
                    <a:lnTo>
                      <a:pt x="808" y="717"/>
                    </a:lnTo>
                    <a:lnTo>
                      <a:pt x="754" y="766"/>
                    </a:lnTo>
                    <a:lnTo>
                      <a:pt x="705" y="822"/>
                    </a:lnTo>
                    <a:lnTo>
                      <a:pt x="668" y="887"/>
                    </a:lnTo>
                    <a:lnTo>
                      <a:pt x="640" y="955"/>
                    </a:lnTo>
                    <a:lnTo>
                      <a:pt x="621" y="1029"/>
                    </a:lnTo>
                    <a:lnTo>
                      <a:pt x="617" y="1106"/>
                    </a:lnTo>
                    <a:lnTo>
                      <a:pt x="621" y="1174"/>
                    </a:lnTo>
                    <a:lnTo>
                      <a:pt x="635" y="1241"/>
                    </a:lnTo>
                    <a:lnTo>
                      <a:pt x="659" y="1306"/>
                    </a:lnTo>
                    <a:lnTo>
                      <a:pt x="298" y="1304"/>
                    </a:lnTo>
                    <a:lnTo>
                      <a:pt x="121" y="1611"/>
                    </a:lnTo>
                    <a:lnTo>
                      <a:pt x="79" y="1516"/>
                    </a:lnTo>
                    <a:lnTo>
                      <a:pt x="44" y="1418"/>
                    </a:lnTo>
                    <a:lnTo>
                      <a:pt x="21" y="1316"/>
                    </a:lnTo>
                    <a:lnTo>
                      <a:pt x="5" y="1211"/>
                    </a:lnTo>
                    <a:lnTo>
                      <a:pt x="0" y="1106"/>
                    </a:lnTo>
                    <a:lnTo>
                      <a:pt x="7" y="978"/>
                    </a:lnTo>
                    <a:lnTo>
                      <a:pt x="28" y="855"/>
                    </a:lnTo>
                    <a:lnTo>
                      <a:pt x="63" y="738"/>
                    </a:lnTo>
                    <a:lnTo>
                      <a:pt x="109" y="624"/>
                    </a:lnTo>
                    <a:lnTo>
                      <a:pt x="170" y="520"/>
                    </a:lnTo>
                    <a:lnTo>
                      <a:pt x="237" y="422"/>
                    </a:lnTo>
                    <a:lnTo>
                      <a:pt x="319" y="331"/>
                    </a:lnTo>
                    <a:lnTo>
                      <a:pt x="407" y="249"/>
                    </a:lnTo>
                    <a:lnTo>
                      <a:pt x="503" y="180"/>
                    </a:lnTo>
                    <a:lnTo>
                      <a:pt x="607" y="119"/>
                    </a:lnTo>
                    <a:lnTo>
                      <a:pt x="719" y="70"/>
                    </a:lnTo>
                    <a:lnTo>
                      <a:pt x="838" y="33"/>
                    </a:lnTo>
                    <a:lnTo>
                      <a:pt x="959" y="10"/>
                    </a:lnTo>
                    <a:lnTo>
                      <a:pt x="1087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4" name="TextBox 72">
              <a:extLst>
                <a:ext uri="{FF2B5EF4-FFF2-40B4-BE49-F238E27FC236}">
                  <a16:creationId xmlns:a16="http://schemas.microsoft.com/office/drawing/2014/main" id="{7C406EFC-5CC2-4D7F-AD33-A14127E474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44415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FA52CF3-AA85-455F-B981-3492B21283DC}"/>
              </a:ext>
            </a:extLst>
          </p:cNvPr>
          <p:cNvGrpSpPr/>
          <p:nvPr/>
        </p:nvGrpSpPr>
        <p:grpSpPr bwMode="gray">
          <a:xfrm>
            <a:off x="6278546" y="1610664"/>
            <a:ext cx="2333258" cy="2334307"/>
            <a:chOff x="6278546" y="1610664"/>
            <a:chExt cx="2333258" cy="2334307"/>
          </a:xfrm>
          <a:solidFill>
            <a:srgbClr val="E4E4E4"/>
          </a:solidFill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8D8F59C3-5051-4A5F-830B-2D022845998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278546" y="1610664"/>
              <a:ext cx="2333258" cy="2334307"/>
              <a:chOff x="6278546" y="1610664"/>
              <a:chExt cx="2333258" cy="2334307"/>
            </a:xfrm>
            <a:grpFill/>
          </p:grpSpPr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24F522A3-B83F-4F38-9B45-AF6B24B592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8546" y="2608115"/>
                <a:ext cx="1113694" cy="1334780"/>
              </a:xfrm>
              <a:custGeom>
                <a:avLst/>
                <a:gdLst>
                  <a:gd name="T0" fmla="*/ 312 w 1073"/>
                  <a:gd name="T1" fmla="*/ 0 h 1286"/>
                  <a:gd name="T2" fmla="*/ 626 w 1073"/>
                  <a:gd name="T3" fmla="*/ 184 h 1286"/>
                  <a:gd name="T4" fmla="*/ 638 w 1073"/>
                  <a:gd name="T5" fmla="*/ 266 h 1286"/>
                  <a:gd name="T6" fmla="*/ 659 w 1073"/>
                  <a:gd name="T7" fmla="*/ 340 h 1286"/>
                  <a:gd name="T8" fmla="*/ 694 w 1073"/>
                  <a:gd name="T9" fmla="*/ 413 h 1286"/>
                  <a:gd name="T10" fmla="*/ 738 w 1073"/>
                  <a:gd name="T11" fmla="*/ 475 h 1286"/>
                  <a:gd name="T12" fmla="*/ 789 w 1073"/>
                  <a:gd name="T13" fmla="*/ 531 h 1286"/>
                  <a:gd name="T14" fmla="*/ 852 w 1073"/>
                  <a:gd name="T15" fmla="*/ 580 h 1286"/>
                  <a:gd name="T16" fmla="*/ 919 w 1073"/>
                  <a:gd name="T17" fmla="*/ 617 h 1286"/>
                  <a:gd name="T18" fmla="*/ 994 w 1073"/>
                  <a:gd name="T19" fmla="*/ 643 h 1286"/>
                  <a:gd name="T20" fmla="*/ 1073 w 1073"/>
                  <a:gd name="T21" fmla="*/ 659 h 1286"/>
                  <a:gd name="T22" fmla="*/ 887 w 1073"/>
                  <a:gd name="T23" fmla="*/ 976 h 1286"/>
                  <a:gd name="T24" fmla="*/ 1071 w 1073"/>
                  <a:gd name="T25" fmla="*/ 1286 h 1286"/>
                  <a:gd name="T26" fmla="*/ 945 w 1073"/>
                  <a:gd name="T27" fmla="*/ 1274 h 1286"/>
                  <a:gd name="T28" fmla="*/ 826 w 1073"/>
                  <a:gd name="T29" fmla="*/ 1248 h 1286"/>
                  <a:gd name="T30" fmla="*/ 712 w 1073"/>
                  <a:gd name="T31" fmla="*/ 1209 h 1286"/>
                  <a:gd name="T32" fmla="*/ 603 w 1073"/>
                  <a:gd name="T33" fmla="*/ 1160 h 1286"/>
                  <a:gd name="T34" fmla="*/ 500 w 1073"/>
                  <a:gd name="T35" fmla="*/ 1097 h 1286"/>
                  <a:gd name="T36" fmla="*/ 405 w 1073"/>
                  <a:gd name="T37" fmla="*/ 1027 h 1286"/>
                  <a:gd name="T38" fmla="*/ 319 w 1073"/>
                  <a:gd name="T39" fmla="*/ 946 h 1286"/>
                  <a:gd name="T40" fmla="*/ 242 w 1073"/>
                  <a:gd name="T41" fmla="*/ 857 h 1286"/>
                  <a:gd name="T42" fmla="*/ 172 w 1073"/>
                  <a:gd name="T43" fmla="*/ 759 h 1286"/>
                  <a:gd name="T44" fmla="*/ 114 w 1073"/>
                  <a:gd name="T45" fmla="*/ 657 h 1286"/>
                  <a:gd name="T46" fmla="*/ 68 w 1073"/>
                  <a:gd name="T47" fmla="*/ 545 h 1286"/>
                  <a:gd name="T48" fmla="*/ 33 w 1073"/>
                  <a:gd name="T49" fmla="*/ 429 h 1286"/>
                  <a:gd name="T50" fmla="*/ 9 w 1073"/>
                  <a:gd name="T51" fmla="*/ 308 h 1286"/>
                  <a:gd name="T52" fmla="*/ 0 w 1073"/>
                  <a:gd name="T53" fmla="*/ 184 h 1286"/>
                  <a:gd name="T54" fmla="*/ 312 w 1073"/>
                  <a:gd name="T55" fmla="*/ 0 h 1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3" h="1286">
                    <a:moveTo>
                      <a:pt x="312" y="0"/>
                    </a:moveTo>
                    <a:lnTo>
                      <a:pt x="626" y="184"/>
                    </a:lnTo>
                    <a:lnTo>
                      <a:pt x="638" y="266"/>
                    </a:lnTo>
                    <a:lnTo>
                      <a:pt x="659" y="340"/>
                    </a:lnTo>
                    <a:lnTo>
                      <a:pt x="694" y="413"/>
                    </a:lnTo>
                    <a:lnTo>
                      <a:pt x="738" y="475"/>
                    </a:lnTo>
                    <a:lnTo>
                      <a:pt x="789" y="531"/>
                    </a:lnTo>
                    <a:lnTo>
                      <a:pt x="852" y="580"/>
                    </a:lnTo>
                    <a:lnTo>
                      <a:pt x="919" y="617"/>
                    </a:lnTo>
                    <a:lnTo>
                      <a:pt x="994" y="643"/>
                    </a:lnTo>
                    <a:lnTo>
                      <a:pt x="1073" y="659"/>
                    </a:lnTo>
                    <a:lnTo>
                      <a:pt x="887" y="976"/>
                    </a:lnTo>
                    <a:lnTo>
                      <a:pt x="1071" y="1286"/>
                    </a:lnTo>
                    <a:lnTo>
                      <a:pt x="945" y="1274"/>
                    </a:lnTo>
                    <a:lnTo>
                      <a:pt x="826" y="1248"/>
                    </a:lnTo>
                    <a:lnTo>
                      <a:pt x="712" y="1209"/>
                    </a:lnTo>
                    <a:lnTo>
                      <a:pt x="603" y="1160"/>
                    </a:lnTo>
                    <a:lnTo>
                      <a:pt x="500" y="1097"/>
                    </a:lnTo>
                    <a:lnTo>
                      <a:pt x="405" y="1027"/>
                    </a:lnTo>
                    <a:lnTo>
                      <a:pt x="319" y="946"/>
                    </a:lnTo>
                    <a:lnTo>
                      <a:pt x="242" y="857"/>
                    </a:lnTo>
                    <a:lnTo>
                      <a:pt x="172" y="759"/>
                    </a:lnTo>
                    <a:lnTo>
                      <a:pt x="114" y="657"/>
                    </a:lnTo>
                    <a:lnTo>
                      <a:pt x="68" y="545"/>
                    </a:lnTo>
                    <a:lnTo>
                      <a:pt x="33" y="429"/>
                    </a:lnTo>
                    <a:lnTo>
                      <a:pt x="9" y="308"/>
                    </a:lnTo>
                    <a:lnTo>
                      <a:pt x="0" y="1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7A6C1FE-47EB-409A-B706-04ECD8BA53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5993" y="2831271"/>
                <a:ext cx="1335811" cy="1113700"/>
              </a:xfrm>
              <a:custGeom>
                <a:avLst/>
                <a:gdLst>
                  <a:gd name="T0" fmla="*/ 659 w 1287"/>
                  <a:gd name="T1" fmla="*/ 0 h 1073"/>
                  <a:gd name="T2" fmla="*/ 975 w 1287"/>
                  <a:gd name="T3" fmla="*/ 186 h 1073"/>
                  <a:gd name="T4" fmla="*/ 1287 w 1287"/>
                  <a:gd name="T5" fmla="*/ 4 h 1073"/>
                  <a:gd name="T6" fmla="*/ 1273 w 1287"/>
                  <a:gd name="T7" fmla="*/ 128 h 1073"/>
                  <a:gd name="T8" fmla="*/ 1248 w 1287"/>
                  <a:gd name="T9" fmla="*/ 246 h 1073"/>
                  <a:gd name="T10" fmla="*/ 1210 w 1287"/>
                  <a:gd name="T11" fmla="*/ 361 h 1073"/>
                  <a:gd name="T12" fmla="*/ 1159 w 1287"/>
                  <a:gd name="T13" fmla="*/ 470 h 1073"/>
                  <a:gd name="T14" fmla="*/ 1099 w 1287"/>
                  <a:gd name="T15" fmla="*/ 572 h 1073"/>
                  <a:gd name="T16" fmla="*/ 1027 w 1287"/>
                  <a:gd name="T17" fmla="*/ 668 h 1073"/>
                  <a:gd name="T18" fmla="*/ 947 w 1287"/>
                  <a:gd name="T19" fmla="*/ 754 h 1073"/>
                  <a:gd name="T20" fmla="*/ 859 w 1287"/>
                  <a:gd name="T21" fmla="*/ 833 h 1073"/>
                  <a:gd name="T22" fmla="*/ 761 w 1287"/>
                  <a:gd name="T23" fmla="*/ 901 h 1073"/>
                  <a:gd name="T24" fmla="*/ 657 w 1287"/>
                  <a:gd name="T25" fmla="*/ 959 h 1073"/>
                  <a:gd name="T26" fmla="*/ 547 w 1287"/>
                  <a:gd name="T27" fmla="*/ 1005 h 1073"/>
                  <a:gd name="T28" fmla="*/ 431 w 1287"/>
                  <a:gd name="T29" fmla="*/ 1040 h 1073"/>
                  <a:gd name="T30" fmla="*/ 310 w 1287"/>
                  <a:gd name="T31" fmla="*/ 1064 h 1073"/>
                  <a:gd name="T32" fmla="*/ 184 w 1287"/>
                  <a:gd name="T33" fmla="*/ 1073 h 1073"/>
                  <a:gd name="T34" fmla="*/ 0 w 1287"/>
                  <a:gd name="T35" fmla="*/ 761 h 1073"/>
                  <a:gd name="T36" fmla="*/ 186 w 1287"/>
                  <a:gd name="T37" fmla="*/ 447 h 1073"/>
                  <a:gd name="T38" fmla="*/ 266 w 1287"/>
                  <a:gd name="T39" fmla="*/ 437 h 1073"/>
                  <a:gd name="T40" fmla="*/ 342 w 1287"/>
                  <a:gd name="T41" fmla="*/ 414 h 1073"/>
                  <a:gd name="T42" fmla="*/ 412 w 1287"/>
                  <a:gd name="T43" fmla="*/ 379 h 1073"/>
                  <a:gd name="T44" fmla="*/ 477 w 1287"/>
                  <a:gd name="T45" fmla="*/ 335 h 1073"/>
                  <a:gd name="T46" fmla="*/ 533 w 1287"/>
                  <a:gd name="T47" fmla="*/ 284 h 1073"/>
                  <a:gd name="T48" fmla="*/ 580 w 1287"/>
                  <a:gd name="T49" fmla="*/ 221 h 1073"/>
                  <a:gd name="T50" fmla="*/ 619 w 1287"/>
                  <a:gd name="T51" fmla="*/ 153 h 1073"/>
                  <a:gd name="T52" fmla="*/ 645 w 1287"/>
                  <a:gd name="T53" fmla="*/ 79 h 1073"/>
                  <a:gd name="T54" fmla="*/ 659 w 1287"/>
                  <a:gd name="T55" fmla="*/ 0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073">
                    <a:moveTo>
                      <a:pt x="659" y="0"/>
                    </a:moveTo>
                    <a:lnTo>
                      <a:pt x="975" y="186"/>
                    </a:lnTo>
                    <a:lnTo>
                      <a:pt x="1287" y="4"/>
                    </a:lnTo>
                    <a:lnTo>
                      <a:pt x="1273" y="128"/>
                    </a:lnTo>
                    <a:lnTo>
                      <a:pt x="1248" y="246"/>
                    </a:lnTo>
                    <a:lnTo>
                      <a:pt x="1210" y="361"/>
                    </a:lnTo>
                    <a:lnTo>
                      <a:pt x="1159" y="470"/>
                    </a:lnTo>
                    <a:lnTo>
                      <a:pt x="1099" y="572"/>
                    </a:lnTo>
                    <a:lnTo>
                      <a:pt x="1027" y="668"/>
                    </a:lnTo>
                    <a:lnTo>
                      <a:pt x="947" y="754"/>
                    </a:lnTo>
                    <a:lnTo>
                      <a:pt x="859" y="833"/>
                    </a:lnTo>
                    <a:lnTo>
                      <a:pt x="761" y="901"/>
                    </a:lnTo>
                    <a:lnTo>
                      <a:pt x="657" y="959"/>
                    </a:lnTo>
                    <a:lnTo>
                      <a:pt x="547" y="1005"/>
                    </a:lnTo>
                    <a:lnTo>
                      <a:pt x="431" y="1040"/>
                    </a:lnTo>
                    <a:lnTo>
                      <a:pt x="310" y="1064"/>
                    </a:lnTo>
                    <a:lnTo>
                      <a:pt x="184" y="1073"/>
                    </a:lnTo>
                    <a:lnTo>
                      <a:pt x="0" y="761"/>
                    </a:lnTo>
                    <a:lnTo>
                      <a:pt x="186" y="447"/>
                    </a:lnTo>
                    <a:lnTo>
                      <a:pt x="266" y="437"/>
                    </a:lnTo>
                    <a:lnTo>
                      <a:pt x="342" y="414"/>
                    </a:lnTo>
                    <a:lnTo>
                      <a:pt x="412" y="379"/>
                    </a:lnTo>
                    <a:lnTo>
                      <a:pt x="477" y="335"/>
                    </a:lnTo>
                    <a:lnTo>
                      <a:pt x="533" y="284"/>
                    </a:lnTo>
                    <a:lnTo>
                      <a:pt x="580" y="221"/>
                    </a:lnTo>
                    <a:lnTo>
                      <a:pt x="619" y="153"/>
                    </a:lnTo>
                    <a:lnTo>
                      <a:pt x="645" y="79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8534E1E-8444-4FCD-BCA6-85B783F086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1222" y="1610664"/>
                <a:ext cx="1110581" cy="1335818"/>
              </a:xfrm>
              <a:custGeom>
                <a:avLst/>
                <a:gdLst>
                  <a:gd name="T0" fmla="*/ 2 w 1070"/>
                  <a:gd name="T1" fmla="*/ 0 h 1287"/>
                  <a:gd name="T2" fmla="*/ 125 w 1070"/>
                  <a:gd name="T3" fmla="*/ 14 h 1287"/>
                  <a:gd name="T4" fmla="*/ 246 w 1070"/>
                  <a:gd name="T5" fmla="*/ 40 h 1287"/>
                  <a:gd name="T6" fmla="*/ 360 w 1070"/>
                  <a:gd name="T7" fmla="*/ 77 h 1287"/>
                  <a:gd name="T8" fmla="*/ 470 w 1070"/>
                  <a:gd name="T9" fmla="*/ 128 h 1287"/>
                  <a:gd name="T10" fmla="*/ 572 w 1070"/>
                  <a:gd name="T11" fmla="*/ 189 h 1287"/>
                  <a:gd name="T12" fmla="*/ 665 w 1070"/>
                  <a:gd name="T13" fmla="*/ 261 h 1287"/>
                  <a:gd name="T14" fmla="*/ 754 w 1070"/>
                  <a:gd name="T15" fmla="*/ 340 h 1287"/>
                  <a:gd name="T16" fmla="*/ 831 w 1070"/>
                  <a:gd name="T17" fmla="*/ 431 h 1287"/>
                  <a:gd name="T18" fmla="*/ 900 w 1070"/>
                  <a:gd name="T19" fmla="*/ 526 h 1287"/>
                  <a:gd name="T20" fmla="*/ 959 w 1070"/>
                  <a:gd name="T21" fmla="*/ 631 h 1287"/>
                  <a:gd name="T22" fmla="*/ 1005 w 1070"/>
                  <a:gd name="T23" fmla="*/ 740 h 1287"/>
                  <a:gd name="T24" fmla="*/ 1040 w 1070"/>
                  <a:gd name="T25" fmla="*/ 857 h 1287"/>
                  <a:gd name="T26" fmla="*/ 1061 w 1070"/>
                  <a:gd name="T27" fmla="*/ 978 h 1287"/>
                  <a:gd name="T28" fmla="*/ 1070 w 1070"/>
                  <a:gd name="T29" fmla="*/ 1104 h 1287"/>
                  <a:gd name="T30" fmla="*/ 758 w 1070"/>
                  <a:gd name="T31" fmla="*/ 1287 h 1287"/>
                  <a:gd name="T32" fmla="*/ 444 w 1070"/>
                  <a:gd name="T33" fmla="*/ 1104 h 1287"/>
                  <a:gd name="T34" fmla="*/ 435 w 1070"/>
                  <a:gd name="T35" fmla="*/ 1022 h 1287"/>
                  <a:gd name="T36" fmla="*/ 412 w 1070"/>
                  <a:gd name="T37" fmla="*/ 945 h 1287"/>
                  <a:gd name="T38" fmla="*/ 379 w 1070"/>
                  <a:gd name="T39" fmla="*/ 875 h 1287"/>
                  <a:gd name="T40" fmla="*/ 335 w 1070"/>
                  <a:gd name="T41" fmla="*/ 810 h 1287"/>
                  <a:gd name="T42" fmla="*/ 281 w 1070"/>
                  <a:gd name="T43" fmla="*/ 754 h 1287"/>
                  <a:gd name="T44" fmla="*/ 221 w 1070"/>
                  <a:gd name="T45" fmla="*/ 708 h 1287"/>
                  <a:gd name="T46" fmla="*/ 153 w 1070"/>
                  <a:gd name="T47" fmla="*/ 670 h 1287"/>
                  <a:gd name="T48" fmla="*/ 79 w 1070"/>
                  <a:gd name="T49" fmla="*/ 643 h 1287"/>
                  <a:gd name="T50" fmla="*/ 0 w 1070"/>
                  <a:gd name="T51" fmla="*/ 629 h 1287"/>
                  <a:gd name="T52" fmla="*/ 186 w 1070"/>
                  <a:gd name="T53" fmla="*/ 312 h 1287"/>
                  <a:gd name="T54" fmla="*/ 2 w 1070"/>
                  <a:gd name="T55" fmla="*/ 0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0" h="1287">
                    <a:moveTo>
                      <a:pt x="2" y="0"/>
                    </a:moveTo>
                    <a:lnTo>
                      <a:pt x="125" y="14"/>
                    </a:lnTo>
                    <a:lnTo>
                      <a:pt x="246" y="40"/>
                    </a:lnTo>
                    <a:lnTo>
                      <a:pt x="360" y="77"/>
                    </a:lnTo>
                    <a:lnTo>
                      <a:pt x="470" y="128"/>
                    </a:lnTo>
                    <a:lnTo>
                      <a:pt x="572" y="189"/>
                    </a:lnTo>
                    <a:lnTo>
                      <a:pt x="665" y="261"/>
                    </a:lnTo>
                    <a:lnTo>
                      <a:pt x="754" y="340"/>
                    </a:lnTo>
                    <a:lnTo>
                      <a:pt x="831" y="431"/>
                    </a:lnTo>
                    <a:lnTo>
                      <a:pt x="900" y="526"/>
                    </a:lnTo>
                    <a:lnTo>
                      <a:pt x="959" y="631"/>
                    </a:lnTo>
                    <a:lnTo>
                      <a:pt x="1005" y="740"/>
                    </a:lnTo>
                    <a:lnTo>
                      <a:pt x="1040" y="857"/>
                    </a:lnTo>
                    <a:lnTo>
                      <a:pt x="1061" y="978"/>
                    </a:lnTo>
                    <a:lnTo>
                      <a:pt x="1070" y="1104"/>
                    </a:lnTo>
                    <a:lnTo>
                      <a:pt x="758" y="1287"/>
                    </a:lnTo>
                    <a:lnTo>
                      <a:pt x="444" y="1104"/>
                    </a:lnTo>
                    <a:lnTo>
                      <a:pt x="435" y="1022"/>
                    </a:lnTo>
                    <a:lnTo>
                      <a:pt x="412" y="945"/>
                    </a:lnTo>
                    <a:lnTo>
                      <a:pt x="379" y="875"/>
                    </a:lnTo>
                    <a:lnTo>
                      <a:pt x="335" y="810"/>
                    </a:lnTo>
                    <a:lnTo>
                      <a:pt x="281" y="754"/>
                    </a:lnTo>
                    <a:lnTo>
                      <a:pt x="221" y="708"/>
                    </a:lnTo>
                    <a:lnTo>
                      <a:pt x="153" y="670"/>
                    </a:lnTo>
                    <a:lnTo>
                      <a:pt x="79" y="643"/>
                    </a:lnTo>
                    <a:lnTo>
                      <a:pt x="0" y="629"/>
                    </a:lnTo>
                    <a:lnTo>
                      <a:pt x="186" y="3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5278C061-2191-4628-9144-E2AEB45E9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0621" y="1610664"/>
                <a:ext cx="1333735" cy="1111625"/>
              </a:xfrm>
              <a:custGeom>
                <a:avLst/>
                <a:gdLst>
                  <a:gd name="T0" fmla="*/ 1101 w 1285"/>
                  <a:gd name="T1" fmla="*/ 0 h 1071"/>
                  <a:gd name="T2" fmla="*/ 1285 w 1285"/>
                  <a:gd name="T3" fmla="*/ 312 h 1071"/>
                  <a:gd name="T4" fmla="*/ 1101 w 1285"/>
                  <a:gd name="T5" fmla="*/ 626 h 1071"/>
                  <a:gd name="T6" fmla="*/ 1022 w 1285"/>
                  <a:gd name="T7" fmla="*/ 636 h 1071"/>
                  <a:gd name="T8" fmla="*/ 945 w 1285"/>
                  <a:gd name="T9" fmla="*/ 659 h 1071"/>
                  <a:gd name="T10" fmla="*/ 875 w 1285"/>
                  <a:gd name="T11" fmla="*/ 691 h 1071"/>
                  <a:gd name="T12" fmla="*/ 810 w 1285"/>
                  <a:gd name="T13" fmla="*/ 736 h 1071"/>
                  <a:gd name="T14" fmla="*/ 754 w 1285"/>
                  <a:gd name="T15" fmla="*/ 789 h 1071"/>
                  <a:gd name="T16" fmla="*/ 706 w 1285"/>
                  <a:gd name="T17" fmla="*/ 850 h 1071"/>
                  <a:gd name="T18" fmla="*/ 668 w 1285"/>
                  <a:gd name="T19" fmla="*/ 917 h 1071"/>
                  <a:gd name="T20" fmla="*/ 643 w 1285"/>
                  <a:gd name="T21" fmla="*/ 992 h 1071"/>
                  <a:gd name="T22" fmla="*/ 626 w 1285"/>
                  <a:gd name="T23" fmla="*/ 1071 h 1071"/>
                  <a:gd name="T24" fmla="*/ 310 w 1285"/>
                  <a:gd name="T25" fmla="*/ 885 h 1071"/>
                  <a:gd name="T26" fmla="*/ 0 w 1285"/>
                  <a:gd name="T27" fmla="*/ 1069 h 1071"/>
                  <a:gd name="T28" fmla="*/ 12 w 1285"/>
                  <a:gd name="T29" fmla="*/ 945 h 1071"/>
                  <a:gd name="T30" fmla="*/ 40 w 1285"/>
                  <a:gd name="T31" fmla="*/ 824 h 1071"/>
                  <a:gd name="T32" fmla="*/ 77 w 1285"/>
                  <a:gd name="T33" fmla="*/ 710 h 1071"/>
                  <a:gd name="T34" fmla="*/ 128 w 1285"/>
                  <a:gd name="T35" fmla="*/ 601 h 1071"/>
                  <a:gd name="T36" fmla="*/ 189 w 1285"/>
                  <a:gd name="T37" fmla="*/ 498 h 1071"/>
                  <a:gd name="T38" fmla="*/ 259 w 1285"/>
                  <a:gd name="T39" fmla="*/ 405 h 1071"/>
                  <a:gd name="T40" fmla="*/ 340 w 1285"/>
                  <a:gd name="T41" fmla="*/ 317 h 1071"/>
                  <a:gd name="T42" fmla="*/ 429 w 1285"/>
                  <a:gd name="T43" fmla="*/ 240 h 1071"/>
                  <a:gd name="T44" fmla="*/ 526 w 1285"/>
                  <a:gd name="T45" fmla="*/ 172 h 1071"/>
                  <a:gd name="T46" fmla="*/ 629 w 1285"/>
                  <a:gd name="T47" fmla="*/ 114 h 1071"/>
                  <a:gd name="T48" fmla="*/ 741 w 1285"/>
                  <a:gd name="T49" fmla="*/ 65 h 1071"/>
                  <a:gd name="T50" fmla="*/ 857 w 1285"/>
                  <a:gd name="T51" fmla="*/ 30 h 1071"/>
                  <a:gd name="T52" fmla="*/ 978 w 1285"/>
                  <a:gd name="T53" fmla="*/ 9 h 1071"/>
                  <a:gd name="T54" fmla="*/ 1101 w 1285"/>
                  <a:gd name="T55" fmla="*/ 0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5" h="1071">
                    <a:moveTo>
                      <a:pt x="1101" y="0"/>
                    </a:moveTo>
                    <a:lnTo>
                      <a:pt x="1285" y="312"/>
                    </a:lnTo>
                    <a:lnTo>
                      <a:pt x="1101" y="626"/>
                    </a:lnTo>
                    <a:lnTo>
                      <a:pt x="1022" y="636"/>
                    </a:lnTo>
                    <a:lnTo>
                      <a:pt x="945" y="659"/>
                    </a:lnTo>
                    <a:lnTo>
                      <a:pt x="875" y="691"/>
                    </a:lnTo>
                    <a:lnTo>
                      <a:pt x="810" y="736"/>
                    </a:lnTo>
                    <a:lnTo>
                      <a:pt x="754" y="789"/>
                    </a:lnTo>
                    <a:lnTo>
                      <a:pt x="706" y="850"/>
                    </a:lnTo>
                    <a:lnTo>
                      <a:pt x="668" y="917"/>
                    </a:lnTo>
                    <a:lnTo>
                      <a:pt x="643" y="992"/>
                    </a:lnTo>
                    <a:lnTo>
                      <a:pt x="626" y="1071"/>
                    </a:lnTo>
                    <a:lnTo>
                      <a:pt x="310" y="885"/>
                    </a:lnTo>
                    <a:lnTo>
                      <a:pt x="0" y="1069"/>
                    </a:lnTo>
                    <a:lnTo>
                      <a:pt x="12" y="945"/>
                    </a:lnTo>
                    <a:lnTo>
                      <a:pt x="40" y="824"/>
                    </a:lnTo>
                    <a:lnTo>
                      <a:pt x="77" y="710"/>
                    </a:lnTo>
                    <a:lnTo>
                      <a:pt x="128" y="601"/>
                    </a:lnTo>
                    <a:lnTo>
                      <a:pt x="189" y="498"/>
                    </a:lnTo>
                    <a:lnTo>
                      <a:pt x="259" y="405"/>
                    </a:lnTo>
                    <a:lnTo>
                      <a:pt x="340" y="317"/>
                    </a:lnTo>
                    <a:lnTo>
                      <a:pt x="429" y="240"/>
                    </a:lnTo>
                    <a:lnTo>
                      <a:pt x="526" y="172"/>
                    </a:lnTo>
                    <a:lnTo>
                      <a:pt x="629" y="114"/>
                    </a:lnTo>
                    <a:lnTo>
                      <a:pt x="741" y="65"/>
                    </a:lnTo>
                    <a:lnTo>
                      <a:pt x="857" y="30"/>
                    </a:lnTo>
                    <a:lnTo>
                      <a:pt x="978" y="9"/>
                    </a:lnTo>
                    <a:lnTo>
                      <a:pt x="1101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78EADE85-C7FB-4707-B96E-D8E5BEADCA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75783" y="2546984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0B42A7C9-B1E1-4BCC-9683-99B79E73185D}"/>
              </a:ext>
            </a:extLst>
          </p:cNvPr>
          <p:cNvGrpSpPr/>
          <p:nvPr/>
        </p:nvGrpSpPr>
        <p:grpSpPr bwMode="gray">
          <a:xfrm>
            <a:off x="9141959" y="1576058"/>
            <a:ext cx="2333258" cy="2334307"/>
            <a:chOff x="9141959" y="1576058"/>
            <a:chExt cx="2333258" cy="2334307"/>
          </a:xfrm>
          <a:solidFill>
            <a:srgbClr val="E4E4E4"/>
          </a:solidFill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3F6230C6-E6F1-46E6-A4F1-3A1A537E28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9141959" y="1576058"/>
              <a:ext cx="2333258" cy="2334307"/>
              <a:chOff x="9141959" y="1576058"/>
              <a:chExt cx="2333258" cy="2334307"/>
            </a:xfrm>
            <a:grpFill/>
          </p:grpSpPr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C2AD65DE-2195-43CE-8F66-03586BD543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40070" y="3171063"/>
                <a:ext cx="1310819" cy="739302"/>
              </a:xfrm>
              <a:custGeom>
                <a:avLst/>
                <a:gdLst>
                  <a:gd name="T0" fmla="*/ 365 w 1250"/>
                  <a:gd name="T1" fmla="*/ 0 h 705"/>
                  <a:gd name="T2" fmla="*/ 428 w 1250"/>
                  <a:gd name="T3" fmla="*/ 35 h 705"/>
                  <a:gd name="T4" fmla="*/ 496 w 1250"/>
                  <a:gd name="T5" fmla="*/ 60 h 705"/>
                  <a:gd name="T6" fmla="*/ 565 w 1250"/>
                  <a:gd name="T7" fmla="*/ 76 h 705"/>
                  <a:gd name="T8" fmla="*/ 638 w 1250"/>
                  <a:gd name="T9" fmla="*/ 81 h 705"/>
                  <a:gd name="T10" fmla="*/ 703 w 1250"/>
                  <a:gd name="T11" fmla="*/ 79 h 705"/>
                  <a:gd name="T12" fmla="*/ 766 w 1250"/>
                  <a:gd name="T13" fmla="*/ 65 h 705"/>
                  <a:gd name="T14" fmla="*/ 828 w 1250"/>
                  <a:gd name="T15" fmla="*/ 44 h 705"/>
                  <a:gd name="T16" fmla="*/ 884 w 1250"/>
                  <a:gd name="T17" fmla="*/ 16 h 705"/>
                  <a:gd name="T18" fmla="*/ 921 w 1250"/>
                  <a:gd name="T19" fmla="*/ 377 h 705"/>
                  <a:gd name="T20" fmla="*/ 1250 w 1250"/>
                  <a:gd name="T21" fmla="*/ 521 h 705"/>
                  <a:gd name="T22" fmla="*/ 1157 w 1250"/>
                  <a:gd name="T23" fmla="*/ 577 h 705"/>
                  <a:gd name="T24" fmla="*/ 1059 w 1250"/>
                  <a:gd name="T25" fmla="*/ 621 h 705"/>
                  <a:gd name="T26" fmla="*/ 959 w 1250"/>
                  <a:gd name="T27" fmla="*/ 659 h 705"/>
                  <a:gd name="T28" fmla="*/ 854 w 1250"/>
                  <a:gd name="T29" fmla="*/ 684 h 705"/>
                  <a:gd name="T30" fmla="*/ 747 w 1250"/>
                  <a:gd name="T31" fmla="*/ 700 h 705"/>
                  <a:gd name="T32" fmla="*/ 638 w 1250"/>
                  <a:gd name="T33" fmla="*/ 705 h 705"/>
                  <a:gd name="T34" fmla="*/ 524 w 1250"/>
                  <a:gd name="T35" fmla="*/ 698 h 705"/>
                  <a:gd name="T36" fmla="*/ 412 w 1250"/>
                  <a:gd name="T37" fmla="*/ 682 h 705"/>
                  <a:gd name="T38" fmla="*/ 302 w 1250"/>
                  <a:gd name="T39" fmla="*/ 654 h 705"/>
                  <a:gd name="T40" fmla="*/ 198 w 1250"/>
                  <a:gd name="T41" fmla="*/ 614 h 705"/>
                  <a:gd name="T42" fmla="*/ 95 w 1250"/>
                  <a:gd name="T43" fmla="*/ 563 h 705"/>
                  <a:gd name="T44" fmla="*/ 0 w 1250"/>
                  <a:gd name="T45" fmla="*/ 503 h 705"/>
                  <a:gd name="T46" fmla="*/ 35 w 1250"/>
                  <a:gd name="T47" fmla="*/ 144 h 705"/>
                  <a:gd name="T48" fmla="*/ 365 w 1250"/>
                  <a:gd name="T49" fmla="*/ 0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0" h="705">
                    <a:moveTo>
                      <a:pt x="365" y="0"/>
                    </a:moveTo>
                    <a:lnTo>
                      <a:pt x="428" y="35"/>
                    </a:lnTo>
                    <a:lnTo>
                      <a:pt x="496" y="60"/>
                    </a:lnTo>
                    <a:lnTo>
                      <a:pt x="565" y="76"/>
                    </a:lnTo>
                    <a:lnTo>
                      <a:pt x="638" y="81"/>
                    </a:lnTo>
                    <a:lnTo>
                      <a:pt x="703" y="79"/>
                    </a:lnTo>
                    <a:lnTo>
                      <a:pt x="766" y="65"/>
                    </a:lnTo>
                    <a:lnTo>
                      <a:pt x="828" y="44"/>
                    </a:lnTo>
                    <a:lnTo>
                      <a:pt x="884" y="16"/>
                    </a:lnTo>
                    <a:lnTo>
                      <a:pt x="921" y="377"/>
                    </a:lnTo>
                    <a:lnTo>
                      <a:pt x="1250" y="521"/>
                    </a:lnTo>
                    <a:lnTo>
                      <a:pt x="1157" y="577"/>
                    </a:lnTo>
                    <a:lnTo>
                      <a:pt x="1059" y="621"/>
                    </a:lnTo>
                    <a:lnTo>
                      <a:pt x="959" y="659"/>
                    </a:lnTo>
                    <a:lnTo>
                      <a:pt x="854" y="684"/>
                    </a:lnTo>
                    <a:lnTo>
                      <a:pt x="747" y="700"/>
                    </a:lnTo>
                    <a:lnTo>
                      <a:pt x="638" y="705"/>
                    </a:lnTo>
                    <a:lnTo>
                      <a:pt x="524" y="698"/>
                    </a:lnTo>
                    <a:lnTo>
                      <a:pt x="412" y="682"/>
                    </a:lnTo>
                    <a:lnTo>
                      <a:pt x="302" y="654"/>
                    </a:lnTo>
                    <a:lnTo>
                      <a:pt x="198" y="614"/>
                    </a:lnTo>
                    <a:lnTo>
                      <a:pt x="95" y="563"/>
                    </a:lnTo>
                    <a:lnTo>
                      <a:pt x="0" y="503"/>
                    </a:lnTo>
                    <a:lnTo>
                      <a:pt x="35" y="144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45C106E-BABB-4DD8-8CF6-9D445E60D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7903" y="2433858"/>
                <a:ext cx="847314" cy="1242657"/>
              </a:xfrm>
              <a:custGeom>
                <a:avLst/>
                <a:gdLst>
                  <a:gd name="T0" fmla="*/ 768 w 808"/>
                  <a:gd name="T1" fmla="*/ 0 h 1185"/>
                  <a:gd name="T2" fmla="*/ 789 w 808"/>
                  <a:gd name="T3" fmla="*/ 97 h 1185"/>
                  <a:gd name="T4" fmla="*/ 803 w 808"/>
                  <a:gd name="T5" fmla="*/ 195 h 1185"/>
                  <a:gd name="T6" fmla="*/ 808 w 808"/>
                  <a:gd name="T7" fmla="*/ 295 h 1185"/>
                  <a:gd name="T8" fmla="*/ 801 w 808"/>
                  <a:gd name="T9" fmla="*/ 412 h 1185"/>
                  <a:gd name="T10" fmla="*/ 785 w 808"/>
                  <a:gd name="T11" fmla="*/ 523 h 1185"/>
                  <a:gd name="T12" fmla="*/ 754 w 808"/>
                  <a:gd name="T13" fmla="*/ 633 h 1185"/>
                  <a:gd name="T14" fmla="*/ 715 w 808"/>
                  <a:gd name="T15" fmla="*/ 740 h 1185"/>
                  <a:gd name="T16" fmla="*/ 664 w 808"/>
                  <a:gd name="T17" fmla="*/ 842 h 1185"/>
                  <a:gd name="T18" fmla="*/ 603 w 808"/>
                  <a:gd name="T19" fmla="*/ 938 h 1185"/>
                  <a:gd name="T20" fmla="*/ 533 w 808"/>
                  <a:gd name="T21" fmla="*/ 1026 h 1185"/>
                  <a:gd name="T22" fmla="*/ 452 w 808"/>
                  <a:gd name="T23" fmla="*/ 1110 h 1185"/>
                  <a:gd name="T24" fmla="*/ 363 w 808"/>
                  <a:gd name="T25" fmla="*/ 1185 h 1185"/>
                  <a:gd name="T26" fmla="*/ 35 w 808"/>
                  <a:gd name="T27" fmla="*/ 1040 h 1185"/>
                  <a:gd name="T28" fmla="*/ 0 w 808"/>
                  <a:gd name="T29" fmla="*/ 679 h 1185"/>
                  <a:gd name="T30" fmla="*/ 54 w 808"/>
                  <a:gd name="T31" fmla="*/ 630 h 1185"/>
                  <a:gd name="T32" fmla="*/ 101 w 808"/>
                  <a:gd name="T33" fmla="*/ 572 h 1185"/>
                  <a:gd name="T34" fmla="*/ 135 w 808"/>
                  <a:gd name="T35" fmla="*/ 509 h 1185"/>
                  <a:gd name="T36" fmla="*/ 163 w 808"/>
                  <a:gd name="T37" fmla="*/ 442 h 1185"/>
                  <a:gd name="T38" fmla="*/ 180 w 808"/>
                  <a:gd name="T39" fmla="*/ 370 h 1185"/>
                  <a:gd name="T40" fmla="*/ 187 w 808"/>
                  <a:gd name="T41" fmla="*/ 295 h 1185"/>
                  <a:gd name="T42" fmla="*/ 182 w 808"/>
                  <a:gd name="T43" fmla="*/ 242 h 1185"/>
                  <a:gd name="T44" fmla="*/ 175 w 808"/>
                  <a:gd name="T45" fmla="*/ 190 h 1185"/>
                  <a:gd name="T46" fmla="*/ 529 w 808"/>
                  <a:gd name="T47" fmla="*/ 270 h 1185"/>
                  <a:gd name="T48" fmla="*/ 768 w 808"/>
                  <a:gd name="T49" fmla="*/ 0 h 1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8" h="1185">
                    <a:moveTo>
                      <a:pt x="768" y="0"/>
                    </a:moveTo>
                    <a:lnTo>
                      <a:pt x="789" y="97"/>
                    </a:lnTo>
                    <a:lnTo>
                      <a:pt x="803" y="195"/>
                    </a:lnTo>
                    <a:lnTo>
                      <a:pt x="808" y="295"/>
                    </a:lnTo>
                    <a:lnTo>
                      <a:pt x="801" y="412"/>
                    </a:lnTo>
                    <a:lnTo>
                      <a:pt x="785" y="523"/>
                    </a:lnTo>
                    <a:lnTo>
                      <a:pt x="754" y="633"/>
                    </a:lnTo>
                    <a:lnTo>
                      <a:pt x="715" y="740"/>
                    </a:lnTo>
                    <a:lnTo>
                      <a:pt x="664" y="842"/>
                    </a:lnTo>
                    <a:lnTo>
                      <a:pt x="603" y="938"/>
                    </a:lnTo>
                    <a:lnTo>
                      <a:pt x="533" y="1026"/>
                    </a:lnTo>
                    <a:lnTo>
                      <a:pt x="452" y="1110"/>
                    </a:lnTo>
                    <a:lnTo>
                      <a:pt x="363" y="1185"/>
                    </a:lnTo>
                    <a:lnTo>
                      <a:pt x="35" y="1040"/>
                    </a:lnTo>
                    <a:lnTo>
                      <a:pt x="0" y="679"/>
                    </a:lnTo>
                    <a:lnTo>
                      <a:pt x="54" y="630"/>
                    </a:lnTo>
                    <a:lnTo>
                      <a:pt x="101" y="572"/>
                    </a:lnTo>
                    <a:lnTo>
                      <a:pt x="135" y="509"/>
                    </a:lnTo>
                    <a:lnTo>
                      <a:pt x="163" y="442"/>
                    </a:lnTo>
                    <a:lnTo>
                      <a:pt x="180" y="370"/>
                    </a:lnTo>
                    <a:lnTo>
                      <a:pt x="187" y="295"/>
                    </a:lnTo>
                    <a:lnTo>
                      <a:pt x="182" y="242"/>
                    </a:lnTo>
                    <a:lnTo>
                      <a:pt x="175" y="190"/>
                    </a:lnTo>
                    <a:lnTo>
                      <a:pt x="529" y="270"/>
                    </a:lnTo>
                    <a:lnTo>
                      <a:pt x="768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3FF2EFA-ADEA-4551-9D84-ABD27C7502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1959" y="2320604"/>
                <a:ext cx="825292" cy="1333890"/>
              </a:xfrm>
              <a:custGeom>
                <a:avLst/>
                <a:gdLst>
                  <a:gd name="T0" fmla="*/ 400 w 787"/>
                  <a:gd name="T1" fmla="*/ 0 h 1272"/>
                  <a:gd name="T2" fmla="*/ 640 w 787"/>
                  <a:gd name="T3" fmla="*/ 271 h 1272"/>
                  <a:gd name="T4" fmla="*/ 628 w 787"/>
                  <a:gd name="T5" fmla="*/ 336 h 1272"/>
                  <a:gd name="T6" fmla="*/ 624 w 787"/>
                  <a:gd name="T7" fmla="*/ 403 h 1272"/>
                  <a:gd name="T8" fmla="*/ 628 w 787"/>
                  <a:gd name="T9" fmla="*/ 473 h 1272"/>
                  <a:gd name="T10" fmla="*/ 642 w 787"/>
                  <a:gd name="T11" fmla="*/ 541 h 1272"/>
                  <a:gd name="T12" fmla="*/ 666 w 787"/>
                  <a:gd name="T13" fmla="*/ 603 h 1272"/>
                  <a:gd name="T14" fmla="*/ 698 w 787"/>
                  <a:gd name="T15" fmla="*/ 664 h 1272"/>
                  <a:gd name="T16" fmla="*/ 740 w 787"/>
                  <a:gd name="T17" fmla="*/ 720 h 1272"/>
                  <a:gd name="T18" fmla="*/ 787 w 787"/>
                  <a:gd name="T19" fmla="*/ 769 h 1272"/>
                  <a:gd name="T20" fmla="*/ 454 w 787"/>
                  <a:gd name="T21" fmla="*/ 915 h 1272"/>
                  <a:gd name="T22" fmla="*/ 419 w 787"/>
                  <a:gd name="T23" fmla="*/ 1272 h 1272"/>
                  <a:gd name="T24" fmla="*/ 335 w 787"/>
                  <a:gd name="T25" fmla="*/ 1199 h 1272"/>
                  <a:gd name="T26" fmla="*/ 261 w 787"/>
                  <a:gd name="T27" fmla="*/ 1118 h 1272"/>
                  <a:gd name="T28" fmla="*/ 193 w 787"/>
                  <a:gd name="T29" fmla="*/ 1030 h 1272"/>
                  <a:gd name="T30" fmla="*/ 137 w 787"/>
                  <a:gd name="T31" fmla="*/ 934 h 1272"/>
                  <a:gd name="T32" fmla="*/ 89 w 787"/>
                  <a:gd name="T33" fmla="*/ 836 h 1272"/>
                  <a:gd name="T34" fmla="*/ 51 w 787"/>
                  <a:gd name="T35" fmla="*/ 732 h 1272"/>
                  <a:gd name="T36" fmla="*/ 23 w 787"/>
                  <a:gd name="T37" fmla="*/ 624 h 1272"/>
                  <a:gd name="T38" fmla="*/ 7 w 787"/>
                  <a:gd name="T39" fmla="*/ 515 h 1272"/>
                  <a:gd name="T40" fmla="*/ 0 w 787"/>
                  <a:gd name="T41" fmla="*/ 403 h 1272"/>
                  <a:gd name="T42" fmla="*/ 7 w 787"/>
                  <a:gd name="T43" fmla="*/ 294 h 1272"/>
                  <a:gd name="T44" fmla="*/ 23 w 787"/>
                  <a:gd name="T45" fmla="*/ 184 h 1272"/>
                  <a:gd name="T46" fmla="*/ 49 w 787"/>
                  <a:gd name="T47" fmla="*/ 77 h 1272"/>
                  <a:gd name="T48" fmla="*/ 400 w 787"/>
                  <a:gd name="T49" fmla="*/ 0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7" h="1272">
                    <a:moveTo>
                      <a:pt x="400" y="0"/>
                    </a:moveTo>
                    <a:lnTo>
                      <a:pt x="640" y="271"/>
                    </a:lnTo>
                    <a:lnTo>
                      <a:pt x="628" y="336"/>
                    </a:lnTo>
                    <a:lnTo>
                      <a:pt x="624" y="403"/>
                    </a:lnTo>
                    <a:lnTo>
                      <a:pt x="628" y="473"/>
                    </a:lnTo>
                    <a:lnTo>
                      <a:pt x="642" y="541"/>
                    </a:lnTo>
                    <a:lnTo>
                      <a:pt x="666" y="603"/>
                    </a:lnTo>
                    <a:lnTo>
                      <a:pt x="698" y="664"/>
                    </a:lnTo>
                    <a:lnTo>
                      <a:pt x="740" y="720"/>
                    </a:lnTo>
                    <a:lnTo>
                      <a:pt x="787" y="769"/>
                    </a:lnTo>
                    <a:lnTo>
                      <a:pt x="454" y="915"/>
                    </a:lnTo>
                    <a:lnTo>
                      <a:pt x="419" y="1272"/>
                    </a:lnTo>
                    <a:lnTo>
                      <a:pt x="335" y="1199"/>
                    </a:lnTo>
                    <a:lnTo>
                      <a:pt x="261" y="1118"/>
                    </a:lnTo>
                    <a:lnTo>
                      <a:pt x="193" y="1030"/>
                    </a:lnTo>
                    <a:lnTo>
                      <a:pt x="137" y="934"/>
                    </a:lnTo>
                    <a:lnTo>
                      <a:pt x="89" y="836"/>
                    </a:lnTo>
                    <a:lnTo>
                      <a:pt x="51" y="732"/>
                    </a:lnTo>
                    <a:lnTo>
                      <a:pt x="23" y="624"/>
                    </a:lnTo>
                    <a:lnTo>
                      <a:pt x="7" y="515"/>
                    </a:lnTo>
                    <a:lnTo>
                      <a:pt x="0" y="403"/>
                    </a:lnTo>
                    <a:lnTo>
                      <a:pt x="7" y="294"/>
                    </a:lnTo>
                    <a:lnTo>
                      <a:pt x="23" y="184"/>
                    </a:lnTo>
                    <a:lnTo>
                      <a:pt x="49" y="77"/>
                    </a:lnTo>
                    <a:lnTo>
                      <a:pt x="400" y="0"/>
                    </a:lnTo>
                    <a:close/>
                  </a:path>
                </a:pathLst>
              </a:custGeom>
              <a:solidFill>
                <a:srgbClr val="FFA9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6004A9BE-DBB9-4349-A1A8-8B9691DF4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7463" y="1576058"/>
                <a:ext cx="1261533" cy="962665"/>
              </a:xfrm>
              <a:custGeom>
                <a:avLst/>
                <a:gdLst>
                  <a:gd name="T0" fmla="*/ 1022 w 1203"/>
                  <a:gd name="T1" fmla="*/ 0 h 918"/>
                  <a:gd name="T2" fmla="*/ 1203 w 1203"/>
                  <a:gd name="T3" fmla="*/ 312 h 918"/>
                  <a:gd name="T4" fmla="*/ 1022 w 1203"/>
                  <a:gd name="T5" fmla="*/ 624 h 918"/>
                  <a:gd name="T6" fmla="*/ 943 w 1203"/>
                  <a:gd name="T7" fmla="*/ 634 h 918"/>
                  <a:gd name="T8" fmla="*/ 866 w 1203"/>
                  <a:gd name="T9" fmla="*/ 655 h 918"/>
                  <a:gd name="T10" fmla="*/ 796 w 1203"/>
                  <a:gd name="T11" fmla="*/ 689 h 918"/>
                  <a:gd name="T12" fmla="*/ 733 w 1203"/>
                  <a:gd name="T13" fmla="*/ 731 h 918"/>
                  <a:gd name="T14" fmla="*/ 678 w 1203"/>
                  <a:gd name="T15" fmla="*/ 785 h 918"/>
                  <a:gd name="T16" fmla="*/ 629 w 1203"/>
                  <a:gd name="T17" fmla="*/ 848 h 918"/>
                  <a:gd name="T18" fmla="*/ 591 w 1203"/>
                  <a:gd name="T19" fmla="*/ 918 h 918"/>
                  <a:gd name="T20" fmla="*/ 352 w 1203"/>
                  <a:gd name="T21" fmla="*/ 645 h 918"/>
                  <a:gd name="T22" fmla="*/ 0 w 1203"/>
                  <a:gd name="T23" fmla="*/ 722 h 918"/>
                  <a:gd name="T24" fmla="*/ 44 w 1203"/>
                  <a:gd name="T25" fmla="*/ 617 h 918"/>
                  <a:gd name="T26" fmla="*/ 98 w 1203"/>
                  <a:gd name="T27" fmla="*/ 522 h 918"/>
                  <a:gd name="T28" fmla="*/ 163 w 1203"/>
                  <a:gd name="T29" fmla="*/ 431 h 918"/>
                  <a:gd name="T30" fmla="*/ 233 w 1203"/>
                  <a:gd name="T31" fmla="*/ 347 h 918"/>
                  <a:gd name="T32" fmla="*/ 312 w 1203"/>
                  <a:gd name="T33" fmla="*/ 270 h 918"/>
                  <a:gd name="T34" fmla="*/ 398 w 1203"/>
                  <a:gd name="T35" fmla="*/ 205 h 918"/>
                  <a:gd name="T36" fmla="*/ 491 w 1203"/>
                  <a:gd name="T37" fmla="*/ 147 h 918"/>
                  <a:gd name="T38" fmla="*/ 589 w 1203"/>
                  <a:gd name="T39" fmla="*/ 96 h 918"/>
                  <a:gd name="T40" fmla="*/ 691 w 1203"/>
                  <a:gd name="T41" fmla="*/ 56 h 918"/>
                  <a:gd name="T42" fmla="*/ 799 w 1203"/>
                  <a:gd name="T43" fmla="*/ 28 h 918"/>
                  <a:gd name="T44" fmla="*/ 908 w 1203"/>
                  <a:gd name="T45" fmla="*/ 10 h 918"/>
                  <a:gd name="T46" fmla="*/ 1022 w 1203"/>
                  <a:gd name="T47" fmla="*/ 0 h 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3" h="918">
                    <a:moveTo>
                      <a:pt x="1022" y="0"/>
                    </a:moveTo>
                    <a:lnTo>
                      <a:pt x="1203" y="312"/>
                    </a:lnTo>
                    <a:lnTo>
                      <a:pt x="1022" y="624"/>
                    </a:lnTo>
                    <a:lnTo>
                      <a:pt x="943" y="634"/>
                    </a:lnTo>
                    <a:lnTo>
                      <a:pt x="866" y="655"/>
                    </a:lnTo>
                    <a:lnTo>
                      <a:pt x="796" y="689"/>
                    </a:lnTo>
                    <a:lnTo>
                      <a:pt x="733" y="731"/>
                    </a:lnTo>
                    <a:lnTo>
                      <a:pt x="678" y="785"/>
                    </a:lnTo>
                    <a:lnTo>
                      <a:pt x="629" y="848"/>
                    </a:lnTo>
                    <a:lnTo>
                      <a:pt x="591" y="918"/>
                    </a:lnTo>
                    <a:lnTo>
                      <a:pt x="352" y="645"/>
                    </a:lnTo>
                    <a:lnTo>
                      <a:pt x="0" y="722"/>
                    </a:lnTo>
                    <a:lnTo>
                      <a:pt x="44" y="617"/>
                    </a:lnTo>
                    <a:lnTo>
                      <a:pt x="98" y="522"/>
                    </a:lnTo>
                    <a:lnTo>
                      <a:pt x="163" y="431"/>
                    </a:lnTo>
                    <a:lnTo>
                      <a:pt x="233" y="347"/>
                    </a:lnTo>
                    <a:lnTo>
                      <a:pt x="312" y="270"/>
                    </a:lnTo>
                    <a:lnTo>
                      <a:pt x="398" y="205"/>
                    </a:lnTo>
                    <a:lnTo>
                      <a:pt x="491" y="147"/>
                    </a:lnTo>
                    <a:lnTo>
                      <a:pt x="589" y="96"/>
                    </a:lnTo>
                    <a:lnTo>
                      <a:pt x="691" y="56"/>
                    </a:lnTo>
                    <a:lnTo>
                      <a:pt x="799" y="28"/>
                    </a:lnTo>
                    <a:lnTo>
                      <a:pt x="908" y="10"/>
                    </a:lnTo>
                    <a:lnTo>
                      <a:pt x="1022" y="0"/>
                    </a:lnTo>
                    <a:close/>
                  </a:path>
                </a:pathLst>
              </a:custGeom>
              <a:solidFill>
                <a:srgbClr val="FFCAA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ACB842A7-2355-43E2-A016-CF5F5000D4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9448" y="1579205"/>
                <a:ext cx="1051802" cy="1066483"/>
              </a:xfrm>
              <a:custGeom>
                <a:avLst/>
                <a:gdLst>
                  <a:gd name="T0" fmla="*/ 3 w 1003"/>
                  <a:gd name="T1" fmla="*/ 0 h 1017"/>
                  <a:gd name="T2" fmla="*/ 114 w 1003"/>
                  <a:gd name="T3" fmla="*/ 9 h 1017"/>
                  <a:gd name="T4" fmla="*/ 224 w 1003"/>
                  <a:gd name="T5" fmla="*/ 32 h 1017"/>
                  <a:gd name="T6" fmla="*/ 331 w 1003"/>
                  <a:gd name="T7" fmla="*/ 65 h 1017"/>
                  <a:gd name="T8" fmla="*/ 431 w 1003"/>
                  <a:gd name="T9" fmla="*/ 107 h 1017"/>
                  <a:gd name="T10" fmla="*/ 526 w 1003"/>
                  <a:gd name="T11" fmla="*/ 158 h 1017"/>
                  <a:gd name="T12" fmla="*/ 617 w 1003"/>
                  <a:gd name="T13" fmla="*/ 219 h 1017"/>
                  <a:gd name="T14" fmla="*/ 701 w 1003"/>
                  <a:gd name="T15" fmla="*/ 288 h 1017"/>
                  <a:gd name="T16" fmla="*/ 778 w 1003"/>
                  <a:gd name="T17" fmla="*/ 365 h 1017"/>
                  <a:gd name="T18" fmla="*/ 848 w 1003"/>
                  <a:gd name="T19" fmla="*/ 451 h 1017"/>
                  <a:gd name="T20" fmla="*/ 908 w 1003"/>
                  <a:gd name="T21" fmla="*/ 544 h 1017"/>
                  <a:gd name="T22" fmla="*/ 962 w 1003"/>
                  <a:gd name="T23" fmla="*/ 642 h 1017"/>
                  <a:gd name="T24" fmla="*/ 1003 w 1003"/>
                  <a:gd name="T25" fmla="*/ 749 h 1017"/>
                  <a:gd name="T26" fmla="*/ 764 w 1003"/>
                  <a:gd name="T27" fmla="*/ 1017 h 1017"/>
                  <a:gd name="T28" fmla="*/ 410 w 1003"/>
                  <a:gd name="T29" fmla="*/ 940 h 1017"/>
                  <a:gd name="T30" fmla="*/ 377 w 1003"/>
                  <a:gd name="T31" fmla="*/ 868 h 1017"/>
                  <a:gd name="T32" fmla="*/ 333 w 1003"/>
                  <a:gd name="T33" fmla="*/ 803 h 1017"/>
                  <a:gd name="T34" fmla="*/ 280 w 1003"/>
                  <a:gd name="T35" fmla="*/ 747 h 1017"/>
                  <a:gd name="T36" fmla="*/ 219 w 1003"/>
                  <a:gd name="T37" fmla="*/ 700 h 1017"/>
                  <a:gd name="T38" fmla="*/ 152 w 1003"/>
                  <a:gd name="T39" fmla="*/ 663 h 1017"/>
                  <a:gd name="T40" fmla="*/ 77 w 1003"/>
                  <a:gd name="T41" fmla="*/ 638 h 1017"/>
                  <a:gd name="T42" fmla="*/ 0 w 1003"/>
                  <a:gd name="T43" fmla="*/ 624 h 1017"/>
                  <a:gd name="T44" fmla="*/ 184 w 1003"/>
                  <a:gd name="T45" fmla="*/ 309 h 1017"/>
                  <a:gd name="T46" fmla="*/ 3 w 1003"/>
                  <a:gd name="T47" fmla="*/ 0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3" h="1017">
                    <a:moveTo>
                      <a:pt x="3" y="0"/>
                    </a:moveTo>
                    <a:lnTo>
                      <a:pt x="114" y="9"/>
                    </a:lnTo>
                    <a:lnTo>
                      <a:pt x="224" y="32"/>
                    </a:lnTo>
                    <a:lnTo>
                      <a:pt x="331" y="65"/>
                    </a:lnTo>
                    <a:lnTo>
                      <a:pt x="431" y="107"/>
                    </a:lnTo>
                    <a:lnTo>
                      <a:pt x="526" y="158"/>
                    </a:lnTo>
                    <a:lnTo>
                      <a:pt x="617" y="219"/>
                    </a:lnTo>
                    <a:lnTo>
                      <a:pt x="701" y="288"/>
                    </a:lnTo>
                    <a:lnTo>
                      <a:pt x="778" y="365"/>
                    </a:lnTo>
                    <a:lnTo>
                      <a:pt x="848" y="451"/>
                    </a:lnTo>
                    <a:lnTo>
                      <a:pt x="908" y="544"/>
                    </a:lnTo>
                    <a:lnTo>
                      <a:pt x="962" y="642"/>
                    </a:lnTo>
                    <a:lnTo>
                      <a:pt x="1003" y="749"/>
                    </a:lnTo>
                    <a:lnTo>
                      <a:pt x="764" y="1017"/>
                    </a:lnTo>
                    <a:lnTo>
                      <a:pt x="410" y="940"/>
                    </a:lnTo>
                    <a:lnTo>
                      <a:pt x="377" y="868"/>
                    </a:lnTo>
                    <a:lnTo>
                      <a:pt x="333" y="803"/>
                    </a:lnTo>
                    <a:lnTo>
                      <a:pt x="280" y="747"/>
                    </a:lnTo>
                    <a:lnTo>
                      <a:pt x="219" y="700"/>
                    </a:lnTo>
                    <a:lnTo>
                      <a:pt x="152" y="663"/>
                    </a:lnTo>
                    <a:lnTo>
                      <a:pt x="77" y="638"/>
                    </a:lnTo>
                    <a:lnTo>
                      <a:pt x="0" y="624"/>
                    </a:lnTo>
                    <a:lnTo>
                      <a:pt x="184" y="309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6" name="TextBox 74">
              <a:extLst>
                <a:ext uri="{FF2B5EF4-FFF2-40B4-BE49-F238E27FC236}">
                  <a16:creationId xmlns:a16="http://schemas.microsoft.com/office/drawing/2014/main" id="{1C1E3E59-3C6A-43E8-A070-B825F978F7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39196" y="251237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A9A3AD76-0981-442B-B65C-87956951AC32}"/>
              </a:ext>
            </a:extLst>
          </p:cNvPr>
          <p:cNvGrpSpPr/>
          <p:nvPr/>
        </p:nvGrpSpPr>
        <p:grpSpPr bwMode="gray">
          <a:xfrm>
            <a:off x="7743519" y="3964520"/>
            <a:ext cx="2333258" cy="2334307"/>
            <a:chOff x="7743519" y="3964520"/>
            <a:chExt cx="2333258" cy="2334307"/>
          </a:xfrm>
          <a:solidFill>
            <a:srgbClr val="E4E4E4"/>
          </a:solidFill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F6997AE6-609B-4A28-A9C8-DE3AADF9463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743519" y="3964520"/>
              <a:ext cx="2333258" cy="2334307"/>
              <a:chOff x="7743519" y="3964520"/>
              <a:chExt cx="2333258" cy="2334307"/>
            </a:xfrm>
            <a:grpFill/>
          </p:grpSpPr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FBEDEAEA-34E9-4922-A764-A3F2A388A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95797" y="5566863"/>
                <a:ext cx="776187" cy="731964"/>
              </a:xfrm>
              <a:custGeom>
                <a:avLst/>
                <a:gdLst>
                  <a:gd name="T0" fmla="*/ 342 w 661"/>
                  <a:gd name="T1" fmla="*/ 0 h 624"/>
                  <a:gd name="T2" fmla="*/ 398 w 661"/>
                  <a:gd name="T3" fmla="*/ 46 h 624"/>
                  <a:gd name="T4" fmla="*/ 458 w 661"/>
                  <a:gd name="T5" fmla="*/ 83 h 624"/>
                  <a:gd name="T6" fmla="*/ 521 w 661"/>
                  <a:gd name="T7" fmla="*/ 111 h 624"/>
                  <a:gd name="T8" fmla="*/ 591 w 661"/>
                  <a:gd name="T9" fmla="*/ 130 h 624"/>
                  <a:gd name="T10" fmla="*/ 661 w 661"/>
                  <a:gd name="T11" fmla="*/ 139 h 624"/>
                  <a:gd name="T12" fmla="*/ 519 w 661"/>
                  <a:gd name="T13" fmla="*/ 384 h 624"/>
                  <a:gd name="T14" fmla="*/ 658 w 661"/>
                  <a:gd name="T15" fmla="*/ 624 h 624"/>
                  <a:gd name="T16" fmla="*/ 554 w 661"/>
                  <a:gd name="T17" fmla="*/ 615 h 624"/>
                  <a:gd name="T18" fmla="*/ 451 w 661"/>
                  <a:gd name="T19" fmla="*/ 594 h 624"/>
                  <a:gd name="T20" fmla="*/ 351 w 661"/>
                  <a:gd name="T21" fmla="*/ 563 h 624"/>
                  <a:gd name="T22" fmla="*/ 256 w 661"/>
                  <a:gd name="T23" fmla="*/ 521 h 624"/>
                  <a:gd name="T24" fmla="*/ 165 w 661"/>
                  <a:gd name="T25" fmla="*/ 470 h 624"/>
                  <a:gd name="T26" fmla="*/ 79 w 661"/>
                  <a:gd name="T27" fmla="*/ 410 h 624"/>
                  <a:gd name="T28" fmla="*/ 0 w 661"/>
                  <a:gd name="T29" fmla="*/ 340 h 624"/>
                  <a:gd name="T30" fmla="*/ 70 w 661"/>
                  <a:gd name="T31" fmla="*/ 72 h 624"/>
                  <a:gd name="T32" fmla="*/ 342 w 661"/>
                  <a:gd name="T33" fmla="*/ 0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1" h="624">
                    <a:moveTo>
                      <a:pt x="342" y="0"/>
                    </a:moveTo>
                    <a:lnTo>
                      <a:pt x="398" y="46"/>
                    </a:lnTo>
                    <a:lnTo>
                      <a:pt x="458" y="83"/>
                    </a:lnTo>
                    <a:lnTo>
                      <a:pt x="521" y="111"/>
                    </a:lnTo>
                    <a:lnTo>
                      <a:pt x="591" y="130"/>
                    </a:lnTo>
                    <a:lnTo>
                      <a:pt x="661" y="139"/>
                    </a:lnTo>
                    <a:lnTo>
                      <a:pt x="519" y="384"/>
                    </a:lnTo>
                    <a:lnTo>
                      <a:pt x="658" y="624"/>
                    </a:lnTo>
                    <a:lnTo>
                      <a:pt x="554" y="615"/>
                    </a:lnTo>
                    <a:lnTo>
                      <a:pt x="451" y="594"/>
                    </a:lnTo>
                    <a:lnTo>
                      <a:pt x="351" y="563"/>
                    </a:lnTo>
                    <a:lnTo>
                      <a:pt x="256" y="521"/>
                    </a:lnTo>
                    <a:lnTo>
                      <a:pt x="165" y="470"/>
                    </a:lnTo>
                    <a:lnTo>
                      <a:pt x="79" y="410"/>
                    </a:lnTo>
                    <a:lnTo>
                      <a:pt x="0" y="340"/>
                    </a:lnTo>
                    <a:lnTo>
                      <a:pt x="70" y="7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1A88E6FB-5E5B-462C-9CAC-A3050359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48311" y="3964520"/>
                <a:ext cx="778536" cy="729618"/>
              </a:xfrm>
              <a:custGeom>
                <a:avLst/>
                <a:gdLst>
                  <a:gd name="T0" fmla="*/ 2 w 663"/>
                  <a:gd name="T1" fmla="*/ 0 h 622"/>
                  <a:gd name="T2" fmla="*/ 109 w 663"/>
                  <a:gd name="T3" fmla="*/ 10 h 622"/>
                  <a:gd name="T4" fmla="*/ 212 w 663"/>
                  <a:gd name="T5" fmla="*/ 28 h 622"/>
                  <a:gd name="T6" fmla="*/ 312 w 663"/>
                  <a:gd name="T7" fmla="*/ 61 h 622"/>
                  <a:gd name="T8" fmla="*/ 407 w 663"/>
                  <a:gd name="T9" fmla="*/ 101 h 622"/>
                  <a:gd name="T10" fmla="*/ 498 w 663"/>
                  <a:gd name="T11" fmla="*/ 152 h 622"/>
                  <a:gd name="T12" fmla="*/ 584 w 663"/>
                  <a:gd name="T13" fmla="*/ 212 h 622"/>
                  <a:gd name="T14" fmla="*/ 663 w 663"/>
                  <a:gd name="T15" fmla="*/ 282 h 622"/>
                  <a:gd name="T16" fmla="*/ 593 w 663"/>
                  <a:gd name="T17" fmla="*/ 552 h 622"/>
                  <a:gd name="T18" fmla="*/ 321 w 663"/>
                  <a:gd name="T19" fmla="*/ 622 h 622"/>
                  <a:gd name="T20" fmla="*/ 265 w 663"/>
                  <a:gd name="T21" fmla="*/ 578 h 622"/>
                  <a:gd name="T22" fmla="*/ 205 w 663"/>
                  <a:gd name="T23" fmla="*/ 541 h 622"/>
                  <a:gd name="T24" fmla="*/ 139 w 663"/>
                  <a:gd name="T25" fmla="*/ 511 h 622"/>
                  <a:gd name="T26" fmla="*/ 72 w 663"/>
                  <a:gd name="T27" fmla="*/ 492 h 622"/>
                  <a:gd name="T28" fmla="*/ 0 w 663"/>
                  <a:gd name="T29" fmla="*/ 483 h 622"/>
                  <a:gd name="T30" fmla="*/ 144 w 663"/>
                  <a:gd name="T31" fmla="*/ 240 h 622"/>
                  <a:gd name="T32" fmla="*/ 2 w 663"/>
                  <a:gd name="T33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3" h="622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28"/>
                    </a:lnTo>
                    <a:lnTo>
                      <a:pt x="312" y="61"/>
                    </a:lnTo>
                    <a:lnTo>
                      <a:pt x="407" y="101"/>
                    </a:lnTo>
                    <a:lnTo>
                      <a:pt x="498" y="152"/>
                    </a:lnTo>
                    <a:lnTo>
                      <a:pt x="584" y="212"/>
                    </a:lnTo>
                    <a:lnTo>
                      <a:pt x="663" y="282"/>
                    </a:lnTo>
                    <a:lnTo>
                      <a:pt x="593" y="552"/>
                    </a:lnTo>
                    <a:lnTo>
                      <a:pt x="321" y="622"/>
                    </a:lnTo>
                    <a:lnTo>
                      <a:pt x="265" y="578"/>
                    </a:lnTo>
                    <a:lnTo>
                      <a:pt x="205" y="541"/>
                    </a:lnTo>
                    <a:lnTo>
                      <a:pt x="139" y="511"/>
                    </a:lnTo>
                    <a:lnTo>
                      <a:pt x="72" y="492"/>
                    </a:lnTo>
                    <a:lnTo>
                      <a:pt x="0" y="483"/>
                    </a:lnTo>
                    <a:lnTo>
                      <a:pt x="144" y="24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98D049D-C193-4E4F-8F9E-D821721C25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47560" y="5170383"/>
                <a:ext cx="729217" cy="775366"/>
              </a:xfrm>
              <a:custGeom>
                <a:avLst/>
                <a:gdLst>
                  <a:gd name="T0" fmla="*/ 139 w 621"/>
                  <a:gd name="T1" fmla="*/ 0 h 661"/>
                  <a:gd name="T2" fmla="*/ 381 w 621"/>
                  <a:gd name="T3" fmla="*/ 142 h 661"/>
                  <a:gd name="T4" fmla="*/ 621 w 621"/>
                  <a:gd name="T5" fmla="*/ 2 h 661"/>
                  <a:gd name="T6" fmla="*/ 612 w 621"/>
                  <a:gd name="T7" fmla="*/ 107 h 661"/>
                  <a:gd name="T8" fmla="*/ 593 w 621"/>
                  <a:gd name="T9" fmla="*/ 209 h 661"/>
                  <a:gd name="T10" fmla="*/ 561 w 621"/>
                  <a:gd name="T11" fmla="*/ 310 h 661"/>
                  <a:gd name="T12" fmla="*/ 521 w 621"/>
                  <a:gd name="T13" fmla="*/ 405 h 661"/>
                  <a:gd name="T14" fmla="*/ 470 w 621"/>
                  <a:gd name="T15" fmla="*/ 496 h 661"/>
                  <a:gd name="T16" fmla="*/ 409 w 621"/>
                  <a:gd name="T17" fmla="*/ 582 h 661"/>
                  <a:gd name="T18" fmla="*/ 339 w 621"/>
                  <a:gd name="T19" fmla="*/ 661 h 661"/>
                  <a:gd name="T20" fmla="*/ 69 w 621"/>
                  <a:gd name="T21" fmla="*/ 592 h 661"/>
                  <a:gd name="T22" fmla="*/ 0 w 621"/>
                  <a:gd name="T23" fmla="*/ 319 h 661"/>
                  <a:gd name="T24" fmla="*/ 44 w 621"/>
                  <a:gd name="T25" fmla="*/ 263 h 661"/>
                  <a:gd name="T26" fmla="*/ 81 w 621"/>
                  <a:gd name="T27" fmla="*/ 202 h 661"/>
                  <a:gd name="T28" fmla="*/ 111 w 621"/>
                  <a:gd name="T29" fmla="*/ 140 h 661"/>
                  <a:gd name="T30" fmla="*/ 130 w 621"/>
                  <a:gd name="T31" fmla="*/ 70 h 661"/>
                  <a:gd name="T32" fmla="*/ 139 w 621"/>
                  <a:gd name="T33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61">
                    <a:moveTo>
                      <a:pt x="139" y="0"/>
                    </a:moveTo>
                    <a:lnTo>
                      <a:pt x="381" y="142"/>
                    </a:lnTo>
                    <a:lnTo>
                      <a:pt x="621" y="2"/>
                    </a:lnTo>
                    <a:lnTo>
                      <a:pt x="612" y="107"/>
                    </a:lnTo>
                    <a:lnTo>
                      <a:pt x="593" y="209"/>
                    </a:lnTo>
                    <a:lnTo>
                      <a:pt x="561" y="310"/>
                    </a:lnTo>
                    <a:lnTo>
                      <a:pt x="521" y="405"/>
                    </a:lnTo>
                    <a:lnTo>
                      <a:pt x="470" y="496"/>
                    </a:lnTo>
                    <a:lnTo>
                      <a:pt x="409" y="582"/>
                    </a:lnTo>
                    <a:lnTo>
                      <a:pt x="339" y="661"/>
                    </a:lnTo>
                    <a:lnTo>
                      <a:pt x="69" y="592"/>
                    </a:lnTo>
                    <a:lnTo>
                      <a:pt x="0" y="319"/>
                    </a:lnTo>
                    <a:lnTo>
                      <a:pt x="44" y="263"/>
                    </a:lnTo>
                    <a:lnTo>
                      <a:pt x="81" y="202"/>
                    </a:lnTo>
                    <a:lnTo>
                      <a:pt x="111" y="140"/>
                    </a:lnTo>
                    <a:lnTo>
                      <a:pt x="130" y="7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078C6C6-0154-4116-8AA2-8FE0B91EAD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9256" y="5583286"/>
                <a:ext cx="946455" cy="715541"/>
              </a:xfrm>
              <a:custGeom>
                <a:avLst/>
                <a:gdLst>
                  <a:gd name="T0" fmla="*/ 468 w 806"/>
                  <a:gd name="T1" fmla="*/ 0 h 610"/>
                  <a:gd name="T2" fmla="*/ 538 w 806"/>
                  <a:gd name="T3" fmla="*/ 272 h 610"/>
                  <a:gd name="T4" fmla="*/ 806 w 806"/>
                  <a:gd name="T5" fmla="*/ 342 h 610"/>
                  <a:gd name="T6" fmla="*/ 726 w 806"/>
                  <a:gd name="T7" fmla="*/ 410 h 610"/>
                  <a:gd name="T8" fmla="*/ 638 w 806"/>
                  <a:gd name="T9" fmla="*/ 470 h 610"/>
                  <a:gd name="T10" fmla="*/ 547 w 806"/>
                  <a:gd name="T11" fmla="*/ 519 h 610"/>
                  <a:gd name="T12" fmla="*/ 449 w 806"/>
                  <a:gd name="T13" fmla="*/ 556 h 610"/>
                  <a:gd name="T14" fmla="*/ 349 w 806"/>
                  <a:gd name="T15" fmla="*/ 584 h 610"/>
                  <a:gd name="T16" fmla="*/ 247 w 806"/>
                  <a:gd name="T17" fmla="*/ 603 h 610"/>
                  <a:gd name="T18" fmla="*/ 140 w 806"/>
                  <a:gd name="T19" fmla="*/ 610 h 610"/>
                  <a:gd name="T20" fmla="*/ 0 w 806"/>
                  <a:gd name="T21" fmla="*/ 370 h 610"/>
                  <a:gd name="T22" fmla="*/ 142 w 806"/>
                  <a:gd name="T23" fmla="*/ 128 h 610"/>
                  <a:gd name="T24" fmla="*/ 214 w 806"/>
                  <a:gd name="T25" fmla="*/ 121 h 610"/>
                  <a:gd name="T26" fmla="*/ 282 w 806"/>
                  <a:gd name="T27" fmla="*/ 104 h 610"/>
                  <a:gd name="T28" fmla="*/ 349 w 806"/>
                  <a:gd name="T29" fmla="*/ 79 h 610"/>
                  <a:gd name="T30" fmla="*/ 410 w 806"/>
                  <a:gd name="T31" fmla="*/ 44 h 610"/>
                  <a:gd name="T32" fmla="*/ 468 w 806"/>
                  <a:gd name="T33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6" h="610">
                    <a:moveTo>
                      <a:pt x="468" y="0"/>
                    </a:moveTo>
                    <a:lnTo>
                      <a:pt x="538" y="272"/>
                    </a:lnTo>
                    <a:lnTo>
                      <a:pt x="806" y="342"/>
                    </a:lnTo>
                    <a:lnTo>
                      <a:pt x="726" y="410"/>
                    </a:lnTo>
                    <a:lnTo>
                      <a:pt x="638" y="470"/>
                    </a:lnTo>
                    <a:lnTo>
                      <a:pt x="547" y="519"/>
                    </a:lnTo>
                    <a:lnTo>
                      <a:pt x="449" y="556"/>
                    </a:lnTo>
                    <a:lnTo>
                      <a:pt x="349" y="584"/>
                    </a:lnTo>
                    <a:lnTo>
                      <a:pt x="247" y="603"/>
                    </a:lnTo>
                    <a:lnTo>
                      <a:pt x="140" y="610"/>
                    </a:lnTo>
                    <a:lnTo>
                      <a:pt x="0" y="370"/>
                    </a:lnTo>
                    <a:lnTo>
                      <a:pt x="142" y="128"/>
                    </a:lnTo>
                    <a:lnTo>
                      <a:pt x="214" y="121"/>
                    </a:lnTo>
                    <a:lnTo>
                      <a:pt x="282" y="104"/>
                    </a:lnTo>
                    <a:lnTo>
                      <a:pt x="349" y="79"/>
                    </a:lnTo>
                    <a:lnTo>
                      <a:pt x="410" y="44"/>
                    </a:lnTo>
                    <a:lnTo>
                      <a:pt x="468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39E79F22-DA0C-424E-8E4F-4AADD3BB97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60477" y="4336367"/>
                <a:ext cx="716300" cy="945453"/>
              </a:xfrm>
              <a:custGeom>
                <a:avLst/>
                <a:gdLst>
                  <a:gd name="T0" fmla="*/ 345 w 610"/>
                  <a:gd name="T1" fmla="*/ 0 h 806"/>
                  <a:gd name="T2" fmla="*/ 412 w 610"/>
                  <a:gd name="T3" fmla="*/ 79 h 806"/>
                  <a:gd name="T4" fmla="*/ 470 w 610"/>
                  <a:gd name="T5" fmla="*/ 168 h 806"/>
                  <a:gd name="T6" fmla="*/ 519 w 610"/>
                  <a:gd name="T7" fmla="*/ 259 h 806"/>
                  <a:gd name="T8" fmla="*/ 559 w 610"/>
                  <a:gd name="T9" fmla="*/ 357 h 806"/>
                  <a:gd name="T10" fmla="*/ 587 w 610"/>
                  <a:gd name="T11" fmla="*/ 457 h 806"/>
                  <a:gd name="T12" fmla="*/ 603 w 610"/>
                  <a:gd name="T13" fmla="*/ 559 h 806"/>
                  <a:gd name="T14" fmla="*/ 610 w 610"/>
                  <a:gd name="T15" fmla="*/ 667 h 806"/>
                  <a:gd name="T16" fmla="*/ 370 w 610"/>
                  <a:gd name="T17" fmla="*/ 806 h 806"/>
                  <a:gd name="T18" fmla="*/ 128 w 610"/>
                  <a:gd name="T19" fmla="*/ 664 h 806"/>
                  <a:gd name="T20" fmla="*/ 121 w 610"/>
                  <a:gd name="T21" fmla="*/ 592 h 806"/>
                  <a:gd name="T22" fmla="*/ 105 w 610"/>
                  <a:gd name="T23" fmla="*/ 524 h 806"/>
                  <a:gd name="T24" fmla="*/ 79 w 610"/>
                  <a:gd name="T25" fmla="*/ 457 h 806"/>
                  <a:gd name="T26" fmla="*/ 44 w 610"/>
                  <a:gd name="T27" fmla="*/ 396 h 806"/>
                  <a:gd name="T28" fmla="*/ 0 w 610"/>
                  <a:gd name="T29" fmla="*/ 338 h 806"/>
                  <a:gd name="T30" fmla="*/ 275 w 610"/>
                  <a:gd name="T31" fmla="*/ 268 h 806"/>
                  <a:gd name="T32" fmla="*/ 345 w 610"/>
                  <a:gd name="T33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0" h="806">
                    <a:moveTo>
                      <a:pt x="345" y="0"/>
                    </a:moveTo>
                    <a:lnTo>
                      <a:pt x="412" y="79"/>
                    </a:lnTo>
                    <a:lnTo>
                      <a:pt x="470" y="168"/>
                    </a:lnTo>
                    <a:lnTo>
                      <a:pt x="519" y="259"/>
                    </a:lnTo>
                    <a:lnTo>
                      <a:pt x="559" y="357"/>
                    </a:lnTo>
                    <a:lnTo>
                      <a:pt x="587" y="457"/>
                    </a:lnTo>
                    <a:lnTo>
                      <a:pt x="603" y="559"/>
                    </a:lnTo>
                    <a:lnTo>
                      <a:pt x="610" y="667"/>
                    </a:lnTo>
                    <a:lnTo>
                      <a:pt x="370" y="806"/>
                    </a:lnTo>
                    <a:lnTo>
                      <a:pt x="128" y="664"/>
                    </a:lnTo>
                    <a:lnTo>
                      <a:pt x="121" y="592"/>
                    </a:lnTo>
                    <a:lnTo>
                      <a:pt x="105" y="524"/>
                    </a:lnTo>
                    <a:lnTo>
                      <a:pt x="79" y="457"/>
                    </a:lnTo>
                    <a:lnTo>
                      <a:pt x="44" y="396"/>
                    </a:lnTo>
                    <a:lnTo>
                      <a:pt x="0" y="338"/>
                    </a:lnTo>
                    <a:lnTo>
                      <a:pt x="275" y="268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0AB9F59A-7174-4B5D-B0AC-60FC60685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979181"/>
                <a:ext cx="715126" cy="947799"/>
              </a:xfrm>
              <a:custGeom>
                <a:avLst/>
                <a:gdLst>
                  <a:gd name="T0" fmla="*/ 239 w 609"/>
                  <a:gd name="T1" fmla="*/ 0 h 808"/>
                  <a:gd name="T2" fmla="*/ 481 w 609"/>
                  <a:gd name="T3" fmla="*/ 142 h 808"/>
                  <a:gd name="T4" fmla="*/ 488 w 609"/>
                  <a:gd name="T5" fmla="*/ 214 h 808"/>
                  <a:gd name="T6" fmla="*/ 505 w 609"/>
                  <a:gd name="T7" fmla="*/ 284 h 808"/>
                  <a:gd name="T8" fmla="*/ 530 w 609"/>
                  <a:gd name="T9" fmla="*/ 349 h 808"/>
                  <a:gd name="T10" fmla="*/ 565 w 609"/>
                  <a:gd name="T11" fmla="*/ 412 h 808"/>
                  <a:gd name="T12" fmla="*/ 609 w 609"/>
                  <a:gd name="T13" fmla="*/ 468 h 808"/>
                  <a:gd name="T14" fmla="*/ 337 w 609"/>
                  <a:gd name="T15" fmla="*/ 540 h 808"/>
                  <a:gd name="T16" fmla="*/ 267 w 609"/>
                  <a:gd name="T17" fmla="*/ 808 h 808"/>
                  <a:gd name="T18" fmla="*/ 200 w 609"/>
                  <a:gd name="T19" fmla="*/ 727 h 808"/>
                  <a:gd name="T20" fmla="*/ 139 w 609"/>
                  <a:gd name="T21" fmla="*/ 640 h 808"/>
                  <a:gd name="T22" fmla="*/ 90 w 609"/>
                  <a:gd name="T23" fmla="*/ 547 h 808"/>
                  <a:gd name="T24" fmla="*/ 53 w 609"/>
                  <a:gd name="T25" fmla="*/ 452 h 808"/>
                  <a:gd name="T26" fmla="*/ 25 w 609"/>
                  <a:gd name="T27" fmla="*/ 351 h 808"/>
                  <a:gd name="T28" fmla="*/ 7 w 609"/>
                  <a:gd name="T29" fmla="*/ 247 h 808"/>
                  <a:gd name="T30" fmla="*/ 0 w 609"/>
                  <a:gd name="T31" fmla="*/ 142 h 808"/>
                  <a:gd name="T32" fmla="*/ 239 w 609"/>
                  <a:gd name="T33" fmla="*/ 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808">
                    <a:moveTo>
                      <a:pt x="239" y="0"/>
                    </a:moveTo>
                    <a:lnTo>
                      <a:pt x="481" y="142"/>
                    </a:lnTo>
                    <a:lnTo>
                      <a:pt x="488" y="214"/>
                    </a:lnTo>
                    <a:lnTo>
                      <a:pt x="505" y="284"/>
                    </a:lnTo>
                    <a:lnTo>
                      <a:pt x="530" y="349"/>
                    </a:lnTo>
                    <a:lnTo>
                      <a:pt x="565" y="412"/>
                    </a:lnTo>
                    <a:lnTo>
                      <a:pt x="609" y="468"/>
                    </a:lnTo>
                    <a:lnTo>
                      <a:pt x="337" y="540"/>
                    </a:lnTo>
                    <a:lnTo>
                      <a:pt x="267" y="808"/>
                    </a:lnTo>
                    <a:lnTo>
                      <a:pt x="200" y="727"/>
                    </a:lnTo>
                    <a:lnTo>
                      <a:pt x="139" y="640"/>
                    </a:lnTo>
                    <a:lnTo>
                      <a:pt x="90" y="547"/>
                    </a:lnTo>
                    <a:lnTo>
                      <a:pt x="53" y="452"/>
                    </a:lnTo>
                    <a:lnTo>
                      <a:pt x="25" y="351"/>
                    </a:lnTo>
                    <a:lnTo>
                      <a:pt x="7" y="247"/>
                    </a:lnTo>
                    <a:lnTo>
                      <a:pt x="0" y="142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63D81699-E92A-4711-8237-193BAC9A11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4586" y="3964520"/>
                <a:ext cx="948803" cy="716715"/>
              </a:xfrm>
              <a:custGeom>
                <a:avLst/>
                <a:gdLst>
                  <a:gd name="T0" fmla="*/ 666 w 808"/>
                  <a:gd name="T1" fmla="*/ 0 h 611"/>
                  <a:gd name="T2" fmla="*/ 808 w 808"/>
                  <a:gd name="T3" fmla="*/ 240 h 611"/>
                  <a:gd name="T4" fmla="*/ 666 w 808"/>
                  <a:gd name="T5" fmla="*/ 483 h 611"/>
                  <a:gd name="T6" fmla="*/ 593 w 808"/>
                  <a:gd name="T7" fmla="*/ 490 h 611"/>
                  <a:gd name="T8" fmla="*/ 524 w 808"/>
                  <a:gd name="T9" fmla="*/ 506 h 611"/>
                  <a:gd name="T10" fmla="*/ 459 w 808"/>
                  <a:gd name="T11" fmla="*/ 532 h 611"/>
                  <a:gd name="T12" fmla="*/ 396 w 808"/>
                  <a:gd name="T13" fmla="*/ 566 h 611"/>
                  <a:gd name="T14" fmla="*/ 340 w 808"/>
                  <a:gd name="T15" fmla="*/ 611 h 611"/>
                  <a:gd name="T16" fmla="*/ 268 w 808"/>
                  <a:gd name="T17" fmla="*/ 336 h 611"/>
                  <a:gd name="T18" fmla="*/ 0 w 808"/>
                  <a:gd name="T19" fmla="*/ 266 h 611"/>
                  <a:gd name="T20" fmla="*/ 81 w 808"/>
                  <a:gd name="T21" fmla="*/ 198 h 611"/>
                  <a:gd name="T22" fmla="*/ 168 w 808"/>
                  <a:gd name="T23" fmla="*/ 140 h 611"/>
                  <a:gd name="T24" fmla="*/ 261 w 808"/>
                  <a:gd name="T25" fmla="*/ 91 h 611"/>
                  <a:gd name="T26" fmla="*/ 356 w 808"/>
                  <a:gd name="T27" fmla="*/ 52 h 611"/>
                  <a:gd name="T28" fmla="*/ 456 w 808"/>
                  <a:gd name="T29" fmla="*/ 24 h 611"/>
                  <a:gd name="T30" fmla="*/ 561 w 808"/>
                  <a:gd name="T31" fmla="*/ 7 h 611"/>
                  <a:gd name="T32" fmla="*/ 666 w 808"/>
                  <a:gd name="T33" fmla="*/ 0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8" h="611">
                    <a:moveTo>
                      <a:pt x="666" y="0"/>
                    </a:moveTo>
                    <a:lnTo>
                      <a:pt x="808" y="240"/>
                    </a:lnTo>
                    <a:lnTo>
                      <a:pt x="666" y="483"/>
                    </a:lnTo>
                    <a:lnTo>
                      <a:pt x="593" y="490"/>
                    </a:lnTo>
                    <a:lnTo>
                      <a:pt x="524" y="506"/>
                    </a:lnTo>
                    <a:lnTo>
                      <a:pt x="459" y="532"/>
                    </a:lnTo>
                    <a:lnTo>
                      <a:pt x="396" y="566"/>
                    </a:lnTo>
                    <a:lnTo>
                      <a:pt x="340" y="611"/>
                    </a:lnTo>
                    <a:lnTo>
                      <a:pt x="268" y="336"/>
                    </a:lnTo>
                    <a:lnTo>
                      <a:pt x="0" y="266"/>
                    </a:lnTo>
                    <a:lnTo>
                      <a:pt x="81" y="198"/>
                    </a:lnTo>
                    <a:lnTo>
                      <a:pt x="168" y="140"/>
                    </a:lnTo>
                    <a:lnTo>
                      <a:pt x="261" y="91"/>
                    </a:lnTo>
                    <a:lnTo>
                      <a:pt x="356" y="52"/>
                    </a:lnTo>
                    <a:lnTo>
                      <a:pt x="456" y="24"/>
                    </a:lnTo>
                    <a:lnTo>
                      <a:pt x="561" y="7"/>
                    </a:lnTo>
                    <a:lnTo>
                      <a:pt x="666" y="0"/>
                    </a:lnTo>
                    <a:close/>
                  </a:path>
                </a:pathLst>
              </a:custGeom>
              <a:solidFill>
                <a:srgbClr val="FF964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231D8944-78E3-48F1-8270-6A331A21EB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3519" y="4315253"/>
                <a:ext cx="731565" cy="778884"/>
              </a:xfrm>
              <a:custGeom>
                <a:avLst/>
                <a:gdLst>
                  <a:gd name="T0" fmla="*/ 283 w 623"/>
                  <a:gd name="T1" fmla="*/ 0 h 664"/>
                  <a:gd name="T2" fmla="*/ 551 w 623"/>
                  <a:gd name="T3" fmla="*/ 69 h 664"/>
                  <a:gd name="T4" fmla="*/ 623 w 623"/>
                  <a:gd name="T5" fmla="*/ 342 h 664"/>
                  <a:gd name="T6" fmla="*/ 577 w 623"/>
                  <a:gd name="T7" fmla="*/ 398 h 664"/>
                  <a:gd name="T8" fmla="*/ 539 w 623"/>
                  <a:gd name="T9" fmla="*/ 459 h 664"/>
                  <a:gd name="T10" fmla="*/ 512 w 623"/>
                  <a:gd name="T11" fmla="*/ 524 h 664"/>
                  <a:gd name="T12" fmla="*/ 493 w 623"/>
                  <a:gd name="T13" fmla="*/ 591 h 664"/>
                  <a:gd name="T14" fmla="*/ 484 w 623"/>
                  <a:gd name="T15" fmla="*/ 664 h 664"/>
                  <a:gd name="T16" fmla="*/ 239 w 623"/>
                  <a:gd name="T17" fmla="*/ 519 h 664"/>
                  <a:gd name="T18" fmla="*/ 0 w 623"/>
                  <a:gd name="T19" fmla="*/ 661 h 664"/>
                  <a:gd name="T20" fmla="*/ 9 w 623"/>
                  <a:gd name="T21" fmla="*/ 554 h 664"/>
                  <a:gd name="T22" fmla="*/ 30 w 623"/>
                  <a:gd name="T23" fmla="*/ 452 h 664"/>
                  <a:gd name="T24" fmla="*/ 60 w 623"/>
                  <a:gd name="T25" fmla="*/ 351 h 664"/>
                  <a:gd name="T26" fmla="*/ 102 w 623"/>
                  <a:gd name="T27" fmla="*/ 256 h 664"/>
                  <a:gd name="T28" fmla="*/ 153 w 623"/>
                  <a:gd name="T29" fmla="*/ 165 h 664"/>
                  <a:gd name="T30" fmla="*/ 214 w 623"/>
                  <a:gd name="T31" fmla="*/ 79 h 664"/>
                  <a:gd name="T32" fmla="*/ 283 w 623"/>
                  <a:gd name="T33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3" h="664">
                    <a:moveTo>
                      <a:pt x="283" y="0"/>
                    </a:moveTo>
                    <a:lnTo>
                      <a:pt x="551" y="69"/>
                    </a:lnTo>
                    <a:lnTo>
                      <a:pt x="623" y="342"/>
                    </a:lnTo>
                    <a:lnTo>
                      <a:pt x="577" y="398"/>
                    </a:lnTo>
                    <a:lnTo>
                      <a:pt x="539" y="459"/>
                    </a:lnTo>
                    <a:lnTo>
                      <a:pt x="512" y="524"/>
                    </a:lnTo>
                    <a:lnTo>
                      <a:pt x="493" y="591"/>
                    </a:lnTo>
                    <a:lnTo>
                      <a:pt x="484" y="664"/>
                    </a:lnTo>
                    <a:lnTo>
                      <a:pt x="239" y="519"/>
                    </a:lnTo>
                    <a:lnTo>
                      <a:pt x="0" y="661"/>
                    </a:lnTo>
                    <a:lnTo>
                      <a:pt x="9" y="554"/>
                    </a:lnTo>
                    <a:lnTo>
                      <a:pt x="30" y="452"/>
                    </a:lnTo>
                    <a:lnTo>
                      <a:pt x="60" y="351"/>
                    </a:lnTo>
                    <a:lnTo>
                      <a:pt x="102" y="256"/>
                    </a:lnTo>
                    <a:lnTo>
                      <a:pt x="153" y="165"/>
                    </a:lnTo>
                    <a:lnTo>
                      <a:pt x="214" y="79"/>
                    </a:lnTo>
                    <a:lnTo>
                      <a:pt x="283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7" name="TextBox 75">
              <a:extLst>
                <a:ext uri="{FF2B5EF4-FFF2-40B4-BE49-F238E27FC236}">
                  <a16:creationId xmlns:a16="http://schemas.microsoft.com/office/drawing/2014/main" id="{19C5A113-447F-4C1F-A400-DCC786AA140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40755" y="4900840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A5E7C42-BEC0-444E-8D72-40B107AAA6AF}"/>
              </a:ext>
            </a:extLst>
          </p:cNvPr>
          <p:cNvGrpSpPr/>
          <p:nvPr/>
        </p:nvGrpSpPr>
        <p:grpSpPr bwMode="gray">
          <a:xfrm>
            <a:off x="4861500" y="3974418"/>
            <a:ext cx="2333258" cy="2334307"/>
            <a:chOff x="4861500" y="3974418"/>
            <a:chExt cx="2333258" cy="2334307"/>
          </a:xfrm>
          <a:solidFill>
            <a:srgbClr val="E4E4E4"/>
          </a:solidFill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78B076F-8793-4F4C-87CA-F3E17B3897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861500" y="3974418"/>
              <a:ext cx="2333258" cy="2334307"/>
              <a:chOff x="4861500" y="3974418"/>
              <a:chExt cx="2333258" cy="2334307"/>
            </a:xfrm>
            <a:grpFill/>
          </p:grpSpPr>
          <p:sp>
            <p:nvSpPr>
              <p:cNvPr id="28" name="Freeform 28">
                <a:extLst>
                  <a:ext uri="{FF2B5EF4-FFF2-40B4-BE49-F238E27FC236}">
                    <a16:creationId xmlns:a16="http://schemas.microsoft.com/office/drawing/2014/main" id="{16DD1F36-BBF0-4F25-9D5B-381B1BB38C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6292" y="3974418"/>
                <a:ext cx="866605" cy="778884"/>
              </a:xfrm>
              <a:custGeom>
                <a:avLst/>
                <a:gdLst>
                  <a:gd name="T0" fmla="*/ 2 w 738"/>
                  <a:gd name="T1" fmla="*/ 0 h 664"/>
                  <a:gd name="T2" fmla="*/ 109 w 738"/>
                  <a:gd name="T3" fmla="*/ 10 h 664"/>
                  <a:gd name="T4" fmla="*/ 212 w 738"/>
                  <a:gd name="T5" fmla="*/ 31 h 664"/>
                  <a:gd name="T6" fmla="*/ 312 w 738"/>
                  <a:gd name="T7" fmla="*/ 61 h 664"/>
                  <a:gd name="T8" fmla="*/ 410 w 738"/>
                  <a:gd name="T9" fmla="*/ 103 h 664"/>
                  <a:gd name="T10" fmla="*/ 500 w 738"/>
                  <a:gd name="T11" fmla="*/ 154 h 664"/>
                  <a:gd name="T12" fmla="*/ 586 w 738"/>
                  <a:gd name="T13" fmla="*/ 215 h 664"/>
                  <a:gd name="T14" fmla="*/ 666 w 738"/>
                  <a:gd name="T15" fmla="*/ 285 h 664"/>
                  <a:gd name="T16" fmla="*/ 738 w 738"/>
                  <a:gd name="T17" fmla="*/ 366 h 664"/>
                  <a:gd name="T18" fmla="*/ 638 w 738"/>
                  <a:gd name="T19" fmla="*/ 625 h 664"/>
                  <a:gd name="T20" fmla="*/ 358 w 738"/>
                  <a:gd name="T21" fmla="*/ 664 h 664"/>
                  <a:gd name="T22" fmla="*/ 309 w 738"/>
                  <a:gd name="T23" fmla="*/ 615 h 664"/>
                  <a:gd name="T24" fmla="*/ 256 w 738"/>
                  <a:gd name="T25" fmla="*/ 571 h 664"/>
                  <a:gd name="T26" fmla="*/ 198 w 738"/>
                  <a:gd name="T27" fmla="*/ 536 h 664"/>
                  <a:gd name="T28" fmla="*/ 135 w 738"/>
                  <a:gd name="T29" fmla="*/ 511 h 664"/>
                  <a:gd name="T30" fmla="*/ 67 w 738"/>
                  <a:gd name="T31" fmla="*/ 492 h 664"/>
                  <a:gd name="T32" fmla="*/ 0 w 738"/>
                  <a:gd name="T33" fmla="*/ 483 h 664"/>
                  <a:gd name="T34" fmla="*/ 142 w 738"/>
                  <a:gd name="T35" fmla="*/ 238 h 664"/>
                  <a:gd name="T36" fmla="*/ 2 w 738"/>
                  <a:gd name="T37" fmla="*/ 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8" h="664">
                    <a:moveTo>
                      <a:pt x="2" y="0"/>
                    </a:moveTo>
                    <a:lnTo>
                      <a:pt x="109" y="10"/>
                    </a:lnTo>
                    <a:lnTo>
                      <a:pt x="212" y="31"/>
                    </a:lnTo>
                    <a:lnTo>
                      <a:pt x="312" y="61"/>
                    </a:lnTo>
                    <a:lnTo>
                      <a:pt x="410" y="103"/>
                    </a:lnTo>
                    <a:lnTo>
                      <a:pt x="500" y="154"/>
                    </a:lnTo>
                    <a:lnTo>
                      <a:pt x="586" y="215"/>
                    </a:lnTo>
                    <a:lnTo>
                      <a:pt x="666" y="285"/>
                    </a:lnTo>
                    <a:lnTo>
                      <a:pt x="738" y="366"/>
                    </a:lnTo>
                    <a:lnTo>
                      <a:pt x="638" y="625"/>
                    </a:lnTo>
                    <a:lnTo>
                      <a:pt x="358" y="664"/>
                    </a:lnTo>
                    <a:lnTo>
                      <a:pt x="309" y="615"/>
                    </a:lnTo>
                    <a:lnTo>
                      <a:pt x="256" y="571"/>
                    </a:lnTo>
                    <a:lnTo>
                      <a:pt x="198" y="536"/>
                    </a:lnTo>
                    <a:lnTo>
                      <a:pt x="135" y="511"/>
                    </a:lnTo>
                    <a:lnTo>
                      <a:pt x="67" y="492"/>
                    </a:lnTo>
                    <a:lnTo>
                      <a:pt x="0" y="483"/>
                    </a:lnTo>
                    <a:lnTo>
                      <a:pt x="142" y="238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Freeform 29">
                <a:extLst>
                  <a:ext uri="{FF2B5EF4-FFF2-40B4-BE49-F238E27FC236}">
                    <a16:creationId xmlns:a16="http://schemas.microsoft.com/office/drawing/2014/main" id="{C36617A6-7AD6-4885-8426-0DCF4146E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9557" y="4444799"/>
                <a:ext cx="675201" cy="1041640"/>
              </a:xfrm>
              <a:custGeom>
                <a:avLst/>
                <a:gdLst>
                  <a:gd name="T0" fmla="*/ 380 w 575"/>
                  <a:gd name="T1" fmla="*/ 0 h 888"/>
                  <a:gd name="T2" fmla="*/ 438 w 575"/>
                  <a:gd name="T3" fmla="*/ 89 h 888"/>
                  <a:gd name="T4" fmla="*/ 487 w 575"/>
                  <a:gd name="T5" fmla="*/ 182 h 888"/>
                  <a:gd name="T6" fmla="*/ 526 w 575"/>
                  <a:gd name="T7" fmla="*/ 280 h 888"/>
                  <a:gd name="T8" fmla="*/ 552 w 575"/>
                  <a:gd name="T9" fmla="*/ 382 h 888"/>
                  <a:gd name="T10" fmla="*/ 570 w 575"/>
                  <a:gd name="T11" fmla="*/ 487 h 888"/>
                  <a:gd name="T12" fmla="*/ 575 w 575"/>
                  <a:gd name="T13" fmla="*/ 594 h 888"/>
                  <a:gd name="T14" fmla="*/ 570 w 575"/>
                  <a:gd name="T15" fmla="*/ 699 h 888"/>
                  <a:gd name="T16" fmla="*/ 552 w 575"/>
                  <a:gd name="T17" fmla="*/ 804 h 888"/>
                  <a:gd name="T18" fmla="*/ 289 w 575"/>
                  <a:gd name="T19" fmla="*/ 888 h 888"/>
                  <a:gd name="T20" fmla="*/ 84 w 575"/>
                  <a:gd name="T21" fmla="*/ 694 h 888"/>
                  <a:gd name="T22" fmla="*/ 91 w 575"/>
                  <a:gd name="T23" fmla="*/ 645 h 888"/>
                  <a:gd name="T24" fmla="*/ 93 w 575"/>
                  <a:gd name="T25" fmla="*/ 594 h 888"/>
                  <a:gd name="T26" fmla="*/ 86 w 575"/>
                  <a:gd name="T27" fmla="*/ 515 h 888"/>
                  <a:gd name="T28" fmla="*/ 70 w 575"/>
                  <a:gd name="T29" fmla="*/ 440 h 888"/>
                  <a:gd name="T30" fmla="*/ 40 w 575"/>
                  <a:gd name="T31" fmla="*/ 368 h 888"/>
                  <a:gd name="T32" fmla="*/ 0 w 575"/>
                  <a:gd name="T33" fmla="*/ 301 h 888"/>
                  <a:gd name="T34" fmla="*/ 280 w 575"/>
                  <a:gd name="T35" fmla="*/ 259 h 888"/>
                  <a:gd name="T36" fmla="*/ 380 w 575"/>
                  <a:gd name="T37" fmla="*/ 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5" h="888">
                    <a:moveTo>
                      <a:pt x="380" y="0"/>
                    </a:moveTo>
                    <a:lnTo>
                      <a:pt x="438" y="89"/>
                    </a:lnTo>
                    <a:lnTo>
                      <a:pt x="487" y="182"/>
                    </a:lnTo>
                    <a:lnTo>
                      <a:pt x="526" y="280"/>
                    </a:lnTo>
                    <a:lnTo>
                      <a:pt x="552" y="382"/>
                    </a:lnTo>
                    <a:lnTo>
                      <a:pt x="570" y="487"/>
                    </a:lnTo>
                    <a:lnTo>
                      <a:pt x="575" y="594"/>
                    </a:lnTo>
                    <a:lnTo>
                      <a:pt x="570" y="699"/>
                    </a:lnTo>
                    <a:lnTo>
                      <a:pt x="552" y="804"/>
                    </a:lnTo>
                    <a:lnTo>
                      <a:pt x="289" y="888"/>
                    </a:lnTo>
                    <a:lnTo>
                      <a:pt x="84" y="694"/>
                    </a:lnTo>
                    <a:lnTo>
                      <a:pt x="91" y="645"/>
                    </a:lnTo>
                    <a:lnTo>
                      <a:pt x="93" y="594"/>
                    </a:lnTo>
                    <a:lnTo>
                      <a:pt x="86" y="515"/>
                    </a:lnTo>
                    <a:lnTo>
                      <a:pt x="70" y="440"/>
                    </a:lnTo>
                    <a:lnTo>
                      <a:pt x="40" y="368"/>
                    </a:lnTo>
                    <a:lnTo>
                      <a:pt x="0" y="301"/>
                    </a:lnTo>
                    <a:lnTo>
                      <a:pt x="280" y="259"/>
                    </a:lnTo>
                    <a:lnTo>
                      <a:pt x="380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5396340A-F41A-4722-A3E0-347E7A9F7F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485" y="5311659"/>
                <a:ext cx="879522" cy="876245"/>
              </a:xfrm>
              <a:custGeom>
                <a:avLst/>
                <a:gdLst>
                  <a:gd name="T0" fmla="*/ 279 w 749"/>
                  <a:gd name="T1" fmla="*/ 0 h 747"/>
                  <a:gd name="T2" fmla="*/ 484 w 749"/>
                  <a:gd name="T3" fmla="*/ 193 h 747"/>
                  <a:gd name="T4" fmla="*/ 749 w 749"/>
                  <a:gd name="T5" fmla="*/ 109 h 747"/>
                  <a:gd name="T6" fmla="*/ 717 w 749"/>
                  <a:gd name="T7" fmla="*/ 212 h 747"/>
                  <a:gd name="T8" fmla="*/ 673 w 749"/>
                  <a:gd name="T9" fmla="*/ 307 h 747"/>
                  <a:gd name="T10" fmla="*/ 619 w 749"/>
                  <a:gd name="T11" fmla="*/ 398 h 747"/>
                  <a:gd name="T12" fmla="*/ 559 w 749"/>
                  <a:gd name="T13" fmla="*/ 484 h 747"/>
                  <a:gd name="T14" fmla="*/ 487 w 749"/>
                  <a:gd name="T15" fmla="*/ 561 h 747"/>
                  <a:gd name="T16" fmla="*/ 407 w 749"/>
                  <a:gd name="T17" fmla="*/ 631 h 747"/>
                  <a:gd name="T18" fmla="*/ 321 w 749"/>
                  <a:gd name="T19" fmla="*/ 694 h 747"/>
                  <a:gd name="T20" fmla="*/ 231 w 749"/>
                  <a:gd name="T21" fmla="*/ 747 h 747"/>
                  <a:gd name="T22" fmla="*/ 0 w 749"/>
                  <a:gd name="T23" fmla="*/ 591 h 747"/>
                  <a:gd name="T24" fmla="*/ 21 w 749"/>
                  <a:gd name="T25" fmla="*/ 309 h 747"/>
                  <a:gd name="T26" fmla="*/ 82 w 749"/>
                  <a:gd name="T27" fmla="*/ 275 h 747"/>
                  <a:gd name="T28" fmla="*/ 135 w 749"/>
                  <a:gd name="T29" fmla="*/ 230 h 747"/>
                  <a:gd name="T30" fmla="*/ 182 w 749"/>
                  <a:gd name="T31" fmla="*/ 181 h 747"/>
                  <a:gd name="T32" fmla="*/ 224 w 749"/>
                  <a:gd name="T33" fmla="*/ 125 h 747"/>
                  <a:gd name="T34" fmla="*/ 254 w 749"/>
                  <a:gd name="T35" fmla="*/ 65 h 747"/>
                  <a:gd name="T36" fmla="*/ 279 w 749"/>
                  <a:gd name="T37" fmla="*/ 0 h 7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9" h="747">
                    <a:moveTo>
                      <a:pt x="279" y="0"/>
                    </a:moveTo>
                    <a:lnTo>
                      <a:pt x="484" y="193"/>
                    </a:lnTo>
                    <a:lnTo>
                      <a:pt x="749" y="109"/>
                    </a:lnTo>
                    <a:lnTo>
                      <a:pt x="717" y="212"/>
                    </a:lnTo>
                    <a:lnTo>
                      <a:pt x="673" y="307"/>
                    </a:lnTo>
                    <a:lnTo>
                      <a:pt x="619" y="398"/>
                    </a:lnTo>
                    <a:lnTo>
                      <a:pt x="559" y="484"/>
                    </a:lnTo>
                    <a:lnTo>
                      <a:pt x="487" y="561"/>
                    </a:lnTo>
                    <a:lnTo>
                      <a:pt x="407" y="631"/>
                    </a:lnTo>
                    <a:lnTo>
                      <a:pt x="321" y="694"/>
                    </a:lnTo>
                    <a:lnTo>
                      <a:pt x="231" y="747"/>
                    </a:lnTo>
                    <a:lnTo>
                      <a:pt x="0" y="591"/>
                    </a:lnTo>
                    <a:lnTo>
                      <a:pt x="21" y="309"/>
                    </a:lnTo>
                    <a:lnTo>
                      <a:pt x="82" y="275"/>
                    </a:lnTo>
                    <a:lnTo>
                      <a:pt x="135" y="230"/>
                    </a:lnTo>
                    <a:lnTo>
                      <a:pt x="182" y="181"/>
                    </a:lnTo>
                    <a:lnTo>
                      <a:pt x="224" y="125"/>
                    </a:lnTo>
                    <a:lnTo>
                      <a:pt x="254" y="65"/>
                    </a:lnTo>
                    <a:lnTo>
                      <a:pt x="279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924CC89-F45D-4AE0-A8AB-C9B6B6EC6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9800" y="3974418"/>
                <a:ext cx="1038047" cy="762462"/>
              </a:xfrm>
              <a:custGeom>
                <a:avLst/>
                <a:gdLst>
                  <a:gd name="T0" fmla="*/ 745 w 884"/>
                  <a:gd name="T1" fmla="*/ 0 h 650"/>
                  <a:gd name="T2" fmla="*/ 884 w 884"/>
                  <a:gd name="T3" fmla="*/ 238 h 650"/>
                  <a:gd name="T4" fmla="*/ 742 w 884"/>
                  <a:gd name="T5" fmla="*/ 483 h 650"/>
                  <a:gd name="T6" fmla="*/ 673 w 884"/>
                  <a:gd name="T7" fmla="*/ 490 h 650"/>
                  <a:gd name="T8" fmla="*/ 605 w 884"/>
                  <a:gd name="T9" fmla="*/ 504 h 650"/>
                  <a:gd name="T10" fmla="*/ 542 w 884"/>
                  <a:gd name="T11" fmla="*/ 529 h 650"/>
                  <a:gd name="T12" fmla="*/ 482 w 884"/>
                  <a:gd name="T13" fmla="*/ 562 h 650"/>
                  <a:gd name="T14" fmla="*/ 426 w 884"/>
                  <a:gd name="T15" fmla="*/ 601 h 650"/>
                  <a:gd name="T16" fmla="*/ 377 w 884"/>
                  <a:gd name="T17" fmla="*/ 650 h 650"/>
                  <a:gd name="T18" fmla="*/ 275 w 884"/>
                  <a:gd name="T19" fmla="*/ 387 h 650"/>
                  <a:gd name="T20" fmla="*/ 0 w 884"/>
                  <a:gd name="T21" fmla="*/ 347 h 650"/>
                  <a:gd name="T22" fmla="*/ 74 w 884"/>
                  <a:gd name="T23" fmla="*/ 271 h 650"/>
                  <a:gd name="T24" fmla="*/ 156 w 884"/>
                  <a:gd name="T25" fmla="*/ 201 h 650"/>
                  <a:gd name="T26" fmla="*/ 242 w 884"/>
                  <a:gd name="T27" fmla="*/ 142 h 650"/>
                  <a:gd name="T28" fmla="*/ 335 w 884"/>
                  <a:gd name="T29" fmla="*/ 94 h 650"/>
                  <a:gd name="T30" fmla="*/ 433 w 884"/>
                  <a:gd name="T31" fmla="*/ 54 h 650"/>
                  <a:gd name="T32" fmla="*/ 533 w 884"/>
                  <a:gd name="T33" fmla="*/ 24 h 650"/>
                  <a:gd name="T34" fmla="*/ 638 w 884"/>
                  <a:gd name="T35" fmla="*/ 7 h 650"/>
                  <a:gd name="T36" fmla="*/ 745 w 884"/>
                  <a:gd name="T37" fmla="*/ 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4" h="650">
                    <a:moveTo>
                      <a:pt x="745" y="0"/>
                    </a:moveTo>
                    <a:lnTo>
                      <a:pt x="884" y="238"/>
                    </a:lnTo>
                    <a:lnTo>
                      <a:pt x="742" y="483"/>
                    </a:lnTo>
                    <a:lnTo>
                      <a:pt x="673" y="490"/>
                    </a:lnTo>
                    <a:lnTo>
                      <a:pt x="605" y="504"/>
                    </a:lnTo>
                    <a:lnTo>
                      <a:pt x="542" y="529"/>
                    </a:lnTo>
                    <a:lnTo>
                      <a:pt x="482" y="562"/>
                    </a:lnTo>
                    <a:lnTo>
                      <a:pt x="426" y="601"/>
                    </a:lnTo>
                    <a:lnTo>
                      <a:pt x="377" y="650"/>
                    </a:lnTo>
                    <a:lnTo>
                      <a:pt x="275" y="387"/>
                    </a:lnTo>
                    <a:lnTo>
                      <a:pt x="0" y="347"/>
                    </a:lnTo>
                    <a:lnTo>
                      <a:pt x="74" y="271"/>
                    </a:lnTo>
                    <a:lnTo>
                      <a:pt x="156" y="201"/>
                    </a:lnTo>
                    <a:lnTo>
                      <a:pt x="242" y="142"/>
                    </a:lnTo>
                    <a:lnTo>
                      <a:pt x="335" y="94"/>
                    </a:lnTo>
                    <a:lnTo>
                      <a:pt x="433" y="54"/>
                    </a:lnTo>
                    <a:lnTo>
                      <a:pt x="533" y="24"/>
                    </a:lnTo>
                    <a:lnTo>
                      <a:pt x="638" y="7"/>
                    </a:lnTo>
                    <a:lnTo>
                      <a:pt x="745" y="0"/>
                    </a:lnTo>
                    <a:close/>
                  </a:path>
                </a:pathLst>
              </a:custGeom>
              <a:solidFill>
                <a:srgbClr val="FF7E2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7EAC74A-7404-46B0-A690-A19E0A99B7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0856" y="5190838"/>
                <a:ext cx="841946" cy="984163"/>
              </a:xfrm>
              <a:custGeom>
                <a:avLst/>
                <a:gdLst>
                  <a:gd name="T0" fmla="*/ 203 w 717"/>
                  <a:gd name="T1" fmla="*/ 0 h 839"/>
                  <a:gd name="T2" fmla="*/ 473 w 717"/>
                  <a:gd name="T3" fmla="*/ 84 h 839"/>
                  <a:gd name="T4" fmla="*/ 494 w 717"/>
                  <a:gd name="T5" fmla="*/ 149 h 839"/>
                  <a:gd name="T6" fmla="*/ 524 w 717"/>
                  <a:gd name="T7" fmla="*/ 212 h 839"/>
                  <a:gd name="T8" fmla="*/ 561 w 717"/>
                  <a:gd name="T9" fmla="*/ 270 h 839"/>
                  <a:gd name="T10" fmla="*/ 608 w 717"/>
                  <a:gd name="T11" fmla="*/ 322 h 839"/>
                  <a:gd name="T12" fmla="*/ 659 w 717"/>
                  <a:gd name="T13" fmla="*/ 366 h 839"/>
                  <a:gd name="T14" fmla="*/ 717 w 717"/>
                  <a:gd name="T15" fmla="*/ 405 h 839"/>
                  <a:gd name="T16" fmla="*/ 482 w 717"/>
                  <a:gd name="T17" fmla="*/ 562 h 839"/>
                  <a:gd name="T18" fmla="*/ 505 w 717"/>
                  <a:gd name="T19" fmla="*/ 839 h 839"/>
                  <a:gd name="T20" fmla="*/ 414 w 717"/>
                  <a:gd name="T21" fmla="*/ 785 h 839"/>
                  <a:gd name="T22" fmla="*/ 331 w 717"/>
                  <a:gd name="T23" fmla="*/ 720 h 839"/>
                  <a:gd name="T24" fmla="*/ 254 w 717"/>
                  <a:gd name="T25" fmla="*/ 648 h 839"/>
                  <a:gd name="T26" fmla="*/ 184 w 717"/>
                  <a:gd name="T27" fmla="*/ 569 h 839"/>
                  <a:gd name="T28" fmla="*/ 124 w 717"/>
                  <a:gd name="T29" fmla="*/ 482 h 839"/>
                  <a:gd name="T30" fmla="*/ 72 w 717"/>
                  <a:gd name="T31" fmla="*/ 389 h 839"/>
                  <a:gd name="T32" fmla="*/ 30 w 717"/>
                  <a:gd name="T33" fmla="*/ 291 h 839"/>
                  <a:gd name="T34" fmla="*/ 0 w 717"/>
                  <a:gd name="T35" fmla="*/ 191 h 839"/>
                  <a:gd name="T36" fmla="*/ 203 w 717"/>
                  <a:gd name="T37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7" h="839">
                    <a:moveTo>
                      <a:pt x="203" y="0"/>
                    </a:moveTo>
                    <a:lnTo>
                      <a:pt x="473" y="84"/>
                    </a:lnTo>
                    <a:lnTo>
                      <a:pt x="494" y="149"/>
                    </a:lnTo>
                    <a:lnTo>
                      <a:pt x="524" y="212"/>
                    </a:lnTo>
                    <a:lnTo>
                      <a:pt x="561" y="270"/>
                    </a:lnTo>
                    <a:lnTo>
                      <a:pt x="608" y="322"/>
                    </a:lnTo>
                    <a:lnTo>
                      <a:pt x="659" y="366"/>
                    </a:lnTo>
                    <a:lnTo>
                      <a:pt x="717" y="405"/>
                    </a:lnTo>
                    <a:lnTo>
                      <a:pt x="482" y="562"/>
                    </a:lnTo>
                    <a:lnTo>
                      <a:pt x="505" y="839"/>
                    </a:lnTo>
                    <a:lnTo>
                      <a:pt x="414" y="785"/>
                    </a:lnTo>
                    <a:lnTo>
                      <a:pt x="331" y="720"/>
                    </a:lnTo>
                    <a:lnTo>
                      <a:pt x="254" y="648"/>
                    </a:lnTo>
                    <a:lnTo>
                      <a:pt x="184" y="569"/>
                    </a:lnTo>
                    <a:lnTo>
                      <a:pt x="124" y="482"/>
                    </a:lnTo>
                    <a:lnTo>
                      <a:pt x="72" y="389"/>
                    </a:lnTo>
                    <a:lnTo>
                      <a:pt x="30" y="291"/>
                    </a:lnTo>
                    <a:lnTo>
                      <a:pt x="0" y="191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BDD354B7-6135-45EF-A1D8-0CF29DF23E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1500" y="4422511"/>
                <a:ext cx="685769" cy="938415"/>
              </a:xfrm>
              <a:custGeom>
                <a:avLst/>
                <a:gdLst>
                  <a:gd name="T0" fmla="*/ 209 w 584"/>
                  <a:gd name="T1" fmla="*/ 0 h 800"/>
                  <a:gd name="T2" fmla="*/ 484 w 584"/>
                  <a:gd name="T3" fmla="*/ 40 h 800"/>
                  <a:gd name="T4" fmla="*/ 584 w 584"/>
                  <a:gd name="T5" fmla="*/ 303 h 800"/>
                  <a:gd name="T6" fmla="*/ 540 w 584"/>
                  <a:gd name="T7" fmla="*/ 373 h 800"/>
                  <a:gd name="T8" fmla="*/ 507 w 584"/>
                  <a:gd name="T9" fmla="*/ 450 h 800"/>
                  <a:gd name="T10" fmla="*/ 488 w 584"/>
                  <a:gd name="T11" fmla="*/ 529 h 800"/>
                  <a:gd name="T12" fmla="*/ 481 w 584"/>
                  <a:gd name="T13" fmla="*/ 613 h 800"/>
                  <a:gd name="T14" fmla="*/ 488 w 584"/>
                  <a:gd name="T15" fmla="*/ 695 h 800"/>
                  <a:gd name="T16" fmla="*/ 218 w 584"/>
                  <a:gd name="T17" fmla="*/ 609 h 800"/>
                  <a:gd name="T18" fmla="*/ 16 w 584"/>
                  <a:gd name="T19" fmla="*/ 800 h 800"/>
                  <a:gd name="T20" fmla="*/ 4 w 584"/>
                  <a:gd name="T21" fmla="*/ 706 h 800"/>
                  <a:gd name="T22" fmla="*/ 0 w 584"/>
                  <a:gd name="T23" fmla="*/ 613 h 800"/>
                  <a:gd name="T24" fmla="*/ 4 w 584"/>
                  <a:gd name="T25" fmla="*/ 501 h 800"/>
                  <a:gd name="T26" fmla="*/ 23 w 584"/>
                  <a:gd name="T27" fmla="*/ 394 h 800"/>
                  <a:gd name="T28" fmla="*/ 53 w 584"/>
                  <a:gd name="T29" fmla="*/ 289 h 800"/>
                  <a:gd name="T30" fmla="*/ 93 w 584"/>
                  <a:gd name="T31" fmla="*/ 189 h 800"/>
                  <a:gd name="T32" fmla="*/ 146 w 584"/>
                  <a:gd name="T33" fmla="*/ 91 h 800"/>
                  <a:gd name="T34" fmla="*/ 209 w 584"/>
                  <a:gd name="T35" fmla="*/ 0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84" h="800">
                    <a:moveTo>
                      <a:pt x="209" y="0"/>
                    </a:moveTo>
                    <a:lnTo>
                      <a:pt x="484" y="40"/>
                    </a:lnTo>
                    <a:lnTo>
                      <a:pt x="584" y="303"/>
                    </a:lnTo>
                    <a:lnTo>
                      <a:pt x="540" y="373"/>
                    </a:lnTo>
                    <a:lnTo>
                      <a:pt x="507" y="450"/>
                    </a:lnTo>
                    <a:lnTo>
                      <a:pt x="488" y="529"/>
                    </a:lnTo>
                    <a:lnTo>
                      <a:pt x="481" y="613"/>
                    </a:lnTo>
                    <a:lnTo>
                      <a:pt x="488" y="695"/>
                    </a:lnTo>
                    <a:lnTo>
                      <a:pt x="218" y="609"/>
                    </a:lnTo>
                    <a:lnTo>
                      <a:pt x="16" y="800"/>
                    </a:lnTo>
                    <a:lnTo>
                      <a:pt x="4" y="706"/>
                    </a:lnTo>
                    <a:lnTo>
                      <a:pt x="0" y="613"/>
                    </a:lnTo>
                    <a:lnTo>
                      <a:pt x="4" y="501"/>
                    </a:lnTo>
                    <a:lnTo>
                      <a:pt x="23" y="394"/>
                    </a:lnTo>
                    <a:lnTo>
                      <a:pt x="53" y="289"/>
                    </a:lnTo>
                    <a:lnTo>
                      <a:pt x="93" y="189"/>
                    </a:lnTo>
                    <a:lnTo>
                      <a:pt x="146" y="9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68AA8ECB-7C31-4D46-8D2C-612251E580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06169" y="5688198"/>
                <a:ext cx="992251" cy="620527"/>
              </a:xfrm>
              <a:custGeom>
                <a:avLst/>
                <a:gdLst>
                  <a:gd name="T0" fmla="*/ 233 w 845"/>
                  <a:gd name="T1" fmla="*/ 0 h 529"/>
                  <a:gd name="T2" fmla="*/ 302 w 845"/>
                  <a:gd name="T3" fmla="*/ 26 h 529"/>
                  <a:gd name="T4" fmla="*/ 372 w 845"/>
                  <a:gd name="T5" fmla="*/ 42 h 529"/>
                  <a:gd name="T6" fmla="*/ 444 w 845"/>
                  <a:gd name="T7" fmla="*/ 47 h 529"/>
                  <a:gd name="T8" fmla="*/ 509 w 845"/>
                  <a:gd name="T9" fmla="*/ 42 h 529"/>
                  <a:gd name="T10" fmla="*/ 575 w 845"/>
                  <a:gd name="T11" fmla="*/ 30 h 529"/>
                  <a:gd name="T12" fmla="*/ 637 w 845"/>
                  <a:gd name="T13" fmla="*/ 9 h 529"/>
                  <a:gd name="T14" fmla="*/ 614 w 845"/>
                  <a:gd name="T15" fmla="*/ 291 h 529"/>
                  <a:gd name="T16" fmla="*/ 845 w 845"/>
                  <a:gd name="T17" fmla="*/ 445 h 529"/>
                  <a:gd name="T18" fmla="*/ 747 w 845"/>
                  <a:gd name="T19" fmla="*/ 482 h 529"/>
                  <a:gd name="T20" fmla="*/ 649 w 845"/>
                  <a:gd name="T21" fmla="*/ 508 h 529"/>
                  <a:gd name="T22" fmla="*/ 547 w 845"/>
                  <a:gd name="T23" fmla="*/ 524 h 529"/>
                  <a:gd name="T24" fmla="*/ 444 w 845"/>
                  <a:gd name="T25" fmla="*/ 529 h 529"/>
                  <a:gd name="T26" fmla="*/ 335 w 845"/>
                  <a:gd name="T27" fmla="*/ 522 h 529"/>
                  <a:gd name="T28" fmla="*/ 228 w 845"/>
                  <a:gd name="T29" fmla="*/ 506 h 529"/>
                  <a:gd name="T30" fmla="*/ 123 w 845"/>
                  <a:gd name="T31" fmla="*/ 475 h 529"/>
                  <a:gd name="T32" fmla="*/ 23 w 845"/>
                  <a:gd name="T33" fmla="*/ 436 h 529"/>
                  <a:gd name="T34" fmla="*/ 0 w 845"/>
                  <a:gd name="T35" fmla="*/ 159 h 529"/>
                  <a:gd name="T36" fmla="*/ 233 w 845"/>
                  <a:gd name="T37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45" h="529">
                    <a:moveTo>
                      <a:pt x="233" y="0"/>
                    </a:moveTo>
                    <a:lnTo>
                      <a:pt x="302" y="26"/>
                    </a:lnTo>
                    <a:lnTo>
                      <a:pt x="372" y="42"/>
                    </a:lnTo>
                    <a:lnTo>
                      <a:pt x="444" y="47"/>
                    </a:lnTo>
                    <a:lnTo>
                      <a:pt x="509" y="42"/>
                    </a:lnTo>
                    <a:lnTo>
                      <a:pt x="575" y="30"/>
                    </a:lnTo>
                    <a:lnTo>
                      <a:pt x="637" y="9"/>
                    </a:lnTo>
                    <a:lnTo>
                      <a:pt x="614" y="291"/>
                    </a:lnTo>
                    <a:lnTo>
                      <a:pt x="845" y="445"/>
                    </a:lnTo>
                    <a:lnTo>
                      <a:pt x="747" y="482"/>
                    </a:lnTo>
                    <a:lnTo>
                      <a:pt x="649" y="508"/>
                    </a:lnTo>
                    <a:lnTo>
                      <a:pt x="547" y="524"/>
                    </a:lnTo>
                    <a:lnTo>
                      <a:pt x="444" y="529"/>
                    </a:lnTo>
                    <a:lnTo>
                      <a:pt x="335" y="522"/>
                    </a:lnTo>
                    <a:lnTo>
                      <a:pt x="228" y="506"/>
                    </a:lnTo>
                    <a:lnTo>
                      <a:pt x="123" y="475"/>
                    </a:lnTo>
                    <a:lnTo>
                      <a:pt x="23" y="436"/>
                    </a:lnTo>
                    <a:lnTo>
                      <a:pt x="0" y="159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8" name="TextBox 76">
              <a:extLst>
                <a:ext uri="{FF2B5EF4-FFF2-40B4-BE49-F238E27FC236}">
                  <a16:creationId xmlns:a16="http://schemas.microsoft.com/office/drawing/2014/main" id="{E4418863-522A-4F91-A54E-921AA04949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58737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EB49BC6-4D2C-4785-B892-5C3035879C2C}"/>
              </a:ext>
            </a:extLst>
          </p:cNvPr>
          <p:cNvGrpSpPr/>
          <p:nvPr/>
        </p:nvGrpSpPr>
        <p:grpSpPr bwMode="gray">
          <a:xfrm>
            <a:off x="1978441" y="3974418"/>
            <a:ext cx="2333258" cy="2334307"/>
            <a:chOff x="1978441" y="3974418"/>
            <a:chExt cx="2333258" cy="2334307"/>
          </a:xfrm>
          <a:solidFill>
            <a:srgbClr val="E4E4E4"/>
          </a:solidFill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0D4BE5EF-2203-472B-BB9F-74E9D4EBE12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78441" y="3974418"/>
              <a:ext cx="2333258" cy="2334307"/>
              <a:chOff x="1978441" y="3974418"/>
              <a:chExt cx="2333258" cy="2334307"/>
            </a:xfrm>
            <a:grpFill/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95A89137-6FC2-44B1-925D-4C442499F5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59642" y="3974418"/>
                <a:ext cx="1135448" cy="826709"/>
              </a:xfrm>
              <a:custGeom>
                <a:avLst/>
                <a:gdLst>
                  <a:gd name="T0" fmla="*/ 826 w 965"/>
                  <a:gd name="T1" fmla="*/ 0 h 703"/>
                  <a:gd name="T2" fmla="*/ 965 w 965"/>
                  <a:gd name="T3" fmla="*/ 237 h 703"/>
                  <a:gd name="T4" fmla="*/ 823 w 965"/>
                  <a:gd name="T5" fmla="*/ 477 h 703"/>
                  <a:gd name="T6" fmla="*/ 754 w 965"/>
                  <a:gd name="T7" fmla="*/ 484 h 703"/>
                  <a:gd name="T8" fmla="*/ 686 w 965"/>
                  <a:gd name="T9" fmla="*/ 501 h 703"/>
                  <a:gd name="T10" fmla="*/ 621 w 965"/>
                  <a:gd name="T11" fmla="*/ 526 h 703"/>
                  <a:gd name="T12" fmla="*/ 560 w 965"/>
                  <a:gd name="T13" fmla="*/ 559 h 703"/>
                  <a:gd name="T14" fmla="*/ 505 w 965"/>
                  <a:gd name="T15" fmla="*/ 601 h 703"/>
                  <a:gd name="T16" fmla="*/ 456 w 965"/>
                  <a:gd name="T17" fmla="*/ 647 h 703"/>
                  <a:gd name="T18" fmla="*/ 412 w 965"/>
                  <a:gd name="T19" fmla="*/ 703 h 703"/>
                  <a:gd name="T20" fmla="*/ 274 w 965"/>
                  <a:gd name="T21" fmla="*/ 459 h 703"/>
                  <a:gd name="T22" fmla="*/ 0 w 965"/>
                  <a:gd name="T23" fmla="*/ 461 h 703"/>
                  <a:gd name="T24" fmla="*/ 62 w 965"/>
                  <a:gd name="T25" fmla="*/ 372 h 703"/>
                  <a:gd name="T26" fmla="*/ 137 w 965"/>
                  <a:gd name="T27" fmla="*/ 291 h 703"/>
                  <a:gd name="T28" fmla="*/ 218 w 965"/>
                  <a:gd name="T29" fmla="*/ 216 h 703"/>
                  <a:gd name="T30" fmla="*/ 307 w 965"/>
                  <a:gd name="T31" fmla="*/ 153 h 703"/>
                  <a:gd name="T32" fmla="*/ 402 w 965"/>
                  <a:gd name="T33" fmla="*/ 100 h 703"/>
                  <a:gd name="T34" fmla="*/ 502 w 965"/>
                  <a:gd name="T35" fmla="*/ 58 h 703"/>
                  <a:gd name="T36" fmla="*/ 607 w 965"/>
                  <a:gd name="T37" fmla="*/ 25 h 703"/>
                  <a:gd name="T38" fmla="*/ 714 w 965"/>
                  <a:gd name="T39" fmla="*/ 7 h 703"/>
                  <a:gd name="T40" fmla="*/ 826 w 965"/>
                  <a:gd name="T41" fmla="*/ 0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5" h="703">
                    <a:moveTo>
                      <a:pt x="826" y="0"/>
                    </a:moveTo>
                    <a:lnTo>
                      <a:pt x="965" y="237"/>
                    </a:lnTo>
                    <a:lnTo>
                      <a:pt x="823" y="477"/>
                    </a:lnTo>
                    <a:lnTo>
                      <a:pt x="754" y="484"/>
                    </a:lnTo>
                    <a:lnTo>
                      <a:pt x="686" y="501"/>
                    </a:lnTo>
                    <a:lnTo>
                      <a:pt x="621" y="526"/>
                    </a:lnTo>
                    <a:lnTo>
                      <a:pt x="560" y="559"/>
                    </a:lnTo>
                    <a:lnTo>
                      <a:pt x="505" y="601"/>
                    </a:lnTo>
                    <a:lnTo>
                      <a:pt x="456" y="647"/>
                    </a:lnTo>
                    <a:lnTo>
                      <a:pt x="412" y="703"/>
                    </a:lnTo>
                    <a:lnTo>
                      <a:pt x="274" y="459"/>
                    </a:lnTo>
                    <a:lnTo>
                      <a:pt x="0" y="461"/>
                    </a:lnTo>
                    <a:lnTo>
                      <a:pt x="62" y="372"/>
                    </a:lnTo>
                    <a:lnTo>
                      <a:pt x="137" y="291"/>
                    </a:lnTo>
                    <a:lnTo>
                      <a:pt x="218" y="216"/>
                    </a:lnTo>
                    <a:lnTo>
                      <a:pt x="307" y="153"/>
                    </a:lnTo>
                    <a:lnTo>
                      <a:pt x="402" y="100"/>
                    </a:lnTo>
                    <a:lnTo>
                      <a:pt x="502" y="58"/>
                    </a:lnTo>
                    <a:lnTo>
                      <a:pt x="607" y="25"/>
                    </a:lnTo>
                    <a:lnTo>
                      <a:pt x="714" y="7"/>
                    </a:lnTo>
                    <a:lnTo>
                      <a:pt x="826" y="0"/>
                    </a:lnTo>
                    <a:close/>
                  </a:path>
                </a:pathLst>
              </a:custGeom>
              <a:solidFill>
                <a:srgbClr val="F66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30AF268C-B367-47C8-9853-738D59DD8E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194" y="3974418"/>
                <a:ext cx="957777" cy="851405"/>
              </a:xfrm>
              <a:custGeom>
                <a:avLst/>
                <a:gdLst>
                  <a:gd name="T0" fmla="*/ 2 w 814"/>
                  <a:gd name="T1" fmla="*/ 0 h 724"/>
                  <a:gd name="T2" fmla="*/ 111 w 814"/>
                  <a:gd name="T3" fmla="*/ 11 h 724"/>
                  <a:gd name="T4" fmla="*/ 218 w 814"/>
                  <a:gd name="T5" fmla="*/ 32 h 724"/>
                  <a:gd name="T6" fmla="*/ 323 w 814"/>
                  <a:gd name="T7" fmla="*/ 67 h 724"/>
                  <a:gd name="T8" fmla="*/ 421 w 814"/>
                  <a:gd name="T9" fmla="*/ 111 h 724"/>
                  <a:gd name="T10" fmla="*/ 516 w 814"/>
                  <a:gd name="T11" fmla="*/ 167 h 724"/>
                  <a:gd name="T12" fmla="*/ 602 w 814"/>
                  <a:gd name="T13" fmla="*/ 233 h 724"/>
                  <a:gd name="T14" fmla="*/ 682 w 814"/>
                  <a:gd name="T15" fmla="*/ 307 h 724"/>
                  <a:gd name="T16" fmla="*/ 754 w 814"/>
                  <a:gd name="T17" fmla="*/ 391 h 724"/>
                  <a:gd name="T18" fmla="*/ 814 w 814"/>
                  <a:gd name="T19" fmla="*/ 484 h 724"/>
                  <a:gd name="T20" fmla="*/ 679 w 814"/>
                  <a:gd name="T21" fmla="*/ 724 h 724"/>
                  <a:gd name="T22" fmla="*/ 400 w 814"/>
                  <a:gd name="T23" fmla="*/ 722 h 724"/>
                  <a:gd name="T24" fmla="*/ 360 w 814"/>
                  <a:gd name="T25" fmla="*/ 664 h 724"/>
                  <a:gd name="T26" fmla="*/ 312 w 814"/>
                  <a:gd name="T27" fmla="*/ 615 h 724"/>
                  <a:gd name="T28" fmla="*/ 258 w 814"/>
                  <a:gd name="T29" fmla="*/ 570 h 724"/>
                  <a:gd name="T30" fmla="*/ 197 w 814"/>
                  <a:gd name="T31" fmla="*/ 536 h 724"/>
                  <a:gd name="T32" fmla="*/ 135 w 814"/>
                  <a:gd name="T33" fmla="*/ 508 h 724"/>
                  <a:gd name="T34" fmla="*/ 67 w 814"/>
                  <a:gd name="T35" fmla="*/ 489 h 724"/>
                  <a:gd name="T36" fmla="*/ 0 w 814"/>
                  <a:gd name="T37" fmla="*/ 477 h 724"/>
                  <a:gd name="T38" fmla="*/ 142 w 814"/>
                  <a:gd name="T39" fmla="*/ 237 h 724"/>
                  <a:gd name="T40" fmla="*/ 2 w 814"/>
                  <a:gd name="T41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4" h="724">
                    <a:moveTo>
                      <a:pt x="2" y="0"/>
                    </a:moveTo>
                    <a:lnTo>
                      <a:pt x="111" y="11"/>
                    </a:lnTo>
                    <a:lnTo>
                      <a:pt x="218" y="32"/>
                    </a:lnTo>
                    <a:lnTo>
                      <a:pt x="323" y="67"/>
                    </a:lnTo>
                    <a:lnTo>
                      <a:pt x="421" y="111"/>
                    </a:lnTo>
                    <a:lnTo>
                      <a:pt x="516" y="167"/>
                    </a:lnTo>
                    <a:lnTo>
                      <a:pt x="602" y="233"/>
                    </a:lnTo>
                    <a:lnTo>
                      <a:pt x="682" y="307"/>
                    </a:lnTo>
                    <a:lnTo>
                      <a:pt x="754" y="391"/>
                    </a:lnTo>
                    <a:lnTo>
                      <a:pt x="814" y="484"/>
                    </a:lnTo>
                    <a:lnTo>
                      <a:pt x="679" y="724"/>
                    </a:lnTo>
                    <a:lnTo>
                      <a:pt x="400" y="722"/>
                    </a:lnTo>
                    <a:lnTo>
                      <a:pt x="360" y="664"/>
                    </a:lnTo>
                    <a:lnTo>
                      <a:pt x="312" y="615"/>
                    </a:lnTo>
                    <a:lnTo>
                      <a:pt x="258" y="570"/>
                    </a:lnTo>
                    <a:lnTo>
                      <a:pt x="197" y="536"/>
                    </a:lnTo>
                    <a:lnTo>
                      <a:pt x="135" y="508"/>
                    </a:lnTo>
                    <a:lnTo>
                      <a:pt x="67" y="489"/>
                    </a:lnTo>
                    <a:lnTo>
                      <a:pt x="0" y="477"/>
                    </a:lnTo>
                    <a:lnTo>
                      <a:pt x="142" y="237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22A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CCA04B85-5239-4160-8164-B3F2534D61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97403" y="5478487"/>
                <a:ext cx="1136625" cy="830237"/>
              </a:xfrm>
              <a:custGeom>
                <a:avLst/>
                <a:gdLst>
                  <a:gd name="T0" fmla="*/ 551 w 966"/>
                  <a:gd name="T1" fmla="*/ 0 h 706"/>
                  <a:gd name="T2" fmla="*/ 691 w 966"/>
                  <a:gd name="T3" fmla="*/ 244 h 706"/>
                  <a:gd name="T4" fmla="*/ 966 w 966"/>
                  <a:gd name="T5" fmla="*/ 242 h 706"/>
                  <a:gd name="T6" fmla="*/ 900 w 966"/>
                  <a:gd name="T7" fmla="*/ 333 h 706"/>
                  <a:gd name="T8" fmla="*/ 826 w 966"/>
                  <a:gd name="T9" fmla="*/ 414 h 706"/>
                  <a:gd name="T10" fmla="*/ 744 w 966"/>
                  <a:gd name="T11" fmla="*/ 487 h 706"/>
                  <a:gd name="T12" fmla="*/ 656 w 966"/>
                  <a:gd name="T13" fmla="*/ 550 h 706"/>
                  <a:gd name="T14" fmla="*/ 563 w 966"/>
                  <a:gd name="T15" fmla="*/ 603 h 706"/>
                  <a:gd name="T16" fmla="*/ 463 w 966"/>
                  <a:gd name="T17" fmla="*/ 647 h 706"/>
                  <a:gd name="T18" fmla="*/ 358 w 966"/>
                  <a:gd name="T19" fmla="*/ 678 h 706"/>
                  <a:gd name="T20" fmla="*/ 249 w 966"/>
                  <a:gd name="T21" fmla="*/ 699 h 706"/>
                  <a:gd name="T22" fmla="*/ 139 w 966"/>
                  <a:gd name="T23" fmla="*/ 706 h 706"/>
                  <a:gd name="T24" fmla="*/ 0 w 966"/>
                  <a:gd name="T25" fmla="*/ 468 h 706"/>
                  <a:gd name="T26" fmla="*/ 139 w 966"/>
                  <a:gd name="T27" fmla="*/ 228 h 706"/>
                  <a:gd name="T28" fmla="*/ 209 w 966"/>
                  <a:gd name="T29" fmla="*/ 221 h 706"/>
                  <a:gd name="T30" fmla="*/ 279 w 966"/>
                  <a:gd name="T31" fmla="*/ 205 h 706"/>
                  <a:gd name="T32" fmla="*/ 342 w 966"/>
                  <a:gd name="T33" fmla="*/ 179 h 706"/>
                  <a:gd name="T34" fmla="*/ 402 w 966"/>
                  <a:gd name="T35" fmla="*/ 147 h 706"/>
                  <a:gd name="T36" fmla="*/ 458 w 966"/>
                  <a:gd name="T37" fmla="*/ 105 h 706"/>
                  <a:gd name="T38" fmla="*/ 509 w 966"/>
                  <a:gd name="T39" fmla="*/ 56 h 706"/>
                  <a:gd name="T40" fmla="*/ 551 w 966"/>
                  <a:gd name="T41" fmla="*/ 0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66" h="706">
                    <a:moveTo>
                      <a:pt x="551" y="0"/>
                    </a:moveTo>
                    <a:lnTo>
                      <a:pt x="691" y="244"/>
                    </a:lnTo>
                    <a:lnTo>
                      <a:pt x="966" y="242"/>
                    </a:lnTo>
                    <a:lnTo>
                      <a:pt x="900" y="333"/>
                    </a:lnTo>
                    <a:lnTo>
                      <a:pt x="826" y="414"/>
                    </a:lnTo>
                    <a:lnTo>
                      <a:pt x="744" y="487"/>
                    </a:lnTo>
                    <a:lnTo>
                      <a:pt x="656" y="550"/>
                    </a:lnTo>
                    <a:lnTo>
                      <a:pt x="563" y="603"/>
                    </a:lnTo>
                    <a:lnTo>
                      <a:pt x="463" y="647"/>
                    </a:lnTo>
                    <a:lnTo>
                      <a:pt x="358" y="678"/>
                    </a:lnTo>
                    <a:lnTo>
                      <a:pt x="249" y="699"/>
                    </a:lnTo>
                    <a:lnTo>
                      <a:pt x="139" y="706"/>
                    </a:lnTo>
                    <a:lnTo>
                      <a:pt x="0" y="468"/>
                    </a:lnTo>
                    <a:lnTo>
                      <a:pt x="139" y="228"/>
                    </a:lnTo>
                    <a:lnTo>
                      <a:pt x="209" y="221"/>
                    </a:lnTo>
                    <a:lnTo>
                      <a:pt x="279" y="205"/>
                    </a:lnTo>
                    <a:lnTo>
                      <a:pt x="342" y="179"/>
                    </a:lnTo>
                    <a:lnTo>
                      <a:pt x="402" y="147"/>
                    </a:lnTo>
                    <a:lnTo>
                      <a:pt x="458" y="105"/>
                    </a:lnTo>
                    <a:lnTo>
                      <a:pt x="509" y="56"/>
                    </a:lnTo>
                    <a:lnTo>
                      <a:pt x="551" y="0"/>
                    </a:lnTo>
                    <a:close/>
                  </a:path>
                </a:pathLst>
              </a:custGeom>
              <a:solidFill>
                <a:srgbClr val="CA3D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87C36152-6D41-4A18-9B14-C51EDDA1B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8672" y="4596507"/>
                <a:ext cx="633027" cy="1117174"/>
              </a:xfrm>
              <a:custGeom>
                <a:avLst/>
                <a:gdLst>
                  <a:gd name="T0" fmla="*/ 424 w 538"/>
                  <a:gd name="T1" fmla="*/ 0 h 950"/>
                  <a:gd name="T2" fmla="*/ 466 w 538"/>
                  <a:gd name="T3" fmla="*/ 88 h 950"/>
                  <a:gd name="T4" fmla="*/ 496 w 538"/>
                  <a:gd name="T5" fmla="*/ 177 h 950"/>
                  <a:gd name="T6" fmla="*/ 519 w 538"/>
                  <a:gd name="T7" fmla="*/ 270 h 950"/>
                  <a:gd name="T8" fmla="*/ 533 w 538"/>
                  <a:gd name="T9" fmla="*/ 365 h 950"/>
                  <a:gd name="T10" fmla="*/ 538 w 538"/>
                  <a:gd name="T11" fmla="*/ 463 h 950"/>
                  <a:gd name="T12" fmla="*/ 533 w 538"/>
                  <a:gd name="T13" fmla="*/ 563 h 950"/>
                  <a:gd name="T14" fmla="*/ 517 w 538"/>
                  <a:gd name="T15" fmla="*/ 664 h 950"/>
                  <a:gd name="T16" fmla="*/ 491 w 538"/>
                  <a:gd name="T17" fmla="*/ 761 h 950"/>
                  <a:gd name="T18" fmla="*/ 456 w 538"/>
                  <a:gd name="T19" fmla="*/ 857 h 950"/>
                  <a:gd name="T20" fmla="*/ 412 w 538"/>
                  <a:gd name="T21" fmla="*/ 948 h 950"/>
                  <a:gd name="T22" fmla="*/ 138 w 538"/>
                  <a:gd name="T23" fmla="*/ 950 h 950"/>
                  <a:gd name="T24" fmla="*/ 0 w 538"/>
                  <a:gd name="T25" fmla="*/ 708 h 950"/>
                  <a:gd name="T26" fmla="*/ 26 w 538"/>
                  <a:gd name="T27" fmla="*/ 650 h 950"/>
                  <a:gd name="T28" fmla="*/ 44 w 538"/>
                  <a:gd name="T29" fmla="*/ 589 h 950"/>
                  <a:gd name="T30" fmla="*/ 56 w 538"/>
                  <a:gd name="T31" fmla="*/ 526 h 950"/>
                  <a:gd name="T32" fmla="*/ 61 w 538"/>
                  <a:gd name="T33" fmla="*/ 463 h 950"/>
                  <a:gd name="T34" fmla="*/ 56 w 538"/>
                  <a:gd name="T35" fmla="*/ 384 h 950"/>
                  <a:gd name="T36" fmla="*/ 37 w 538"/>
                  <a:gd name="T37" fmla="*/ 309 h 950"/>
                  <a:gd name="T38" fmla="*/ 10 w 538"/>
                  <a:gd name="T39" fmla="*/ 237 h 950"/>
                  <a:gd name="T40" fmla="*/ 289 w 538"/>
                  <a:gd name="T41" fmla="*/ 240 h 950"/>
                  <a:gd name="T42" fmla="*/ 424 w 538"/>
                  <a:gd name="T43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8" h="950">
                    <a:moveTo>
                      <a:pt x="424" y="0"/>
                    </a:moveTo>
                    <a:lnTo>
                      <a:pt x="466" y="88"/>
                    </a:lnTo>
                    <a:lnTo>
                      <a:pt x="496" y="177"/>
                    </a:lnTo>
                    <a:lnTo>
                      <a:pt x="519" y="270"/>
                    </a:lnTo>
                    <a:lnTo>
                      <a:pt x="533" y="365"/>
                    </a:lnTo>
                    <a:lnTo>
                      <a:pt x="538" y="463"/>
                    </a:lnTo>
                    <a:lnTo>
                      <a:pt x="533" y="563"/>
                    </a:lnTo>
                    <a:lnTo>
                      <a:pt x="517" y="664"/>
                    </a:lnTo>
                    <a:lnTo>
                      <a:pt x="491" y="761"/>
                    </a:lnTo>
                    <a:lnTo>
                      <a:pt x="456" y="857"/>
                    </a:lnTo>
                    <a:lnTo>
                      <a:pt x="412" y="948"/>
                    </a:lnTo>
                    <a:lnTo>
                      <a:pt x="138" y="950"/>
                    </a:lnTo>
                    <a:lnTo>
                      <a:pt x="0" y="708"/>
                    </a:lnTo>
                    <a:lnTo>
                      <a:pt x="26" y="650"/>
                    </a:lnTo>
                    <a:lnTo>
                      <a:pt x="44" y="589"/>
                    </a:lnTo>
                    <a:lnTo>
                      <a:pt x="56" y="526"/>
                    </a:lnTo>
                    <a:lnTo>
                      <a:pt x="61" y="463"/>
                    </a:lnTo>
                    <a:lnTo>
                      <a:pt x="56" y="384"/>
                    </a:lnTo>
                    <a:lnTo>
                      <a:pt x="37" y="309"/>
                    </a:lnTo>
                    <a:lnTo>
                      <a:pt x="10" y="237"/>
                    </a:lnTo>
                    <a:lnTo>
                      <a:pt x="289" y="240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B42F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8C0DE2B1-F17A-4EE5-924C-EB87CA97E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78441" y="4565932"/>
                <a:ext cx="635380" cy="1117174"/>
              </a:xfrm>
              <a:custGeom>
                <a:avLst/>
                <a:gdLst>
                  <a:gd name="T0" fmla="*/ 403 w 540"/>
                  <a:gd name="T1" fmla="*/ 0 h 950"/>
                  <a:gd name="T2" fmla="*/ 540 w 540"/>
                  <a:gd name="T3" fmla="*/ 245 h 950"/>
                  <a:gd name="T4" fmla="*/ 512 w 540"/>
                  <a:gd name="T5" fmla="*/ 300 h 950"/>
                  <a:gd name="T6" fmla="*/ 493 w 540"/>
                  <a:gd name="T7" fmla="*/ 361 h 950"/>
                  <a:gd name="T8" fmla="*/ 482 w 540"/>
                  <a:gd name="T9" fmla="*/ 424 h 950"/>
                  <a:gd name="T10" fmla="*/ 477 w 540"/>
                  <a:gd name="T11" fmla="*/ 489 h 950"/>
                  <a:gd name="T12" fmla="*/ 484 w 540"/>
                  <a:gd name="T13" fmla="*/ 566 h 950"/>
                  <a:gd name="T14" fmla="*/ 500 w 540"/>
                  <a:gd name="T15" fmla="*/ 643 h 950"/>
                  <a:gd name="T16" fmla="*/ 531 w 540"/>
                  <a:gd name="T17" fmla="*/ 715 h 950"/>
                  <a:gd name="T18" fmla="*/ 249 w 540"/>
                  <a:gd name="T19" fmla="*/ 713 h 950"/>
                  <a:gd name="T20" fmla="*/ 114 w 540"/>
                  <a:gd name="T21" fmla="*/ 950 h 950"/>
                  <a:gd name="T22" fmla="*/ 74 w 540"/>
                  <a:gd name="T23" fmla="*/ 864 h 950"/>
                  <a:gd name="T24" fmla="*/ 42 w 540"/>
                  <a:gd name="T25" fmla="*/ 773 h 950"/>
                  <a:gd name="T26" fmla="*/ 19 w 540"/>
                  <a:gd name="T27" fmla="*/ 680 h 950"/>
                  <a:gd name="T28" fmla="*/ 5 w 540"/>
                  <a:gd name="T29" fmla="*/ 585 h 950"/>
                  <a:gd name="T30" fmla="*/ 0 w 540"/>
                  <a:gd name="T31" fmla="*/ 489 h 950"/>
                  <a:gd name="T32" fmla="*/ 0 w 540"/>
                  <a:gd name="T33" fmla="*/ 489 h 950"/>
                  <a:gd name="T34" fmla="*/ 5 w 540"/>
                  <a:gd name="T35" fmla="*/ 387 h 950"/>
                  <a:gd name="T36" fmla="*/ 21 w 540"/>
                  <a:gd name="T37" fmla="*/ 286 h 950"/>
                  <a:gd name="T38" fmla="*/ 47 w 540"/>
                  <a:gd name="T39" fmla="*/ 189 h 950"/>
                  <a:gd name="T40" fmla="*/ 81 w 540"/>
                  <a:gd name="T41" fmla="*/ 93 h 950"/>
                  <a:gd name="T42" fmla="*/ 126 w 540"/>
                  <a:gd name="T43" fmla="*/ 2 h 950"/>
                  <a:gd name="T44" fmla="*/ 403 w 540"/>
                  <a:gd name="T45" fmla="*/ 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0" h="950">
                    <a:moveTo>
                      <a:pt x="403" y="0"/>
                    </a:moveTo>
                    <a:lnTo>
                      <a:pt x="540" y="245"/>
                    </a:lnTo>
                    <a:lnTo>
                      <a:pt x="512" y="300"/>
                    </a:lnTo>
                    <a:lnTo>
                      <a:pt x="493" y="361"/>
                    </a:lnTo>
                    <a:lnTo>
                      <a:pt x="482" y="424"/>
                    </a:lnTo>
                    <a:lnTo>
                      <a:pt x="477" y="489"/>
                    </a:lnTo>
                    <a:lnTo>
                      <a:pt x="484" y="566"/>
                    </a:lnTo>
                    <a:lnTo>
                      <a:pt x="500" y="643"/>
                    </a:lnTo>
                    <a:lnTo>
                      <a:pt x="531" y="715"/>
                    </a:lnTo>
                    <a:lnTo>
                      <a:pt x="249" y="713"/>
                    </a:lnTo>
                    <a:lnTo>
                      <a:pt x="114" y="950"/>
                    </a:lnTo>
                    <a:lnTo>
                      <a:pt x="74" y="864"/>
                    </a:lnTo>
                    <a:lnTo>
                      <a:pt x="42" y="773"/>
                    </a:lnTo>
                    <a:lnTo>
                      <a:pt x="19" y="680"/>
                    </a:lnTo>
                    <a:lnTo>
                      <a:pt x="5" y="585"/>
                    </a:lnTo>
                    <a:lnTo>
                      <a:pt x="0" y="489"/>
                    </a:lnTo>
                    <a:lnTo>
                      <a:pt x="0" y="489"/>
                    </a:lnTo>
                    <a:lnTo>
                      <a:pt x="5" y="387"/>
                    </a:lnTo>
                    <a:lnTo>
                      <a:pt x="21" y="286"/>
                    </a:lnTo>
                    <a:lnTo>
                      <a:pt x="47" y="189"/>
                    </a:lnTo>
                    <a:lnTo>
                      <a:pt x="81" y="93"/>
                    </a:lnTo>
                    <a:lnTo>
                      <a:pt x="126" y="2"/>
                    </a:lnTo>
                    <a:lnTo>
                      <a:pt x="403" y="0"/>
                    </a:lnTo>
                    <a:close/>
                  </a:path>
                </a:pathLst>
              </a:custGeom>
              <a:solidFill>
                <a:srgbClr val="F256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046A57BE-FE1C-439C-8B25-00EAB3648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3169" y="5456144"/>
                <a:ext cx="961307" cy="852581"/>
              </a:xfrm>
              <a:custGeom>
                <a:avLst/>
                <a:gdLst>
                  <a:gd name="T0" fmla="*/ 135 w 817"/>
                  <a:gd name="T1" fmla="*/ 0 h 725"/>
                  <a:gd name="T2" fmla="*/ 414 w 817"/>
                  <a:gd name="T3" fmla="*/ 2 h 725"/>
                  <a:gd name="T4" fmla="*/ 456 w 817"/>
                  <a:gd name="T5" fmla="*/ 58 h 725"/>
                  <a:gd name="T6" fmla="*/ 502 w 817"/>
                  <a:gd name="T7" fmla="*/ 110 h 725"/>
                  <a:gd name="T8" fmla="*/ 556 w 817"/>
                  <a:gd name="T9" fmla="*/ 154 h 725"/>
                  <a:gd name="T10" fmla="*/ 616 w 817"/>
                  <a:gd name="T11" fmla="*/ 189 h 725"/>
                  <a:gd name="T12" fmla="*/ 679 w 817"/>
                  <a:gd name="T13" fmla="*/ 217 h 725"/>
                  <a:gd name="T14" fmla="*/ 747 w 817"/>
                  <a:gd name="T15" fmla="*/ 235 h 725"/>
                  <a:gd name="T16" fmla="*/ 817 w 817"/>
                  <a:gd name="T17" fmla="*/ 245 h 725"/>
                  <a:gd name="T18" fmla="*/ 675 w 817"/>
                  <a:gd name="T19" fmla="*/ 487 h 725"/>
                  <a:gd name="T20" fmla="*/ 812 w 817"/>
                  <a:gd name="T21" fmla="*/ 725 h 725"/>
                  <a:gd name="T22" fmla="*/ 702 w 817"/>
                  <a:gd name="T23" fmla="*/ 713 h 725"/>
                  <a:gd name="T24" fmla="*/ 595 w 817"/>
                  <a:gd name="T25" fmla="*/ 690 h 725"/>
                  <a:gd name="T26" fmla="*/ 491 w 817"/>
                  <a:gd name="T27" fmla="*/ 657 h 725"/>
                  <a:gd name="T28" fmla="*/ 393 w 817"/>
                  <a:gd name="T29" fmla="*/ 611 h 725"/>
                  <a:gd name="T30" fmla="*/ 300 w 817"/>
                  <a:gd name="T31" fmla="*/ 555 h 725"/>
                  <a:gd name="T32" fmla="*/ 211 w 817"/>
                  <a:gd name="T33" fmla="*/ 489 h 725"/>
                  <a:gd name="T34" fmla="*/ 132 w 817"/>
                  <a:gd name="T35" fmla="*/ 415 h 725"/>
                  <a:gd name="T36" fmla="*/ 60 w 817"/>
                  <a:gd name="T37" fmla="*/ 331 h 725"/>
                  <a:gd name="T38" fmla="*/ 0 w 817"/>
                  <a:gd name="T39" fmla="*/ 240 h 725"/>
                  <a:gd name="T40" fmla="*/ 135 w 817"/>
                  <a:gd name="T41" fmla="*/ 0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7" h="725">
                    <a:moveTo>
                      <a:pt x="135" y="0"/>
                    </a:moveTo>
                    <a:lnTo>
                      <a:pt x="414" y="2"/>
                    </a:lnTo>
                    <a:lnTo>
                      <a:pt x="456" y="58"/>
                    </a:lnTo>
                    <a:lnTo>
                      <a:pt x="502" y="110"/>
                    </a:lnTo>
                    <a:lnTo>
                      <a:pt x="556" y="154"/>
                    </a:lnTo>
                    <a:lnTo>
                      <a:pt x="616" y="189"/>
                    </a:lnTo>
                    <a:lnTo>
                      <a:pt x="679" y="217"/>
                    </a:lnTo>
                    <a:lnTo>
                      <a:pt x="747" y="235"/>
                    </a:lnTo>
                    <a:lnTo>
                      <a:pt x="817" y="245"/>
                    </a:lnTo>
                    <a:lnTo>
                      <a:pt x="675" y="487"/>
                    </a:lnTo>
                    <a:lnTo>
                      <a:pt x="812" y="725"/>
                    </a:lnTo>
                    <a:lnTo>
                      <a:pt x="702" y="713"/>
                    </a:lnTo>
                    <a:lnTo>
                      <a:pt x="595" y="690"/>
                    </a:lnTo>
                    <a:lnTo>
                      <a:pt x="491" y="657"/>
                    </a:lnTo>
                    <a:lnTo>
                      <a:pt x="393" y="611"/>
                    </a:lnTo>
                    <a:lnTo>
                      <a:pt x="300" y="555"/>
                    </a:lnTo>
                    <a:lnTo>
                      <a:pt x="211" y="489"/>
                    </a:lnTo>
                    <a:lnTo>
                      <a:pt x="132" y="415"/>
                    </a:lnTo>
                    <a:lnTo>
                      <a:pt x="60" y="331"/>
                    </a:lnTo>
                    <a:lnTo>
                      <a:pt x="0" y="2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DE47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77">
              <a:extLst>
                <a:ext uri="{FF2B5EF4-FFF2-40B4-BE49-F238E27FC236}">
                  <a16:creationId xmlns:a16="http://schemas.microsoft.com/office/drawing/2014/main" id="{685710B8-6B23-4349-8678-83A68FCF59B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75678" y="4910738"/>
              <a:ext cx="938784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B8094F-B46B-4566-9336-0F1FE485F19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401861107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632371E0-8D9B-40DE-A7AA-1DFB020521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78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632371E0-8D9B-40DE-A7AA-1DFB02052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A86B2F-F72C-40BC-8A91-79460E87E36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Prozessschrit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DB4F47-D69E-40AB-8830-113797A9AC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D372BD-DB94-432D-90DB-99008902B9B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DBF1AC9-3B34-459E-8459-26DE6084B2D7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76792-CA7C-4878-8A5D-E5489AD2AA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09</a:t>
            </a:fld>
            <a:endParaRPr lang="de-DE" dirty="0"/>
          </a:p>
        </p:txBody>
      </p:sp>
      <p:sp>
        <p:nvSpPr>
          <p:cNvPr id="13" name="Rectangle 62">
            <a:extLst>
              <a:ext uri="{FF2B5EF4-FFF2-40B4-BE49-F238E27FC236}">
                <a16:creationId xmlns:a16="http://schemas.microsoft.com/office/drawing/2014/main" id="{891ACE81-8020-46A2-94B4-7C428DB8EFC3}"/>
              </a:ext>
            </a:extLst>
          </p:cNvPr>
          <p:cNvSpPr>
            <a:spLocks/>
          </p:cNvSpPr>
          <p:nvPr/>
        </p:nvSpPr>
        <p:spPr bwMode="gray">
          <a:xfrm>
            <a:off x="623889" y="2233693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4" name="Rectangle 63">
            <a:extLst>
              <a:ext uri="{FF2B5EF4-FFF2-40B4-BE49-F238E27FC236}">
                <a16:creationId xmlns:a16="http://schemas.microsoft.com/office/drawing/2014/main" id="{B5261460-9F1A-42D9-9F9E-577BA9052E81}"/>
              </a:ext>
            </a:extLst>
          </p:cNvPr>
          <p:cNvSpPr>
            <a:spLocks/>
          </p:cNvSpPr>
          <p:nvPr/>
        </p:nvSpPr>
        <p:spPr bwMode="gray">
          <a:xfrm>
            <a:off x="623889" y="4784467"/>
            <a:ext cx="2862956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5" name="Rectangle 64">
            <a:extLst>
              <a:ext uri="{FF2B5EF4-FFF2-40B4-BE49-F238E27FC236}">
                <a16:creationId xmlns:a16="http://schemas.microsoft.com/office/drawing/2014/main" id="{9704EF06-1279-48DB-98FC-203950438EAE}"/>
              </a:ext>
            </a:extLst>
          </p:cNvPr>
          <p:cNvSpPr>
            <a:spLocks/>
          </p:cNvSpPr>
          <p:nvPr/>
        </p:nvSpPr>
        <p:spPr bwMode="gray">
          <a:xfrm>
            <a:off x="8708571" y="2233693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sp>
        <p:nvSpPr>
          <p:cNvPr id="16" name="Rectangle 65">
            <a:extLst>
              <a:ext uri="{FF2B5EF4-FFF2-40B4-BE49-F238E27FC236}">
                <a16:creationId xmlns:a16="http://schemas.microsoft.com/office/drawing/2014/main" id="{D8D15F18-9F5E-4271-98EC-26791861A5F7}"/>
              </a:ext>
            </a:extLst>
          </p:cNvPr>
          <p:cNvSpPr>
            <a:spLocks/>
          </p:cNvSpPr>
          <p:nvPr/>
        </p:nvSpPr>
        <p:spPr bwMode="gray">
          <a:xfrm>
            <a:off x="8708571" y="4784467"/>
            <a:ext cx="2751592" cy="121571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  <a:p>
            <a:pPr marL="180000" marR="0" lvl="0" indent="-180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omnis iste natus error sit voluptatem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004AD62-187C-4CE7-B4ED-8941663FC7BF}"/>
              </a:ext>
            </a:extLst>
          </p:cNvPr>
          <p:cNvCxnSpPr>
            <a:cxnSpLocks/>
          </p:cNvCxnSpPr>
          <p:nvPr/>
        </p:nvCxnSpPr>
        <p:spPr bwMode="gray">
          <a:xfrm>
            <a:off x="623888" y="3950494"/>
            <a:ext cx="330041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E221ABD-A70D-41CA-9565-0444C42221EA}"/>
              </a:ext>
            </a:extLst>
          </p:cNvPr>
          <p:cNvCxnSpPr>
            <a:cxnSpLocks/>
          </p:cNvCxnSpPr>
          <p:nvPr/>
        </p:nvCxnSpPr>
        <p:spPr bwMode="gray">
          <a:xfrm>
            <a:off x="8267700" y="3950494"/>
            <a:ext cx="31924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625CB49-7DDC-463C-9D8B-4221EEFD8512}"/>
              </a:ext>
            </a:extLst>
          </p:cNvPr>
          <p:cNvGrpSpPr>
            <a:grpSpLocks/>
          </p:cNvGrpSpPr>
          <p:nvPr/>
        </p:nvGrpSpPr>
        <p:grpSpPr bwMode="gray">
          <a:xfrm>
            <a:off x="4076700" y="1841776"/>
            <a:ext cx="4038600" cy="4040414"/>
            <a:chOff x="6278546" y="1610664"/>
            <a:chExt cx="2333258" cy="2334307"/>
          </a:xfrm>
          <a:solidFill>
            <a:srgbClr val="E4E4E4"/>
          </a:solidFill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E5247CB-979D-41B6-B234-A35CF120A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78546" y="2608115"/>
              <a:ext cx="1113694" cy="1334780"/>
            </a:xfrm>
            <a:custGeom>
              <a:avLst/>
              <a:gdLst>
                <a:gd name="T0" fmla="*/ 312 w 1073"/>
                <a:gd name="T1" fmla="*/ 0 h 1286"/>
                <a:gd name="T2" fmla="*/ 626 w 1073"/>
                <a:gd name="T3" fmla="*/ 184 h 1286"/>
                <a:gd name="T4" fmla="*/ 638 w 1073"/>
                <a:gd name="T5" fmla="*/ 266 h 1286"/>
                <a:gd name="T6" fmla="*/ 659 w 1073"/>
                <a:gd name="T7" fmla="*/ 340 h 1286"/>
                <a:gd name="T8" fmla="*/ 694 w 1073"/>
                <a:gd name="T9" fmla="*/ 413 h 1286"/>
                <a:gd name="T10" fmla="*/ 738 w 1073"/>
                <a:gd name="T11" fmla="*/ 475 h 1286"/>
                <a:gd name="T12" fmla="*/ 789 w 1073"/>
                <a:gd name="T13" fmla="*/ 531 h 1286"/>
                <a:gd name="T14" fmla="*/ 852 w 1073"/>
                <a:gd name="T15" fmla="*/ 580 h 1286"/>
                <a:gd name="T16" fmla="*/ 919 w 1073"/>
                <a:gd name="T17" fmla="*/ 617 h 1286"/>
                <a:gd name="T18" fmla="*/ 994 w 1073"/>
                <a:gd name="T19" fmla="*/ 643 h 1286"/>
                <a:gd name="T20" fmla="*/ 1073 w 1073"/>
                <a:gd name="T21" fmla="*/ 659 h 1286"/>
                <a:gd name="T22" fmla="*/ 887 w 1073"/>
                <a:gd name="T23" fmla="*/ 976 h 1286"/>
                <a:gd name="T24" fmla="*/ 1071 w 1073"/>
                <a:gd name="T25" fmla="*/ 1286 h 1286"/>
                <a:gd name="T26" fmla="*/ 945 w 1073"/>
                <a:gd name="T27" fmla="*/ 1274 h 1286"/>
                <a:gd name="T28" fmla="*/ 826 w 1073"/>
                <a:gd name="T29" fmla="*/ 1248 h 1286"/>
                <a:gd name="T30" fmla="*/ 712 w 1073"/>
                <a:gd name="T31" fmla="*/ 1209 h 1286"/>
                <a:gd name="T32" fmla="*/ 603 w 1073"/>
                <a:gd name="T33" fmla="*/ 1160 h 1286"/>
                <a:gd name="T34" fmla="*/ 500 w 1073"/>
                <a:gd name="T35" fmla="*/ 1097 h 1286"/>
                <a:gd name="T36" fmla="*/ 405 w 1073"/>
                <a:gd name="T37" fmla="*/ 1027 h 1286"/>
                <a:gd name="T38" fmla="*/ 319 w 1073"/>
                <a:gd name="T39" fmla="*/ 946 h 1286"/>
                <a:gd name="T40" fmla="*/ 242 w 1073"/>
                <a:gd name="T41" fmla="*/ 857 h 1286"/>
                <a:gd name="T42" fmla="*/ 172 w 1073"/>
                <a:gd name="T43" fmla="*/ 759 h 1286"/>
                <a:gd name="T44" fmla="*/ 114 w 1073"/>
                <a:gd name="T45" fmla="*/ 657 h 1286"/>
                <a:gd name="T46" fmla="*/ 68 w 1073"/>
                <a:gd name="T47" fmla="*/ 545 h 1286"/>
                <a:gd name="T48" fmla="*/ 33 w 1073"/>
                <a:gd name="T49" fmla="*/ 429 h 1286"/>
                <a:gd name="T50" fmla="*/ 9 w 1073"/>
                <a:gd name="T51" fmla="*/ 308 h 1286"/>
                <a:gd name="T52" fmla="*/ 0 w 1073"/>
                <a:gd name="T53" fmla="*/ 184 h 1286"/>
                <a:gd name="T54" fmla="*/ 312 w 1073"/>
                <a:gd name="T55" fmla="*/ 0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3" h="1286">
                  <a:moveTo>
                    <a:pt x="312" y="0"/>
                  </a:moveTo>
                  <a:lnTo>
                    <a:pt x="626" y="184"/>
                  </a:lnTo>
                  <a:lnTo>
                    <a:pt x="638" y="266"/>
                  </a:lnTo>
                  <a:lnTo>
                    <a:pt x="659" y="340"/>
                  </a:lnTo>
                  <a:lnTo>
                    <a:pt x="694" y="413"/>
                  </a:lnTo>
                  <a:lnTo>
                    <a:pt x="738" y="475"/>
                  </a:lnTo>
                  <a:lnTo>
                    <a:pt x="789" y="531"/>
                  </a:lnTo>
                  <a:lnTo>
                    <a:pt x="852" y="580"/>
                  </a:lnTo>
                  <a:lnTo>
                    <a:pt x="919" y="617"/>
                  </a:lnTo>
                  <a:lnTo>
                    <a:pt x="994" y="643"/>
                  </a:lnTo>
                  <a:lnTo>
                    <a:pt x="1073" y="659"/>
                  </a:lnTo>
                  <a:lnTo>
                    <a:pt x="887" y="976"/>
                  </a:lnTo>
                  <a:lnTo>
                    <a:pt x="1071" y="1286"/>
                  </a:lnTo>
                  <a:lnTo>
                    <a:pt x="945" y="1274"/>
                  </a:lnTo>
                  <a:lnTo>
                    <a:pt x="826" y="1248"/>
                  </a:lnTo>
                  <a:lnTo>
                    <a:pt x="712" y="1209"/>
                  </a:lnTo>
                  <a:lnTo>
                    <a:pt x="603" y="1160"/>
                  </a:lnTo>
                  <a:lnTo>
                    <a:pt x="500" y="1097"/>
                  </a:lnTo>
                  <a:lnTo>
                    <a:pt x="405" y="1027"/>
                  </a:lnTo>
                  <a:lnTo>
                    <a:pt x="319" y="946"/>
                  </a:lnTo>
                  <a:lnTo>
                    <a:pt x="242" y="857"/>
                  </a:lnTo>
                  <a:lnTo>
                    <a:pt x="172" y="759"/>
                  </a:lnTo>
                  <a:lnTo>
                    <a:pt x="114" y="657"/>
                  </a:lnTo>
                  <a:lnTo>
                    <a:pt x="68" y="545"/>
                  </a:lnTo>
                  <a:lnTo>
                    <a:pt x="33" y="429"/>
                  </a:lnTo>
                  <a:lnTo>
                    <a:pt x="9" y="308"/>
                  </a:lnTo>
                  <a:lnTo>
                    <a:pt x="0" y="1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FCAA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7A51193-CCF9-4172-8D1F-620960247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5993" y="2831271"/>
              <a:ext cx="1335811" cy="1113700"/>
            </a:xfrm>
            <a:custGeom>
              <a:avLst/>
              <a:gdLst>
                <a:gd name="T0" fmla="*/ 659 w 1287"/>
                <a:gd name="T1" fmla="*/ 0 h 1073"/>
                <a:gd name="T2" fmla="*/ 975 w 1287"/>
                <a:gd name="T3" fmla="*/ 186 h 1073"/>
                <a:gd name="T4" fmla="*/ 1287 w 1287"/>
                <a:gd name="T5" fmla="*/ 4 h 1073"/>
                <a:gd name="T6" fmla="*/ 1273 w 1287"/>
                <a:gd name="T7" fmla="*/ 128 h 1073"/>
                <a:gd name="T8" fmla="*/ 1248 w 1287"/>
                <a:gd name="T9" fmla="*/ 246 h 1073"/>
                <a:gd name="T10" fmla="*/ 1210 w 1287"/>
                <a:gd name="T11" fmla="*/ 361 h 1073"/>
                <a:gd name="T12" fmla="*/ 1159 w 1287"/>
                <a:gd name="T13" fmla="*/ 470 h 1073"/>
                <a:gd name="T14" fmla="*/ 1099 w 1287"/>
                <a:gd name="T15" fmla="*/ 572 h 1073"/>
                <a:gd name="T16" fmla="*/ 1027 w 1287"/>
                <a:gd name="T17" fmla="*/ 668 h 1073"/>
                <a:gd name="T18" fmla="*/ 947 w 1287"/>
                <a:gd name="T19" fmla="*/ 754 h 1073"/>
                <a:gd name="T20" fmla="*/ 859 w 1287"/>
                <a:gd name="T21" fmla="*/ 833 h 1073"/>
                <a:gd name="T22" fmla="*/ 761 w 1287"/>
                <a:gd name="T23" fmla="*/ 901 h 1073"/>
                <a:gd name="T24" fmla="*/ 657 w 1287"/>
                <a:gd name="T25" fmla="*/ 959 h 1073"/>
                <a:gd name="T26" fmla="*/ 547 w 1287"/>
                <a:gd name="T27" fmla="*/ 1005 h 1073"/>
                <a:gd name="T28" fmla="*/ 431 w 1287"/>
                <a:gd name="T29" fmla="*/ 1040 h 1073"/>
                <a:gd name="T30" fmla="*/ 310 w 1287"/>
                <a:gd name="T31" fmla="*/ 1064 h 1073"/>
                <a:gd name="T32" fmla="*/ 184 w 1287"/>
                <a:gd name="T33" fmla="*/ 1073 h 1073"/>
                <a:gd name="T34" fmla="*/ 0 w 1287"/>
                <a:gd name="T35" fmla="*/ 761 h 1073"/>
                <a:gd name="T36" fmla="*/ 186 w 1287"/>
                <a:gd name="T37" fmla="*/ 447 h 1073"/>
                <a:gd name="T38" fmla="*/ 266 w 1287"/>
                <a:gd name="T39" fmla="*/ 437 h 1073"/>
                <a:gd name="T40" fmla="*/ 342 w 1287"/>
                <a:gd name="T41" fmla="*/ 414 h 1073"/>
                <a:gd name="T42" fmla="*/ 412 w 1287"/>
                <a:gd name="T43" fmla="*/ 379 h 1073"/>
                <a:gd name="T44" fmla="*/ 477 w 1287"/>
                <a:gd name="T45" fmla="*/ 335 h 1073"/>
                <a:gd name="T46" fmla="*/ 533 w 1287"/>
                <a:gd name="T47" fmla="*/ 284 h 1073"/>
                <a:gd name="T48" fmla="*/ 580 w 1287"/>
                <a:gd name="T49" fmla="*/ 221 h 1073"/>
                <a:gd name="T50" fmla="*/ 619 w 1287"/>
                <a:gd name="T51" fmla="*/ 153 h 1073"/>
                <a:gd name="T52" fmla="*/ 645 w 1287"/>
                <a:gd name="T53" fmla="*/ 79 h 1073"/>
                <a:gd name="T54" fmla="*/ 659 w 1287"/>
                <a:gd name="T55" fmla="*/ 0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7" h="1073">
                  <a:moveTo>
                    <a:pt x="659" y="0"/>
                  </a:moveTo>
                  <a:lnTo>
                    <a:pt x="975" y="186"/>
                  </a:lnTo>
                  <a:lnTo>
                    <a:pt x="1287" y="4"/>
                  </a:lnTo>
                  <a:lnTo>
                    <a:pt x="1273" y="128"/>
                  </a:lnTo>
                  <a:lnTo>
                    <a:pt x="1248" y="246"/>
                  </a:lnTo>
                  <a:lnTo>
                    <a:pt x="1210" y="361"/>
                  </a:lnTo>
                  <a:lnTo>
                    <a:pt x="1159" y="470"/>
                  </a:lnTo>
                  <a:lnTo>
                    <a:pt x="1099" y="572"/>
                  </a:lnTo>
                  <a:lnTo>
                    <a:pt x="1027" y="668"/>
                  </a:lnTo>
                  <a:lnTo>
                    <a:pt x="947" y="754"/>
                  </a:lnTo>
                  <a:lnTo>
                    <a:pt x="859" y="833"/>
                  </a:lnTo>
                  <a:lnTo>
                    <a:pt x="761" y="901"/>
                  </a:lnTo>
                  <a:lnTo>
                    <a:pt x="657" y="959"/>
                  </a:lnTo>
                  <a:lnTo>
                    <a:pt x="547" y="1005"/>
                  </a:lnTo>
                  <a:lnTo>
                    <a:pt x="431" y="1040"/>
                  </a:lnTo>
                  <a:lnTo>
                    <a:pt x="310" y="1064"/>
                  </a:lnTo>
                  <a:lnTo>
                    <a:pt x="184" y="1073"/>
                  </a:lnTo>
                  <a:lnTo>
                    <a:pt x="0" y="761"/>
                  </a:lnTo>
                  <a:lnTo>
                    <a:pt x="186" y="447"/>
                  </a:lnTo>
                  <a:lnTo>
                    <a:pt x="266" y="437"/>
                  </a:lnTo>
                  <a:lnTo>
                    <a:pt x="342" y="414"/>
                  </a:lnTo>
                  <a:lnTo>
                    <a:pt x="412" y="379"/>
                  </a:lnTo>
                  <a:lnTo>
                    <a:pt x="477" y="335"/>
                  </a:lnTo>
                  <a:lnTo>
                    <a:pt x="533" y="284"/>
                  </a:lnTo>
                  <a:lnTo>
                    <a:pt x="580" y="221"/>
                  </a:lnTo>
                  <a:lnTo>
                    <a:pt x="619" y="153"/>
                  </a:lnTo>
                  <a:lnTo>
                    <a:pt x="645" y="79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rgbClr val="FFA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261A65D-C200-460E-94BD-E8AACF4864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1222" y="1610664"/>
              <a:ext cx="1110581" cy="1335818"/>
            </a:xfrm>
            <a:custGeom>
              <a:avLst/>
              <a:gdLst>
                <a:gd name="T0" fmla="*/ 2 w 1070"/>
                <a:gd name="T1" fmla="*/ 0 h 1287"/>
                <a:gd name="T2" fmla="*/ 125 w 1070"/>
                <a:gd name="T3" fmla="*/ 14 h 1287"/>
                <a:gd name="T4" fmla="*/ 246 w 1070"/>
                <a:gd name="T5" fmla="*/ 40 h 1287"/>
                <a:gd name="T6" fmla="*/ 360 w 1070"/>
                <a:gd name="T7" fmla="*/ 77 h 1287"/>
                <a:gd name="T8" fmla="*/ 470 w 1070"/>
                <a:gd name="T9" fmla="*/ 128 h 1287"/>
                <a:gd name="T10" fmla="*/ 572 w 1070"/>
                <a:gd name="T11" fmla="*/ 189 h 1287"/>
                <a:gd name="T12" fmla="*/ 665 w 1070"/>
                <a:gd name="T13" fmla="*/ 261 h 1287"/>
                <a:gd name="T14" fmla="*/ 754 w 1070"/>
                <a:gd name="T15" fmla="*/ 340 h 1287"/>
                <a:gd name="T16" fmla="*/ 831 w 1070"/>
                <a:gd name="T17" fmla="*/ 431 h 1287"/>
                <a:gd name="T18" fmla="*/ 900 w 1070"/>
                <a:gd name="T19" fmla="*/ 526 h 1287"/>
                <a:gd name="T20" fmla="*/ 959 w 1070"/>
                <a:gd name="T21" fmla="*/ 631 h 1287"/>
                <a:gd name="T22" fmla="*/ 1005 w 1070"/>
                <a:gd name="T23" fmla="*/ 740 h 1287"/>
                <a:gd name="T24" fmla="*/ 1040 w 1070"/>
                <a:gd name="T25" fmla="*/ 857 h 1287"/>
                <a:gd name="T26" fmla="*/ 1061 w 1070"/>
                <a:gd name="T27" fmla="*/ 978 h 1287"/>
                <a:gd name="T28" fmla="*/ 1070 w 1070"/>
                <a:gd name="T29" fmla="*/ 1104 h 1287"/>
                <a:gd name="T30" fmla="*/ 758 w 1070"/>
                <a:gd name="T31" fmla="*/ 1287 h 1287"/>
                <a:gd name="T32" fmla="*/ 444 w 1070"/>
                <a:gd name="T33" fmla="*/ 1104 h 1287"/>
                <a:gd name="T34" fmla="*/ 435 w 1070"/>
                <a:gd name="T35" fmla="*/ 1022 h 1287"/>
                <a:gd name="T36" fmla="*/ 412 w 1070"/>
                <a:gd name="T37" fmla="*/ 945 h 1287"/>
                <a:gd name="T38" fmla="*/ 379 w 1070"/>
                <a:gd name="T39" fmla="*/ 875 h 1287"/>
                <a:gd name="T40" fmla="*/ 335 w 1070"/>
                <a:gd name="T41" fmla="*/ 810 h 1287"/>
                <a:gd name="T42" fmla="*/ 281 w 1070"/>
                <a:gd name="T43" fmla="*/ 754 h 1287"/>
                <a:gd name="T44" fmla="*/ 221 w 1070"/>
                <a:gd name="T45" fmla="*/ 708 h 1287"/>
                <a:gd name="T46" fmla="*/ 153 w 1070"/>
                <a:gd name="T47" fmla="*/ 670 h 1287"/>
                <a:gd name="T48" fmla="*/ 79 w 1070"/>
                <a:gd name="T49" fmla="*/ 643 h 1287"/>
                <a:gd name="T50" fmla="*/ 0 w 1070"/>
                <a:gd name="T51" fmla="*/ 629 h 1287"/>
                <a:gd name="T52" fmla="*/ 186 w 1070"/>
                <a:gd name="T53" fmla="*/ 312 h 1287"/>
                <a:gd name="T54" fmla="*/ 2 w 1070"/>
                <a:gd name="T55" fmla="*/ 0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70" h="1287">
                  <a:moveTo>
                    <a:pt x="2" y="0"/>
                  </a:moveTo>
                  <a:lnTo>
                    <a:pt x="125" y="14"/>
                  </a:lnTo>
                  <a:lnTo>
                    <a:pt x="246" y="40"/>
                  </a:lnTo>
                  <a:lnTo>
                    <a:pt x="360" y="77"/>
                  </a:lnTo>
                  <a:lnTo>
                    <a:pt x="470" y="128"/>
                  </a:lnTo>
                  <a:lnTo>
                    <a:pt x="572" y="189"/>
                  </a:lnTo>
                  <a:lnTo>
                    <a:pt x="665" y="261"/>
                  </a:lnTo>
                  <a:lnTo>
                    <a:pt x="754" y="340"/>
                  </a:lnTo>
                  <a:lnTo>
                    <a:pt x="831" y="431"/>
                  </a:lnTo>
                  <a:lnTo>
                    <a:pt x="900" y="526"/>
                  </a:lnTo>
                  <a:lnTo>
                    <a:pt x="959" y="631"/>
                  </a:lnTo>
                  <a:lnTo>
                    <a:pt x="1005" y="740"/>
                  </a:lnTo>
                  <a:lnTo>
                    <a:pt x="1040" y="857"/>
                  </a:lnTo>
                  <a:lnTo>
                    <a:pt x="1061" y="978"/>
                  </a:lnTo>
                  <a:lnTo>
                    <a:pt x="1070" y="1104"/>
                  </a:lnTo>
                  <a:lnTo>
                    <a:pt x="758" y="1287"/>
                  </a:lnTo>
                  <a:lnTo>
                    <a:pt x="444" y="1104"/>
                  </a:lnTo>
                  <a:lnTo>
                    <a:pt x="435" y="1022"/>
                  </a:lnTo>
                  <a:lnTo>
                    <a:pt x="412" y="945"/>
                  </a:lnTo>
                  <a:lnTo>
                    <a:pt x="379" y="875"/>
                  </a:lnTo>
                  <a:lnTo>
                    <a:pt x="335" y="810"/>
                  </a:lnTo>
                  <a:lnTo>
                    <a:pt x="281" y="754"/>
                  </a:lnTo>
                  <a:lnTo>
                    <a:pt x="221" y="708"/>
                  </a:lnTo>
                  <a:lnTo>
                    <a:pt x="153" y="670"/>
                  </a:lnTo>
                  <a:lnTo>
                    <a:pt x="79" y="643"/>
                  </a:lnTo>
                  <a:lnTo>
                    <a:pt x="0" y="629"/>
                  </a:lnTo>
                  <a:lnTo>
                    <a:pt x="186" y="3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964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5489B170-1641-4CEF-9EE9-FE3E5A5FA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0621" y="1610664"/>
              <a:ext cx="1333735" cy="1111625"/>
            </a:xfrm>
            <a:custGeom>
              <a:avLst/>
              <a:gdLst>
                <a:gd name="T0" fmla="*/ 1101 w 1285"/>
                <a:gd name="T1" fmla="*/ 0 h 1071"/>
                <a:gd name="T2" fmla="*/ 1285 w 1285"/>
                <a:gd name="T3" fmla="*/ 312 h 1071"/>
                <a:gd name="T4" fmla="*/ 1101 w 1285"/>
                <a:gd name="T5" fmla="*/ 626 h 1071"/>
                <a:gd name="T6" fmla="*/ 1022 w 1285"/>
                <a:gd name="T7" fmla="*/ 636 h 1071"/>
                <a:gd name="T8" fmla="*/ 945 w 1285"/>
                <a:gd name="T9" fmla="*/ 659 h 1071"/>
                <a:gd name="T10" fmla="*/ 875 w 1285"/>
                <a:gd name="T11" fmla="*/ 691 h 1071"/>
                <a:gd name="T12" fmla="*/ 810 w 1285"/>
                <a:gd name="T13" fmla="*/ 736 h 1071"/>
                <a:gd name="T14" fmla="*/ 754 w 1285"/>
                <a:gd name="T15" fmla="*/ 789 h 1071"/>
                <a:gd name="T16" fmla="*/ 706 w 1285"/>
                <a:gd name="T17" fmla="*/ 850 h 1071"/>
                <a:gd name="T18" fmla="*/ 668 w 1285"/>
                <a:gd name="T19" fmla="*/ 917 h 1071"/>
                <a:gd name="T20" fmla="*/ 643 w 1285"/>
                <a:gd name="T21" fmla="*/ 992 h 1071"/>
                <a:gd name="T22" fmla="*/ 626 w 1285"/>
                <a:gd name="T23" fmla="*/ 1071 h 1071"/>
                <a:gd name="T24" fmla="*/ 310 w 1285"/>
                <a:gd name="T25" fmla="*/ 885 h 1071"/>
                <a:gd name="T26" fmla="*/ 0 w 1285"/>
                <a:gd name="T27" fmla="*/ 1069 h 1071"/>
                <a:gd name="T28" fmla="*/ 12 w 1285"/>
                <a:gd name="T29" fmla="*/ 945 h 1071"/>
                <a:gd name="T30" fmla="*/ 40 w 1285"/>
                <a:gd name="T31" fmla="*/ 824 h 1071"/>
                <a:gd name="T32" fmla="*/ 77 w 1285"/>
                <a:gd name="T33" fmla="*/ 710 h 1071"/>
                <a:gd name="T34" fmla="*/ 128 w 1285"/>
                <a:gd name="T35" fmla="*/ 601 h 1071"/>
                <a:gd name="T36" fmla="*/ 189 w 1285"/>
                <a:gd name="T37" fmla="*/ 498 h 1071"/>
                <a:gd name="T38" fmla="*/ 259 w 1285"/>
                <a:gd name="T39" fmla="*/ 405 h 1071"/>
                <a:gd name="T40" fmla="*/ 340 w 1285"/>
                <a:gd name="T41" fmla="*/ 317 h 1071"/>
                <a:gd name="T42" fmla="*/ 429 w 1285"/>
                <a:gd name="T43" fmla="*/ 240 h 1071"/>
                <a:gd name="T44" fmla="*/ 526 w 1285"/>
                <a:gd name="T45" fmla="*/ 172 h 1071"/>
                <a:gd name="T46" fmla="*/ 629 w 1285"/>
                <a:gd name="T47" fmla="*/ 114 h 1071"/>
                <a:gd name="T48" fmla="*/ 741 w 1285"/>
                <a:gd name="T49" fmla="*/ 65 h 1071"/>
                <a:gd name="T50" fmla="*/ 857 w 1285"/>
                <a:gd name="T51" fmla="*/ 30 h 1071"/>
                <a:gd name="T52" fmla="*/ 978 w 1285"/>
                <a:gd name="T53" fmla="*/ 9 h 1071"/>
                <a:gd name="T54" fmla="*/ 1101 w 1285"/>
                <a:gd name="T55" fmla="*/ 0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5" h="1071">
                  <a:moveTo>
                    <a:pt x="1101" y="0"/>
                  </a:moveTo>
                  <a:lnTo>
                    <a:pt x="1285" y="312"/>
                  </a:lnTo>
                  <a:lnTo>
                    <a:pt x="1101" y="626"/>
                  </a:lnTo>
                  <a:lnTo>
                    <a:pt x="1022" y="636"/>
                  </a:lnTo>
                  <a:lnTo>
                    <a:pt x="945" y="659"/>
                  </a:lnTo>
                  <a:lnTo>
                    <a:pt x="875" y="691"/>
                  </a:lnTo>
                  <a:lnTo>
                    <a:pt x="810" y="736"/>
                  </a:lnTo>
                  <a:lnTo>
                    <a:pt x="754" y="789"/>
                  </a:lnTo>
                  <a:lnTo>
                    <a:pt x="706" y="850"/>
                  </a:lnTo>
                  <a:lnTo>
                    <a:pt x="668" y="917"/>
                  </a:lnTo>
                  <a:lnTo>
                    <a:pt x="643" y="992"/>
                  </a:lnTo>
                  <a:lnTo>
                    <a:pt x="626" y="1071"/>
                  </a:lnTo>
                  <a:lnTo>
                    <a:pt x="310" y="885"/>
                  </a:lnTo>
                  <a:lnTo>
                    <a:pt x="0" y="1069"/>
                  </a:lnTo>
                  <a:lnTo>
                    <a:pt x="12" y="945"/>
                  </a:lnTo>
                  <a:lnTo>
                    <a:pt x="40" y="824"/>
                  </a:lnTo>
                  <a:lnTo>
                    <a:pt x="77" y="710"/>
                  </a:lnTo>
                  <a:lnTo>
                    <a:pt x="128" y="601"/>
                  </a:lnTo>
                  <a:lnTo>
                    <a:pt x="189" y="498"/>
                  </a:lnTo>
                  <a:lnTo>
                    <a:pt x="259" y="405"/>
                  </a:lnTo>
                  <a:lnTo>
                    <a:pt x="340" y="317"/>
                  </a:lnTo>
                  <a:lnTo>
                    <a:pt x="429" y="240"/>
                  </a:lnTo>
                  <a:lnTo>
                    <a:pt x="526" y="172"/>
                  </a:lnTo>
                  <a:lnTo>
                    <a:pt x="629" y="114"/>
                  </a:lnTo>
                  <a:lnTo>
                    <a:pt x="741" y="65"/>
                  </a:lnTo>
                  <a:lnTo>
                    <a:pt x="857" y="30"/>
                  </a:lnTo>
                  <a:lnTo>
                    <a:pt x="978" y="9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F7E2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35BE4560-41E3-4FEB-9EF0-CA95E7ED6045}"/>
              </a:ext>
            </a:extLst>
          </p:cNvPr>
          <p:cNvSpPr txBox="1">
            <a:spLocks/>
          </p:cNvSpPr>
          <p:nvPr/>
        </p:nvSpPr>
        <p:spPr bwMode="gray">
          <a:xfrm>
            <a:off x="4986467" y="2280440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3B8725D2-B4FE-4A85-ABF9-9B224B544A5D}"/>
              </a:ext>
            </a:extLst>
          </p:cNvPr>
          <p:cNvSpPr txBox="1">
            <a:spLocks/>
          </p:cNvSpPr>
          <p:nvPr/>
        </p:nvSpPr>
        <p:spPr bwMode="gray">
          <a:xfrm>
            <a:off x="7059110" y="2546947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AA82E45-4967-4F42-AE8C-2372BD35CF6E}"/>
              </a:ext>
            </a:extLst>
          </p:cNvPr>
          <p:cNvSpPr txBox="1">
            <a:spLocks/>
          </p:cNvSpPr>
          <p:nvPr/>
        </p:nvSpPr>
        <p:spPr bwMode="gray">
          <a:xfrm>
            <a:off x="6789227" y="4577533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41A2461-6D7E-4D93-8D0F-C1CEB014AD45}"/>
              </a:ext>
            </a:extLst>
          </p:cNvPr>
          <p:cNvSpPr txBox="1">
            <a:spLocks/>
          </p:cNvSpPr>
          <p:nvPr/>
        </p:nvSpPr>
        <p:spPr bwMode="gray">
          <a:xfrm>
            <a:off x="4701057" y="4219586"/>
            <a:ext cx="37039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26" name="Rectangle 64">
            <a:extLst>
              <a:ext uri="{FF2B5EF4-FFF2-40B4-BE49-F238E27FC236}">
                <a16:creationId xmlns:a16="http://schemas.microsoft.com/office/drawing/2014/main" id="{9F8055D1-DBD9-461F-9FE2-3FF1760F4EF2}"/>
              </a:ext>
            </a:extLst>
          </p:cNvPr>
          <p:cNvSpPr>
            <a:spLocks/>
          </p:cNvSpPr>
          <p:nvPr/>
        </p:nvSpPr>
        <p:spPr bwMode="gray">
          <a:xfrm>
            <a:off x="5379465" y="3584984"/>
            <a:ext cx="1425712" cy="55399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00"/>
              </a:spcAft>
              <a:buClr>
                <a:schemeClr val="tx1"/>
              </a:buClr>
              <a:defRPr/>
            </a:pPr>
            <a:r>
              <a:rPr lang="de-DE" dirty="0">
                <a:latin typeface="+mj-lt"/>
              </a:rPr>
              <a:t>Lorem ipsum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dolor sit am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Rounded Corners 81">
            <a:extLst>
              <a:ext uri="{FF2B5EF4-FFF2-40B4-BE49-F238E27FC236}">
                <a16:creationId xmlns:a16="http://schemas.microsoft.com/office/drawing/2014/main" id="{07702BE3-629A-44C9-8F7A-9939CC50AA63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81">
            <a:extLst>
              <a:ext uri="{FF2B5EF4-FFF2-40B4-BE49-F238E27FC236}">
                <a16:creationId xmlns:a16="http://schemas.microsoft.com/office/drawing/2014/main" id="{DC0C8616-E126-4D1B-AF90-3C8E4A234ECB}"/>
              </a:ext>
            </a:extLst>
          </p:cNvPr>
          <p:cNvSpPr>
            <a:spLocks/>
          </p:cNvSpPr>
          <p:nvPr/>
        </p:nvSpPr>
        <p:spPr bwMode="gray">
          <a:xfrm>
            <a:off x="8714667" y="1594401"/>
            <a:ext cx="533430" cy="533430"/>
          </a:xfrm>
          <a:prstGeom prst="rect">
            <a:avLst/>
          </a:prstGeom>
          <a:solidFill>
            <a:srgbClr val="FF9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: Rounded Corners 81">
            <a:extLst>
              <a:ext uri="{FF2B5EF4-FFF2-40B4-BE49-F238E27FC236}">
                <a16:creationId xmlns:a16="http://schemas.microsoft.com/office/drawing/2014/main" id="{DEE5C7A9-7490-44D2-8C28-CBD38CDAF49A}"/>
              </a:ext>
            </a:extLst>
          </p:cNvPr>
          <p:cNvSpPr>
            <a:spLocks/>
          </p:cNvSpPr>
          <p:nvPr/>
        </p:nvSpPr>
        <p:spPr bwMode="gray">
          <a:xfrm>
            <a:off x="8714667" y="4138982"/>
            <a:ext cx="533430" cy="533430"/>
          </a:xfrm>
          <a:prstGeom prst="rect">
            <a:avLst/>
          </a:prstGeom>
          <a:solidFill>
            <a:srgbClr val="FFA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81">
            <a:extLst>
              <a:ext uri="{FF2B5EF4-FFF2-40B4-BE49-F238E27FC236}">
                <a16:creationId xmlns:a16="http://schemas.microsoft.com/office/drawing/2014/main" id="{EB9534D6-DE99-48FF-910D-49DE76D0B1F7}"/>
              </a:ext>
            </a:extLst>
          </p:cNvPr>
          <p:cNvSpPr>
            <a:spLocks/>
          </p:cNvSpPr>
          <p:nvPr/>
        </p:nvSpPr>
        <p:spPr bwMode="gray">
          <a:xfrm>
            <a:off x="635025" y="4138982"/>
            <a:ext cx="533430" cy="533430"/>
          </a:xfrm>
          <a:prstGeom prst="rect">
            <a:avLst/>
          </a:prstGeom>
          <a:solidFill>
            <a:srgbClr val="FFC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Shape 2534">
            <a:extLst>
              <a:ext uri="{FF2B5EF4-FFF2-40B4-BE49-F238E27FC236}">
                <a16:creationId xmlns:a16="http://schemas.microsoft.com/office/drawing/2014/main" id="{4AE8EA3D-2FF1-4DAD-BDA0-18BB84F075D5}"/>
              </a:ext>
            </a:extLst>
          </p:cNvPr>
          <p:cNvSpPr>
            <a:spLocks/>
          </p:cNvSpPr>
          <p:nvPr/>
        </p:nvSpPr>
        <p:spPr bwMode="gray">
          <a:xfrm>
            <a:off x="8863091" y="4261114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46">
            <a:extLst>
              <a:ext uri="{FF2B5EF4-FFF2-40B4-BE49-F238E27FC236}">
                <a16:creationId xmlns:a16="http://schemas.microsoft.com/office/drawing/2014/main" id="{A9501911-CFC0-4758-9BE2-9D03E0FC1F54}"/>
              </a:ext>
            </a:extLst>
          </p:cNvPr>
          <p:cNvSpPr>
            <a:spLocks/>
          </p:cNvSpPr>
          <p:nvPr/>
        </p:nvSpPr>
        <p:spPr bwMode="gray">
          <a:xfrm>
            <a:off x="757162" y="174282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52">
            <a:extLst>
              <a:ext uri="{FF2B5EF4-FFF2-40B4-BE49-F238E27FC236}">
                <a16:creationId xmlns:a16="http://schemas.microsoft.com/office/drawing/2014/main" id="{10FB0342-95BB-4CCE-82E6-D469EF9088CD}"/>
              </a:ext>
            </a:extLst>
          </p:cNvPr>
          <p:cNvSpPr>
            <a:spLocks/>
          </p:cNvSpPr>
          <p:nvPr/>
        </p:nvSpPr>
        <p:spPr bwMode="gray">
          <a:xfrm>
            <a:off x="757162" y="4274262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91">
            <a:extLst>
              <a:ext uri="{FF2B5EF4-FFF2-40B4-BE49-F238E27FC236}">
                <a16:creationId xmlns:a16="http://schemas.microsoft.com/office/drawing/2014/main" id="{EA9D8F45-8189-4FD0-8D43-36E684D8D0EE}"/>
              </a:ext>
            </a:extLst>
          </p:cNvPr>
          <p:cNvSpPr>
            <a:spLocks/>
          </p:cNvSpPr>
          <p:nvPr/>
        </p:nvSpPr>
        <p:spPr bwMode="gray">
          <a:xfrm>
            <a:off x="8836804" y="171653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4B4ADC6-B2FB-48A9-8239-9059E2FC65E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1245982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57FA87-BE62-C130-E269-CCD19ACDA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Javascript</a:t>
            </a:r>
            <a:r>
              <a:rPr lang="de-DE" dirty="0"/>
              <a:t> ist per Design event-</a:t>
            </a:r>
            <a:r>
              <a:rPr lang="de-DE" dirty="0" err="1"/>
              <a:t>driven</a:t>
            </a:r>
            <a:r>
              <a:rPr lang="de-DE" dirty="0"/>
              <a:t> und daher gut geeignet für das Event </a:t>
            </a:r>
            <a:r>
              <a:rPr lang="de-DE" dirty="0" err="1"/>
              <a:t>Demultiplexing</a:t>
            </a:r>
            <a:r>
              <a:rPr lang="de-DE" dirty="0"/>
              <a:t> bzw. Abarbeiten der Tasks über Event Loop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397F31-92D9-EB0E-4CF6-96CB8826C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76CB1B-6A8C-2613-C389-01B64B184B1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924959-4B29-EF5B-4255-2B9358D5CF6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338061-B156-F461-D156-9DB495455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ECB180-F06C-C50B-2E9A-E4B1648D1A42}"/>
              </a:ext>
            </a:extLst>
          </p:cNvPr>
          <p:cNvSpPr/>
          <p:nvPr/>
        </p:nvSpPr>
        <p:spPr>
          <a:xfrm>
            <a:off x="623888" y="1996751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cli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hange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textCont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Help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me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ocum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ElementByI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mo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sty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Color: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re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331952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960FD68-4196-4275-919F-56B15171E7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8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960FD68-4196-4275-919F-56B15171E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23BB85F2-16A5-4E07-9684-3092FF51BDCA}"/>
              </a:ext>
            </a:extLst>
          </p:cNvPr>
          <p:cNvCxnSpPr>
            <a:cxnSpLocks/>
          </p:cNvCxnSpPr>
          <p:nvPr/>
        </p:nvCxnSpPr>
        <p:spPr bwMode="gray">
          <a:xfrm>
            <a:off x="1321158" y="2527390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79FB3DB5-D704-4129-8749-035CE0F4BBF4}"/>
              </a:ext>
            </a:extLst>
          </p:cNvPr>
          <p:cNvCxnSpPr>
            <a:cxnSpLocks/>
          </p:cNvCxnSpPr>
          <p:nvPr/>
        </p:nvCxnSpPr>
        <p:spPr bwMode="gray">
          <a:xfrm>
            <a:off x="1321158" y="53036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A14C3415-B8A1-4337-8EA5-65FBFFF2C347}"/>
              </a:ext>
            </a:extLst>
          </p:cNvPr>
          <p:cNvCxnSpPr>
            <a:cxnSpLocks/>
          </p:cNvCxnSpPr>
          <p:nvPr/>
        </p:nvCxnSpPr>
        <p:spPr bwMode="gray">
          <a:xfrm>
            <a:off x="1321158" y="3906407"/>
            <a:ext cx="3466742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F153734-C35E-48F5-8A06-DBC581CE9895}"/>
              </a:ext>
            </a:extLst>
          </p:cNvPr>
          <p:cNvGrpSpPr/>
          <p:nvPr/>
        </p:nvGrpSpPr>
        <p:grpSpPr bwMode="gray">
          <a:xfrm>
            <a:off x="7307287" y="2527390"/>
            <a:ext cx="3452374" cy="2776217"/>
            <a:chOff x="7307286" y="2527390"/>
            <a:chExt cx="4152875" cy="2776217"/>
          </a:xfrm>
        </p:grpSpPr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BB8ADB2A-DEC1-4684-A8A4-B8B50D2CF6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2527390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634247AC-CFC1-442A-B1C2-63E0FD0231B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53036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3F566009-0E28-47E5-862A-F1375EAAB6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07286" y="3906407"/>
              <a:ext cx="415287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F400365-BB46-467C-B58D-744B2CFB6B8C}"/>
              </a:ext>
            </a:extLst>
          </p:cNvPr>
          <p:cNvGrpSpPr>
            <a:grpSpLocks/>
          </p:cNvGrpSpPr>
          <p:nvPr/>
        </p:nvGrpSpPr>
        <p:grpSpPr bwMode="gray">
          <a:xfrm>
            <a:off x="3938807" y="2059201"/>
            <a:ext cx="4266317" cy="3695286"/>
            <a:chOff x="3938807" y="2059201"/>
            <a:chExt cx="4266317" cy="3695286"/>
          </a:xfrm>
          <a:solidFill>
            <a:srgbClr val="E4E4E4"/>
          </a:solidFill>
        </p:grpSpPr>
        <p:sp>
          <p:nvSpPr>
            <p:cNvPr id="8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054911" y="2059201"/>
              <a:ext cx="1608238" cy="1848274"/>
            </a:xfrm>
            <a:custGeom>
              <a:avLst/>
              <a:gdLst>
                <a:gd name="connsiteX0" fmla="*/ 1083951 w 1608238"/>
                <a:gd name="connsiteY0" fmla="*/ 0 h 1848274"/>
                <a:gd name="connsiteX1" fmla="*/ 34110 w 1608238"/>
                <a:gd name="connsiteY1" fmla="*/ 0 h 1848274"/>
                <a:gd name="connsiteX2" fmla="*/ 0 w 1608238"/>
                <a:gd name="connsiteY2" fmla="*/ 0 h 1848274"/>
                <a:gd name="connsiteX3" fmla="*/ 17687 w 1608238"/>
                <a:gd name="connsiteY3" fmla="*/ 29057 h 1848274"/>
                <a:gd name="connsiteX4" fmla="*/ 541975 w 1608238"/>
                <a:gd name="connsiteY4" fmla="*/ 938666 h 1848274"/>
                <a:gd name="connsiteX5" fmla="*/ 1067527 w 1608238"/>
                <a:gd name="connsiteY5" fmla="*/ 1848275 h 1848274"/>
                <a:gd name="connsiteX6" fmla="*/ 1591816 w 1608238"/>
                <a:gd name="connsiteY6" fmla="*/ 938666 h 1848274"/>
                <a:gd name="connsiteX7" fmla="*/ 1608239 w 1608238"/>
                <a:gd name="connsiteY7" fmla="*/ 909609 h 184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8274">
                  <a:moveTo>
                    <a:pt x="1083951" y="0"/>
                  </a:moveTo>
                  <a:lnTo>
                    <a:pt x="34110" y="0"/>
                  </a:lnTo>
                  <a:lnTo>
                    <a:pt x="0" y="0"/>
                  </a:lnTo>
                  <a:lnTo>
                    <a:pt x="17687" y="29057"/>
                  </a:lnTo>
                  <a:lnTo>
                    <a:pt x="541975" y="938666"/>
                  </a:lnTo>
                  <a:lnTo>
                    <a:pt x="1067527" y="1848275"/>
                  </a:lnTo>
                  <a:lnTo>
                    <a:pt x="1591816" y="938666"/>
                  </a:lnTo>
                  <a:lnTo>
                    <a:pt x="1608239" y="909609"/>
                  </a:lnTo>
                  <a:close/>
                </a:path>
              </a:pathLst>
            </a:custGeom>
            <a:solidFill>
              <a:srgbClr val="F256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5547046" y="4815821"/>
              <a:ext cx="2133790" cy="938665"/>
            </a:xfrm>
            <a:custGeom>
              <a:avLst/>
              <a:gdLst>
                <a:gd name="connsiteX0" fmla="*/ 2099681 w 2133790"/>
                <a:gd name="connsiteY0" fmla="*/ 0 h 938665"/>
                <a:gd name="connsiteX1" fmla="*/ 1049840 w 2133790"/>
                <a:gd name="connsiteY1" fmla="*/ 0 h 938665"/>
                <a:gd name="connsiteX2" fmla="*/ 0 w 2133790"/>
                <a:gd name="connsiteY2" fmla="*/ 0 h 938665"/>
                <a:gd name="connsiteX3" fmla="*/ 525552 w 2133790"/>
                <a:gd name="connsiteY3" fmla="*/ 909609 h 938665"/>
                <a:gd name="connsiteX4" fmla="*/ 541975 w 2133790"/>
                <a:gd name="connsiteY4" fmla="*/ 938666 h 938665"/>
                <a:gd name="connsiteX5" fmla="*/ 1591816 w 2133790"/>
                <a:gd name="connsiteY5" fmla="*/ 938666 h 938665"/>
                <a:gd name="connsiteX6" fmla="*/ 2117368 w 2133790"/>
                <a:gd name="connsiteY6" fmla="*/ 29057 h 938665"/>
                <a:gd name="connsiteX7" fmla="*/ 2133791 w 2133790"/>
                <a:gd name="connsiteY7" fmla="*/ 0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2099681" y="0"/>
                  </a:moveTo>
                  <a:lnTo>
                    <a:pt x="1049840" y="0"/>
                  </a:lnTo>
                  <a:lnTo>
                    <a:pt x="0" y="0"/>
                  </a:lnTo>
                  <a:lnTo>
                    <a:pt x="525552" y="909609"/>
                  </a:lnTo>
                  <a:lnTo>
                    <a:pt x="541975" y="938666"/>
                  </a:lnTo>
                  <a:lnTo>
                    <a:pt x="1591816" y="938666"/>
                  </a:lnTo>
                  <a:lnTo>
                    <a:pt x="2117368" y="29057"/>
                  </a:lnTo>
                  <a:lnTo>
                    <a:pt x="2133791" y="0"/>
                  </a:lnTo>
                  <a:close/>
                </a:path>
              </a:pathLst>
            </a:custGeom>
            <a:solidFill>
              <a:srgbClr val="A22A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6596886" y="2968810"/>
              <a:ext cx="1608238" cy="1847011"/>
            </a:xfrm>
            <a:custGeom>
              <a:avLst/>
              <a:gdLst>
                <a:gd name="connsiteX0" fmla="*/ 1083951 w 1608238"/>
                <a:gd name="connsiteY0" fmla="*/ 29057 h 1847011"/>
                <a:gd name="connsiteX1" fmla="*/ 1066264 w 1608238"/>
                <a:gd name="connsiteY1" fmla="*/ 0 h 1847011"/>
                <a:gd name="connsiteX2" fmla="*/ 1049840 w 1608238"/>
                <a:gd name="connsiteY2" fmla="*/ 29057 h 1847011"/>
                <a:gd name="connsiteX3" fmla="*/ 525552 w 1608238"/>
                <a:gd name="connsiteY3" fmla="*/ 938666 h 1847011"/>
                <a:gd name="connsiteX4" fmla="*/ 0 w 1608238"/>
                <a:gd name="connsiteY4" fmla="*/ 1847011 h 1847011"/>
                <a:gd name="connsiteX5" fmla="*/ 1049840 w 1608238"/>
                <a:gd name="connsiteY5" fmla="*/ 1847011 h 1847011"/>
                <a:gd name="connsiteX6" fmla="*/ 1083951 w 1608238"/>
                <a:gd name="connsiteY6" fmla="*/ 1847011 h 1847011"/>
                <a:gd name="connsiteX7" fmla="*/ 1608239 w 1608238"/>
                <a:gd name="connsiteY7" fmla="*/ 938666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8" h="1847011">
                  <a:moveTo>
                    <a:pt x="1083951" y="29057"/>
                  </a:moveTo>
                  <a:lnTo>
                    <a:pt x="1066264" y="0"/>
                  </a:lnTo>
                  <a:lnTo>
                    <a:pt x="1049840" y="29057"/>
                  </a:lnTo>
                  <a:lnTo>
                    <a:pt x="525552" y="938666"/>
                  </a:lnTo>
                  <a:lnTo>
                    <a:pt x="0" y="1847011"/>
                  </a:lnTo>
                  <a:lnTo>
                    <a:pt x="1049840" y="1847011"/>
                  </a:lnTo>
                  <a:lnTo>
                    <a:pt x="1083951" y="1847011"/>
                  </a:lnTo>
                  <a:lnTo>
                    <a:pt x="1608239" y="938666"/>
                  </a:lnTo>
                  <a:close/>
                </a:path>
              </a:pathLst>
            </a:custGeom>
            <a:solidFill>
              <a:srgbClr val="CA3D00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63095" y="2059201"/>
              <a:ext cx="2133790" cy="938665"/>
            </a:xfrm>
            <a:custGeom>
              <a:avLst/>
              <a:gdLst>
                <a:gd name="connsiteX0" fmla="*/ 1609503 w 2133790"/>
                <a:gd name="connsiteY0" fmla="*/ 29057 h 938665"/>
                <a:gd name="connsiteX1" fmla="*/ 1591816 w 2133790"/>
                <a:gd name="connsiteY1" fmla="*/ 0 h 938665"/>
                <a:gd name="connsiteX2" fmla="*/ 541975 w 2133790"/>
                <a:gd name="connsiteY2" fmla="*/ 0 h 938665"/>
                <a:gd name="connsiteX3" fmla="*/ 17687 w 2133790"/>
                <a:gd name="connsiteY3" fmla="*/ 909609 h 938665"/>
                <a:gd name="connsiteX4" fmla="*/ 0 w 2133790"/>
                <a:gd name="connsiteY4" fmla="*/ 938666 h 938665"/>
                <a:gd name="connsiteX5" fmla="*/ 34110 w 2133790"/>
                <a:gd name="connsiteY5" fmla="*/ 938666 h 938665"/>
                <a:gd name="connsiteX6" fmla="*/ 1083951 w 2133790"/>
                <a:gd name="connsiteY6" fmla="*/ 938666 h 938665"/>
                <a:gd name="connsiteX7" fmla="*/ 2133791 w 2133790"/>
                <a:gd name="connsiteY7" fmla="*/ 938666 h 938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3790" h="938665">
                  <a:moveTo>
                    <a:pt x="1609503" y="29057"/>
                  </a:moveTo>
                  <a:lnTo>
                    <a:pt x="1591816" y="0"/>
                  </a:lnTo>
                  <a:lnTo>
                    <a:pt x="541975" y="0"/>
                  </a:lnTo>
                  <a:lnTo>
                    <a:pt x="17687" y="909609"/>
                  </a:lnTo>
                  <a:lnTo>
                    <a:pt x="0" y="938666"/>
                  </a:lnTo>
                  <a:lnTo>
                    <a:pt x="34110" y="938666"/>
                  </a:lnTo>
                  <a:lnTo>
                    <a:pt x="1083951" y="938666"/>
                  </a:lnTo>
                  <a:lnTo>
                    <a:pt x="2133791" y="938666"/>
                  </a:lnTo>
                  <a:close/>
                </a:path>
              </a:pathLst>
            </a:custGeom>
            <a:solidFill>
              <a:schemeClr val="accent1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3938807" y="2997867"/>
              <a:ext cx="1608239" cy="1847011"/>
            </a:xfrm>
            <a:custGeom>
              <a:avLst/>
              <a:gdLst>
                <a:gd name="connsiteX0" fmla="*/ 558399 w 1608239"/>
                <a:gd name="connsiteY0" fmla="*/ 0 h 1847011"/>
                <a:gd name="connsiteX1" fmla="*/ 524288 w 1608239"/>
                <a:gd name="connsiteY1" fmla="*/ 0 h 1847011"/>
                <a:gd name="connsiteX2" fmla="*/ 0 w 1608239"/>
                <a:gd name="connsiteY2" fmla="*/ 909609 h 1847011"/>
                <a:gd name="connsiteX3" fmla="*/ 524288 w 1608239"/>
                <a:gd name="connsiteY3" fmla="*/ 1817954 h 1847011"/>
                <a:gd name="connsiteX4" fmla="*/ 541975 w 1608239"/>
                <a:gd name="connsiteY4" fmla="*/ 1847011 h 1847011"/>
                <a:gd name="connsiteX5" fmla="*/ 558399 w 1608239"/>
                <a:gd name="connsiteY5" fmla="*/ 1817954 h 1847011"/>
                <a:gd name="connsiteX6" fmla="*/ 1082687 w 1608239"/>
                <a:gd name="connsiteY6" fmla="*/ 909609 h 1847011"/>
                <a:gd name="connsiteX7" fmla="*/ 1608239 w 1608239"/>
                <a:gd name="connsiteY7" fmla="*/ 0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558399" y="0"/>
                  </a:moveTo>
                  <a:lnTo>
                    <a:pt x="524288" y="0"/>
                  </a:lnTo>
                  <a:lnTo>
                    <a:pt x="0" y="909609"/>
                  </a:lnTo>
                  <a:lnTo>
                    <a:pt x="524288" y="1817954"/>
                  </a:lnTo>
                  <a:lnTo>
                    <a:pt x="541975" y="1847011"/>
                  </a:lnTo>
                  <a:lnTo>
                    <a:pt x="558399" y="1817954"/>
                  </a:lnTo>
                  <a:lnTo>
                    <a:pt x="1082687" y="909609"/>
                  </a:lnTo>
                  <a:lnTo>
                    <a:pt x="1608239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Grafik 69">
              <a:extLst>
                <a:ext uri="{FF2B5EF4-FFF2-40B4-BE49-F238E27FC236}">
                  <a16:creationId xmlns:a16="http://schemas.microsoft.com/office/drawing/2014/main" id="{C0B2168D-BED0-4F08-92B0-404735B77CF7}"/>
                </a:ext>
              </a:extLst>
            </p:cNvPr>
            <p:cNvSpPr/>
            <p:nvPr/>
          </p:nvSpPr>
          <p:spPr bwMode="gray">
            <a:xfrm>
              <a:off x="4480782" y="3907476"/>
              <a:ext cx="1608239" cy="1847011"/>
            </a:xfrm>
            <a:custGeom>
              <a:avLst/>
              <a:gdLst>
                <a:gd name="connsiteX0" fmla="*/ 1591816 w 1608239"/>
                <a:gd name="connsiteY0" fmla="*/ 1817954 h 1847011"/>
                <a:gd name="connsiteX1" fmla="*/ 1066264 w 1608239"/>
                <a:gd name="connsiteY1" fmla="*/ 908345 h 1847011"/>
                <a:gd name="connsiteX2" fmla="*/ 540712 w 1608239"/>
                <a:gd name="connsiteY2" fmla="*/ 0 h 1847011"/>
                <a:gd name="connsiteX3" fmla="*/ 16423 w 1608239"/>
                <a:gd name="connsiteY3" fmla="*/ 908345 h 1847011"/>
                <a:gd name="connsiteX4" fmla="*/ 0 w 1608239"/>
                <a:gd name="connsiteY4" fmla="*/ 937402 h 1847011"/>
                <a:gd name="connsiteX5" fmla="*/ 524289 w 1608239"/>
                <a:gd name="connsiteY5" fmla="*/ 1847011 h 1847011"/>
                <a:gd name="connsiteX6" fmla="*/ 1574129 w 1608239"/>
                <a:gd name="connsiteY6" fmla="*/ 1847011 h 1847011"/>
                <a:gd name="connsiteX7" fmla="*/ 1608239 w 1608239"/>
                <a:gd name="connsiteY7" fmla="*/ 1847011 h 184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8239" h="1847011">
                  <a:moveTo>
                    <a:pt x="1591816" y="1817954"/>
                  </a:moveTo>
                  <a:lnTo>
                    <a:pt x="1066264" y="908345"/>
                  </a:lnTo>
                  <a:lnTo>
                    <a:pt x="540712" y="0"/>
                  </a:lnTo>
                  <a:lnTo>
                    <a:pt x="16423" y="908345"/>
                  </a:lnTo>
                  <a:lnTo>
                    <a:pt x="0" y="937402"/>
                  </a:lnTo>
                  <a:lnTo>
                    <a:pt x="524289" y="1847011"/>
                  </a:lnTo>
                  <a:lnTo>
                    <a:pt x="1574129" y="1847011"/>
                  </a:lnTo>
                  <a:lnTo>
                    <a:pt x="1608239" y="1847011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E293606-5B27-499D-810A-9BE8CD4F30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 Fakto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E4B89D6-60E1-424B-BBCB-BB7D30946B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DC1DDBA-C8DC-450B-A6CC-9868DF4F753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415DF-38BC-4E31-BF91-A91E403460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0</a:t>
            </a:fld>
            <a:endParaRPr lang="de-DE" dirty="0"/>
          </a:p>
        </p:txBody>
      </p:sp>
      <p:sp>
        <p:nvSpPr>
          <p:cNvPr id="17" name="TextBox 143">
            <a:extLst>
              <a:ext uri="{FF2B5EF4-FFF2-40B4-BE49-F238E27FC236}">
                <a16:creationId xmlns:a16="http://schemas.microsoft.com/office/drawing/2014/main" id="{B2780214-9169-42F3-B3DA-E0880EAE8958}"/>
              </a:ext>
            </a:extLst>
          </p:cNvPr>
          <p:cNvSpPr txBox="1">
            <a:spLocks/>
          </p:cNvSpPr>
          <p:nvPr/>
        </p:nvSpPr>
        <p:spPr bwMode="gray">
          <a:xfrm>
            <a:off x="5419774" y="3629845"/>
            <a:ext cx="13043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 dolor sit</a:t>
            </a: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696A85C2-FBFD-4596-8D13-8F2D2C2475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81129" y="4036894"/>
            <a:ext cx="626778" cy="296322"/>
            <a:chOff x="1674" y="1132"/>
            <a:chExt cx="4315" cy="2040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B74CCA45-65D6-48F2-9DA9-7F9A29E60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32"/>
              <a:ext cx="4315" cy="2040"/>
            </a:xfrm>
            <a:custGeom>
              <a:avLst/>
              <a:gdLst>
                <a:gd name="T0" fmla="*/ 5720 w 6400"/>
                <a:gd name="T1" fmla="*/ 1 h 3034"/>
                <a:gd name="T2" fmla="*/ 5041 w 6400"/>
                <a:gd name="T3" fmla="*/ 680 h 3034"/>
                <a:gd name="T4" fmla="*/ 5151 w 6400"/>
                <a:gd name="T5" fmla="*/ 1051 h 3034"/>
                <a:gd name="T6" fmla="*/ 4417 w 6400"/>
                <a:gd name="T7" fmla="*/ 1785 h 3034"/>
                <a:gd name="T8" fmla="*/ 4047 w 6400"/>
                <a:gd name="T9" fmla="*/ 1674 h 3034"/>
                <a:gd name="T10" fmla="*/ 3664 w 6400"/>
                <a:gd name="T11" fmla="*/ 1792 h 3034"/>
                <a:gd name="T12" fmla="*/ 2923 w 6400"/>
                <a:gd name="T13" fmla="*/ 1051 h 3034"/>
                <a:gd name="T14" fmla="*/ 3033 w 6400"/>
                <a:gd name="T15" fmla="*/ 680 h 3034"/>
                <a:gd name="T16" fmla="*/ 2353 w 6400"/>
                <a:gd name="T17" fmla="*/ 0 h 3034"/>
                <a:gd name="T18" fmla="*/ 1674 w 6400"/>
                <a:gd name="T19" fmla="*/ 680 h 3034"/>
                <a:gd name="T20" fmla="*/ 1784 w 6400"/>
                <a:gd name="T21" fmla="*/ 1051 h 3034"/>
                <a:gd name="T22" fmla="*/ 1050 w 6400"/>
                <a:gd name="T23" fmla="*/ 1785 h 3034"/>
                <a:gd name="T24" fmla="*/ 680 w 6400"/>
                <a:gd name="T25" fmla="*/ 1674 h 3034"/>
                <a:gd name="T26" fmla="*/ 0 w 6400"/>
                <a:gd name="T27" fmla="*/ 2354 h 3034"/>
                <a:gd name="T28" fmla="*/ 680 w 6400"/>
                <a:gd name="T29" fmla="*/ 3034 h 3034"/>
                <a:gd name="T30" fmla="*/ 1359 w 6400"/>
                <a:gd name="T31" fmla="*/ 2354 h 3034"/>
                <a:gd name="T32" fmla="*/ 1249 w 6400"/>
                <a:gd name="T33" fmla="*/ 1983 h 3034"/>
                <a:gd name="T34" fmla="*/ 1983 w 6400"/>
                <a:gd name="T35" fmla="*/ 1249 h 3034"/>
                <a:gd name="T36" fmla="*/ 2353 w 6400"/>
                <a:gd name="T37" fmla="*/ 1360 h 3034"/>
                <a:gd name="T38" fmla="*/ 2724 w 6400"/>
                <a:gd name="T39" fmla="*/ 1249 h 3034"/>
                <a:gd name="T40" fmla="*/ 3470 w 6400"/>
                <a:gd name="T41" fmla="*/ 1995 h 3034"/>
                <a:gd name="T42" fmla="*/ 3367 w 6400"/>
                <a:gd name="T43" fmla="*/ 2354 h 3034"/>
                <a:gd name="T44" fmla="*/ 4047 w 6400"/>
                <a:gd name="T45" fmla="*/ 3033 h 3034"/>
                <a:gd name="T46" fmla="*/ 4726 w 6400"/>
                <a:gd name="T47" fmla="*/ 2354 h 3034"/>
                <a:gd name="T48" fmla="*/ 4616 w 6400"/>
                <a:gd name="T49" fmla="*/ 1983 h 3034"/>
                <a:gd name="T50" fmla="*/ 5350 w 6400"/>
                <a:gd name="T51" fmla="*/ 1249 h 3034"/>
                <a:gd name="T52" fmla="*/ 5720 w 6400"/>
                <a:gd name="T53" fmla="*/ 1360 h 3034"/>
                <a:gd name="T54" fmla="*/ 6400 w 6400"/>
                <a:gd name="T55" fmla="*/ 680 h 3034"/>
                <a:gd name="T56" fmla="*/ 5720 w 6400"/>
                <a:gd name="T57" fmla="*/ 1 h 3034"/>
                <a:gd name="T58" fmla="*/ 680 w 6400"/>
                <a:gd name="T59" fmla="*/ 2753 h 3034"/>
                <a:gd name="T60" fmla="*/ 281 w 6400"/>
                <a:gd name="T61" fmla="*/ 2354 h 3034"/>
                <a:gd name="T62" fmla="*/ 680 w 6400"/>
                <a:gd name="T63" fmla="*/ 1955 h 3034"/>
                <a:gd name="T64" fmla="*/ 1078 w 6400"/>
                <a:gd name="T65" fmla="*/ 2354 h 3034"/>
                <a:gd name="T66" fmla="*/ 680 w 6400"/>
                <a:gd name="T67" fmla="*/ 2753 h 3034"/>
                <a:gd name="T68" fmla="*/ 2353 w 6400"/>
                <a:gd name="T69" fmla="*/ 1079 h 3034"/>
                <a:gd name="T70" fmla="*/ 1955 w 6400"/>
                <a:gd name="T71" fmla="*/ 680 h 3034"/>
                <a:gd name="T72" fmla="*/ 2353 w 6400"/>
                <a:gd name="T73" fmla="*/ 281 h 3034"/>
                <a:gd name="T74" fmla="*/ 2752 w 6400"/>
                <a:gd name="T75" fmla="*/ 680 h 3034"/>
                <a:gd name="T76" fmla="*/ 2353 w 6400"/>
                <a:gd name="T77" fmla="*/ 1079 h 3034"/>
                <a:gd name="T78" fmla="*/ 4047 w 6400"/>
                <a:gd name="T79" fmla="*/ 2753 h 3034"/>
                <a:gd name="T80" fmla="*/ 3648 w 6400"/>
                <a:gd name="T81" fmla="*/ 2354 h 3034"/>
                <a:gd name="T82" fmla="*/ 4047 w 6400"/>
                <a:gd name="T83" fmla="*/ 1955 h 3034"/>
                <a:gd name="T84" fmla="*/ 4445 w 6400"/>
                <a:gd name="T85" fmla="*/ 2354 h 3034"/>
                <a:gd name="T86" fmla="*/ 4047 w 6400"/>
                <a:gd name="T87" fmla="*/ 2753 h 3034"/>
                <a:gd name="T88" fmla="*/ 5720 w 6400"/>
                <a:gd name="T89" fmla="*/ 1079 h 3034"/>
                <a:gd name="T90" fmla="*/ 5322 w 6400"/>
                <a:gd name="T91" fmla="*/ 680 h 3034"/>
                <a:gd name="T92" fmla="*/ 5720 w 6400"/>
                <a:gd name="T93" fmla="*/ 281 h 3034"/>
                <a:gd name="T94" fmla="*/ 6119 w 6400"/>
                <a:gd name="T95" fmla="*/ 680 h 3034"/>
                <a:gd name="T96" fmla="*/ 5720 w 6400"/>
                <a:gd name="T97" fmla="*/ 1079 h 3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3034">
                  <a:moveTo>
                    <a:pt x="5720" y="1"/>
                  </a:moveTo>
                  <a:cubicBezTo>
                    <a:pt x="5346" y="1"/>
                    <a:pt x="5041" y="305"/>
                    <a:pt x="5041" y="680"/>
                  </a:cubicBezTo>
                  <a:cubicBezTo>
                    <a:pt x="5041" y="817"/>
                    <a:pt x="5082" y="944"/>
                    <a:pt x="5151" y="1051"/>
                  </a:cubicBezTo>
                  <a:lnTo>
                    <a:pt x="4417" y="1785"/>
                  </a:lnTo>
                  <a:cubicBezTo>
                    <a:pt x="4310" y="1715"/>
                    <a:pt x="4183" y="1674"/>
                    <a:pt x="4047" y="1674"/>
                  </a:cubicBezTo>
                  <a:cubicBezTo>
                    <a:pt x="3905" y="1674"/>
                    <a:pt x="3773" y="1718"/>
                    <a:pt x="3664" y="1792"/>
                  </a:cubicBezTo>
                  <a:lnTo>
                    <a:pt x="2923" y="1051"/>
                  </a:lnTo>
                  <a:cubicBezTo>
                    <a:pt x="2992" y="944"/>
                    <a:pt x="3033" y="817"/>
                    <a:pt x="3033" y="680"/>
                  </a:cubicBezTo>
                  <a:cubicBezTo>
                    <a:pt x="3033" y="305"/>
                    <a:pt x="2728" y="0"/>
                    <a:pt x="2353" y="0"/>
                  </a:cubicBezTo>
                  <a:cubicBezTo>
                    <a:pt x="1979" y="0"/>
                    <a:pt x="1674" y="305"/>
                    <a:pt x="1674" y="680"/>
                  </a:cubicBezTo>
                  <a:cubicBezTo>
                    <a:pt x="1674" y="817"/>
                    <a:pt x="1715" y="944"/>
                    <a:pt x="1784" y="1051"/>
                  </a:cubicBezTo>
                  <a:lnTo>
                    <a:pt x="1050" y="1785"/>
                  </a:lnTo>
                  <a:cubicBezTo>
                    <a:pt x="943" y="1715"/>
                    <a:pt x="816" y="1674"/>
                    <a:pt x="680" y="1674"/>
                  </a:cubicBezTo>
                  <a:cubicBezTo>
                    <a:pt x="305" y="1674"/>
                    <a:pt x="0" y="1979"/>
                    <a:pt x="0" y="2354"/>
                  </a:cubicBezTo>
                  <a:cubicBezTo>
                    <a:pt x="0" y="2729"/>
                    <a:pt x="305" y="3034"/>
                    <a:pt x="680" y="3034"/>
                  </a:cubicBezTo>
                  <a:cubicBezTo>
                    <a:pt x="1054" y="3034"/>
                    <a:pt x="1359" y="2729"/>
                    <a:pt x="1359" y="2354"/>
                  </a:cubicBezTo>
                  <a:cubicBezTo>
                    <a:pt x="1359" y="2217"/>
                    <a:pt x="1318" y="2090"/>
                    <a:pt x="1249" y="1983"/>
                  </a:cubicBezTo>
                  <a:lnTo>
                    <a:pt x="1983" y="1249"/>
                  </a:lnTo>
                  <a:cubicBezTo>
                    <a:pt x="2090" y="1319"/>
                    <a:pt x="2217" y="1360"/>
                    <a:pt x="2353" y="1360"/>
                  </a:cubicBezTo>
                  <a:cubicBezTo>
                    <a:pt x="2490" y="1360"/>
                    <a:pt x="2617" y="1319"/>
                    <a:pt x="2724" y="1249"/>
                  </a:cubicBezTo>
                  <a:lnTo>
                    <a:pt x="3470" y="1995"/>
                  </a:lnTo>
                  <a:cubicBezTo>
                    <a:pt x="3405" y="2099"/>
                    <a:pt x="3367" y="2222"/>
                    <a:pt x="3367" y="2354"/>
                  </a:cubicBezTo>
                  <a:cubicBezTo>
                    <a:pt x="3367" y="2729"/>
                    <a:pt x="3672" y="3033"/>
                    <a:pt x="4047" y="3033"/>
                  </a:cubicBezTo>
                  <a:cubicBezTo>
                    <a:pt x="4421" y="3033"/>
                    <a:pt x="4726" y="2729"/>
                    <a:pt x="4726" y="2354"/>
                  </a:cubicBezTo>
                  <a:cubicBezTo>
                    <a:pt x="4726" y="2217"/>
                    <a:pt x="4685" y="2090"/>
                    <a:pt x="4616" y="1983"/>
                  </a:cubicBezTo>
                  <a:lnTo>
                    <a:pt x="5350" y="1249"/>
                  </a:lnTo>
                  <a:cubicBezTo>
                    <a:pt x="5457" y="1319"/>
                    <a:pt x="5584" y="1360"/>
                    <a:pt x="5720" y="1360"/>
                  </a:cubicBezTo>
                  <a:cubicBezTo>
                    <a:pt x="6095" y="1360"/>
                    <a:pt x="6400" y="1055"/>
                    <a:pt x="6400" y="680"/>
                  </a:cubicBezTo>
                  <a:cubicBezTo>
                    <a:pt x="6400" y="305"/>
                    <a:pt x="6095" y="1"/>
                    <a:pt x="5720" y="1"/>
                  </a:cubicBezTo>
                  <a:close/>
                  <a:moveTo>
                    <a:pt x="680" y="2753"/>
                  </a:moveTo>
                  <a:cubicBezTo>
                    <a:pt x="460" y="2753"/>
                    <a:pt x="281" y="2574"/>
                    <a:pt x="281" y="2354"/>
                  </a:cubicBezTo>
                  <a:cubicBezTo>
                    <a:pt x="281" y="2134"/>
                    <a:pt x="460" y="1955"/>
                    <a:pt x="680" y="1955"/>
                  </a:cubicBezTo>
                  <a:cubicBezTo>
                    <a:pt x="899" y="1955"/>
                    <a:pt x="1078" y="2134"/>
                    <a:pt x="1078" y="2354"/>
                  </a:cubicBezTo>
                  <a:cubicBezTo>
                    <a:pt x="1078" y="2574"/>
                    <a:pt x="899" y="2753"/>
                    <a:pt x="680" y="2753"/>
                  </a:cubicBezTo>
                  <a:close/>
                  <a:moveTo>
                    <a:pt x="2353" y="1079"/>
                  </a:moveTo>
                  <a:cubicBezTo>
                    <a:pt x="2134" y="1079"/>
                    <a:pt x="1955" y="900"/>
                    <a:pt x="1955" y="680"/>
                  </a:cubicBezTo>
                  <a:cubicBezTo>
                    <a:pt x="1955" y="460"/>
                    <a:pt x="2134" y="281"/>
                    <a:pt x="2353" y="281"/>
                  </a:cubicBezTo>
                  <a:cubicBezTo>
                    <a:pt x="2573" y="281"/>
                    <a:pt x="2752" y="460"/>
                    <a:pt x="2752" y="680"/>
                  </a:cubicBezTo>
                  <a:cubicBezTo>
                    <a:pt x="2752" y="900"/>
                    <a:pt x="2573" y="1079"/>
                    <a:pt x="2353" y="1079"/>
                  </a:cubicBezTo>
                  <a:close/>
                  <a:moveTo>
                    <a:pt x="4047" y="2753"/>
                  </a:moveTo>
                  <a:cubicBezTo>
                    <a:pt x="3827" y="2753"/>
                    <a:pt x="3648" y="2574"/>
                    <a:pt x="3648" y="2354"/>
                  </a:cubicBezTo>
                  <a:cubicBezTo>
                    <a:pt x="3648" y="2134"/>
                    <a:pt x="3827" y="1955"/>
                    <a:pt x="4047" y="1955"/>
                  </a:cubicBezTo>
                  <a:cubicBezTo>
                    <a:pt x="4266" y="1955"/>
                    <a:pt x="4445" y="2134"/>
                    <a:pt x="4445" y="2354"/>
                  </a:cubicBezTo>
                  <a:cubicBezTo>
                    <a:pt x="4445" y="2574"/>
                    <a:pt x="4266" y="2753"/>
                    <a:pt x="4047" y="2753"/>
                  </a:cubicBezTo>
                  <a:close/>
                  <a:moveTo>
                    <a:pt x="5720" y="1079"/>
                  </a:moveTo>
                  <a:cubicBezTo>
                    <a:pt x="5501" y="1079"/>
                    <a:pt x="5322" y="900"/>
                    <a:pt x="5322" y="680"/>
                  </a:cubicBezTo>
                  <a:cubicBezTo>
                    <a:pt x="5322" y="460"/>
                    <a:pt x="5501" y="281"/>
                    <a:pt x="5720" y="281"/>
                  </a:cubicBezTo>
                  <a:cubicBezTo>
                    <a:pt x="5940" y="281"/>
                    <a:pt x="6119" y="460"/>
                    <a:pt x="6119" y="680"/>
                  </a:cubicBezTo>
                  <a:cubicBezTo>
                    <a:pt x="6119" y="900"/>
                    <a:pt x="5940" y="1079"/>
                    <a:pt x="5720" y="10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C04C6CE4-23D8-47C0-A36C-CC3C47EF6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1" y="2255"/>
              <a:ext cx="400" cy="390"/>
            </a:xfrm>
            <a:custGeom>
              <a:avLst/>
              <a:gdLst>
                <a:gd name="T0" fmla="*/ 539 w 594"/>
                <a:gd name="T1" fmla="*/ 55 h 580"/>
                <a:gd name="T2" fmla="*/ 340 w 594"/>
                <a:gd name="T3" fmla="*/ 55 h 580"/>
                <a:gd name="T4" fmla="*/ 54 w 594"/>
                <a:gd name="T5" fmla="*/ 341 h 580"/>
                <a:gd name="T6" fmla="*/ 54 w 594"/>
                <a:gd name="T7" fmla="*/ 539 h 580"/>
                <a:gd name="T8" fmla="*/ 154 w 594"/>
                <a:gd name="T9" fmla="*/ 580 h 580"/>
                <a:gd name="T10" fmla="*/ 253 w 594"/>
                <a:gd name="T11" fmla="*/ 539 h 580"/>
                <a:gd name="T12" fmla="*/ 539 w 594"/>
                <a:gd name="T13" fmla="*/ 254 h 580"/>
                <a:gd name="T14" fmla="*/ 539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39" y="55"/>
                  </a:moveTo>
                  <a:cubicBezTo>
                    <a:pt x="484" y="0"/>
                    <a:pt x="395" y="0"/>
                    <a:pt x="340" y="55"/>
                  </a:cubicBezTo>
                  <a:lnTo>
                    <a:pt x="54" y="341"/>
                  </a:lnTo>
                  <a:cubicBezTo>
                    <a:pt x="0" y="395"/>
                    <a:pt x="0" y="484"/>
                    <a:pt x="54" y="539"/>
                  </a:cubicBezTo>
                  <a:cubicBezTo>
                    <a:pt x="82" y="567"/>
                    <a:pt x="118" y="580"/>
                    <a:pt x="154" y="580"/>
                  </a:cubicBezTo>
                  <a:cubicBezTo>
                    <a:pt x="190" y="580"/>
                    <a:pt x="226" y="567"/>
                    <a:pt x="253" y="539"/>
                  </a:cubicBezTo>
                  <a:lnTo>
                    <a:pt x="539" y="254"/>
                  </a:lnTo>
                  <a:cubicBezTo>
                    <a:pt x="594" y="199"/>
                    <a:pt x="594" y="110"/>
                    <a:pt x="539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0FF6F75F-89AF-4F44-A42F-9E330AF10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" y="1652"/>
              <a:ext cx="401" cy="390"/>
            </a:xfrm>
            <a:custGeom>
              <a:avLst/>
              <a:gdLst>
                <a:gd name="T0" fmla="*/ 540 w 594"/>
                <a:gd name="T1" fmla="*/ 55 h 580"/>
                <a:gd name="T2" fmla="*/ 341 w 594"/>
                <a:gd name="T3" fmla="*/ 55 h 580"/>
                <a:gd name="T4" fmla="*/ 55 w 594"/>
                <a:gd name="T5" fmla="*/ 340 h 580"/>
                <a:gd name="T6" fmla="*/ 55 w 594"/>
                <a:gd name="T7" fmla="*/ 539 h 580"/>
                <a:gd name="T8" fmla="*/ 155 w 594"/>
                <a:gd name="T9" fmla="*/ 580 h 580"/>
                <a:gd name="T10" fmla="*/ 254 w 594"/>
                <a:gd name="T11" fmla="*/ 539 h 580"/>
                <a:gd name="T12" fmla="*/ 540 w 594"/>
                <a:gd name="T13" fmla="*/ 253 h 580"/>
                <a:gd name="T14" fmla="*/ 540 w 594"/>
                <a:gd name="T15" fmla="*/ 5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4" h="580">
                  <a:moveTo>
                    <a:pt x="540" y="55"/>
                  </a:moveTo>
                  <a:cubicBezTo>
                    <a:pt x="485" y="0"/>
                    <a:pt x="396" y="0"/>
                    <a:pt x="341" y="55"/>
                  </a:cubicBezTo>
                  <a:lnTo>
                    <a:pt x="55" y="340"/>
                  </a:lnTo>
                  <a:cubicBezTo>
                    <a:pt x="0" y="395"/>
                    <a:pt x="0" y="484"/>
                    <a:pt x="55" y="539"/>
                  </a:cubicBezTo>
                  <a:cubicBezTo>
                    <a:pt x="83" y="566"/>
                    <a:pt x="119" y="580"/>
                    <a:pt x="155" y="580"/>
                  </a:cubicBezTo>
                  <a:cubicBezTo>
                    <a:pt x="190" y="580"/>
                    <a:pt x="226" y="566"/>
                    <a:pt x="254" y="539"/>
                  </a:cubicBezTo>
                  <a:lnTo>
                    <a:pt x="540" y="253"/>
                  </a:lnTo>
                  <a:cubicBezTo>
                    <a:pt x="594" y="199"/>
                    <a:pt x="594" y="110"/>
                    <a:pt x="540" y="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41" name="Group 53">
            <a:extLst>
              <a:ext uri="{FF2B5EF4-FFF2-40B4-BE49-F238E27FC236}">
                <a16:creationId xmlns:a16="http://schemas.microsoft.com/office/drawing/2014/main" id="{DD91F7D4-BEA3-440A-8430-E0C32EC025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05144" y="4806677"/>
            <a:ext cx="479602" cy="465849"/>
            <a:chOff x="1660" y="40"/>
            <a:chExt cx="4359" cy="4234"/>
          </a:xfrm>
          <a:solidFill>
            <a:schemeClr val="accent1"/>
          </a:solidFill>
        </p:grpSpPr>
        <p:sp>
          <p:nvSpPr>
            <p:cNvPr id="42" name="Freeform 54">
              <a:extLst>
                <a:ext uri="{FF2B5EF4-FFF2-40B4-BE49-F238E27FC236}">
                  <a16:creationId xmlns:a16="http://schemas.microsoft.com/office/drawing/2014/main" id="{3CB1D5E8-5096-4394-B2E8-1192D65372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40"/>
              <a:ext cx="4331" cy="2776"/>
            </a:xfrm>
            <a:custGeom>
              <a:avLst/>
              <a:gdLst>
                <a:gd name="T0" fmla="*/ 73 w 5951"/>
                <a:gd name="T1" fmla="*/ 2044 h 3825"/>
                <a:gd name="T2" fmla="*/ 2898 w 5951"/>
                <a:gd name="T3" fmla="*/ 3803 h 3825"/>
                <a:gd name="T4" fmla="*/ 2976 w 5951"/>
                <a:gd name="T5" fmla="*/ 3825 h 3825"/>
                <a:gd name="T6" fmla="*/ 3055 w 5951"/>
                <a:gd name="T7" fmla="*/ 3803 h 3825"/>
                <a:gd name="T8" fmla="*/ 5880 w 5951"/>
                <a:gd name="T9" fmla="*/ 2044 h 3825"/>
                <a:gd name="T10" fmla="*/ 5951 w 5951"/>
                <a:gd name="T11" fmla="*/ 1916 h 3825"/>
                <a:gd name="T12" fmla="*/ 5880 w 5951"/>
                <a:gd name="T13" fmla="*/ 1789 h 3825"/>
                <a:gd name="T14" fmla="*/ 3055 w 5951"/>
                <a:gd name="T15" fmla="*/ 30 h 3825"/>
                <a:gd name="T16" fmla="*/ 2896 w 5951"/>
                <a:gd name="T17" fmla="*/ 30 h 3825"/>
                <a:gd name="T18" fmla="*/ 71 w 5951"/>
                <a:gd name="T19" fmla="*/ 1789 h 3825"/>
                <a:gd name="T20" fmla="*/ 0 w 5951"/>
                <a:gd name="T21" fmla="*/ 1916 h 3825"/>
                <a:gd name="T22" fmla="*/ 73 w 5951"/>
                <a:gd name="T23" fmla="*/ 2044 h 3825"/>
                <a:gd name="T24" fmla="*/ 2976 w 5951"/>
                <a:gd name="T25" fmla="*/ 334 h 3825"/>
                <a:gd name="T26" fmla="*/ 5518 w 5951"/>
                <a:gd name="T27" fmla="*/ 1916 h 3825"/>
                <a:gd name="T28" fmla="*/ 2976 w 5951"/>
                <a:gd name="T29" fmla="*/ 3499 h 3825"/>
                <a:gd name="T30" fmla="*/ 435 w 5951"/>
                <a:gd name="T31" fmla="*/ 1916 h 3825"/>
                <a:gd name="T32" fmla="*/ 2976 w 5951"/>
                <a:gd name="T33" fmla="*/ 334 h 3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51" h="3825">
                  <a:moveTo>
                    <a:pt x="73" y="2044"/>
                  </a:moveTo>
                  <a:lnTo>
                    <a:pt x="2898" y="3803"/>
                  </a:lnTo>
                  <a:cubicBezTo>
                    <a:pt x="2921" y="3818"/>
                    <a:pt x="2949" y="3825"/>
                    <a:pt x="2976" y="3825"/>
                  </a:cubicBezTo>
                  <a:cubicBezTo>
                    <a:pt x="3004" y="3825"/>
                    <a:pt x="3031" y="3818"/>
                    <a:pt x="3055" y="3803"/>
                  </a:cubicBezTo>
                  <a:lnTo>
                    <a:pt x="5880" y="2044"/>
                  </a:lnTo>
                  <a:cubicBezTo>
                    <a:pt x="5924" y="2016"/>
                    <a:pt x="5951" y="1969"/>
                    <a:pt x="5951" y="1916"/>
                  </a:cubicBezTo>
                  <a:cubicBezTo>
                    <a:pt x="5951" y="1865"/>
                    <a:pt x="5925" y="1816"/>
                    <a:pt x="5880" y="1789"/>
                  </a:cubicBezTo>
                  <a:lnTo>
                    <a:pt x="3055" y="30"/>
                  </a:lnTo>
                  <a:cubicBezTo>
                    <a:pt x="3006" y="0"/>
                    <a:pt x="2945" y="0"/>
                    <a:pt x="2896" y="30"/>
                  </a:cubicBezTo>
                  <a:lnTo>
                    <a:pt x="71" y="1789"/>
                  </a:lnTo>
                  <a:cubicBezTo>
                    <a:pt x="28" y="1816"/>
                    <a:pt x="0" y="1864"/>
                    <a:pt x="0" y="1916"/>
                  </a:cubicBezTo>
                  <a:cubicBezTo>
                    <a:pt x="1" y="1969"/>
                    <a:pt x="28" y="2016"/>
                    <a:pt x="73" y="2044"/>
                  </a:cubicBezTo>
                  <a:close/>
                  <a:moveTo>
                    <a:pt x="2976" y="334"/>
                  </a:moveTo>
                  <a:lnTo>
                    <a:pt x="5518" y="1916"/>
                  </a:lnTo>
                  <a:lnTo>
                    <a:pt x="2976" y="3499"/>
                  </a:lnTo>
                  <a:lnTo>
                    <a:pt x="435" y="1916"/>
                  </a:lnTo>
                  <a:lnTo>
                    <a:pt x="2976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55">
              <a:extLst>
                <a:ext uri="{FF2B5EF4-FFF2-40B4-BE49-F238E27FC236}">
                  <a16:creationId xmlns:a16="http://schemas.microsoft.com/office/drawing/2014/main" id="{99F0A3B4-5609-4E12-9FEC-1B002D9F3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7" y="2051"/>
              <a:ext cx="218" cy="218"/>
            </a:xfrm>
            <a:custGeom>
              <a:avLst/>
              <a:gdLst>
                <a:gd name="T0" fmla="*/ 150 w 300"/>
                <a:gd name="T1" fmla="*/ 0 h 300"/>
                <a:gd name="T2" fmla="*/ 44 w 300"/>
                <a:gd name="T3" fmla="*/ 44 h 300"/>
                <a:gd name="T4" fmla="*/ 0 w 300"/>
                <a:gd name="T5" fmla="*/ 150 h 300"/>
                <a:gd name="T6" fmla="*/ 44 w 300"/>
                <a:gd name="T7" fmla="*/ 257 h 300"/>
                <a:gd name="T8" fmla="*/ 150 w 300"/>
                <a:gd name="T9" fmla="*/ 300 h 300"/>
                <a:gd name="T10" fmla="*/ 257 w 300"/>
                <a:gd name="T11" fmla="*/ 257 h 300"/>
                <a:gd name="T12" fmla="*/ 300 w 300"/>
                <a:gd name="T13" fmla="*/ 150 h 300"/>
                <a:gd name="T14" fmla="*/ 257 w 300"/>
                <a:gd name="T15" fmla="*/ 44 h 300"/>
                <a:gd name="T16" fmla="*/ 150 w 300"/>
                <a:gd name="T1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56">
              <a:extLst>
                <a:ext uri="{FF2B5EF4-FFF2-40B4-BE49-F238E27FC236}">
                  <a16:creationId xmlns:a16="http://schemas.microsoft.com/office/drawing/2014/main" id="{E42005EE-B333-42AB-883C-14DA5F040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9" y="2249"/>
              <a:ext cx="248" cy="233"/>
            </a:xfrm>
            <a:custGeom>
              <a:avLst/>
              <a:gdLst>
                <a:gd name="T0" fmla="*/ 92 w 342"/>
                <a:gd name="T1" fmla="*/ 44 h 321"/>
                <a:gd name="T2" fmla="*/ 45 w 342"/>
                <a:gd name="T3" fmla="*/ 250 h 321"/>
                <a:gd name="T4" fmla="*/ 172 w 342"/>
                <a:gd name="T5" fmla="*/ 321 h 321"/>
                <a:gd name="T6" fmla="*/ 251 w 342"/>
                <a:gd name="T7" fmla="*/ 298 h 321"/>
                <a:gd name="T8" fmla="*/ 299 w 342"/>
                <a:gd name="T9" fmla="*/ 92 h 321"/>
                <a:gd name="T10" fmla="*/ 92 w 342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92" y="44"/>
                  </a:moveTo>
                  <a:cubicBezTo>
                    <a:pt x="22" y="87"/>
                    <a:pt x="0" y="180"/>
                    <a:pt x="45" y="250"/>
                  </a:cubicBezTo>
                  <a:cubicBezTo>
                    <a:pt x="74" y="295"/>
                    <a:pt x="122" y="321"/>
                    <a:pt x="172" y="321"/>
                  </a:cubicBezTo>
                  <a:cubicBezTo>
                    <a:pt x="200" y="321"/>
                    <a:pt x="227" y="313"/>
                    <a:pt x="251" y="298"/>
                  </a:cubicBezTo>
                  <a:cubicBezTo>
                    <a:pt x="321" y="255"/>
                    <a:pt x="342" y="162"/>
                    <a:pt x="299" y="92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Freeform 57">
              <a:extLst>
                <a:ext uri="{FF2B5EF4-FFF2-40B4-BE49-F238E27FC236}">
                  <a16:creationId xmlns:a16="http://schemas.microsoft.com/office/drawing/2014/main" id="{BD1AC312-8DB0-4608-89A8-5AF54F9639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0" y="2887"/>
              <a:ext cx="250" cy="233"/>
            </a:xfrm>
            <a:custGeom>
              <a:avLst/>
              <a:gdLst>
                <a:gd name="T0" fmla="*/ 93 w 343"/>
                <a:gd name="T1" fmla="*/ 43 h 321"/>
                <a:gd name="T2" fmla="*/ 45 w 343"/>
                <a:gd name="T3" fmla="*/ 250 h 321"/>
                <a:gd name="T4" fmla="*/ 173 w 343"/>
                <a:gd name="T5" fmla="*/ 321 h 321"/>
                <a:gd name="T6" fmla="*/ 252 w 343"/>
                <a:gd name="T7" fmla="*/ 298 h 321"/>
                <a:gd name="T8" fmla="*/ 299 w 343"/>
                <a:gd name="T9" fmla="*/ 92 h 321"/>
                <a:gd name="T10" fmla="*/ 93 w 343"/>
                <a:gd name="T11" fmla="*/ 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3" h="321">
                  <a:moveTo>
                    <a:pt x="93" y="43"/>
                  </a:moveTo>
                  <a:cubicBezTo>
                    <a:pt x="23" y="87"/>
                    <a:pt x="0" y="180"/>
                    <a:pt x="45" y="250"/>
                  </a:cubicBezTo>
                  <a:cubicBezTo>
                    <a:pt x="74" y="296"/>
                    <a:pt x="123" y="321"/>
                    <a:pt x="173" y="321"/>
                  </a:cubicBezTo>
                  <a:cubicBezTo>
                    <a:pt x="200" y="321"/>
                    <a:pt x="228" y="313"/>
                    <a:pt x="252" y="298"/>
                  </a:cubicBezTo>
                  <a:cubicBezTo>
                    <a:pt x="322" y="255"/>
                    <a:pt x="343" y="162"/>
                    <a:pt x="299" y="92"/>
                  </a:cubicBezTo>
                  <a:cubicBezTo>
                    <a:pt x="255" y="22"/>
                    <a:pt x="163" y="0"/>
                    <a:pt x="93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58">
              <a:extLst>
                <a:ext uri="{FF2B5EF4-FFF2-40B4-BE49-F238E27FC236}">
                  <a16:creationId xmlns:a16="http://schemas.microsoft.com/office/drawing/2014/main" id="{E417DC32-AB39-41A2-B286-B6A6546EA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8" y="3100"/>
              <a:ext cx="248" cy="233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8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3" y="297"/>
                    <a:pt x="121" y="322"/>
                    <a:pt x="171" y="322"/>
                  </a:cubicBezTo>
                  <a:cubicBezTo>
                    <a:pt x="199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8" y="93"/>
                  </a:cubicBezTo>
                  <a:cubicBezTo>
                    <a:pt x="254" y="22"/>
                    <a:pt x="163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59">
              <a:extLst>
                <a:ext uri="{FF2B5EF4-FFF2-40B4-BE49-F238E27FC236}">
                  <a16:creationId xmlns:a16="http://schemas.microsoft.com/office/drawing/2014/main" id="{F790465C-5438-4069-94EE-6676503454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4" y="2674"/>
              <a:ext cx="248" cy="233"/>
            </a:xfrm>
            <a:custGeom>
              <a:avLst/>
              <a:gdLst>
                <a:gd name="T0" fmla="*/ 92 w 341"/>
                <a:gd name="T1" fmla="*/ 44 h 321"/>
                <a:gd name="T2" fmla="*/ 43 w 341"/>
                <a:gd name="T3" fmla="*/ 250 h 321"/>
                <a:gd name="T4" fmla="*/ 171 w 341"/>
                <a:gd name="T5" fmla="*/ 321 h 321"/>
                <a:gd name="T6" fmla="*/ 250 w 341"/>
                <a:gd name="T7" fmla="*/ 299 h 321"/>
                <a:gd name="T8" fmla="*/ 297 w 341"/>
                <a:gd name="T9" fmla="*/ 93 h 321"/>
                <a:gd name="T10" fmla="*/ 92 w 341"/>
                <a:gd name="T11" fmla="*/ 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92" y="44"/>
                  </a:moveTo>
                  <a:cubicBezTo>
                    <a:pt x="22" y="88"/>
                    <a:pt x="0" y="180"/>
                    <a:pt x="43" y="250"/>
                  </a:cubicBezTo>
                  <a:cubicBezTo>
                    <a:pt x="72" y="296"/>
                    <a:pt x="121" y="321"/>
                    <a:pt x="171" y="321"/>
                  </a:cubicBezTo>
                  <a:cubicBezTo>
                    <a:pt x="198" y="321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5" y="21"/>
                    <a:pt x="162" y="0"/>
                    <a:pt x="92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3C7D55B-C0BB-4D65-B3D8-4BC512823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7" y="2462"/>
              <a:ext cx="248" cy="234"/>
            </a:xfrm>
            <a:custGeom>
              <a:avLst/>
              <a:gdLst>
                <a:gd name="T0" fmla="*/ 91 w 341"/>
                <a:gd name="T1" fmla="*/ 44 h 322"/>
                <a:gd name="T2" fmla="*/ 44 w 341"/>
                <a:gd name="T3" fmla="*/ 250 h 322"/>
                <a:gd name="T4" fmla="*/ 171 w 341"/>
                <a:gd name="T5" fmla="*/ 322 h 322"/>
                <a:gd name="T6" fmla="*/ 250 w 341"/>
                <a:gd name="T7" fmla="*/ 299 h 322"/>
                <a:gd name="T8" fmla="*/ 297 w 341"/>
                <a:gd name="T9" fmla="*/ 93 h 322"/>
                <a:gd name="T10" fmla="*/ 91 w 341"/>
                <a:gd name="T11" fmla="*/ 4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2">
                  <a:moveTo>
                    <a:pt x="91" y="44"/>
                  </a:moveTo>
                  <a:cubicBezTo>
                    <a:pt x="21" y="88"/>
                    <a:pt x="0" y="180"/>
                    <a:pt x="44" y="250"/>
                  </a:cubicBezTo>
                  <a:cubicBezTo>
                    <a:pt x="72" y="296"/>
                    <a:pt x="121" y="322"/>
                    <a:pt x="171" y="322"/>
                  </a:cubicBezTo>
                  <a:cubicBezTo>
                    <a:pt x="198" y="322"/>
                    <a:pt x="226" y="314"/>
                    <a:pt x="250" y="299"/>
                  </a:cubicBezTo>
                  <a:cubicBezTo>
                    <a:pt x="320" y="255"/>
                    <a:pt x="341" y="163"/>
                    <a:pt x="297" y="93"/>
                  </a:cubicBezTo>
                  <a:cubicBezTo>
                    <a:pt x="254" y="22"/>
                    <a:pt x="162" y="0"/>
                    <a:pt x="91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A2829E68-5B61-4491-BFAD-00B93259D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1" y="3328"/>
              <a:ext cx="218" cy="217"/>
            </a:xfrm>
            <a:custGeom>
              <a:avLst/>
              <a:gdLst>
                <a:gd name="T0" fmla="*/ 44 w 300"/>
                <a:gd name="T1" fmla="*/ 44 h 300"/>
                <a:gd name="T2" fmla="*/ 0 w 300"/>
                <a:gd name="T3" fmla="*/ 150 h 300"/>
                <a:gd name="T4" fmla="*/ 44 w 300"/>
                <a:gd name="T5" fmla="*/ 256 h 300"/>
                <a:gd name="T6" fmla="*/ 150 w 300"/>
                <a:gd name="T7" fmla="*/ 300 h 300"/>
                <a:gd name="T8" fmla="*/ 257 w 300"/>
                <a:gd name="T9" fmla="*/ 256 h 300"/>
                <a:gd name="T10" fmla="*/ 300 w 300"/>
                <a:gd name="T11" fmla="*/ 150 h 300"/>
                <a:gd name="T12" fmla="*/ 257 w 300"/>
                <a:gd name="T13" fmla="*/ 44 h 300"/>
                <a:gd name="T14" fmla="*/ 150 w 300"/>
                <a:gd name="T15" fmla="*/ 0 h 300"/>
                <a:gd name="T16" fmla="*/ 44 w 300"/>
                <a:gd name="T17" fmla="*/ 4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44" y="44"/>
                  </a:moveTo>
                  <a:cubicBezTo>
                    <a:pt x="17" y="71"/>
                    <a:pt x="0" y="110"/>
                    <a:pt x="0" y="150"/>
                  </a:cubicBezTo>
                  <a:cubicBezTo>
                    <a:pt x="0" y="190"/>
                    <a:pt x="17" y="229"/>
                    <a:pt x="44" y="256"/>
                  </a:cubicBezTo>
                  <a:cubicBezTo>
                    <a:pt x="72" y="284"/>
                    <a:pt x="110" y="300"/>
                    <a:pt x="150" y="300"/>
                  </a:cubicBezTo>
                  <a:cubicBezTo>
                    <a:pt x="190" y="300"/>
                    <a:pt x="229" y="284"/>
                    <a:pt x="257" y="256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1"/>
                    <a:pt x="257" y="44"/>
                  </a:cubicBezTo>
                  <a:cubicBezTo>
                    <a:pt x="229" y="16"/>
                    <a:pt x="190" y="0"/>
                    <a:pt x="150" y="0"/>
                  </a:cubicBezTo>
                  <a:cubicBezTo>
                    <a:pt x="110" y="0"/>
                    <a:pt x="73" y="16"/>
                    <a:pt x="44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14A64FAC-DB8B-4D36-A8B2-43964DFB20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3" y="3100"/>
              <a:ext cx="248" cy="232"/>
            </a:xfrm>
            <a:custGeom>
              <a:avLst/>
              <a:gdLst>
                <a:gd name="T0" fmla="*/ 44 w 341"/>
                <a:gd name="T1" fmla="*/ 92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9 w 341"/>
                <a:gd name="T9" fmla="*/ 43 h 320"/>
                <a:gd name="T10" fmla="*/ 44 w 341"/>
                <a:gd name="T11" fmla="*/ 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4" y="92"/>
                  </a:moveTo>
                  <a:cubicBezTo>
                    <a:pt x="0" y="162"/>
                    <a:pt x="21" y="254"/>
                    <a:pt x="91" y="298"/>
                  </a:cubicBezTo>
                  <a:cubicBezTo>
                    <a:pt x="116" y="313"/>
                    <a:pt x="144" y="320"/>
                    <a:pt x="170" y="320"/>
                  </a:cubicBezTo>
                  <a:cubicBezTo>
                    <a:pt x="220" y="320"/>
                    <a:pt x="269" y="295"/>
                    <a:pt x="297" y="249"/>
                  </a:cubicBezTo>
                  <a:cubicBezTo>
                    <a:pt x="341" y="179"/>
                    <a:pt x="320" y="87"/>
                    <a:pt x="249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F7928523-AC54-4107-91EF-4BD98DCB40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248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2 w 341"/>
                <a:gd name="T3" fmla="*/ 298 h 321"/>
                <a:gd name="T4" fmla="*/ 170 w 341"/>
                <a:gd name="T5" fmla="*/ 321 h 321"/>
                <a:gd name="T6" fmla="*/ 298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2" y="255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FF210771-9090-4F42-AD50-EBA0D7693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1" y="2887"/>
              <a:ext cx="248" cy="233"/>
            </a:xfrm>
            <a:custGeom>
              <a:avLst/>
              <a:gdLst>
                <a:gd name="T0" fmla="*/ 44 w 341"/>
                <a:gd name="T1" fmla="*/ 92 h 321"/>
                <a:gd name="T2" fmla="*/ 91 w 341"/>
                <a:gd name="T3" fmla="*/ 298 h 321"/>
                <a:gd name="T4" fmla="*/ 170 w 341"/>
                <a:gd name="T5" fmla="*/ 321 h 321"/>
                <a:gd name="T6" fmla="*/ 297 w 341"/>
                <a:gd name="T7" fmla="*/ 250 h 321"/>
                <a:gd name="T8" fmla="*/ 250 w 341"/>
                <a:gd name="T9" fmla="*/ 43 h 321"/>
                <a:gd name="T10" fmla="*/ 44 w 341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1">
                  <a:moveTo>
                    <a:pt x="44" y="92"/>
                  </a:moveTo>
                  <a:cubicBezTo>
                    <a:pt x="0" y="162"/>
                    <a:pt x="21" y="255"/>
                    <a:pt x="91" y="298"/>
                  </a:cubicBezTo>
                  <a:cubicBezTo>
                    <a:pt x="116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7" y="250"/>
                  </a:cubicBezTo>
                  <a:cubicBezTo>
                    <a:pt x="341" y="180"/>
                    <a:pt x="320" y="87"/>
                    <a:pt x="250" y="43"/>
                  </a:cubicBezTo>
                  <a:cubicBezTo>
                    <a:pt x="180" y="0"/>
                    <a:pt x="87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5EE40D4E-9650-4C73-9673-3241258EE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8" y="2674"/>
              <a:ext cx="248" cy="233"/>
            </a:xfrm>
            <a:custGeom>
              <a:avLst/>
              <a:gdLst>
                <a:gd name="T0" fmla="*/ 43 w 341"/>
                <a:gd name="T1" fmla="*/ 91 h 320"/>
                <a:gd name="T2" fmla="*/ 91 w 341"/>
                <a:gd name="T3" fmla="*/ 298 h 320"/>
                <a:gd name="T4" fmla="*/ 170 w 341"/>
                <a:gd name="T5" fmla="*/ 320 h 320"/>
                <a:gd name="T6" fmla="*/ 297 w 341"/>
                <a:gd name="T7" fmla="*/ 249 h 320"/>
                <a:gd name="T8" fmla="*/ 248 w 341"/>
                <a:gd name="T9" fmla="*/ 43 h 320"/>
                <a:gd name="T10" fmla="*/ 43 w 341"/>
                <a:gd name="T11" fmla="*/ 9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320">
                  <a:moveTo>
                    <a:pt x="43" y="91"/>
                  </a:moveTo>
                  <a:cubicBezTo>
                    <a:pt x="0" y="161"/>
                    <a:pt x="21" y="254"/>
                    <a:pt x="91" y="298"/>
                  </a:cubicBezTo>
                  <a:cubicBezTo>
                    <a:pt x="116" y="313"/>
                    <a:pt x="143" y="320"/>
                    <a:pt x="170" y="320"/>
                  </a:cubicBezTo>
                  <a:cubicBezTo>
                    <a:pt x="220" y="320"/>
                    <a:pt x="268" y="295"/>
                    <a:pt x="297" y="249"/>
                  </a:cubicBezTo>
                  <a:cubicBezTo>
                    <a:pt x="341" y="179"/>
                    <a:pt x="320" y="86"/>
                    <a:pt x="248" y="43"/>
                  </a:cubicBezTo>
                  <a:cubicBezTo>
                    <a:pt x="180" y="0"/>
                    <a:pt x="87" y="21"/>
                    <a:pt x="43" y="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96828D0A-9B53-4F62-B3B8-0C6CD9A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44" y="2462"/>
              <a:ext cx="249" cy="233"/>
            </a:xfrm>
            <a:custGeom>
              <a:avLst/>
              <a:gdLst>
                <a:gd name="T0" fmla="*/ 44 w 342"/>
                <a:gd name="T1" fmla="*/ 92 h 321"/>
                <a:gd name="T2" fmla="*/ 92 w 342"/>
                <a:gd name="T3" fmla="*/ 298 h 321"/>
                <a:gd name="T4" fmla="*/ 170 w 342"/>
                <a:gd name="T5" fmla="*/ 321 h 321"/>
                <a:gd name="T6" fmla="*/ 298 w 342"/>
                <a:gd name="T7" fmla="*/ 249 h 321"/>
                <a:gd name="T8" fmla="*/ 250 w 342"/>
                <a:gd name="T9" fmla="*/ 43 h 321"/>
                <a:gd name="T10" fmla="*/ 44 w 342"/>
                <a:gd name="T11" fmla="*/ 9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21">
                  <a:moveTo>
                    <a:pt x="44" y="92"/>
                  </a:moveTo>
                  <a:cubicBezTo>
                    <a:pt x="0" y="162"/>
                    <a:pt x="22" y="254"/>
                    <a:pt x="92" y="298"/>
                  </a:cubicBezTo>
                  <a:cubicBezTo>
                    <a:pt x="117" y="313"/>
                    <a:pt x="144" y="321"/>
                    <a:pt x="170" y="321"/>
                  </a:cubicBezTo>
                  <a:cubicBezTo>
                    <a:pt x="220" y="321"/>
                    <a:pt x="269" y="296"/>
                    <a:pt x="298" y="249"/>
                  </a:cubicBezTo>
                  <a:cubicBezTo>
                    <a:pt x="342" y="179"/>
                    <a:pt x="320" y="87"/>
                    <a:pt x="250" y="43"/>
                  </a:cubicBezTo>
                  <a:cubicBezTo>
                    <a:pt x="180" y="0"/>
                    <a:pt x="88" y="22"/>
                    <a:pt x="44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6EA1C41B-1635-4C59-AF02-0608AC533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5" y="2051"/>
              <a:ext cx="218" cy="218"/>
            </a:xfrm>
            <a:custGeom>
              <a:avLst/>
              <a:gdLst>
                <a:gd name="T0" fmla="*/ 150 w 300"/>
                <a:gd name="T1" fmla="*/ 300 h 300"/>
                <a:gd name="T2" fmla="*/ 257 w 300"/>
                <a:gd name="T3" fmla="*/ 257 h 300"/>
                <a:gd name="T4" fmla="*/ 300 w 300"/>
                <a:gd name="T5" fmla="*/ 150 h 300"/>
                <a:gd name="T6" fmla="*/ 257 w 300"/>
                <a:gd name="T7" fmla="*/ 44 h 300"/>
                <a:gd name="T8" fmla="*/ 150 w 300"/>
                <a:gd name="T9" fmla="*/ 0 h 300"/>
                <a:gd name="T10" fmla="*/ 44 w 300"/>
                <a:gd name="T11" fmla="*/ 44 h 300"/>
                <a:gd name="T12" fmla="*/ 0 w 300"/>
                <a:gd name="T13" fmla="*/ 150 h 300"/>
                <a:gd name="T14" fmla="*/ 44 w 300"/>
                <a:gd name="T15" fmla="*/ 257 h 300"/>
                <a:gd name="T16" fmla="*/ 150 w 300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90" y="300"/>
                    <a:pt x="229" y="284"/>
                    <a:pt x="257" y="257"/>
                  </a:cubicBezTo>
                  <a:cubicBezTo>
                    <a:pt x="284" y="229"/>
                    <a:pt x="300" y="190"/>
                    <a:pt x="300" y="150"/>
                  </a:cubicBezTo>
                  <a:cubicBezTo>
                    <a:pt x="300" y="110"/>
                    <a:pt x="284" y="72"/>
                    <a:pt x="257" y="44"/>
                  </a:cubicBezTo>
                  <a:cubicBezTo>
                    <a:pt x="229" y="17"/>
                    <a:pt x="190" y="0"/>
                    <a:pt x="150" y="0"/>
                  </a:cubicBezTo>
                  <a:cubicBezTo>
                    <a:pt x="110" y="0"/>
                    <a:pt x="72" y="17"/>
                    <a:pt x="44" y="44"/>
                  </a:cubicBezTo>
                  <a:cubicBezTo>
                    <a:pt x="17" y="72"/>
                    <a:pt x="0" y="110"/>
                    <a:pt x="0" y="150"/>
                  </a:cubicBezTo>
                  <a:cubicBezTo>
                    <a:pt x="0" y="190"/>
                    <a:pt x="17" y="229"/>
                    <a:pt x="44" y="257"/>
                  </a:cubicBezTo>
                  <a:cubicBezTo>
                    <a:pt x="73" y="285"/>
                    <a:pt x="110" y="300"/>
                    <a:pt x="15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F07C5AD9-2576-4472-9676-8AE3668E8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0" y="2765"/>
              <a:ext cx="4359" cy="1509"/>
            </a:xfrm>
            <a:custGeom>
              <a:avLst/>
              <a:gdLst>
                <a:gd name="T0" fmla="*/ 5743 w 5990"/>
                <a:gd name="T1" fmla="*/ 44 h 2079"/>
                <a:gd name="T2" fmla="*/ 2996 w 5990"/>
                <a:gd name="T3" fmla="*/ 1754 h 2079"/>
                <a:gd name="T4" fmla="*/ 250 w 5990"/>
                <a:gd name="T5" fmla="*/ 44 h 2079"/>
                <a:gd name="T6" fmla="*/ 44 w 5990"/>
                <a:gd name="T7" fmla="*/ 91 h 2079"/>
                <a:gd name="T8" fmla="*/ 91 w 5990"/>
                <a:gd name="T9" fmla="*/ 298 h 2079"/>
                <a:gd name="T10" fmla="*/ 2916 w 5990"/>
                <a:gd name="T11" fmla="*/ 2056 h 2079"/>
                <a:gd name="T12" fmla="*/ 2995 w 5990"/>
                <a:gd name="T13" fmla="*/ 2079 h 2079"/>
                <a:gd name="T14" fmla="*/ 3074 w 5990"/>
                <a:gd name="T15" fmla="*/ 2056 h 2079"/>
                <a:gd name="T16" fmla="*/ 5899 w 5990"/>
                <a:gd name="T17" fmla="*/ 298 h 2079"/>
                <a:gd name="T18" fmla="*/ 5946 w 5990"/>
                <a:gd name="T19" fmla="*/ 91 h 2079"/>
                <a:gd name="T20" fmla="*/ 5743 w 5990"/>
                <a:gd name="T21" fmla="*/ 44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90" h="2079">
                  <a:moveTo>
                    <a:pt x="5743" y="44"/>
                  </a:moveTo>
                  <a:lnTo>
                    <a:pt x="2996" y="1754"/>
                  </a:lnTo>
                  <a:lnTo>
                    <a:pt x="250" y="44"/>
                  </a:lnTo>
                  <a:cubicBezTo>
                    <a:pt x="180" y="0"/>
                    <a:pt x="87" y="21"/>
                    <a:pt x="44" y="91"/>
                  </a:cubicBezTo>
                  <a:cubicBezTo>
                    <a:pt x="0" y="161"/>
                    <a:pt x="21" y="254"/>
                    <a:pt x="91" y="298"/>
                  </a:cubicBezTo>
                  <a:lnTo>
                    <a:pt x="2916" y="2056"/>
                  </a:lnTo>
                  <a:cubicBezTo>
                    <a:pt x="2940" y="2071"/>
                    <a:pt x="2968" y="2079"/>
                    <a:pt x="2995" y="2079"/>
                  </a:cubicBezTo>
                  <a:cubicBezTo>
                    <a:pt x="3023" y="2079"/>
                    <a:pt x="3050" y="2071"/>
                    <a:pt x="3074" y="2056"/>
                  </a:cubicBezTo>
                  <a:lnTo>
                    <a:pt x="5899" y="298"/>
                  </a:lnTo>
                  <a:cubicBezTo>
                    <a:pt x="5969" y="254"/>
                    <a:pt x="5990" y="161"/>
                    <a:pt x="5946" y="91"/>
                  </a:cubicBezTo>
                  <a:cubicBezTo>
                    <a:pt x="5905" y="21"/>
                    <a:pt x="5813" y="0"/>
                    <a:pt x="5743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8E2746D5-F4A6-458B-ACE0-7717EF4760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04898" y="2511422"/>
            <a:ext cx="432049" cy="416973"/>
            <a:chOff x="1674" y="69"/>
            <a:chExt cx="4299" cy="4149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9FD45F-AB88-48EA-93DF-2EC9935F3C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4" y="1187"/>
              <a:ext cx="1235" cy="3031"/>
            </a:xfrm>
            <a:custGeom>
              <a:avLst/>
              <a:gdLst>
                <a:gd name="T0" fmla="*/ 1540 w 1738"/>
                <a:gd name="T1" fmla="*/ 0 h 4275"/>
                <a:gd name="T2" fmla="*/ 196 w 1738"/>
                <a:gd name="T3" fmla="*/ 0 h 4275"/>
                <a:gd name="T4" fmla="*/ 0 w 1738"/>
                <a:gd name="T5" fmla="*/ 196 h 4275"/>
                <a:gd name="T6" fmla="*/ 0 w 1738"/>
                <a:gd name="T7" fmla="*/ 4079 h 4275"/>
                <a:gd name="T8" fmla="*/ 196 w 1738"/>
                <a:gd name="T9" fmla="*/ 4275 h 4275"/>
                <a:gd name="T10" fmla="*/ 1540 w 1738"/>
                <a:gd name="T11" fmla="*/ 4275 h 4275"/>
                <a:gd name="T12" fmla="*/ 1736 w 1738"/>
                <a:gd name="T13" fmla="*/ 4079 h 4275"/>
                <a:gd name="T14" fmla="*/ 1736 w 1738"/>
                <a:gd name="T15" fmla="*/ 196 h 4275"/>
                <a:gd name="T16" fmla="*/ 1540 w 1738"/>
                <a:gd name="T17" fmla="*/ 0 h 4275"/>
                <a:gd name="T18" fmla="*/ 1344 w 1738"/>
                <a:gd name="T19" fmla="*/ 3883 h 4275"/>
                <a:gd name="T20" fmla="*/ 393 w 1738"/>
                <a:gd name="T21" fmla="*/ 3883 h 4275"/>
                <a:gd name="T22" fmla="*/ 393 w 1738"/>
                <a:gd name="T23" fmla="*/ 393 h 4275"/>
                <a:gd name="T24" fmla="*/ 1344 w 1738"/>
                <a:gd name="T25" fmla="*/ 393 h 4275"/>
                <a:gd name="T26" fmla="*/ 1344 w 1738"/>
                <a:gd name="T27" fmla="*/ 3883 h 4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4275">
                  <a:moveTo>
                    <a:pt x="1540" y="0"/>
                  </a:moveTo>
                  <a:lnTo>
                    <a:pt x="196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4079"/>
                  </a:lnTo>
                  <a:cubicBezTo>
                    <a:pt x="0" y="4188"/>
                    <a:pt x="88" y="4275"/>
                    <a:pt x="196" y="4275"/>
                  </a:cubicBezTo>
                  <a:lnTo>
                    <a:pt x="1540" y="4275"/>
                  </a:lnTo>
                  <a:cubicBezTo>
                    <a:pt x="1649" y="4275"/>
                    <a:pt x="1736" y="4188"/>
                    <a:pt x="1736" y="4079"/>
                  </a:cubicBezTo>
                  <a:lnTo>
                    <a:pt x="1736" y="196"/>
                  </a:lnTo>
                  <a:cubicBezTo>
                    <a:pt x="1738" y="88"/>
                    <a:pt x="1649" y="0"/>
                    <a:pt x="1540" y="0"/>
                  </a:cubicBezTo>
                  <a:close/>
                  <a:moveTo>
                    <a:pt x="1344" y="3883"/>
                  </a:moveTo>
                  <a:lnTo>
                    <a:pt x="393" y="3883"/>
                  </a:lnTo>
                  <a:lnTo>
                    <a:pt x="393" y="393"/>
                  </a:lnTo>
                  <a:lnTo>
                    <a:pt x="1344" y="393"/>
                  </a:lnTo>
                  <a:lnTo>
                    <a:pt x="1344" y="38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1750523-6DAB-4310-BDF6-FF89528BE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8" y="1918"/>
              <a:ext cx="1235" cy="2300"/>
            </a:xfrm>
            <a:custGeom>
              <a:avLst/>
              <a:gdLst>
                <a:gd name="T0" fmla="*/ 1540 w 1737"/>
                <a:gd name="T1" fmla="*/ 0 h 3245"/>
                <a:gd name="T2" fmla="*/ 197 w 1737"/>
                <a:gd name="T3" fmla="*/ 0 h 3245"/>
                <a:gd name="T4" fmla="*/ 0 w 1737"/>
                <a:gd name="T5" fmla="*/ 196 h 3245"/>
                <a:gd name="T6" fmla="*/ 0 w 1737"/>
                <a:gd name="T7" fmla="*/ 3049 h 3245"/>
                <a:gd name="T8" fmla="*/ 197 w 1737"/>
                <a:gd name="T9" fmla="*/ 3245 h 3245"/>
                <a:gd name="T10" fmla="*/ 1540 w 1737"/>
                <a:gd name="T11" fmla="*/ 3245 h 3245"/>
                <a:gd name="T12" fmla="*/ 1737 w 1737"/>
                <a:gd name="T13" fmla="*/ 3049 h 3245"/>
                <a:gd name="T14" fmla="*/ 1737 w 1737"/>
                <a:gd name="T15" fmla="*/ 196 h 3245"/>
                <a:gd name="T16" fmla="*/ 1540 w 1737"/>
                <a:gd name="T17" fmla="*/ 0 h 3245"/>
                <a:gd name="T18" fmla="*/ 393 w 1737"/>
                <a:gd name="T19" fmla="*/ 393 h 3245"/>
                <a:gd name="T20" fmla="*/ 698 w 1737"/>
                <a:gd name="T21" fmla="*/ 393 h 3245"/>
                <a:gd name="T22" fmla="*/ 393 w 1737"/>
                <a:gd name="T23" fmla="*/ 698 h 3245"/>
                <a:gd name="T24" fmla="*/ 393 w 1737"/>
                <a:gd name="T25" fmla="*/ 393 h 3245"/>
                <a:gd name="T26" fmla="*/ 393 w 1737"/>
                <a:gd name="T27" fmla="*/ 1010 h 3245"/>
                <a:gd name="T28" fmla="*/ 1009 w 1737"/>
                <a:gd name="T29" fmla="*/ 394 h 3245"/>
                <a:gd name="T30" fmla="*/ 1320 w 1737"/>
                <a:gd name="T31" fmla="*/ 394 h 3245"/>
                <a:gd name="T32" fmla="*/ 393 w 1737"/>
                <a:gd name="T33" fmla="*/ 1321 h 3245"/>
                <a:gd name="T34" fmla="*/ 393 w 1737"/>
                <a:gd name="T35" fmla="*/ 1010 h 3245"/>
                <a:gd name="T36" fmla="*/ 1344 w 1737"/>
                <a:gd name="T37" fmla="*/ 2853 h 3245"/>
                <a:gd name="T38" fmla="*/ 1038 w 1737"/>
                <a:gd name="T39" fmla="*/ 2853 h 3245"/>
                <a:gd name="T40" fmla="*/ 1344 w 1737"/>
                <a:gd name="T41" fmla="*/ 2546 h 3245"/>
                <a:gd name="T42" fmla="*/ 1344 w 1737"/>
                <a:gd name="T43" fmla="*/ 2853 h 3245"/>
                <a:gd name="T44" fmla="*/ 1344 w 1737"/>
                <a:gd name="T45" fmla="*/ 2235 h 3245"/>
                <a:gd name="T46" fmla="*/ 727 w 1737"/>
                <a:gd name="T47" fmla="*/ 2853 h 3245"/>
                <a:gd name="T48" fmla="*/ 415 w 1737"/>
                <a:gd name="T49" fmla="*/ 2853 h 3245"/>
                <a:gd name="T50" fmla="*/ 1343 w 1737"/>
                <a:gd name="T51" fmla="*/ 1925 h 3245"/>
                <a:gd name="T52" fmla="*/ 1343 w 1737"/>
                <a:gd name="T53" fmla="*/ 2235 h 3245"/>
                <a:gd name="T54" fmla="*/ 1344 w 1737"/>
                <a:gd name="T55" fmla="*/ 2235 h 3245"/>
                <a:gd name="T56" fmla="*/ 1344 w 1737"/>
                <a:gd name="T57" fmla="*/ 1614 h 3245"/>
                <a:gd name="T58" fmla="*/ 393 w 1737"/>
                <a:gd name="T59" fmla="*/ 2565 h 3245"/>
                <a:gd name="T60" fmla="*/ 393 w 1737"/>
                <a:gd name="T61" fmla="*/ 2254 h 3245"/>
                <a:gd name="T62" fmla="*/ 1344 w 1737"/>
                <a:gd name="T63" fmla="*/ 1303 h 3245"/>
                <a:gd name="T64" fmla="*/ 1344 w 1737"/>
                <a:gd name="T65" fmla="*/ 1614 h 3245"/>
                <a:gd name="T66" fmla="*/ 1344 w 1737"/>
                <a:gd name="T67" fmla="*/ 991 h 3245"/>
                <a:gd name="T68" fmla="*/ 393 w 1737"/>
                <a:gd name="T69" fmla="*/ 1942 h 3245"/>
                <a:gd name="T70" fmla="*/ 393 w 1737"/>
                <a:gd name="T71" fmla="*/ 1631 h 3245"/>
                <a:gd name="T72" fmla="*/ 1344 w 1737"/>
                <a:gd name="T73" fmla="*/ 680 h 3245"/>
                <a:gd name="T74" fmla="*/ 1344 w 1737"/>
                <a:gd name="T75" fmla="*/ 991 h 3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37" h="3245">
                  <a:moveTo>
                    <a:pt x="1540" y="0"/>
                  </a:moveTo>
                  <a:lnTo>
                    <a:pt x="197" y="0"/>
                  </a:lnTo>
                  <a:cubicBezTo>
                    <a:pt x="88" y="0"/>
                    <a:pt x="0" y="88"/>
                    <a:pt x="0" y="196"/>
                  </a:cubicBezTo>
                  <a:lnTo>
                    <a:pt x="0" y="3049"/>
                  </a:lnTo>
                  <a:cubicBezTo>
                    <a:pt x="0" y="3157"/>
                    <a:pt x="88" y="3245"/>
                    <a:pt x="197" y="3245"/>
                  </a:cubicBezTo>
                  <a:lnTo>
                    <a:pt x="1540" y="3245"/>
                  </a:lnTo>
                  <a:cubicBezTo>
                    <a:pt x="1649" y="3245"/>
                    <a:pt x="1737" y="3157"/>
                    <a:pt x="1737" y="3049"/>
                  </a:cubicBezTo>
                  <a:lnTo>
                    <a:pt x="1737" y="196"/>
                  </a:lnTo>
                  <a:cubicBezTo>
                    <a:pt x="1737" y="88"/>
                    <a:pt x="1649" y="0"/>
                    <a:pt x="1540" y="0"/>
                  </a:cubicBezTo>
                  <a:close/>
                  <a:moveTo>
                    <a:pt x="393" y="393"/>
                  </a:moveTo>
                  <a:lnTo>
                    <a:pt x="698" y="393"/>
                  </a:lnTo>
                  <a:lnTo>
                    <a:pt x="393" y="698"/>
                  </a:lnTo>
                  <a:lnTo>
                    <a:pt x="393" y="393"/>
                  </a:lnTo>
                  <a:close/>
                  <a:moveTo>
                    <a:pt x="393" y="1010"/>
                  </a:moveTo>
                  <a:lnTo>
                    <a:pt x="1009" y="394"/>
                  </a:lnTo>
                  <a:lnTo>
                    <a:pt x="1320" y="394"/>
                  </a:lnTo>
                  <a:lnTo>
                    <a:pt x="393" y="1321"/>
                  </a:lnTo>
                  <a:lnTo>
                    <a:pt x="393" y="1010"/>
                  </a:lnTo>
                  <a:close/>
                  <a:moveTo>
                    <a:pt x="1344" y="2853"/>
                  </a:moveTo>
                  <a:lnTo>
                    <a:pt x="1038" y="2853"/>
                  </a:lnTo>
                  <a:lnTo>
                    <a:pt x="1344" y="2546"/>
                  </a:lnTo>
                  <a:lnTo>
                    <a:pt x="1344" y="2853"/>
                  </a:lnTo>
                  <a:close/>
                  <a:moveTo>
                    <a:pt x="1344" y="2235"/>
                  </a:moveTo>
                  <a:lnTo>
                    <a:pt x="727" y="2853"/>
                  </a:lnTo>
                  <a:lnTo>
                    <a:pt x="415" y="2853"/>
                  </a:lnTo>
                  <a:lnTo>
                    <a:pt x="1343" y="1925"/>
                  </a:lnTo>
                  <a:lnTo>
                    <a:pt x="1343" y="2235"/>
                  </a:lnTo>
                  <a:lnTo>
                    <a:pt x="1344" y="2235"/>
                  </a:lnTo>
                  <a:close/>
                  <a:moveTo>
                    <a:pt x="1344" y="1614"/>
                  </a:moveTo>
                  <a:lnTo>
                    <a:pt x="393" y="2565"/>
                  </a:lnTo>
                  <a:lnTo>
                    <a:pt x="393" y="2254"/>
                  </a:lnTo>
                  <a:lnTo>
                    <a:pt x="1344" y="1303"/>
                  </a:lnTo>
                  <a:lnTo>
                    <a:pt x="1344" y="1614"/>
                  </a:lnTo>
                  <a:close/>
                  <a:moveTo>
                    <a:pt x="1344" y="991"/>
                  </a:moveTo>
                  <a:lnTo>
                    <a:pt x="393" y="1942"/>
                  </a:lnTo>
                  <a:lnTo>
                    <a:pt x="393" y="1631"/>
                  </a:lnTo>
                  <a:lnTo>
                    <a:pt x="1344" y="680"/>
                  </a:lnTo>
                  <a:lnTo>
                    <a:pt x="1344" y="9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A2223AF8-CDC8-4864-8828-A765767720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69"/>
              <a:ext cx="1235" cy="4149"/>
            </a:xfrm>
            <a:custGeom>
              <a:avLst/>
              <a:gdLst>
                <a:gd name="T0" fmla="*/ 1541 w 1737"/>
                <a:gd name="T1" fmla="*/ 0 h 5852"/>
                <a:gd name="T2" fmla="*/ 196 w 1737"/>
                <a:gd name="T3" fmla="*/ 0 h 5852"/>
                <a:gd name="T4" fmla="*/ 0 w 1737"/>
                <a:gd name="T5" fmla="*/ 196 h 5852"/>
                <a:gd name="T6" fmla="*/ 0 w 1737"/>
                <a:gd name="T7" fmla="*/ 5656 h 5852"/>
                <a:gd name="T8" fmla="*/ 196 w 1737"/>
                <a:gd name="T9" fmla="*/ 5852 h 5852"/>
                <a:gd name="T10" fmla="*/ 1540 w 1737"/>
                <a:gd name="T11" fmla="*/ 5852 h 5852"/>
                <a:gd name="T12" fmla="*/ 1736 w 1737"/>
                <a:gd name="T13" fmla="*/ 5656 h 5852"/>
                <a:gd name="T14" fmla="*/ 1736 w 1737"/>
                <a:gd name="T15" fmla="*/ 196 h 5852"/>
                <a:gd name="T16" fmla="*/ 1541 w 1737"/>
                <a:gd name="T17" fmla="*/ 0 h 5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7" h="5852">
                  <a:moveTo>
                    <a:pt x="1541" y="0"/>
                  </a:moveTo>
                  <a:lnTo>
                    <a:pt x="196" y="0"/>
                  </a:lnTo>
                  <a:cubicBezTo>
                    <a:pt x="88" y="0"/>
                    <a:pt x="0" y="87"/>
                    <a:pt x="0" y="196"/>
                  </a:cubicBezTo>
                  <a:lnTo>
                    <a:pt x="0" y="5656"/>
                  </a:lnTo>
                  <a:cubicBezTo>
                    <a:pt x="0" y="5765"/>
                    <a:pt x="88" y="5852"/>
                    <a:pt x="196" y="5852"/>
                  </a:cubicBezTo>
                  <a:lnTo>
                    <a:pt x="1540" y="5852"/>
                  </a:lnTo>
                  <a:cubicBezTo>
                    <a:pt x="1649" y="5852"/>
                    <a:pt x="1736" y="5765"/>
                    <a:pt x="1736" y="5656"/>
                  </a:cubicBezTo>
                  <a:lnTo>
                    <a:pt x="1736" y="196"/>
                  </a:lnTo>
                  <a:cubicBezTo>
                    <a:pt x="1737" y="87"/>
                    <a:pt x="1650" y="0"/>
                    <a:pt x="154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9" name="Group 168">
            <a:extLst>
              <a:ext uri="{FF2B5EF4-FFF2-40B4-BE49-F238E27FC236}">
                <a16:creationId xmlns:a16="http://schemas.microsoft.com/office/drawing/2014/main" id="{2CDEA289-289B-42F8-8E27-79CA0D825014}"/>
              </a:ext>
            </a:extLst>
          </p:cNvPr>
          <p:cNvGrpSpPr/>
          <p:nvPr/>
        </p:nvGrpSpPr>
        <p:grpSpPr bwMode="gray">
          <a:xfrm>
            <a:off x="5337554" y="2283495"/>
            <a:ext cx="387723" cy="458852"/>
            <a:chOff x="549275" y="2252663"/>
            <a:chExt cx="882650" cy="1044575"/>
          </a:xfrm>
          <a:solidFill>
            <a:schemeClr val="bg1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BBFB1179-3F63-4A0E-94F9-CF07DE61B1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275" y="2252663"/>
              <a:ext cx="882650" cy="1044575"/>
            </a:xfrm>
            <a:custGeom>
              <a:avLst/>
              <a:gdLst>
                <a:gd name="T0" fmla="*/ 2688 w 3336"/>
                <a:gd name="T1" fmla="*/ 3300 h 3948"/>
                <a:gd name="T2" fmla="*/ 161 w 3336"/>
                <a:gd name="T3" fmla="*/ 3322 h 3948"/>
                <a:gd name="T4" fmla="*/ 171 w 3336"/>
                <a:gd name="T5" fmla="*/ 3406 h 3948"/>
                <a:gd name="T6" fmla="*/ 244 w 3336"/>
                <a:gd name="T7" fmla="*/ 3452 h 3948"/>
                <a:gd name="T8" fmla="*/ 324 w 3336"/>
                <a:gd name="T9" fmla="*/ 3424 h 3948"/>
                <a:gd name="T10" fmla="*/ 1844 w 3336"/>
                <a:gd name="T11" fmla="*/ 906 h 3948"/>
                <a:gd name="T12" fmla="*/ 1570 w 3336"/>
                <a:gd name="T13" fmla="*/ 986 h 3948"/>
                <a:gd name="T14" fmla="*/ 1348 w 3336"/>
                <a:gd name="T15" fmla="*/ 1154 h 3948"/>
                <a:gd name="T16" fmla="*/ 1198 w 3336"/>
                <a:gd name="T17" fmla="*/ 1391 h 3948"/>
                <a:gd name="T18" fmla="*/ 1144 w 3336"/>
                <a:gd name="T19" fmla="*/ 1677 h 3948"/>
                <a:gd name="T20" fmla="*/ 1198 w 3336"/>
                <a:gd name="T21" fmla="*/ 1962 h 3948"/>
                <a:gd name="T22" fmla="*/ 1348 w 3336"/>
                <a:gd name="T23" fmla="*/ 2199 h 3948"/>
                <a:gd name="T24" fmla="*/ 1570 w 3336"/>
                <a:gd name="T25" fmla="*/ 2368 h 3948"/>
                <a:gd name="T26" fmla="*/ 1844 w 3336"/>
                <a:gd name="T27" fmla="*/ 2448 h 3948"/>
                <a:gd name="T28" fmla="*/ 2136 w 3336"/>
                <a:gd name="T29" fmla="*/ 2420 h 3948"/>
                <a:gd name="T30" fmla="*/ 2387 w 3336"/>
                <a:gd name="T31" fmla="*/ 2293 h 3948"/>
                <a:gd name="T32" fmla="*/ 2574 w 3336"/>
                <a:gd name="T33" fmla="*/ 2088 h 3948"/>
                <a:gd name="T34" fmla="*/ 2678 w 3336"/>
                <a:gd name="T35" fmla="*/ 1823 h 3948"/>
                <a:gd name="T36" fmla="*/ 2678 w 3336"/>
                <a:gd name="T37" fmla="*/ 1530 h 3948"/>
                <a:gd name="T38" fmla="*/ 2574 w 3336"/>
                <a:gd name="T39" fmla="*/ 1266 h 3948"/>
                <a:gd name="T40" fmla="*/ 2387 w 3336"/>
                <a:gd name="T41" fmla="*/ 1060 h 3948"/>
                <a:gd name="T42" fmla="*/ 2136 w 3336"/>
                <a:gd name="T43" fmla="*/ 933 h 3948"/>
                <a:gd name="T44" fmla="*/ 635 w 3336"/>
                <a:gd name="T45" fmla="*/ 157 h 3948"/>
                <a:gd name="T46" fmla="*/ 918 w 3336"/>
                <a:gd name="T47" fmla="*/ 2344 h 3948"/>
                <a:gd name="T48" fmla="*/ 994 w 3336"/>
                <a:gd name="T49" fmla="*/ 2364 h 3948"/>
                <a:gd name="T50" fmla="*/ 1126 w 3336"/>
                <a:gd name="T51" fmla="*/ 2167 h 3948"/>
                <a:gd name="T52" fmla="*/ 1014 w 3336"/>
                <a:gd name="T53" fmla="*/ 1900 h 3948"/>
                <a:gd name="T54" fmla="*/ 991 w 3336"/>
                <a:gd name="T55" fmla="*/ 1592 h 3948"/>
                <a:gd name="T56" fmla="*/ 1077 w 3336"/>
                <a:gd name="T57" fmla="*/ 1278 h 3948"/>
                <a:gd name="T58" fmla="*/ 1260 w 3336"/>
                <a:gd name="T59" fmla="*/ 1018 h 3948"/>
                <a:gd name="T60" fmla="*/ 1520 w 3336"/>
                <a:gd name="T61" fmla="*/ 835 h 3948"/>
                <a:gd name="T62" fmla="*/ 1834 w 3336"/>
                <a:gd name="T63" fmla="*/ 749 h 3948"/>
                <a:gd name="T64" fmla="*/ 2167 w 3336"/>
                <a:gd name="T65" fmla="*/ 778 h 3948"/>
                <a:gd name="T66" fmla="*/ 2456 w 3336"/>
                <a:gd name="T67" fmla="*/ 915 h 3948"/>
                <a:gd name="T68" fmla="*/ 2680 w 3336"/>
                <a:gd name="T69" fmla="*/ 1140 h 3948"/>
                <a:gd name="T70" fmla="*/ 2817 w 3336"/>
                <a:gd name="T71" fmla="*/ 1430 h 3948"/>
                <a:gd name="T72" fmla="*/ 2846 w 3336"/>
                <a:gd name="T73" fmla="*/ 1761 h 3948"/>
                <a:gd name="T74" fmla="*/ 2761 w 3336"/>
                <a:gd name="T75" fmla="*/ 2076 h 3948"/>
                <a:gd name="T76" fmla="*/ 2577 w 3336"/>
                <a:gd name="T77" fmla="*/ 2335 h 3948"/>
                <a:gd name="T78" fmla="*/ 2317 w 3336"/>
                <a:gd name="T79" fmla="*/ 2518 h 3948"/>
                <a:gd name="T80" fmla="*/ 2003 w 3336"/>
                <a:gd name="T81" fmla="*/ 2604 h 3948"/>
                <a:gd name="T82" fmla="*/ 1673 w 3336"/>
                <a:gd name="T83" fmla="*/ 2576 h 3948"/>
                <a:gd name="T84" fmla="*/ 1386 w 3336"/>
                <a:gd name="T85" fmla="*/ 2441 h 3948"/>
                <a:gd name="T86" fmla="*/ 1257 w 3336"/>
                <a:gd name="T87" fmla="*/ 2631 h 3948"/>
                <a:gd name="T88" fmla="*/ 1257 w 3336"/>
                <a:gd name="T89" fmla="*/ 2709 h 3948"/>
                <a:gd name="T90" fmla="*/ 2531 w 3336"/>
                <a:gd name="T91" fmla="*/ 3791 h 3948"/>
                <a:gd name="T92" fmla="*/ 2554 w 3336"/>
                <a:gd name="T93" fmla="*/ 3166 h 3948"/>
                <a:gd name="T94" fmla="*/ 2610 w 3336"/>
                <a:gd name="T95" fmla="*/ 3143 h 3948"/>
                <a:gd name="T96" fmla="*/ 556 w 3336"/>
                <a:gd name="T97" fmla="*/ 0 h 3948"/>
                <a:gd name="T98" fmla="*/ 3313 w 3336"/>
                <a:gd name="T99" fmla="*/ 23 h 3948"/>
                <a:gd name="T100" fmla="*/ 3336 w 3336"/>
                <a:gd name="T101" fmla="*/ 3222 h 3948"/>
                <a:gd name="T102" fmla="*/ 2666 w 3336"/>
                <a:gd name="T103" fmla="*/ 3925 h 3948"/>
                <a:gd name="T104" fmla="*/ 556 w 3336"/>
                <a:gd name="T105" fmla="*/ 3948 h 3948"/>
                <a:gd name="T106" fmla="*/ 488 w 3336"/>
                <a:gd name="T107" fmla="*/ 3909 h 3948"/>
                <a:gd name="T108" fmla="*/ 435 w 3336"/>
                <a:gd name="T109" fmla="*/ 3535 h 3948"/>
                <a:gd name="T110" fmla="*/ 319 w 3336"/>
                <a:gd name="T111" fmla="*/ 3601 h 3948"/>
                <a:gd name="T112" fmla="*/ 190 w 3336"/>
                <a:gd name="T113" fmla="*/ 3601 h 3948"/>
                <a:gd name="T114" fmla="*/ 74 w 3336"/>
                <a:gd name="T115" fmla="*/ 3535 h 3948"/>
                <a:gd name="T116" fmla="*/ 5 w 3336"/>
                <a:gd name="T117" fmla="*/ 3407 h 3948"/>
                <a:gd name="T118" fmla="*/ 14 w 3336"/>
                <a:gd name="T119" fmla="*/ 3266 h 3948"/>
                <a:gd name="T120" fmla="*/ 477 w 3336"/>
                <a:gd name="T121" fmla="*/ 2770 h 3948"/>
                <a:gd name="T122" fmla="*/ 501 w 3336"/>
                <a:gd name="T123" fmla="*/ 23 h 3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6" h="3948">
                  <a:moveTo>
                    <a:pt x="2688" y="3300"/>
                  </a:moveTo>
                  <a:lnTo>
                    <a:pt x="2689" y="3680"/>
                  </a:lnTo>
                  <a:lnTo>
                    <a:pt x="3068" y="3300"/>
                  </a:lnTo>
                  <a:lnTo>
                    <a:pt x="2688" y="3300"/>
                  </a:lnTo>
                  <a:close/>
                  <a:moveTo>
                    <a:pt x="939" y="2532"/>
                  </a:moveTo>
                  <a:lnTo>
                    <a:pt x="185" y="3285"/>
                  </a:lnTo>
                  <a:lnTo>
                    <a:pt x="171" y="3302"/>
                  </a:lnTo>
                  <a:lnTo>
                    <a:pt x="161" y="3322"/>
                  </a:lnTo>
                  <a:lnTo>
                    <a:pt x="157" y="3344"/>
                  </a:lnTo>
                  <a:lnTo>
                    <a:pt x="157" y="3365"/>
                  </a:lnTo>
                  <a:lnTo>
                    <a:pt x="161" y="3386"/>
                  </a:lnTo>
                  <a:lnTo>
                    <a:pt x="171" y="3406"/>
                  </a:lnTo>
                  <a:lnTo>
                    <a:pt x="185" y="3424"/>
                  </a:lnTo>
                  <a:lnTo>
                    <a:pt x="203" y="3438"/>
                  </a:lnTo>
                  <a:lnTo>
                    <a:pt x="222" y="3447"/>
                  </a:lnTo>
                  <a:lnTo>
                    <a:pt x="244" y="3452"/>
                  </a:lnTo>
                  <a:lnTo>
                    <a:pt x="265" y="3452"/>
                  </a:lnTo>
                  <a:lnTo>
                    <a:pt x="287" y="3447"/>
                  </a:lnTo>
                  <a:lnTo>
                    <a:pt x="306" y="3438"/>
                  </a:lnTo>
                  <a:lnTo>
                    <a:pt x="324" y="3424"/>
                  </a:lnTo>
                  <a:lnTo>
                    <a:pt x="1077" y="2670"/>
                  </a:lnTo>
                  <a:lnTo>
                    <a:pt x="939" y="2532"/>
                  </a:lnTo>
                  <a:close/>
                  <a:moveTo>
                    <a:pt x="1919" y="902"/>
                  </a:moveTo>
                  <a:lnTo>
                    <a:pt x="1844" y="906"/>
                  </a:lnTo>
                  <a:lnTo>
                    <a:pt x="1772" y="916"/>
                  </a:lnTo>
                  <a:lnTo>
                    <a:pt x="1701" y="933"/>
                  </a:lnTo>
                  <a:lnTo>
                    <a:pt x="1635" y="956"/>
                  </a:lnTo>
                  <a:lnTo>
                    <a:pt x="1570" y="986"/>
                  </a:lnTo>
                  <a:lnTo>
                    <a:pt x="1508" y="1020"/>
                  </a:lnTo>
                  <a:lnTo>
                    <a:pt x="1450" y="1060"/>
                  </a:lnTo>
                  <a:lnTo>
                    <a:pt x="1397" y="1105"/>
                  </a:lnTo>
                  <a:lnTo>
                    <a:pt x="1348" y="1154"/>
                  </a:lnTo>
                  <a:lnTo>
                    <a:pt x="1302" y="1208"/>
                  </a:lnTo>
                  <a:lnTo>
                    <a:pt x="1263" y="1266"/>
                  </a:lnTo>
                  <a:lnTo>
                    <a:pt x="1228" y="1327"/>
                  </a:lnTo>
                  <a:lnTo>
                    <a:pt x="1198" y="1391"/>
                  </a:lnTo>
                  <a:lnTo>
                    <a:pt x="1175" y="1460"/>
                  </a:lnTo>
                  <a:lnTo>
                    <a:pt x="1159" y="1530"/>
                  </a:lnTo>
                  <a:lnTo>
                    <a:pt x="1148" y="1602"/>
                  </a:lnTo>
                  <a:lnTo>
                    <a:pt x="1144" y="1677"/>
                  </a:lnTo>
                  <a:lnTo>
                    <a:pt x="1148" y="1751"/>
                  </a:lnTo>
                  <a:lnTo>
                    <a:pt x="1159" y="1823"/>
                  </a:lnTo>
                  <a:lnTo>
                    <a:pt x="1175" y="1894"/>
                  </a:lnTo>
                  <a:lnTo>
                    <a:pt x="1198" y="1962"/>
                  </a:lnTo>
                  <a:lnTo>
                    <a:pt x="1228" y="2027"/>
                  </a:lnTo>
                  <a:lnTo>
                    <a:pt x="1263" y="2088"/>
                  </a:lnTo>
                  <a:lnTo>
                    <a:pt x="1302" y="2145"/>
                  </a:lnTo>
                  <a:lnTo>
                    <a:pt x="1348" y="2199"/>
                  </a:lnTo>
                  <a:lnTo>
                    <a:pt x="1397" y="2248"/>
                  </a:lnTo>
                  <a:lnTo>
                    <a:pt x="1450" y="2293"/>
                  </a:lnTo>
                  <a:lnTo>
                    <a:pt x="1508" y="2333"/>
                  </a:lnTo>
                  <a:lnTo>
                    <a:pt x="1570" y="2368"/>
                  </a:lnTo>
                  <a:lnTo>
                    <a:pt x="1635" y="2398"/>
                  </a:lnTo>
                  <a:lnTo>
                    <a:pt x="1701" y="2420"/>
                  </a:lnTo>
                  <a:lnTo>
                    <a:pt x="1772" y="2437"/>
                  </a:lnTo>
                  <a:lnTo>
                    <a:pt x="1844" y="2448"/>
                  </a:lnTo>
                  <a:lnTo>
                    <a:pt x="1919" y="2451"/>
                  </a:lnTo>
                  <a:lnTo>
                    <a:pt x="1993" y="2448"/>
                  </a:lnTo>
                  <a:lnTo>
                    <a:pt x="2066" y="2437"/>
                  </a:lnTo>
                  <a:lnTo>
                    <a:pt x="2136" y="2420"/>
                  </a:lnTo>
                  <a:lnTo>
                    <a:pt x="2204" y="2398"/>
                  </a:lnTo>
                  <a:lnTo>
                    <a:pt x="2268" y="2368"/>
                  </a:lnTo>
                  <a:lnTo>
                    <a:pt x="2329" y="2333"/>
                  </a:lnTo>
                  <a:lnTo>
                    <a:pt x="2387" y="2293"/>
                  </a:lnTo>
                  <a:lnTo>
                    <a:pt x="2440" y="2248"/>
                  </a:lnTo>
                  <a:lnTo>
                    <a:pt x="2491" y="2199"/>
                  </a:lnTo>
                  <a:lnTo>
                    <a:pt x="2535" y="2145"/>
                  </a:lnTo>
                  <a:lnTo>
                    <a:pt x="2574" y="2088"/>
                  </a:lnTo>
                  <a:lnTo>
                    <a:pt x="2609" y="2027"/>
                  </a:lnTo>
                  <a:lnTo>
                    <a:pt x="2639" y="1962"/>
                  </a:lnTo>
                  <a:lnTo>
                    <a:pt x="2662" y="1894"/>
                  </a:lnTo>
                  <a:lnTo>
                    <a:pt x="2678" y="1823"/>
                  </a:lnTo>
                  <a:lnTo>
                    <a:pt x="2689" y="1751"/>
                  </a:lnTo>
                  <a:lnTo>
                    <a:pt x="2693" y="1677"/>
                  </a:lnTo>
                  <a:lnTo>
                    <a:pt x="2689" y="1602"/>
                  </a:lnTo>
                  <a:lnTo>
                    <a:pt x="2678" y="1530"/>
                  </a:lnTo>
                  <a:lnTo>
                    <a:pt x="2662" y="1460"/>
                  </a:lnTo>
                  <a:lnTo>
                    <a:pt x="2639" y="1391"/>
                  </a:lnTo>
                  <a:lnTo>
                    <a:pt x="2609" y="1327"/>
                  </a:lnTo>
                  <a:lnTo>
                    <a:pt x="2574" y="1266"/>
                  </a:lnTo>
                  <a:lnTo>
                    <a:pt x="2535" y="1208"/>
                  </a:lnTo>
                  <a:lnTo>
                    <a:pt x="2491" y="1154"/>
                  </a:lnTo>
                  <a:lnTo>
                    <a:pt x="2440" y="1105"/>
                  </a:lnTo>
                  <a:lnTo>
                    <a:pt x="2387" y="1060"/>
                  </a:lnTo>
                  <a:lnTo>
                    <a:pt x="2329" y="1020"/>
                  </a:lnTo>
                  <a:lnTo>
                    <a:pt x="2268" y="986"/>
                  </a:lnTo>
                  <a:lnTo>
                    <a:pt x="2204" y="956"/>
                  </a:lnTo>
                  <a:lnTo>
                    <a:pt x="2136" y="933"/>
                  </a:lnTo>
                  <a:lnTo>
                    <a:pt x="2066" y="916"/>
                  </a:lnTo>
                  <a:lnTo>
                    <a:pt x="1993" y="906"/>
                  </a:lnTo>
                  <a:lnTo>
                    <a:pt x="1919" y="902"/>
                  </a:lnTo>
                  <a:close/>
                  <a:moveTo>
                    <a:pt x="635" y="157"/>
                  </a:moveTo>
                  <a:lnTo>
                    <a:pt x="635" y="2613"/>
                  </a:lnTo>
                  <a:lnTo>
                    <a:pt x="882" y="2364"/>
                  </a:lnTo>
                  <a:lnTo>
                    <a:pt x="899" y="2352"/>
                  </a:lnTo>
                  <a:lnTo>
                    <a:pt x="918" y="2344"/>
                  </a:lnTo>
                  <a:lnTo>
                    <a:pt x="939" y="2341"/>
                  </a:lnTo>
                  <a:lnTo>
                    <a:pt x="959" y="2344"/>
                  </a:lnTo>
                  <a:lnTo>
                    <a:pt x="978" y="2352"/>
                  </a:lnTo>
                  <a:lnTo>
                    <a:pt x="994" y="2364"/>
                  </a:lnTo>
                  <a:lnTo>
                    <a:pt x="1061" y="2431"/>
                  </a:lnTo>
                  <a:lnTo>
                    <a:pt x="1211" y="2281"/>
                  </a:lnTo>
                  <a:lnTo>
                    <a:pt x="1167" y="2225"/>
                  </a:lnTo>
                  <a:lnTo>
                    <a:pt x="1126" y="2167"/>
                  </a:lnTo>
                  <a:lnTo>
                    <a:pt x="1090" y="2103"/>
                  </a:lnTo>
                  <a:lnTo>
                    <a:pt x="1061" y="2039"/>
                  </a:lnTo>
                  <a:lnTo>
                    <a:pt x="1034" y="1970"/>
                  </a:lnTo>
                  <a:lnTo>
                    <a:pt x="1014" y="1900"/>
                  </a:lnTo>
                  <a:lnTo>
                    <a:pt x="1000" y="1827"/>
                  </a:lnTo>
                  <a:lnTo>
                    <a:pt x="990" y="1753"/>
                  </a:lnTo>
                  <a:lnTo>
                    <a:pt x="988" y="1677"/>
                  </a:lnTo>
                  <a:lnTo>
                    <a:pt x="991" y="1592"/>
                  </a:lnTo>
                  <a:lnTo>
                    <a:pt x="1002" y="1510"/>
                  </a:lnTo>
                  <a:lnTo>
                    <a:pt x="1021" y="1430"/>
                  </a:lnTo>
                  <a:lnTo>
                    <a:pt x="1045" y="1352"/>
                  </a:lnTo>
                  <a:lnTo>
                    <a:pt x="1077" y="1278"/>
                  </a:lnTo>
                  <a:lnTo>
                    <a:pt x="1114" y="1207"/>
                  </a:lnTo>
                  <a:lnTo>
                    <a:pt x="1157" y="1140"/>
                  </a:lnTo>
                  <a:lnTo>
                    <a:pt x="1206" y="1077"/>
                  </a:lnTo>
                  <a:lnTo>
                    <a:pt x="1260" y="1018"/>
                  </a:lnTo>
                  <a:lnTo>
                    <a:pt x="1319" y="964"/>
                  </a:lnTo>
                  <a:lnTo>
                    <a:pt x="1382" y="915"/>
                  </a:lnTo>
                  <a:lnTo>
                    <a:pt x="1449" y="872"/>
                  </a:lnTo>
                  <a:lnTo>
                    <a:pt x="1520" y="835"/>
                  </a:lnTo>
                  <a:lnTo>
                    <a:pt x="1594" y="803"/>
                  </a:lnTo>
                  <a:lnTo>
                    <a:pt x="1672" y="778"/>
                  </a:lnTo>
                  <a:lnTo>
                    <a:pt x="1752" y="760"/>
                  </a:lnTo>
                  <a:lnTo>
                    <a:pt x="1834" y="749"/>
                  </a:lnTo>
                  <a:lnTo>
                    <a:pt x="1919" y="745"/>
                  </a:lnTo>
                  <a:lnTo>
                    <a:pt x="2003" y="749"/>
                  </a:lnTo>
                  <a:lnTo>
                    <a:pt x="2086" y="760"/>
                  </a:lnTo>
                  <a:lnTo>
                    <a:pt x="2167" y="778"/>
                  </a:lnTo>
                  <a:lnTo>
                    <a:pt x="2243" y="803"/>
                  </a:lnTo>
                  <a:lnTo>
                    <a:pt x="2317" y="835"/>
                  </a:lnTo>
                  <a:lnTo>
                    <a:pt x="2389" y="872"/>
                  </a:lnTo>
                  <a:lnTo>
                    <a:pt x="2456" y="915"/>
                  </a:lnTo>
                  <a:lnTo>
                    <a:pt x="2518" y="964"/>
                  </a:lnTo>
                  <a:lnTo>
                    <a:pt x="2577" y="1018"/>
                  </a:lnTo>
                  <a:lnTo>
                    <a:pt x="2631" y="1077"/>
                  </a:lnTo>
                  <a:lnTo>
                    <a:pt x="2680" y="1140"/>
                  </a:lnTo>
                  <a:lnTo>
                    <a:pt x="2723" y="1207"/>
                  </a:lnTo>
                  <a:lnTo>
                    <a:pt x="2761" y="1278"/>
                  </a:lnTo>
                  <a:lnTo>
                    <a:pt x="2792" y="1352"/>
                  </a:lnTo>
                  <a:lnTo>
                    <a:pt x="2817" y="1430"/>
                  </a:lnTo>
                  <a:lnTo>
                    <a:pt x="2835" y="1510"/>
                  </a:lnTo>
                  <a:lnTo>
                    <a:pt x="2846" y="1592"/>
                  </a:lnTo>
                  <a:lnTo>
                    <a:pt x="2851" y="1677"/>
                  </a:lnTo>
                  <a:lnTo>
                    <a:pt x="2846" y="1761"/>
                  </a:lnTo>
                  <a:lnTo>
                    <a:pt x="2835" y="1844"/>
                  </a:lnTo>
                  <a:lnTo>
                    <a:pt x="2817" y="1924"/>
                  </a:lnTo>
                  <a:lnTo>
                    <a:pt x="2792" y="2002"/>
                  </a:lnTo>
                  <a:lnTo>
                    <a:pt x="2761" y="2076"/>
                  </a:lnTo>
                  <a:lnTo>
                    <a:pt x="2723" y="2146"/>
                  </a:lnTo>
                  <a:lnTo>
                    <a:pt x="2680" y="2214"/>
                  </a:lnTo>
                  <a:lnTo>
                    <a:pt x="2631" y="2277"/>
                  </a:lnTo>
                  <a:lnTo>
                    <a:pt x="2577" y="2335"/>
                  </a:lnTo>
                  <a:lnTo>
                    <a:pt x="2518" y="2389"/>
                  </a:lnTo>
                  <a:lnTo>
                    <a:pt x="2456" y="2438"/>
                  </a:lnTo>
                  <a:lnTo>
                    <a:pt x="2389" y="2481"/>
                  </a:lnTo>
                  <a:lnTo>
                    <a:pt x="2317" y="2518"/>
                  </a:lnTo>
                  <a:lnTo>
                    <a:pt x="2243" y="2551"/>
                  </a:lnTo>
                  <a:lnTo>
                    <a:pt x="2167" y="2576"/>
                  </a:lnTo>
                  <a:lnTo>
                    <a:pt x="2086" y="2594"/>
                  </a:lnTo>
                  <a:lnTo>
                    <a:pt x="2003" y="2604"/>
                  </a:lnTo>
                  <a:lnTo>
                    <a:pt x="1919" y="2609"/>
                  </a:lnTo>
                  <a:lnTo>
                    <a:pt x="1834" y="2604"/>
                  </a:lnTo>
                  <a:lnTo>
                    <a:pt x="1753" y="2594"/>
                  </a:lnTo>
                  <a:lnTo>
                    <a:pt x="1673" y="2576"/>
                  </a:lnTo>
                  <a:lnTo>
                    <a:pt x="1596" y="2551"/>
                  </a:lnTo>
                  <a:lnTo>
                    <a:pt x="1522" y="2520"/>
                  </a:lnTo>
                  <a:lnTo>
                    <a:pt x="1452" y="2484"/>
                  </a:lnTo>
                  <a:lnTo>
                    <a:pt x="1386" y="2441"/>
                  </a:lnTo>
                  <a:lnTo>
                    <a:pt x="1322" y="2393"/>
                  </a:lnTo>
                  <a:lnTo>
                    <a:pt x="1172" y="2542"/>
                  </a:lnTo>
                  <a:lnTo>
                    <a:pt x="1245" y="2614"/>
                  </a:lnTo>
                  <a:lnTo>
                    <a:pt x="1257" y="2631"/>
                  </a:lnTo>
                  <a:lnTo>
                    <a:pt x="1265" y="2650"/>
                  </a:lnTo>
                  <a:lnTo>
                    <a:pt x="1267" y="2670"/>
                  </a:lnTo>
                  <a:lnTo>
                    <a:pt x="1265" y="2691"/>
                  </a:lnTo>
                  <a:lnTo>
                    <a:pt x="1257" y="2709"/>
                  </a:lnTo>
                  <a:lnTo>
                    <a:pt x="1245" y="2725"/>
                  </a:lnTo>
                  <a:lnTo>
                    <a:pt x="635" y="3335"/>
                  </a:lnTo>
                  <a:lnTo>
                    <a:pt x="635" y="3791"/>
                  </a:lnTo>
                  <a:lnTo>
                    <a:pt x="2531" y="3791"/>
                  </a:lnTo>
                  <a:lnTo>
                    <a:pt x="2531" y="3221"/>
                  </a:lnTo>
                  <a:lnTo>
                    <a:pt x="2534" y="3200"/>
                  </a:lnTo>
                  <a:lnTo>
                    <a:pt x="2542" y="3182"/>
                  </a:lnTo>
                  <a:lnTo>
                    <a:pt x="2554" y="3166"/>
                  </a:lnTo>
                  <a:lnTo>
                    <a:pt x="2571" y="3152"/>
                  </a:lnTo>
                  <a:lnTo>
                    <a:pt x="2590" y="3145"/>
                  </a:lnTo>
                  <a:lnTo>
                    <a:pt x="2610" y="3143"/>
                  </a:lnTo>
                  <a:lnTo>
                    <a:pt x="2610" y="3143"/>
                  </a:lnTo>
                  <a:lnTo>
                    <a:pt x="3179" y="3143"/>
                  </a:lnTo>
                  <a:lnTo>
                    <a:pt x="3179" y="157"/>
                  </a:lnTo>
                  <a:lnTo>
                    <a:pt x="635" y="157"/>
                  </a:lnTo>
                  <a:close/>
                  <a:moveTo>
                    <a:pt x="556" y="0"/>
                  </a:moveTo>
                  <a:lnTo>
                    <a:pt x="3258" y="0"/>
                  </a:lnTo>
                  <a:lnTo>
                    <a:pt x="3279" y="2"/>
                  </a:lnTo>
                  <a:lnTo>
                    <a:pt x="3298" y="11"/>
                  </a:lnTo>
                  <a:lnTo>
                    <a:pt x="3313" y="23"/>
                  </a:lnTo>
                  <a:lnTo>
                    <a:pt x="3325" y="39"/>
                  </a:lnTo>
                  <a:lnTo>
                    <a:pt x="3334" y="57"/>
                  </a:lnTo>
                  <a:lnTo>
                    <a:pt x="3336" y="79"/>
                  </a:lnTo>
                  <a:lnTo>
                    <a:pt x="3336" y="3222"/>
                  </a:lnTo>
                  <a:lnTo>
                    <a:pt x="3334" y="3242"/>
                  </a:lnTo>
                  <a:lnTo>
                    <a:pt x="3325" y="3261"/>
                  </a:lnTo>
                  <a:lnTo>
                    <a:pt x="3313" y="3277"/>
                  </a:lnTo>
                  <a:lnTo>
                    <a:pt x="2666" y="3925"/>
                  </a:lnTo>
                  <a:lnTo>
                    <a:pt x="2650" y="3937"/>
                  </a:lnTo>
                  <a:lnTo>
                    <a:pt x="2631" y="3946"/>
                  </a:lnTo>
                  <a:lnTo>
                    <a:pt x="2610" y="3948"/>
                  </a:lnTo>
                  <a:lnTo>
                    <a:pt x="556" y="3948"/>
                  </a:lnTo>
                  <a:lnTo>
                    <a:pt x="536" y="3946"/>
                  </a:lnTo>
                  <a:lnTo>
                    <a:pt x="517" y="3937"/>
                  </a:lnTo>
                  <a:lnTo>
                    <a:pt x="501" y="3925"/>
                  </a:lnTo>
                  <a:lnTo>
                    <a:pt x="488" y="3909"/>
                  </a:lnTo>
                  <a:lnTo>
                    <a:pt x="481" y="3891"/>
                  </a:lnTo>
                  <a:lnTo>
                    <a:pt x="477" y="3869"/>
                  </a:lnTo>
                  <a:lnTo>
                    <a:pt x="477" y="3493"/>
                  </a:lnTo>
                  <a:lnTo>
                    <a:pt x="435" y="3535"/>
                  </a:lnTo>
                  <a:lnTo>
                    <a:pt x="409" y="3558"/>
                  </a:lnTo>
                  <a:lnTo>
                    <a:pt x="381" y="3576"/>
                  </a:lnTo>
                  <a:lnTo>
                    <a:pt x="352" y="3591"/>
                  </a:lnTo>
                  <a:lnTo>
                    <a:pt x="319" y="3601"/>
                  </a:lnTo>
                  <a:lnTo>
                    <a:pt x="287" y="3607"/>
                  </a:lnTo>
                  <a:lnTo>
                    <a:pt x="255" y="3609"/>
                  </a:lnTo>
                  <a:lnTo>
                    <a:pt x="222" y="3607"/>
                  </a:lnTo>
                  <a:lnTo>
                    <a:pt x="190" y="3601"/>
                  </a:lnTo>
                  <a:lnTo>
                    <a:pt x="159" y="3591"/>
                  </a:lnTo>
                  <a:lnTo>
                    <a:pt x="129" y="3576"/>
                  </a:lnTo>
                  <a:lnTo>
                    <a:pt x="100" y="3558"/>
                  </a:lnTo>
                  <a:lnTo>
                    <a:pt x="74" y="3535"/>
                  </a:lnTo>
                  <a:lnTo>
                    <a:pt x="49" y="3507"/>
                  </a:lnTo>
                  <a:lnTo>
                    <a:pt x="30" y="3475"/>
                  </a:lnTo>
                  <a:lnTo>
                    <a:pt x="14" y="3442"/>
                  </a:lnTo>
                  <a:lnTo>
                    <a:pt x="5" y="3407"/>
                  </a:lnTo>
                  <a:lnTo>
                    <a:pt x="0" y="3373"/>
                  </a:lnTo>
                  <a:lnTo>
                    <a:pt x="0" y="3337"/>
                  </a:lnTo>
                  <a:lnTo>
                    <a:pt x="5" y="3301"/>
                  </a:lnTo>
                  <a:lnTo>
                    <a:pt x="14" y="3266"/>
                  </a:lnTo>
                  <a:lnTo>
                    <a:pt x="30" y="3234"/>
                  </a:lnTo>
                  <a:lnTo>
                    <a:pt x="49" y="3203"/>
                  </a:lnTo>
                  <a:lnTo>
                    <a:pt x="74" y="3174"/>
                  </a:lnTo>
                  <a:lnTo>
                    <a:pt x="477" y="2770"/>
                  </a:lnTo>
                  <a:lnTo>
                    <a:pt x="477" y="79"/>
                  </a:lnTo>
                  <a:lnTo>
                    <a:pt x="481" y="57"/>
                  </a:lnTo>
                  <a:lnTo>
                    <a:pt x="488" y="39"/>
                  </a:lnTo>
                  <a:lnTo>
                    <a:pt x="501" y="23"/>
                  </a:lnTo>
                  <a:lnTo>
                    <a:pt x="517" y="11"/>
                  </a:lnTo>
                  <a:lnTo>
                    <a:pt x="536" y="2"/>
                  </a:lnTo>
                  <a:lnTo>
                    <a:pt x="5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BD1DB6F-D051-4D2B-A502-29B9885BA6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676526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2 h 158"/>
                <a:gd name="T6" fmla="*/ 998 w 1038"/>
                <a:gd name="T7" fmla="*/ 11 h 158"/>
                <a:gd name="T8" fmla="*/ 1015 w 1038"/>
                <a:gd name="T9" fmla="*/ 23 h 158"/>
                <a:gd name="T10" fmla="*/ 1027 w 1038"/>
                <a:gd name="T11" fmla="*/ 39 h 158"/>
                <a:gd name="T12" fmla="*/ 1034 w 1038"/>
                <a:gd name="T13" fmla="*/ 57 h 158"/>
                <a:gd name="T14" fmla="*/ 1038 w 1038"/>
                <a:gd name="T15" fmla="*/ 79 h 158"/>
                <a:gd name="T16" fmla="*/ 1034 w 1038"/>
                <a:gd name="T17" fmla="*/ 99 h 158"/>
                <a:gd name="T18" fmla="*/ 1027 w 1038"/>
                <a:gd name="T19" fmla="*/ 118 h 158"/>
                <a:gd name="T20" fmla="*/ 1015 w 1038"/>
                <a:gd name="T21" fmla="*/ 134 h 158"/>
                <a:gd name="T22" fmla="*/ 998 w 1038"/>
                <a:gd name="T23" fmla="*/ 147 h 158"/>
                <a:gd name="T24" fmla="*/ 980 w 1038"/>
                <a:gd name="T25" fmla="*/ 154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4 h 158"/>
                <a:gd name="T32" fmla="*/ 39 w 1038"/>
                <a:gd name="T33" fmla="*/ 147 h 158"/>
                <a:gd name="T34" fmla="*/ 22 w 1038"/>
                <a:gd name="T35" fmla="*/ 134 h 158"/>
                <a:gd name="T36" fmla="*/ 11 w 1038"/>
                <a:gd name="T37" fmla="*/ 118 h 158"/>
                <a:gd name="T38" fmla="*/ 2 w 1038"/>
                <a:gd name="T39" fmla="*/ 99 h 158"/>
                <a:gd name="T40" fmla="*/ 0 w 1038"/>
                <a:gd name="T41" fmla="*/ 79 h 158"/>
                <a:gd name="T42" fmla="*/ 2 w 1038"/>
                <a:gd name="T43" fmla="*/ 57 h 158"/>
                <a:gd name="T44" fmla="*/ 11 w 1038"/>
                <a:gd name="T45" fmla="*/ 39 h 158"/>
                <a:gd name="T46" fmla="*/ 22 w 1038"/>
                <a:gd name="T47" fmla="*/ 23 h 158"/>
                <a:gd name="T48" fmla="*/ 39 w 1038"/>
                <a:gd name="T49" fmla="*/ 11 h 158"/>
                <a:gd name="T50" fmla="*/ 57 w 1038"/>
                <a:gd name="T51" fmla="*/ 2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2"/>
                  </a:lnTo>
                  <a:lnTo>
                    <a:pt x="998" y="11"/>
                  </a:lnTo>
                  <a:lnTo>
                    <a:pt x="1015" y="23"/>
                  </a:lnTo>
                  <a:lnTo>
                    <a:pt x="1027" y="39"/>
                  </a:lnTo>
                  <a:lnTo>
                    <a:pt x="1034" y="57"/>
                  </a:lnTo>
                  <a:lnTo>
                    <a:pt x="1038" y="79"/>
                  </a:lnTo>
                  <a:lnTo>
                    <a:pt x="1034" y="99"/>
                  </a:lnTo>
                  <a:lnTo>
                    <a:pt x="1027" y="118"/>
                  </a:lnTo>
                  <a:lnTo>
                    <a:pt x="1015" y="134"/>
                  </a:lnTo>
                  <a:lnTo>
                    <a:pt x="998" y="147"/>
                  </a:lnTo>
                  <a:lnTo>
                    <a:pt x="980" y="154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4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8"/>
                  </a:lnTo>
                  <a:lnTo>
                    <a:pt x="2" y="99"/>
                  </a:lnTo>
                  <a:lnTo>
                    <a:pt x="0" y="79"/>
                  </a:lnTo>
                  <a:lnTo>
                    <a:pt x="2" y="57"/>
                  </a:lnTo>
                  <a:lnTo>
                    <a:pt x="11" y="39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4F32B4C-8FCF-4E91-AFB5-C37B9DD8E6F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757488"/>
              <a:ext cx="274638" cy="41275"/>
            </a:xfrm>
            <a:custGeom>
              <a:avLst/>
              <a:gdLst>
                <a:gd name="T0" fmla="*/ 79 w 1038"/>
                <a:gd name="T1" fmla="*/ 0 h 158"/>
                <a:gd name="T2" fmla="*/ 959 w 1038"/>
                <a:gd name="T3" fmla="*/ 0 h 158"/>
                <a:gd name="T4" fmla="*/ 980 w 1038"/>
                <a:gd name="T5" fmla="*/ 4 h 158"/>
                <a:gd name="T6" fmla="*/ 998 w 1038"/>
                <a:gd name="T7" fmla="*/ 11 h 158"/>
                <a:gd name="T8" fmla="*/ 1015 w 1038"/>
                <a:gd name="T9" fmla="*/ 24 h 158"/>
                <a:gd name="T10" fmla="*/ 1027 w 1038"/>
                <a:gd name="T11" fmla="*/ 40 h 158"/>
                <a:gd name="T12" fmla="*/ 1034 w 1038"/>
                <a:gd name="T13" fmla="*/ 59 h 158"/>
                <a:gd name="T14" fmla="*/ 1038 w 1038"/>
                <a:gd name="T15" fmla="*/ 79 h 158"/>
                <a:gd name="T16" fmla="*/ 1034 w 1038"/>
                <a:gd name="T17" fmla="*/ 101 h 158"/>
                <a:gd name="T18" fmla="*/ 1027 w 1038"/>
                <a:gd name="T19" fmla="*/ 119 h 158"/>
                <a:gd name="T20" fmla="*/ 1015 w 1038"/>
                <a:gd name="T21" fmla="*/ 135 h 158"/>
                <a:gd name="T22" fmla="*/ 998 w 1038"/>
                <a:gd name="T23" fmla="*/ 147 h 158"/>
                <a:gd name="T24" fmla="*/ 980 w 1038"/>
                <a:gd name="T25" fmla="*/ 156 h 158"/>
                <a:gd name="T26" fmla="*/ 959 w 1038"/>
                <a:gd name="T27" fmla="*/ 158 h 158"/>
                <a:gd name="T28" fmla="*/ 79 w 1038"/>
                <a:gd name="T29" fmla="*/ 158 h 158"/>
                <a:gd name="T30" fmla="*/ 57 w 1038"/>
                <a:gd name="T31" fmla="*/ 156 h 158"/>
                <a:gd name="T32" fmla="*/ 39 w 1038"/>
                <a:gd name="T33" fmla="*/ 147 h 158"/>
                <a:gd name="T34" fmla="*/ 22 w 1038"/>
                <a:gd name="T35" fmla="*/ 135 h 158"/>
                <a:gd name="T36" fmla="*/ 11 w 1038"/>
                <a:gd name="T37" fmla="*/ 119 h 158"/>
                <a:gd name="T38" fmla="*/ 2 w 1038"/>
                <a:gd name="T39" fmla="*/ 101 h 158"/>
                <a:gd name="T40" fmla="*/ 0 w 1038"/>
                <a:gd name="T41" fmla="*/ 79 h 158"/>
                <a:gd name="T42" fmla="*/ 2 w 1038"/>
                <a:gd name="T43" fmla="*/ 59 h 158"/>
                <a:gd name="T44" fmla="*/ 11 w 1038"/>
                <a:gd name="T45" fmla="*/ 40 h 158"/>
                <a:gd name="T46" fmla="*/ 22 w 1038"/>
                <a:gd name="T47" fmla="*/ 24 h 158"/>
                <a:gd name="T48" fmla="*/ 39 w 1038"/>
                <a:gd name="T49" fmla="*/ 11 h 158"/>
                <a:gd name="T50" fmla="*/ 57 w 1038"/>
                <a:gd name="T51" fmla="*/ 4 h 158"/>
                <a:gd name="T52" fmla="*/ 79 w 1038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38" h="158">
                  <a:moveTo>
                    <a:pt x="79" y="0"/>
                  </a:moveTo>
                  <a:lnTo>
                    <a:pt x="959" y="0"/>
                  </a:lnTo>
                  <a:lnTo>
                    <a:pt x="980" y="4"/>
                  </a:lnTo>
                  <a:lnTo>
                    <a:pt x="998" y="11"/>
                  </a:lnTo>
                  <a:lnTo>
                    <a:pt x="1015" y="24"/>
                  </a:lnTo>
                  <a:lnTo>
                    <a:pt x="1027" y="40"/>
                  </a:lnTo>
                  <a:lnTo>
                    <a:pt x="1034" y="59"/>
                  </a:lnTo>
                  <a:lnTo>
                    <a:pt x="1038" y="79"/>
                  </a:lnTo>
                  <a:lnTo>
                    <a:pt x="1034" y="101"/>
                  </a:lnTo>
                  <a:lnTo>
                    <a:pt x="1027" y="119"/>
                  </a:lnTo>
                  <a:lnTo>
                    <a:pt x="1015" y="135"/>
                  </a:lnTo>
                  <a:lnTo>
                    <a:pt x="998" y="147"/>
                  </a:lnTo>
                  <a:lnTo>
                    <a:pt x="980" y="156"/>
                  </a:lnTo>
                  <a:lnTo>
                    <a:pt x="959" y="158"/>
                  </a:lnTo>
                  <a:lnTo>
                    <a:pt x="79" y="158"/>
                  </a:lnTo>
                  <a:lnTo>
                    <a:pt x="57" y="156"/>
                  </a:lnTo>
                  <a:lnTo>
                    <a:pt x="39" y="147"/>
                  </a:lnTo>
                  <a:lnTo>
                    <a:pt x="22" y="135"/>
                  </a:lnTo>
                  <a:lnTo>
                    <a:pt x="11" y="119"/>
                  </a:lnTo>
                  <a:lnTo>
                    <a:pt x="2" y="101"/>
                  </a:lnTo>
                  <a:lnTo>
                    <a:pt x="0" y="79"/>
                  </a:lnTo>
                  <a:lnTo>
                    <a:pt x="2" y="59"/>
                  </a:lnTo>
                  <a:lnTo>
                    <a:pt x="11" y="40"/>
                  </a:lnTo>
                  <a:lnTo>
                    <a:pt x="22" y="24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70008B-5C1A-4F4A-B2FB-FC575C58D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920750" y="2593976"/>
              <a:ext cx="134938" cy="41275"/>
            </a:xfrm>
            <a:custGeom>
              <a:avLst/>
              <a:gdLst>
                <a:gd name="T0" fmla="*/ 79 w 510"/>
                <a:gd name="T1" fmla="*/ 0 h 158"/>
                <a:gd name="T2" fmla="*/ 433 w 510"/>
                <a:gd name="T3" fmla="*/ 0 h 158"/>
                <a:gd name="T4" fmla="*/ 453 w 510"/>
                <a:gd name="T5" fmla="*/ 4 h 158"/>
                <a:gd name="T6" fmla="*/ 472 w 510"/>
                <a:gd name="T7" fmla="*/ 11 h 158"/>
                <a:gd name="T8" fmla="*/ 488 w 510"/>
                <a:gd name="T9" fmla="*/ 23 h 158"/>
                <a:gd name="T10" fmla="*/ 500 w 510"/>
                <a:gd name="T11" fmla="*/ 40 h 158"/>
                <a:gd name="T12" fmla="*/ 508 w 510"/>
                <a:gd name="T13" fmla="*/ 58 h 158"/>
                <a:gd name="T14" fmla="*/ 510 w 510"/>
                <a:gd name="T15" fmla="*/ 79 h 158"/>
                <a:gd name="T16" fmla="*/ 508 w 510"/>
                <a:gd name="T17" fmla="*/ 100 h 158"/>
                <a:gd name="T18" fmla="*/ 500 w 510"/>
                <a:gd name="T19" fmla="*/ 119 h 158"/>
                <a:gd name="T20" fmla="*/ 488 w 510"/>
                <a:gd name="T21" fmla="*/ 134 h 158"/>
                <a:gd name="T22" fmla="*/ 472 w 510"/>
                <a:gd name="T23" fmla="*/ 147 h 158"/>
                <a:gd name="T24" fmla="*/ 453 w 510"/>
                <a:gd name="T25" fmla="*/ 155 h 158"/>
                <a:gd name="T26" fmla="*/ 433 w 510"/>
                <a:gd name="T27" fmla="*/ 158 h 158"/>
                <a:gd name="T28" fmla="*/ 79 w 510"/>
                <a:gd name="T29" fmla="*/ 158 h 158"/>
                <a:gd name="T30" fmla="*/ 57 w 510"/>
                <a:gd name="T31" fmla="*/ 155 h 158"/>
                <a:gd name="T32" fmla="*/ 39 w 510"/>
                <a:gd name="T33" fmla="*/ 147 h 158"/>
                <a:gd name="T34" fmla="*/ 22 w 510"/>
                <a:gd name="T35" fmla="*/ 134 h 158"/>
                <a:gd name="T36" fmla="*/ 11 w 510"/>
                <a:gd name="T37" fmla="*/ 119 h 158"/>
                <a:gd name="T38" fmla="*/ 2 w 510"/>
                <a:gd name="T39" fmla="*/ 100 h 158"/>
                <a:gd name="T40" fmla="*/ 0 w 510"/>
                <a:gd name="T41" fmla="*/ 79 h 158"/>
                <a:gd name="T42" fmla="*/ 2 w 510"/>
                <a:gd name="T43" fmla="*/ 58 h 158"/>
                <a:gd name="T44" fmla="*/ 11 w 510"/>
                <a:gd name="T45" fmla="*/ 40 h 158"/>
                <a:gd name="T46" fmla="*/ 22 w 510"/>
                <a:gd name="T47" fmla="*/ 23 h 158"/>
                <a:gd name="T48" fmla="*/ 39 w 510"/>
                <a:gd name="T49" fmla="*/ 11 h 158"/>
                <a:gd name="T50" fmla="*/ 57 w 510"/>
                <a:gd name="T51" fmla="*/ 4 h 158"/>
                <a:gd name="T52" fmla="*/ 79 w 510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0" h="158">
                  <a:moveTo>
                    <a:pt x="79" y="0"/>
                  </a:moveTo>
                  <a:lnTo>
                    <a:pt x="433" y="0"/>
                  </a:lnTo>
                  <a:lnTo>
                    <a:pt x="453" y="4"/>
                  </a:lnTo>
                  <a:lnTo>
                    <a:pt x="472" y="11"/>
                  </a:lnTo>
                  <a:lnTo>
                    <a:pt x="488" y="23"/>
                  </a:lnTo>
                  <a:lnTo>
                    <a:pt x="500" y="40"/>
                  </a:lnTo>
                  <a:lnTo>
                    <a:pt x="508" y="58"/>
                  </a:lnTo>
                  <a:lnTo>
                    <a:pt x="510" y="79"/>
                  </a:lnTo>
                  <a:lnTo>
                    <a:pt x="508" y="100"/>
                  </a:lnTo>
                  <a:lnTo>
                    <a:pt x="500" y="119"/>
                  </a:lnTo>
                  <a:lnTo>
                    <a:pt x="488" y="134"/>
                  </a:lnTo>
                  <a:lnTo>
                    <a:pt x="472" y="147"/>
                  </a:lnTo>
                  <a:lnTo>
                    <a:pt x="453" y="155"/>
                  </a:lnTo>
                  <a:lnTo>
                    <a:pt x="433" y="158"/>
                  </a:lnTo>
                  <a:lnTo>
                    <a:pt x="79" y="158"/>
                  </a:lnTo>
                  <a:lnTo>
                    <a:pt x="57" y="155"/>
                  </a:lnTo>
                  <a:lnTo>
                    <a:pt x="39" y="147"/>
                  </a:lnTo>
                  <a:lnTo>
                    <a:pt x="22" y="134"/>
                  </a:lnTo>
                  <a:lnTo>
                    <a:pt x="11" y="119"/>
                  </a:lnTo>
                  <a:lnTo>
                    <a:pt x="2" y="100"/>
                  </a:lnTo>
                  <a:lnTo>
                    <a:pt x="0" y="79"/>
                  </a:lnTo>
                  <a:lnTo>
                    <a:pt x="2" y="58"/>
                  </a:lnTo>
                  <a:lnTo>
                    <a:pt x="11" y="40"/>
                  </a:lnTo>
                  <a:lnTo>
                    <a:pt x="22" y="23"/>
                  </a:lnTo>
                  <a:lnTo>
                    <a:pt x="39" y="11"/>
                  </a:lnTo>
                  <a:lnTo>
                    <a:pt x="57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739E68F6-5ECA-4191-B9CA-E69922F6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6325" y="2593976"/>
              <a:ext cx="53975" cy="41275"/>
            </a:xfrm>
            <a:custGeom>
              <a:avLst/>
              <a:gdLst>
                <a:gd name="T0" fmla="*/ 79 w 205"/>
                <a:gd name="T1" fmla="*/ 0 h 158"/>
                <a:gd name="T2" fmla="*/ 126 w 205"/>
                <a:gd name="T3" fmla="*/ 0 h 158"/>
                <a:gd name="T4" fmla="*/ 147 w 205"/>
                <a:gd name="T5" fmla="*/ 4 h 158"/>
                <a:gd name="T6" fmla="*/ 165 w 205"/>
                <a:gd name="T7" fmla="*/ 11 h 158"/>
                <a:gd name="T8" fmla="*/ 182 w 205"/>
                <a:gd name="T9" fmla="*/ 23 h 158"/>
                <a:gd name="T10" fmla="*/ 194 w 205"/>
                <a:gd name="T11" fmla="*/ 40 h 158"/>
                <a:gd name="T12" fmla="*/ 202 w 205"/>
                <a:gd name="T13" fmla="*/ 58 h 158"/>
                <a:gd name="T14" fmla="*/ 205 w 205"/>
                <a:gd name="T15" fmla="*/ 79 h 158"/>
                <a:gd name="T16" fmla="*/ 202 w 205"/>
                <a:gd name="T17" fmla="*/ 100 h 158"/>
                <a:gd name="T18" fmla="*/ 194 w 205"/>
                <a:gd name="T19" fmla="*/ 119 h 158"/>
                <a:gd name="T20" fmla="*/ 182 w 205"/>
                <a:gd name="T21" fmla="*/ 134 h 158"/>
                <a:gd name="T22" fmla="*/ 165 w 205"/>
                <a:gd name="T23" fmla="*/ 147 h 158"/>
                <a:gd name="T24" fmla="*/ 147 w 205"/>
                <a:gd name="T25" fmla="*/ 155 h 158"/>
                <a:gd name="T26" fmla="*/ 126 w 205"/>
                <a:gd name="T27" fmla="*/ 158 h 158"/>
                <a:gd name="T28" fmla="*/ 79 w 205"/>
                <a:gd name="T29" fmla="*/ 158 h 158"/>
                <a:gd name="T30" fmla="*/ 58 w 205"/>
                <a:gd name="T31" fmla="*/ 155 h 158"/>
                <a:gd name="T32" fmla="*/ 40 w 205"/>
                <a:gd name="T33" fmla="*/ 147 h 158"/>
                <a:gd name="T34" fmla="*/ 23 w 205"/>
                <a:gd name="T35" fmla="*/ 134 h 158"/>
                <a:gd name="T36" fmla="*/ 11 w 205"/>
                <a:gd name="T37" fmla="*/ 119 h 158"/>
                <a:gd name="T38" fmla="*/ 3 w 205"/>
                <a:gd name="T39" fmla="*/ 100 h 158"/>
                <a:gd name="T40" fmla="*/ 0 w 205"/>
                <a:gd name="T41" fmla="*/ 79 h 158"/>
                <a:gd name="T42" fmla="*/ 3 w 205"/>
                <a:gd name="T43" fmla="*/ 58 h 158"/>
                <a:gd name="T44" fmla="*/ 11 w 205"/>
                <a:gd name="T45" fmla="*/ 40 h 158"/>
                <a:gd name="T46" fmla="*/ 23 w 205"/>
                <a:gd name="T47" fmla="*/ 23 h 158"/>
                <a:gd name="T48" fmla="*/ 40 w 205"/>
                <a:gd name="T49" fmla="*/ 11 h 158"/>
                <a:gd name="T50" fmla="*/ 58 w 205"/>
                <a:gd name="T51" fmla="*/ 4 h 158"/>
                <a:gd name="T52" fmla="*/ 79 w 205"/>
                <a:gd name="T5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158">
                  <a:moveTo>
                    <a:pt x="79" y="0"/>
                  </a:moveTo>
                  <a:lnTo>
                    <a:pt x="126" y="0"/>
                  </a:lnTo>
                  <a:lnTo>
                    <a:pt x="147" y="4"/>
                  </a:lnTo>
                  <a:lnTo>
                    <a:pt x="165" y="11"/>
                  </a:lnTo>
                  <a:lnTo>
                    <a:pt x="182" y="23"/>
                  </a:lnTo>
                  <a:lnTo>
                    <a:pt x="194" y="40"/>
                  </a:lnTo>
                  <a:lnTo>
                    <a:pt x="202" y="58"/>
                  </a:lnTo>
                  <a:lnTo>
                    <a:pt x="205" y="79"/>
                  </a:lnTo>
                  <a:lnTo>
                    <a:pt x="202" y="100"/>
                  </a:lnTo>
                  <a:lnTo>
                    <a:pt x="194" y="119"/>
                  </a:lnTo>
                  <a:lnTo>
                    <a:pt x="182" y="134"/>
                  </a:lnTo>
                  <a:lnTo>
                    <a:pt x="165" y="147"/>
                  </a:lnTo>
                  <a:lnTo>
                    <a:pt x="147" y="155"/>
                  </a:lnTo>
                  <a:lnTo>
                    <a:pt x="126" y="158"/>
                  </a:lnTo>
                  <a:lnTo>
                    <a:pt x="79" y="158"/>
                  </a:lnTo>
                  <a:lnTo>
                    <a:pt x="58" y="155"/>
                  </a:lnTo>
                  <a:lnTo>
                    <a:pt x="40" y="147"/>
                  </a:lnTo>
                  <a:lnTo>
                    <a:pt x="23" y="134"/>
                  </a:lnTo>
                  <a:lnTo>
                    <a:pt x="11" y="119"/>
                  </a:lnTo>
                  <a:lnTo>
                    <a:pt x="3" y="100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8" y="4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27" name="Freeform 15">
            <a:extLst>
              <a:ext uri="{FF2B5EF4-FFF2-40B4-BE49-F238E27FC236}">
                <a16:creationId xmlns:a16="http://schemas.microsoft.com/office/drawing/2014/main" id="{9A2CF8C3-3843-4AED-8169-359DF1A82054}"/>
              </a:ext>
            </a:extLst>
          </p:cNvPr>
          <p:cNvSpPr>
            <a:spLocks noEditPoints="1"/>
          </p:cNvSpPr>
          <p:nvPr/>
        </p:nvSpPr>
        <p:spPr bwMode="gray">
          <a:xfrm>
            <a:off x="6418099" y="5045483"/>
            <a:ext cx="358516" cy="455696"/>
          </a:xfrm>
          <a:custGeom>
            <a:avLst/>
            <a:gdLst>
              <a:gd name="T0" fmla="*/ 202 w 2734"/>
              <a:gd name="T1" fmla="*/ 930 h 3477"/>
              <a:gd name="T2" fmla="*/ 195 w 2734"/>
              <a:gd name="T3" fmla="*/ 3249 h 3477"/>
              <a:gd name="T4" fmla="*/ 243 w 2734"/>
              <a:gd name="T5" fmla="*/ 3284 h 3477"/>
              <a:gd name="T6" fmla="*/ 1303 w 2734"/>
              <a:gd name="T7" fmla="*/ 2971 h 3477"/>
              <a:gd name="T8" fmla="*/ 1363 w 2734"/>
              <a:gd name="T9" fmla="*/ 2844 h 3477"/>
              <a:gd name="T10" fmla="*/ 1478 w 2734"/>
              <a:gd name="T11" fmla="*/ 2773 h 3477"/>
              <a:gd name="T12" fmla="*/ 1825 w 2734"/>
              <a:gd name="T13" fmla="*/ 960 h 3477"/>
              <a:gd name="T14" fmla="*/ 1790 w 2734"/>
              <a:gd name="T15" fmla="*/ 911 h 3477"/>
              <a:gd name="T16" fmla="*/ 602 w 2734"/>
              <a:gd name="T17" fmla="*/ 550 h 3477"/>
              <a:gd name="T18" fmla="*/ 553 w 2734"/>
              <a:gd name="T19" fmla="*/ 585 h 3477"/>
              <a:gd name="T20" fmla="*/ 1814 w 2734"/>
              <a:gd name="T21" fmla="*/ 720 h 3477"/>
              <a:gd name="T22" fmla="*/ 1946 w 2734"/>
              <a:gd name="T23" fmla="*/ 788 h 3477"/>
              <a:gd name="T24" fmla="*/ 2014 w 2734"/>
              <a:gd name="T25" fmla="*/ 921 h 3477"/>
              <a:gd name="T26" fmla="*/ 2012 w 2734"/>
              <a:gd name="T27" fmla="*/ 2898 h 3477"/>
              <a:gd name="T28" fmla="*/ 2132 w 2734"/>
              <a:gd name="T29" fmla="*/ 2925 h 3477"/>
              <a:gd name="T30" fmla="*/ 2181 w 2734"/>
              <a:gd name="T31" fmla="*/ 2890 h 3477"/>
              <a:gd name="T32" fmla="*/ 2173 w 2734"/>
              <a:gd name="T33" fmla="*/ 572 h 3477"/>
              <a:gd name="T34" fmla="*/ 2490 w 2734"/>
              <a:gd name="T35" fmla="*/ 192 h 3477"/>
              <a:gd name="T36" fmla="*/ 919 w 2734"/>
              <a:gd name="T37" fmla="*/ 213 h 3477"/>
              <a:gd name="T38" fmla="*/ 2132 w 2734"/>
              <a:gd name="T39" fmla="*/ 358 h 3477"/>
              <a:gd name="T40" fmla="*/ 2276 w 2734"/>
              <a:gd name="T41" fmla="*/ 405 h 3477"/>
              <a:gd name="T42" fmla="*/ 2363 w 2734"/>
              <a:gd name="T43" fmla="*/ 525 h 3477"/>
              <a:gd name="T44" fmla="*/ 2490 w 2734"/>
              <a:gd name="T45" fmla="*/ 2567 h 3477"/>
              <a:gd name="T46" fmla="*/ 2539 w 2734"/>
              <a:gd name="T47" fmla="*/ 2532 h 3477"/>
              <a:gd name="T48" fmla="*/ 2532 w 2734"/>
              <a:gd name="T49" fmla="*/ 213 h 3477"/>
              <a:gd name="T50" fmla="*/ 960 w 2734"/>
              <a:gd name="T51" fmla="*/ 0 h 3477"/>
              <a:gd name="T52" fmla="*/ 2602 w 2734"/>
              <a:gd name="T53" fmla="*/ 27 h 3477"/>
              <a:gd name="T54" fmla="*/ 2707 w 2734"/>
              <a:gd name="T55" fmla="*/ 131 h 3477"/>
              <a:gd name="T56" fmla="*/ 2734 w 2734"/>
              <a:gd name="T57" fmla="*/ 2516 h 3477"/>
              <a:gd name="T58" fmla="*/ 2687 w 2734"/>
              <a:gd name="T59" fmla="*/ 2660 h 3477"/>
              <a:gd name="T60" fmla="*/ 2568 w 2734"/>
              <a:gd name="T61" fmla="*/ 2747 h 3477"/>
              <a:gd name="T62" fmla="*/ 2376 w 2734"/>
              <a:gd name="T63" fmla="*/ 2875 h 3477"/>
              <a:gd name="T64" fmla="*/ 2329 w 2734"/>
              <a:gd name="T65" fmla="*/ 3018 h 3477"/>
              <a:gd name="T66" fmla="*/ 2209 w 2734"/>
              <a:gd name="T67" fmla="*/ 3105 h 3477"/>
              <a:gd name="T68" fmla="*/ 1520 w 2734"/>
              <a:gd name="T69" fmla="*/ 3394 h 3477"/>
              <a:gd name="T70" fmla="*/ 1393 w 2734"/>
              <a:gd name="T71" fmla="*/ 3467 h 3477"/>
              <a:gd name="T72" fmla="*/ 204 w 2734"/>
              <a:gd name="T73" fmla="*/ 3473 h 3477"/>
              <a:gd name="T74" fmla="*/ 72 w 2734"/>
              <a:gd name="T75" fmla="*/ 3405 h 3477"/>
              <a:gd name="T76" fmla="*/ 3 w 2734"/>
              <a:gd name="T77" fmla="*/ 3272 h 3477"/>
              <a:gd name="T78" fmla="*/ 13 w 2734"/>
              <a:gd name="T79" fmla="*/ 884 h 3477"/>
              <a:gd name="T80" fmla="*/ 99 w 2734"/>
              <a:gd name="T81" fmla="*/ 764 h 3477"/>
              <a:gd name="T82" fmla="*/ 243 w 2734"/>
              <a:gd name="T83" fmla="*/ 716 h 3477"/>
              <a:gd name="T84" fmla="*/ 371 w 2734"/>
              <a:gd name="T85" fmla="*/ 525 h 3477"/>
              <a:gd name="T86" fmla="*/ 458 w 2734"/>
              <a:gd name="T87" fmla="*/ 405 h 3477"/>
              <a:gd name="T88" fmla="*/ 602 w 2734"/>
              <a:gd name="T89" fmla="*/ 358 h 3477"/>
              <a:gd name="T90" fmla="*/ 729 w 2734"/>
              <a:gd name="T91" fmla="*/ 166 h 3477"/>
              <a:gd name="T92" fmla="*/ 816 w 2734"/>
              <a:gd name="T93" fmla="*/ 47 h 3477"/>
              <a:gd name="T94" fmla="*/ 960 w 2734"/>
              <a:gd name="T95" fmla="*/ 0 h 3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34" h="3477">
                <a:moveTo>
                  <a:pt x="243" y="909"/>
                </a:moveTo>
                <a:lnTo>
                  <a:pt x="227" y="911"/>
                </a:lnTo>
                <a:lnTo>
                  <a:pt x="214" y="919"/>
                </a:lnTo>
                <a:lnTo>
                  <a:pt x="202" y="930"/>
                </a:lnTo>
                <a:lnTo>
                  <a:pt x="195" y="944"/>
                </a:lnTo>
                <a:lnTo>
                  <a:pt x="192" y="960"/>
                </a:lnTo>
                <a:lnTo>
                  <a:pt x="192" y="3233"/>
                </a:lnTo>
                <a:lnTo>
                  <a:pt x="195" y="3249"/>
                </a:lnTo>
                <a:lnTo>
                  <a:pt x="202" y="3263"/>
                </a:lnTo>
                <a:lnTo>
                  <a:pt x="214" y="3274"/>
                </a:lnTo>
                <a:lnTo>
                  <a:pt x="227" y="3281"/>
                </a:lnTo>
                <a:lnTo>
                  <a:pt x="243" y="3284"/>
                </a:lnTo>
                <a:lnTo>
                  <a:pt x="1301" y="3284"/>
                </a:lnTo>
                <a:lnTo>
                  <a:pt x="1300" y="3008"/>
                </a:lnTo>
                <a:lnTo>
                  <a:pt x="1300" y="3008"/>
                </a:lnTo>
                <a:lnTo>
                  <a:pt x="1303" y="2971"/>
                </a:lnTo>
                <a:lnTo>
                  <a:pt x="1311" y="2935"/>
                </a:lnTo>
                <a:lnTo>
                  <a:pt x="1324" y="2902"/>
                </a:lnTo>
                <a:lnTo>
                  <a:pt x="1342" y="2871"/>
                </a:lnTo>
                <a:lnTo>
                  <a:pt x="1363" y="2844"/>
                </a:lnTo>
                <a:lnTo>
                  <a:pt x="1388" y="2820"/>
                </a:lnTo>
                <a:lnTo>
                  <a:pt x="1417" y="2799"/>
                </a:lnTo>
                <a:lnTo>
                  <a:pt x="1449" y="2784"/>
                </a:lnTo>
                <a:lnTo>
                  <a:pt x="1478" y="2773"/>
                </a:lnTo>
                <a:lnTo>
                  <a:pt x="1510" y="2767"/>
                </a:lnTo>
                <a:lnTo>
                  <a:pt x="1544" y="2765"/>
                </a:lnTo>
                <a:lnTo>
                  <a:pt x="1825" y="2765"/>
                </a:lnTo>
                <a:lnTo>
                  <a:pt x="1825" y="960"/>
                </a:lnTo>
                <a:lnTo>
                  <a:pt x="1823" y="944"/>
                </a:lnTo>
                <a:lnTo>
                  <a:pt x="1816" y="930"/>
                </a:lnTo>
                <a:lnTo>
                  <a:pt x="1804" y="919"/>
                </a:lnTo>
                <a:lnTo>
                  <a:pt x="1790" y="911"/>
                </a:lnTo>
                <a:lnTo>
                  <a:pt x="1774" y="909"/>
                </a:lnTo>
                <a:lnTo>
                  <a:pt x="243" y="909"/>
                </a:lnTo>
                <a:close/>
                <a:moveTo>
                  <a:pt x="2132" y="550"/>
                </a:moveTo>
                <a:lnTo>
                  <a:pt x="602" y="550"/>
                </a:lnTo>
                <a:lnTo>
                  <a:pt x="586" y="554"/>
                </a:lnTo>
                <a:lnTo>
                  <a:pt x="571" y="560"/>
                </a:lnTo>
                <a:lnTo>
                  <a:pt x="560" y="572"/>
                </a:lnTo>
                <a:lnTo>
                  <a:pt x="553" y="585"/>
                </a:lnTo>
                <a:lnTo>
                  <a:pt x="551" y="601"/>
                </a:lnTo>
                <a:lnTo>
                  <a:pt x="551" y="716"/>
                </a:lnTo>
                <a:lnTo>
                  <a:pt x="1774" y="716"/>
                </a:lnTo>
                <a:lnTo>
                  <a:pt x="1814" y="720"/>
                </a:lnTo>
                <a:lnTo>
                  <a:pt x="1851" y="729"/>
                </a:lnTo>
                <a:lnTo>
                  <a:pt x="1885" y="744"/>
                </a:lnTo>
                <a:lnTo>
                  <a:pt x="1918" y="764"/>
                </a:lnTo>
                <a:lnTo>
                  <a:pt x="1946" y="788"/>
                </a:lnTo>
                <a:lnTo>
                  <a:pt x="1970" y="817"/>
                </a:lnTo>
                <a:lnTo>
                  <a:pt x="1990" y="849"/>
                </a:lnTo>
                <a:lnTo>
                  <a:pt x="2005" y="884"/>
                </a:lnTo>
                <a:lnTo>
                  <a:pt x="2014" y="921"/>
                </a:lnTo>
                <a:lnTo>
                  <a:pt x="2018" y="960"/>
                </a:lnTo>
                <a:lnTo>
                  <a:pt x="2018" y="2861"/>
                </a:lnTo>
                <a:lnTo>
                  <a:pt x="2016" y="2881"/>
                </a:lnTo>
                <a:lnTo>
                  <a:pt x="2012" y="2898"/>
                </a:lnTo>
                <a:lnTo>
                  <a:pt x="2006" y="2910"/>
                </a:lnTo>
                <a:lnTo>
                  <a:pt x="2001" y="2919"/>
                </a:lnTo>
                <a:lnTo>
                  <a:pt x="1994" y="2925"/>
                </a:lnTo>
                <a:lnTo>
                  <a:pt x="2132" y="2925"/>
                </a:lnTo>
                <a:lnTo>
                  <a:pt x="2149" y="2923"/>
                </a:lnTo>
                <a:lnTo>
                  <a:pt x="2163" y="2916"/>
                </a:lnTo>
                <a:lnTo>
                  <a:pt x="2173" y="2904"/>
                </a:lnTo>
                <a:lnTo>
                  <a:pt x="2181" y="2890"/>
                </a:lnTo>
                <a:lnTo>
                  <a:pt x="2184" y="2875"/>
                </a:lnTo>
                <a:lnTo>
                  <a:pt x="2184" y="601"/>
                </a:lnTo>
                <a:lnTo>
                  <a:pt x="2181" y="585"/>
                </a:lnTo>
                <a:lnTo>
                  <a:pt x="2173" y="572"/>
                </a:lnTo>
                <a:lnTo>
                  <a:pt x="2163" y="560"/>
                </a:lnTo>
                <a:lnTo>
                  <a:pt x="2149" y="554"/>
                </a:lnTo>
                <a:lnTo>
                  <a:pt x="2132" y="550"/>
                </a:lnTo>
                <a:close/>
                <a:moveTo>
                  <a:pt x="2490" y="192"/>
                </a:moveTo>
                <a:lnTo>
                  <a:pt x="960" y="192"/>
                </a:lnTo>
                <a:lnTo>
                  <a:pt x="943" y="195"/>
                </a:lnTo>
                <a:lnTo>
                  <a:pt x="929" y="202"/>
                </a:lnTo>
                <a:lnTo>
                  <a:pt x="919" y="213"/>
                </a:lnTo>
                <a:lnTo>
                  <a:pt x="912" y="227"/>
                </a:lnTo>
                <a:lnTo>
                  <a:pt x="909" y="244"/>
                </a:lnTo>
                <a:lnTo>
                  <a:pt x="909" y="358"/>
                </a:lnTo>
                <a:lnTo>
                  <a:pt x="2132" y="358"/>
                </a:lnTo>
                <a:lnTo>
                  <a:pt x="2172" y="361"/>
                </a:lnTo>
                <a:lnTo>
                  <a:pt x="2209" y="371"/>
                </a:lnTo>
                <a:lnTo>
                  <a:pt x="2244" y="385"/>
                </a:lnTo>
                <a:lnTo>
                  <a:pt x="2276" y="405"/>
                </a:lnTo>
                <a:lnTo>
                  <a:pt x="2304" y="430"/>
                </a:lnTo>
                <a:lnTo>
                  <a:pt x="2329" y="458"/>
                </a:lnTo>
                <a:lnTo>
                  <a:pt x="2349" y="490"/>
                </a:lnTo>
                <a:lnTo>
                  <a:pt x="2363" y="525"/>
                </a:lnTo>
                <a:lnTo>
                  <a:pt x="2373" y="562"/>
                </a:lnTo>
                <a:lnTo>
                  <a:pt x="2376" y="601"/>
                </a:lnTo>
                <a:lnTo>
                  <a:pt x="2376" y="2567"/>
                </a:lnTo>
                <a:lnTo>
                  <a:pt x="2490" y="2567"/>
                </a:lnTo>
                <a:lnTo>
                  <a:pt x="2506" y="2565"/>
                </a:lnTo>
                <a:lnTo>
                  <a:pt x="2521" y="2557"/>
                </a:lnTo>
                <a:lnTo>
                  <a:pt x="2532" y="2546"/>
                </a:lnTo>
                <a:lnTo>
                  <a:pt x="2539" y="2532"/>
                </a:lnTo>
                <a:lnTo>
                  <a:pt x="2542" y="2516"/>
                </a:lnTo>
                <a:lnTo>
                  <a:pt x="2542" y="244"/>
                </a:lnTo>
                <a:lnTo>
                  <a:pt x="2539" y="227"/>
                </a:lnTo>
                <a:lnTo>
                  <a:pt x="2532" y="213"/>
                </a:lnTo>
                <a:lnTo>
                  <a:pt x="2521" y="202"/>
                </a:lnTo>
                <a:lnTo>
                  <a:pt x="2506" y="195"/>
                </a:lnTo>
                <a:lnTo>
                  <a:pt x="2490" y="192"/>
                </a:lnTo>
                <a:close/>
                <a:moveTo>
                  <a:pt x="960" y="0"/>
                </a:moveTo>
                <a:lnTo>
                  <a:pt x="2490" y="0"/>
                </a:lnTo>
                <a:lnTo>
                  <a:pt x="2531" y="3"/>
                </a:lnTo>
                <a:lnTo>
                  <a:pt x="2568" y="12"/>
                </a:lnTo>
                <a:lnTo>
                  <a:pt x="2602" y="27"/>
                </a:lnTo>
                <a:lnTo>
                  <a:pt x="2634" y="47"/>
                </a:lnTo>
                <a:lnTo>
                  <a:pt x="2663" y="71"/>
                </a:lnTo>
                <a:lnTo>
                  <a:pt x="2687" y="100"/>
                </a:lnTo>
                <a:lnTo>
                  <a:pt x="2707" y="131"/>
                </a:lnTo>
                <a:lnTo>
                  <a:pt x="2722" y="166"/>
                </a:lnTo>
                <a:lnTo>
                  <a:pt x="2730" y="203"/>
                </a:lnTo>
                <a:lnTo>
                  <a:pt x="2734" y="244"/>
                </a:lnTo>
                <a:lnTo>
                  <a:pt x="2734" y="2516"/>
                </a:lnTo>
                <a:lnTo>
                  <a:pt x="2730" y="2555"/>
                </a:lnTo>
                <a:lnTo>
                  <a:pt x="2722" y="2593"/>
                </a:lnTo>
                <a:lnTo>
                  <a:pt x="2707" y="2628"/>
                </a:lnTo>
                <a:lnTo>
                  <a:pt x="2687" y="2660"/>
                </a:lnTo>
                <a:lnTo>
                  <a:pt x="2663" y="2688"/>
                </a:lnTo>
                <a:lnTo>
                  <a:pt x="2634" y="2713"/>
                </a:lnTo>
                <a:lnTo>
                  <a:pt x="2602" y="2732"/>
                </a:lnTo>
                <a:lnTo>
                  <a:pt x="2568" y="2747"/>
                </a:lnTo>
                <a:lnTo>
                  <a:pt x="2531" y="2756"/>
                </a:lnTo>
                <a:lnTo>
                  <a:pt x="2490" y="2759"/>
                </a:lnTo>
                <a:lnTo>
                  <a:pt x="2376" y="2759"/>
                </a:lnTo>
                <a:lnTo>
                  <a:pt x="2376" y="2875"/>
                </a:lnTo>
                <a:lnTo>
                  <a:pt x="2373" y="2914"/>
                </a:lnTo>
                <a:lnTo>
                  <a:pt x="2363" y="2951"/>
                </a:lnTo>
                <a:lnTo>
                  <a:pt x="2349" y="2986"/>
                </a:lnTo>
                <a:lnTo>
                  <a:pt x="2329" y="3018"/>
                </a:lnTo>
                <a:lnTo>
                  <a:pt x="2304" y="3046"/>
                </a:lnTo>
                <a:lnTo>
                  <a:pt x="2276" y="3070"/>
                </a:lnTo>
                <a:lnTo>
                  <a:pt x="2244" y="3090"/>
                </a:lnTo>
                <a:lnTo>
                  <a:pt x="2209" y="3105"/>
                </a:lnTo>
                <a:lnTo>
                  <a:pt x="2172" y="3115"/>
                </a:lnTo>
                <a:lnTo>
                  <a:pt x="2132" y="3118"/>
                </a:lnTo>
                <a:lnTo>
                  <a:pt x="1798" y="3118"/>
                </a:lnTo>
                <a:lnTo>
                  <a:pt x="1520" y="3394"/>
                </a:lnTo>
                <a:lnTo>
                  <a:pt x="1491" y="3418"/>
                </a:lnTo>
                <a:lnTo>
                  <a:pt x="1460" y="3438"/>
                </a:lnTo>
                <a:lnTo>
                  <a:pt x="1428" y="3454"/>
                </a:lnTo>
                <a:lnTo>
                  <a:pt x="1393" y="3467"/>
                </a:lnTo>
                <a:lnTo>
                  <a:pt x="1356" y="3473"/>
                </a:lnTo>
                <a:lnTo>
                  <a:pt x="1319" y="3477"/>
                </a:lnTo>
                <a:lnTo>
                  <a:pt x="243" y="3477"/>
                </a:lnTo>
                <a:lnTo>
                  <a:pt x="204" y="3473"/>
                </a:lnTo>
                <a:lnTo>
                  <a:pt x="167" y="3464"/>
                </a:lnTo>
                <a:lnTo>
                  <a:pt x="132" y="3449"/>
                </a:lnTo>
                <a:lnTo>
                  <a:pt x="99" y="3429"/>
                </a:lnTo>
                <a:lnTo>
                  <a:pt x="72" y="3405"/>
                </a:lnTo>
                <a:lnTo>
                  <a:pt x="48" y="3376"/>
                </a:lnTo>
                <a:lnTo>
                  <a:pt x="27" y="3344"/>
                </a:lnTo>
                <a:lnTo>
                  <a:pt x="13" y="3309"/>
                </a:lnTo>
                <a:lnTo>
                  <a:pt x="3" y="3272"/>
                </a:lnTo>
                <a:lnTo>
                  <a:pt x="0" y="3233"/>
                </a:lnTo>
                <a:lnTo>
                  <a:pt x="0" y="960"/>
                </a:lnTo>
                <a:lnTo>
                  <a:pt x="3" y="921"/>
                </a:lnTo>
                <a:lnTo>
                  <a:pt x="13" y="884"/>
                </a:lnTo>
                <a:lnTo>
                  <a:pt x="27" y="849"/>
                </a:lnTo>
                <a:lnTo>
                  <a:pt x="48" y="816"/>
                </a:lnTo>
                <a:lnTo>
                  <a:pt x="72" y="788"/>
                </a:lnTo>
                <a:lnTo>
                  <a:pt x="99" y="764"/>
                </a:lnTo>
                <a:lnTo>
                  <a:pt x="132" y="744"/>
                </a:lnTo>
                <a:lnTo>
                  <a:pt x="167" y="729"/>
                </a:lnTo>
                <a:lnTo>
                  <a:pt x="204" y="720"/>
                </a:lnTo>
                <a:lnTo>
                  <a:pt x="243" y="716"/>
                </a:lnTo>
                <a:lnTo>
                  <a:pt x="358" y="716"/>
                </a:lnTo>
                <a:lnTo>
                  <a:pt x="358" y="601"/>
                </a:lnTo>
                <a:lnTo>
                  <a:pt x="362" y="562"/>
                </a:lnTo>
                <a:lnTo>
                  <a:pt x="371" y="525"/>
                </a:lnTo>
                <a:lnTo>
                  <a:pt x="386" y="490"/>
                </a:lnTo>
                <a:lnTo>
                  <a:pt x="405" y="458"/>
                </a:lnTo>
                <a:lnTo>
                  <a:pt x="429" y="430"/>
                </a:lnTo>
                <a:lnTo>
                  <a:pt x="458" y="405"/>
                </a:lnTo>
                <a:lnTo>
                  <a:pt x="490" y="385"/>
                </a:lnTo>
                <a:lnTo>
                  <a:pt x="524" y="371"/>
                </a:lnTo>
                <a:lnTo>
                  <a:pt x="563" y="361"/>
                </a:lnTo>
                <a:lnTo>
                  <a:pt x="602" y="358"/>
                </a:lnTo>
                <a:lnTo>
                  <a:pt x="717" y="358"/>
                </a:lnTo>
                <a:lnTo>
                  <a:pt x="717" y="244"/>
                </a:lnTo>
                <a:lnTo>
                  <a:pt x="720" y="203"/>
                </a:lnTo>
                <a:lnTo>
                  <a:pt x="729" y="166"/>
                </a:lnTo>
                <a:lnTo>
                  <a:pt x="743" y="131"/>
                </a:lnTo>
                <a:lnTo>
                  <a:pt x="763" y="100"/>
                </a:lnTo>
                <a:lnTo>
                  <a:pt x="788" y="71"/>
                </a:lnTo>
                <a:lnTo>
                  <a:pt x="816" y="47"/>
                </a:lnTo>
                <a:lnTo>
                  <a:pt x="848" y="27"/>
                </a:lnTo>
                <a:lnTo>
                  <a:pt x="883" y="12"/>
                </a:lnTo>
                <a:lnTo>
                  <a:pt x="921" y="3"/>
                </a:lnTo>
                <a:lnTo>
                  <a:pt x="96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Freeform 78">
            <a:extLst>
              <a:ext uri="{FF2B5EF4-FFF2-40B4-BE49-F238E27FC236}">
                <a16:creationId xmlns:a16="http://schemas.microsoft.com/office/drawing/2014/main" id="{E5404A4D-20D8-41EC-B357-59567882F64B}"/>
              </a:ext>
            </a:extLst>
          </p:cNvPr>
          <p:cNvSpPr>
            <a:spLocks noEditPoints="1"/>
          </p:cNvSpPr>
          <p:nvPr/>
        </p:nvSpPr>
        <p:spPr bwMode="gray">
          <a:xfrm>
            <a:off x="4379465" y="3454380"/>
            <a:ext cx="377572" cy="429071"/>
          </a:xfrm>
          <a:custGeom>
            <a:avLst/>
            <a:gdLst>
              <a:gd name="T0" fmla="*/ 7 w 739"/>
              <a:gd name="T1" fmla="*/ 744 h 842"/>
              <a:gd name="T2" fmla="*/ 34 w 739"/>
              <a:gd name="T3" fmla="*/ 751 h 842"/>
              <a:gd name="T4" fmla="*/ 140 w 739"/>
              <a:gd name="T5" fmla="*/ 717 h 842"/>
              <a:gd name="T6" fmla="*/ 171 w 739"/>
              <a:gd name="T7" fmla="*/ 824 h 842"/>
              <a:gd name="T8" fmla="*/ 192 w 739"/>
              <a:gd name="T9" fmla="*/ 842 h 842"/>
              <a:gd name="T10" fmla="*/ 195 w 739"/>
              <a:gd name="T11" fmla="*/ 842 h 842"/>
              <a:gd name="T12" fmla="*/ 217 w 739"/>
              <a:gd name="T13" fmla="*/ 829 h 842"/>
              <a:gd name="T14" fmla="*/ 346 w 739"/>
              <a:gd name="T15" fmla="*/ 588 h 842"/>
              <a:gd name="T16" fmla="*/ 373 w 739"/>
              <a:gd name="T17" fmla="*/ 589 h 842"/>
              <a:gd name="T18" fmla="*/ 393 w 739"/>
              <a:gd name="T19" fmla="*/ 588 h 842"/>
              <a:gd name="T20" fmla="*/ 521 w 739"/>
              <a:gd name="T21" fmla="*/ 829 h 842"/>
              <a:gd name="T22" fmla="*/ 543 w 739"/>
              <a:gd name="T23" fmla="*/ 842 h 842"/>
              <a:gd name="T24" fmla="*/ 546 w 739"/>
              <a:gd name="T25" fmla="*/ 842 h 842"/>
              <a:gd name="T26" fmla="*/ 568 w 739"/>
              <a:gd name="T27" fmla="*/ 824 h 842"/>
              <a:gd name="T28" fmla="*/ 598 w 739"/>
              <a:gd name="T29" fmla="*/ 717 h 842"/>
              <a:gd name="T30" fmla="*/ 704 w 739"/>
              <a:gd name="T31" fmla="*/ 751 h 842"/>
              <a:gd name="T32" fmla="*/ 731 w 739"/>
              <a:gd name="T33" fmla="*/ 744 h 842"/>
              <a:gd name="T34" fmla="*/ 734 w 739"/>
              <a:gd name="T35" fmla="*/ 716 h 842"/>
              <a:gd name="T36" fmla="*/ 606 w 739"/>
              <a:gd name="T37" fmla="*/ 475 h 842"/>
              <a:gd name="T38" fmla="*/ 667 w 739"/>
              <a:gd name="T39" fmla="*/ 295 h 842"/>
              <a:gd name="T40" fmla="*/ 373 w 739"/>
              <a:gd name="T41" fmla="*/ 0 h 842"/>
              <a:gd name="T42" fmla="*/ 78 w 739"/>
              <a:gd name="T43" fmla="*/ 295 h 842"/>
              <a:gd name="T44" fmla="*/ 136 w 739"/>
              <a:gd name="T45" fmla="*/ 469 h 842"/>
              <a:gd name="T46" fmla="*/ 4 w 739"/>
              <a:gd name="T47" fmla="*/ 716 h 842"/>
              <a:gd name="T48" fmla="*/ 7 w 739"/>
              <a:gd name="T49" fmla="*/ 744 h 842"/>
              <a:gd name="T50" fmla="*/ 594 w 739"/>
              <a:gd name="T51" fmla="*/ 663 h 842"/>
              <a:gd name="T52" fmla="*/ 574 w 739"/>
              <a:gd name="T53" fmla="*/ 665 h 842"/>
              <a:gd name="T54" fmla="*/ 568 w 739"/>
              <a:gd name="T55" fmla="*/ 668 h 842"/>
              <a:gd name="T56" fmla="*/ 556 w 739"/>
              <a:gd name="T57" fmla="*/ 683 h 842"/>
              <a:gd name="T58" fmla="*/ 536 w 739"/>
              <a:gd name="T59" fmla="*/ 751 h 842"/>
              <a:gd name="T60" fmla="*/ 445 w 739"/>
              <a:gd name="T61" fmla="*/ 580 h 842"/>
              <a:gd name="T62" fmla="*/ 570 w 739"/>
              <a:gd name="T63" fmla="*/ 514 h 842"/>
              <a:gd name="T64" fmla="*/ 661 w 739"/>
              <a:gd name="T65" fmla="*/ 685 h 842"/>
              <a:gd name="T66" fmla="*/ 594 w 739"/>
              <a:gd name="T67" fmla="*/ 663 h 842"/>
              <a:gd name="T68" fmla="*/ 373 w 739"/>
              <a:gd name="T69" fmla="*/ 50 h 842"/>
              <a:gd name="T70" fmla="*/ 617 w 739"/>
              <a:gd name="T71" fmla="*/ 295 h 842"/>
              <a:gd name="T72" fmla="*/ 373 w 739"/>
              <a:gd name="T73" fmla="*/ 539 h 842"/>
              <a:gd name="T74" fmla="*/ 128 w 739"/>
              <a:gd name="T75" fmla="*/ 295 h 842"/>
              <a:gd name="T76" fmla="*/ 373 w 739"/>
              <a:gd name="T77" fmla="*/ 50 h 842"/>
              <a:gd name="T78" fmla="*/ 171 w 739"/>
              <a:gd name="T79" fmla="*/ 509 h 842"/>
              <a:gd name="T80" fmla="*/ 294 w 739"/>
              <a:gd name="T81" fmla="*/ 578 h 842"/>
              <a:gd name="T82" fmla="*/ 202 w 739"/>
              <a:gd name="T83" fmla="*/ 751 h 842"/>
              <a:gd name="T84" fmla="*/ 183 w 739"/>
              <a:gd name="T85" fmla="*/ 683 h 842"/>
              <a:gd name="T86" fmla="*/ 171 w 739"/>
              <a:gd name="T87" fmla="*/ 668 h 842"/>
              <a:gd name="T88" fmla="*/ 165 w 739"/>
              <a:gd name="T89" fmla="*/ 665 h 842"/>
              <a:gd name="T90" fmla="*/ 145 w 739"/>
              <a:gd name="T91" fmla="*/ 663 h 842"/>
              <a:gd name="T92" fmla="*/ 78 w 739"/>
              <a:gd name="T93" fmla="*/ 685 h 842"/>
              <a:gd name="T94" fmla="*/ 171 w 739"/>
              <a:gd name="T95" fmla="*/ 509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9" h="842">
                <a:moveTo>
                  <a:pt x="7" y="744"/>
                </a:moveTo>
                <a:cubicBezTo>
                  <a:pt x="14" y="751"/>
                  <a:pt x="24" y="754"/>
                  <a:pt x="34" y="751"/>
                </a:cubicBezTo>
                <a:lnTo>
                  <a:pt x="140" y="717"/>
                </a:lnTo>
                <a:lnTo>
                  <a:pt x="171" y="824"/>
                </a:lnTo>
                <a:cubicBezTo>
                  <a:pt x="174" y="834"/>
                  <a:pt x="182" y="841"/>
                  <a:pt x="192" y="842"/>
                </a:cubicBezTo>
                <a:cubicBezTo>
                  <a:pt x="193" y="842"/>
                  <a:pt x="194" y="842"/>
                  <a:pt x="195" y="842"/>
                </a:cubicBezTo>
                <a:cubicBezTo>
                  <a:pt x="204" y="842"/>
                  <a:pt x="213" y="837"/>
                  <a:pt x="217" y="829"/>
                </a:cubicBezTo>
                <a:lnTo>
                  <a:pt x="346" y="588"/>
                </a:lnTo>
                <a:cubicBezTo>
                  <a:pt x="355" y="589"/>
                  <a:pt x="364" y="589"/>
                  <a:pt x="373" y="589"/>
                </a:cubicBezTo>
                <a:cubicBezTo>
                  <a:pt x="380" y="589"/>
                  <a:pt x="386" y="589"/>
                  <a:pt x="393" y="588"/>
                </a:cubicBezTo>
                <a:lnTo>
                  <a:pt x="521" y="829"/>
                </a:lnTo>
                <a:cubicBezTo>
                  <a:pt x="526" y="837"/>
                  <a:pt x="534" y="842"/>
                  <a:pt x="543" y="842"/>
                </a:cubicBezTo>
                <a:cubicBezTo>
                  <a:pt x="544" y="842"/>
                  <a:pt x="545" y="842"/>
                  <a:pt x="546" y="842"/>
                </a:cubicBezTo>
                <a:cubicBezTo>
                  <a:pt x="556" y="841"/>
                  <a:pt x="565" y="834"/>
                  <a:pt x="568" y="824"/>
                </a:cubicBezTo>
                <a:lnTo>
                  <a:pt x="598" y="717"/>
                </a:lnTo>
                <a:lnTo>
                  <a:pt x="704" y="751"/>
                </a:lnTo>
                <a:cubicBezTo>
                  <a:pt x="714" y="754"/>
                  <a:pt x="725" y="751"/>
                  <a:pt x="731" y="744"/>
                </a:cubicBezTo>
                <a:cubicBezTo>
                  <a:pt x="738" y="736"/>
                  <a:pt x="739" y="725"/>
                  <a:pt x="734" y="716"/>
                </a:cubicBezTo>
                <a:lnTo>
                  <a:pt x="606" y="475"/>
                </a:lnTo>
                <a:cubicBezTo>
                  <a:pt x="644" y="425"/>
                  <a:pt x="667" y="362"/>
                  <a:pt x="667" y="295"/>
                </a:cubicBezTo>
                <a:cubicBezTo>
                  <a:pt x="667" y="132"/>
                  <a:pt x="535" y="0"/>
                  <a:pt x="373" y="0"/>
                </a:cubicBezTo>
                <a:cubicBezTo>
                  <a:pt x="210" y="0"/>
                  <a:pt x="78" y="132"/>
                  <a:pt x="78" y="295"/>
                </a:cubicBezTo>
                <a:cubicBezTo>
                  <a:pt x="78" y="360"/>
                  <a:pt x="100" y="421"/>
                  <a:pt x="136" y="469"/>
                </a:cubicBezTo>
                <a:lnTo>
                  <a:pt x="4" y="716"/>
                </a:lnTo>
                <a:cubicBezTo>
                  <a:pt x="0" y="725"/>
                  <a:pt x="1" y="736"/>
                  <a:pt x="7" y="744"/>
                </a:cubicBezTo>
                <a:close/>
                <a:moveTo>
                  <a:pt x="594" y="663"/>
                </a:moveTo>
                <a:cubicBezTo>
                  <a:pt x="587" y="661"/>
                  <a:pt x="580" y="661"/>
                  <a:pt x="574" y="665"/>
                </a:cubicBezTo>
                <a:lnTo>
                  <a:pt x="568" y="668"/>
                </a:lnTo>
                <a:cubicBezTo>
                  <a:pt x="562" y="671"/>
                  <a:pt x="558" y="676"/>
                  <a:pt x="556" y="683"/>
                </a:cubicBezTo>
                <a:lnTo>
                  <a:pt x="536" y="751"/>
                </a:lnTo>
                <a:lnTo>
                  <a:pt x="445" y="580"/>
                </a:lnTo>
                <a:cubicBezTo>
                  <a:pt x="492" y="568"/>
                  <a:pt x="535" y="545"/>
                  <a:pt x="570" y="514"/>
                </a:cubicBezTo>
                <a:lnTo>
                  <a:pt x="661" y="685"/>
                </a:lnTo>
                <a:lnTo>
                  <a:pt x="594" y="663"/>
                </a:lnTo>
                <a:close/>
                <a:moveTo>
                  <a:pt x="373" y="50"/>
                </a:moveTo>
                <a:cubicBezTo>
                  <a:pt x="508" y="50"/>
                  <a:pt x="617" y="160"/>
                  <a:pt x="617" y="295"/>
                </a:cubicBezTo>
                <a:cubicBezTo>
                  <a:pt x="617" y="429"/>
                  <a:pt x="508" y="539"/>
                  <a:pt x="373" y="539"/>
                </a:cubicBezTo>
                <a:cubicBezTo>
                  <a:pt x="238" y="539"/>
                  <a:pt x="128" y="429"/>
                  <a:pt x="128" y="295"/>
                </a:cubicBezTo>
                <a:cubicBezTo>
                  <a:pt x="128" y="160"/>
                  <a:pt x="238" y="50"/>
                  <a:pt x="373" y="50"/>
                </a:cubicBezTo>
                <a:close/>
                <a:moveTo>
                  <a:pt x="171" y="509"/>
                </a:moveTo>
                <a:cubicBezTo>
                  <a:pt x="206" y="541"/>
                  <a:pt x="248" y="566"/>
                  <a:pt x="294" y="578"/>
                </a:cubicBezTo>
                <a:lnTo>
                  <a:pt x="202" y="751"/>
                </a:lnTo>
                <a:lnTo>
                  <a:pt x="183" y="683"/>
                </a:lnTo>
                <a:cubicBezTo>
                  <a:pt x="181" y="676"/>
                  <a:pt x="176" y="671"/>
                  <a:pt x="171" y="668"/>
                </a:cubicBezTo>
                <a:lnTo>
                  <a:pt x="165" y="665"/>
                </a:lnTo>
                <a:cubicBezTo>
                  <a:pt x="159" y="661"/>
                  <a:pt x="151" y="661"/>
                  <a:pt x="145" y="663"/>
                </a:cubicBezTo>
                <a:lnTo>
                  <a:pt x="78" y="685"/>
                </a:lnTo>
                <a:lnTo>
                  <a:pt x="171" y="5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82">
            <a:extLst>
              <a:ext uri="{FF2B5EF4-FFF2-40B4-BE49-F238E27FC236}">
                <a16:creationId xmlns:a16="http://schemas.microsoft.com/office/drawing/2014/main" id="{57B40158-F319-4D5A-B764-3BA2AC869B7C}"/>
              </a:ext>
            </a:extLst>
          </p:cNvPr>
          <p:cNvSpPr txBox="1">
            <a:spLocks/>
          </p:cNvSpPr>
          <p:nvPr/>
        </p:nvSpPr>
        <p:spPr bwMode="gray">
          <a:xfrm>
            <a:off x="132424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73" name="Rectangle: Rounded Corners 81">
            <a:extLst>
              <a:ext uri="{FF2B5EF4-FFF2-40B4-BE49-F238E27FC236}">
                <a16:creationId xmlns:a16="http://schemas.microsoft.com/office/drawing/2014/main" id="{A8F676BD-4EF8-4CCB-AFCF-D30AC3A8C451}"/>
              </a:ext>
            </a:extLst>
          </p:cNvPr>
          <p:cNvSpPr>
            <a:spLocks/>
          </p:cNvSpPr>
          <p:nvPr/>
        </p:nvSpPr>
        <p:spPr bwMode="gray">
          <a:xfrm>
            <a:off x="635025" y="1594401"/>
            <a:ext cx="533430" cy="5334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71" name="Rectangle: Rounded Corners 85">
            <a:extLst>
              <a:ext uri="{FF2B5EF4-FFF2-40B4-BE49-F238E27FC236}">
                <a16:creationId xmlns:a16="http://schemas.microsoft.com/office/drawing/2014/main" id="{C59F953E-51E6-4DAE-AEB4-F649B0C4C759}"/>
              </a:ext>
            </a:extLst>
          </p:cNvPr>
          <p:cNvSpPr>
            <a:spLocks/>
          </p:cNvSpPr>
          <p:nvPr/>
        </p:nvSpPr>
        <p:spPr bwMode="gray">
          <a:xfrm>
            <a:off x="623888" y="2973418"/>
            <a:ext cx="533430" cy="5334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69" name="Rectangle: Rounded Corners 89">
            <a:extLst>
              <a:ext uri="{FF2B5EF4-FFF2-40B4-BE49-F238E27FC236}">
                <a16:creationId xmlns:a16="http://schemas.microsoft.com/office/drawing/2014/main" id="{E4CFEA97-BBDD-4482-A028-2CDFBDAA5DAB}"/>
              </a:ext>
            </a:extLst>
          </p:cNvPr>
          <p:cNvSpPr>
            <a:spLocks/>
          </p:cNvSpPr>
          <p:nvPr/>
        </p:nvSpPr>
        <p:spPr bwMode="gray">
          <a:xfrm>
            <a:off x="628586" y="4370618"/>
            <a:ext cx="533430" cy="5334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67" name="TextBox 82">
            <a:extLst>
              <a:ext uri="{FF2B5EF4-FFF2-40B4-BE49-F238E27FC236}">
                <a16:creationId xmlns:a16="http://schemas.microsoft.com/office/drawing/2014/main" id="{E26FA82A-4D7A-4E5A-9B98-A0FA62F3809A}"/>
              </a:ext>
            </a:extLst>
          </p:cNvPr>
          <p:cNvSpPr txBox="1">
            <a:spLocks/>
          </p:cNvSpPr>
          <p:nvPr/>
        </p:nvSpPr>
        <p:spPr bwMode="gray">
          <a:xfrm>
            <a:off x="132424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8" name="TextBox 82">
            <a:extLst>
              <a:ext uri="{FF2B5EF4-FFF2-40B4-BE49-F238E27FC236}">
                <a16:creationId xmlns:a16="http://schemas.microsoft.com/office/drawing/2014/main" id="{A6BFA0A2-8673-42D4-9DE1-131721832115}"/>
              </a:ext>
            </a:extLst>
          </p:cNvPr>
          <p:cNvSpPr txBox="1">
            <a:spLocks/>
          </p:cNvSpPr>
          <p:nvPr/>
        </p:nvSpPr>
        <p:spPr bwMode="gray">
          <a:xfrm>
            <a:off x="132424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6" name="Rectangle: Rounded Corners 99">
            <a:extLst>
              <a:ext uri="{FF2B5EF4-FFF2-40B4-BE49-F238E27FC236}">
                <a16:creationId xmlns:a16="http://schemas.microsoft.com/office/drawing/2014/main" id="{D041819E-8803-4FE5-9DAC-64BA4C1B3A89}"/>
              </a:ext>
            </a:extLst>
          </p:cNvPr>
          <p:cNvSpPr>
            <a:spLocks/>
          </p:cNvSpPr>
          <p:nvPr/>
        </p:nvSpPr>
        <p:spPr bwMode="gray">
          <a:xfrm>
            <a:off x="10923364" y="1594401"/>
            <a:ext cx="533430" cy="533430"/>
          </a:xfrm>
          <a:prstGeom prst="rect">
            <a:avLst/>
          </a:prstGeom>
          <a:solidFill>
            <a:srgbClr val="F25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</a:t>
            </a:r>
          </a:p>
        </p:txBody>
      </p:sp>
      <p:sp>
        <p:nvSpPr>
          <p:cNvPr id="84" name="Rectangle: Rounded Corners 101">
            <a:extLst>
              <a:ext uri="{FF2B5EF4-FFF2-40B4-BE49-F238E27FC236}">
                <a16:creationId xmlns:a16="http://schemas.microsoft.com/office/drawing/2014/main" id="{9F1FCAFC-C0AE-4D80-953E-DDDB0A92390A}"/>
              </a:ext>
            </a:extLst>
          </p:cNvPr>
          <p:cNvSpPr>
            <a:spLocks/>
          </p:cNvSpPr>
          <p:nvPr/>
        </p:nvSpPr>
        <p:spPr bwMode="gray">
          <a:xfrm>
            <a:off x="10923364" y="2973418"/>
            <a:ext cx="533430" cy="533430"/>
          </a:xfrm>
          <a:prstGeom prst="rect">
            <a:avLst/>
          </a:prstGeom>
          <a:solidFill>
            <a:srgbClr val="CA3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</a:t>
            </a:r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27D9B7EC-C776-4EC5-9F0E-3A57CC749915}"/>
              </a:ext>
            </a:extLst>
          </p:cNvPr>
          <p:cNvSpPr>
            <a:spLocks/>
          </p:cNvSpPr>
          <p:nvPr/>
        </p:nvSpPr>
        <p:spPr bwMode="gray">
          <a:xfrm>
            <a:off x="10923364" y="4370618"/>
            <a:ext cx="533430" cy="533430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</a:p>
        </p:txBody>
      </p:sp>
      <p:sp>
        <p:nvSpPr>
          <p:cNvPr id="79" name="TextBox 82">
            <a:extLst>
              <a:ext uri="{FF2B5EF4-FFF2-40B4-BE49-F238E27FC236}">
                <a16:creationId xmlns:a16="http://schemas.microsoft.com/office/drawing/2014/main" id="{F839AF4F-3127-4C69-99AE-E05D65E15D84}"/>
              </a:ext>
            </a:extLst>
          </p:cNvPr>
          <p:cNvSpPr txBox="1">
            <a:spLocks/>
          </p:cNvSpPr>
          <p:nvPr/>
        </p:nvSpPr>
        <p:spPr bwMode="gray">
          <a:xfrm>
            <a:off x="8385174" y="1746801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algn="r"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0" name="TextBox 82">
            <a:extLst>
              <a:ext uri="{FF2B5EF4-FFF2-40B4-BE49-F238E27FC236}">
                <a16:creationId xmlns:a16="http://schemas.microsoft.com/office/drawing/2014/main" id="{AB23440F-328D-4644-85E1-86C8E4AA93A4}"/>
              </a:ext>
            </a:extLst>
          </p:cNvPr>
          <p:cNvSpPr txBox="1">
            <a:spLocks/>
          </p:cNvSpPr>
          <p:nvPr/>
        </p:nvSpPr>
        <p:spPr bwMode="gray">
          <a:xfrm>
            <a:off x="8385174" y="45230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81" name="TextBox 82">
            <a:extLst>
              <a:ext uri="{FF2B5EF4-FFF2-40B4-BE49-F238E27FC236}">
                <a16:creationId xmlns:a16="http://schemas.microsoft.com/office/drawing/2014/main" id="{18911ADB-819B-4C79-9651-7170135B301D}"/>
              </a:ext>
            </a:extLst>
          </p:cNvPr>
          <p:cNvSpPr txBox="1">
            <a:spLocks/>
          </p:cNvSpPr>
          <p:nvPr/>
        </p:nvSpPr>
        <p:spPr bwMode="gray">
          <a:xfrm>
            <a:off x="8385174" y="3125818"/>
            <a:ext cx="2374486" cy="780589"/>
          </a:xfrm>
          <a:prstGeom prst="rect">
            <a:avLst/>
          </a:prstGeom>
          <a:noFill/>
        </p:spPr>
        <p:txBody>
          <a:bodyPr wrap="square" lIns="0" tIns="0" rIns="0" bIns="72000" rtlCol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latin typeface="+mj-lt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6ECE-A2FA-4CF6-965F-DC31B6CDAEE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08915446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248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31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6A2C4E3-E5CD-4337-B0C4-DB8AB38DF50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1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8FD8CB8D-573F-4370-B80E-C02CCB62AB1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1828426"/>
              </p:ext>
            </p:extLst>
          </p:nvPr>
        </p:nvGraphicFramePr>
        <p:xfrm>
          <a:off x="793750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01675" y="2214563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300629-47A5-4D53-A859-EA90F4191ACE}" type="datetime'''''''''''''''''''6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03263" y="27781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CE36BC-57C2-4D50-A055-AFDA34303D5D}" type="datetime'''''''''''''''5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4850" y="334168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04953F-50C6-4B13-84B7-0EF4FEC36568}" type="datetime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1675" y="39052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0B2100-89E7-401F-A276-4587A61161FF}" type="datetime'''''''''''''3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00089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BBA1A3-93B6-47B7-A706-F6F3E2E0F999}" type="datetime'''''''''''''''''''''''''''''''''''0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250" y="503237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559941-B910-491E-AC8F-B0EDBA196785}" type="datetime'''''''''''1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04850" y="4468813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402BBA-8407-4DC0-B9E3-028558A1B88D}" type="datetime'2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16B8543D-0701-44F0-A84E-EA50D509FC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13313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27F7B0-A37B-4F01-AF4C-4631FE4E011F}" type="datetime'''''''''''''K''at''''e''''go''r''''''''''''i''''''e ''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85863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852FFB-B3B4-4C0C-87E6-FF56B05497B0}" type="datetime'''K''a''''''''''''''t''''''eg''''or''''i''''''''e ''1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2A508A67-15E8-4ED6-869A-7040B40345B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4209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0952E0-775D-4679-B124-E630D1291430}" type="datetime'''''K''''at''''''''''''ego''''r''''''''''i''''''''e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FC70F816-7FD4-4B4A-A5F9-6917D4E4A4D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65538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D0516-4849-4BFF-9675-B11255966D6A}" type="datetime'''''K''''''''''''a''te''''''''''''''''''''''g''''or''ie'' 3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23DC956-A5AA-4C93-BFB0-C0E08AB9FA0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F2E34A0-BD21-49C1-9465-F66F4B9E3BF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80365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9EAEF6E-6D7B-4ACA-8538-689F0240006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04800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58286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A665E3-52C6-4BD3-B2E4-AEE005EC45F0}" type="datetime'''''''S''''''e''''r''''''''''i''''''''''''''''''''e'' ''1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311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257C4-20D6-46E7-AFAD-D7C6D69F02C8}" type="datetime'''S''''''e''''r''''''''''''i''''''''''''''''''e ''''''2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5C62E4B-BD3A-4048-AD66-01B34AE4AB6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9362C2-EA60-4135-BD93-55C017E15D62}" type="datetime'''''''''''''''''Ser''i''''''''''''''''e'' ''''''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DF59C2C-75DF-4F6F-9630-4E0945983EB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31159739"/>
              </p:ext>
            </p:extLst>
          </p:nvPr>
        </p:nvGraphicFramePr>
        <p:xfrm>
          <a:off x="6391275" y="2222500"/>
          <a:ext cx="5151438" cy="354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57925" y="2214564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FAB161-C0C2-4A1B-A5CC-788AAE5A1D33}" type="datetime'1''''''''''''''''''''4''''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25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261100" y="2697163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206E80-8F15-4087-8630-85E460943C57}" type="datetime'''''''1''''''''''''''''''''''''''''''''''''''''''''2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3D999BC3-3CD2-4617-B2D0-B417C9C5B7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97613" y="5595938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314CC9-10F0-4653-BDF1-B7E94BBEC1CF}" type="datetime'''''''''''''''''''''''''''''''''''''0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4068E70D-0FC1-4E07-BEF6-F7DB2253D60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99200" y="41465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BF253F-8971-49EC-9889-A2CD1322A9A1}" type="datetime'''''''''''''''''''''6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24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53163" y="3181350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096950-90AD-4525-8455-BF45C383C1AA}" type="datetime'1''''''''''''''''''''''''''''''''''''''''''0''''''''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221" name="Textplatzhalter 2">
            <a:extLst>
              <a:ext uri="{FF2B5EF4-FFF2-40B4-BE49-F238E27FC236}">
                <a16:creationId xmlns:a16="http://schemas.microsoft.com/office/drawing/2014/main" id="{EC1383FC-1DFD-4EC7-ABAD-54572B29C76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02375" y="5113338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9A3A5D-3B3E-4458-9119-9A8B9CD3F3E0}" type="datetime'''''''''''''''''''''''''''''''''2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227" name="Textplatzhalter 2">
            <a:extLst>
              <a:ext uri="{FF2B5EF4-FFF2-40B4-BE49-F238E27FC236}">
                <a16:creationId xmlns:a16="http://schemas.microsoft.com/office/drawing/2014/main" id="{1776142C-7FD7-43B1-AEFB-AEA12B16B90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02375" y="46291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E46EB7-42D1-4B1F-A1DE-C91666425786}" type="datetime'''''''''''''''''''4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24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97613" y="366395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0E62D4-8849-4056-8E3C-268D15D90160}" type="datetime'''''''''''''''''''''''''''''8'''''">
              <a:rPr lang="de-DE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752138" y="25082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6250E-037F-4D61-A141-F06ECA5008C7}" type="datetime'''''''''''''1''''''''''''''''''''''''''''''2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0" name="Textplatzhalter 2">
            <a:extLst>
              <a:ext uri="{FF2B5EF4-FFF2-40B4-BE49-F238E27FC236}">
                <a16:creationId xmlns:a16="http://schemas.microsoft.com/office/drawing/2014/main" id="{EFC3294E-4B9E-410D-B092-9B0A5CA8F3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263063" y="5737225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937D3D-6726-4F3D-88DC-8C78CE43F9A6}" type="datetime'''''''''Ka''t''e''''''''''gor''''ie'''''''' ''''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228" name="Textplatzhalter 2">
            <a:extLst>
              <a:ext uri="{FF2B5EF4-FFF2-40B4-BE49-F238E27FC236}">
                <a16:creationId xmlns:a16="http://schemas.microsoft.com/office/drawing/2014/main" id="{29F5C749-01FD-4FE9-9498-DCAA41A4494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783388" y="5737225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377A46-F152-44C8-AA9E-F6D5095DA2CA}" type="datetime'''''''''''''''K''''a''teg''''or''i''''e ''''''''''''1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229" name="Textplatzhalter 2">
            <a:extLst>
              <a:ext uri="{FF2B5EF4-FFF2-40B4-BE49-F238E27FC236}">
                <a16:creationId xmlns:a16="http://schemas.microsoft.com/office/drawing/2014/main" id="{790EEE9D-EAEF-4E6F-8B13-BD51401151B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16875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0D8703-253E-46DA-9ABE-067687BBDD15}" type="datetime'Ka''''''''''te''g''o''''''''r''''''''''i''''e'''' 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231" name="Textplatzhalter 2">
            <a:extLst>
              <a:ext uri="{FF2B5EF4-FFF2-40B4-BE49-F238E27FC236}">
                <a16:creationId xmlns:a16="http://schemas.microsoft.com/office/drawing/2014/main" id="{E1CA1F54-04AB-4307-BB05-C9E758941A8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10838" y="5737225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CB685-5BE8-4297-ADB1-139467DD071E}" type="datetime'''K''''at''e''''''''''''g''''or''i''''''e'''''''''''''''' 4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24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035800" y="3376613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BC52C-4C8A-4EB1-B7FE-7541FC0C4417}" type="datetime'''''''''''''''''''''''''''''''''''9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281988" y="33289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61EFBE-12A1-4FE4-8A5C-CDC705B1C4A3}" type="datetime'''''''''''''''9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4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529763" y="347345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C1562-5154-4500-B024-1570B4D3EFFD}" type="datetime'''''8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5F6AADD6-CBA7-42E0-A176-BB28F7A15AB1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886700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E64BC130-48B8-403A-9B8F-71F2E329CB6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616950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044E6BD0-1CBF-4671-B957-6A81E35965A9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36" name="Textplatzhalter 2">
            <a:extLst>
              <a:ext uri="{FF2B5EF4-FFF2-40B4-BE49-F238E27FC236}">
                <a16:creationId xmlns:a16="http://schemas.microsoft.com/office/drawing/2014/main" id="{A19C8CCF-E446-4551-8D4B-0945E7CBF29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79712B-370B-4286-AE3B-A29111800C68}" type="datetime'S''''''''''''''e''r''''''''''''''''''ie'' ''''''''''''''''1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35" name="Textplatzhalter 2">
            <a:extLst>
              <a:ext uri="{FF2B5EF4-FFF2-40B4-BE49-F238E27FC236}">
                <a16:creationId xmlns:a16="http://schemas.microsoft.com/office/drawing/2014/main" id="{6B3064BA-B571-4DC2-BB7F-C60CEF8B5B1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6F2F0-E9DB-4143-A4BE-2F30474C0CC5}" type="datetime'''''S''''''''''e''r''''i''''''''''''''''''''e ''''3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237" name="Textplatzhalter 2">
            <a:extLst>
              <a:ext uri="{FF2B5EF4-FFF2-40B4-BE49-F238E27FC236}">
                <a16:creationId xmlns:a16="http://schemas.microsoft.com/office/drawing/2014/main" id="{B18D93D6-56A8-41DB-A4F6-7E763D2C5B1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AE6459-B70E-4C13-AB6E-D8095AD8901B}" type="datetime'''''''''''''S''''''e''''''rie'''''''''''''''''' ''2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D668826-2A50-42D5-A11B-597BF4D780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290749354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74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5" name="think-cell Folie" r:id="rId46" imgW="306" imgH="306" progId="TCLayout.ActiveDocument.1">
                  <p:embed/>
                </p:oleObj>
              </mc:Choice>
              <mc:Fallback>
                <p:oleObj name="think-cell Folie" r:id="rId4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35D4BEE-5E9D-4727-A111-CA121E4E8F3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2</a:t>
            </a:fld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6" name="Chart 3">
            <a:extLst>
              <a:ext uri="{FF2B5EF4-FFF2-40B4-BE49-F238E27FC236}">
                <a16:creationId xmlns:a16="http://schemas.microsoft.com/office/drawing/2014/main" id="{567DA9FA-AE54-446C-890B-D9B752C7A0B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1825503"/>
              </p:ext>
            </p:extLst>
          </p:nvPr>
        </p:nvGraphicFramePr>
        <p:xfrm>
          <a:off x="1384300" y="2260600"/>
          <a:ext cx="4560888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78050" y="5740400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44690A-1FC7-4C69-9BA0-8E054B51CF4A}" type="datetime'''''''''''''''''''''''''''1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12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30339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827FED-8BDE-4460-8083-258274D576C8}" type="datetime'''''''''''''''''''''''''''''''''''''''''''''''''''''''''0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9718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29DE4-F827-4D91-85EE-EF8809C70706}" type="datetime'''''''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290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4DCD14-612A-47CA-965E-D5F7EF087E2B}" type="datetime'''''''''''''''''''''''''''''''''''''3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95875" y="5740400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E3E742-4A93-4B7F-BBE6-2461202263A6}" type="datetime'''''''''''''''''''5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3624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180EA7-85C2-460F-B007-0A2437FF8BEF}" type="datetime'''''''''''''''''''''''''4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826125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B2835A-9313-4804-8C9F-5A5018E4D803}" type="datetime'''''''''''6''''''''''''''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0889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D318D1-F0C4-4C59-BF2B-296B053FB708}" type="datetime'''''''Kat''''e''''''''g''''''o''''ri''''e'''''''''''' ''''1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5488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E5278D-7B11-4135-AE5A-77E782A907B1}" type="datetime'Kat''e''''g''o''r''i''''''''''e'' ''''''2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2313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C7E82B-1315-426B-946A-D244E3F478B0}" type="datetime'K''a''''te''''g''o''''''''r''i''''''e'''''' ''3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EDFC8E4B-BBB5-4F3D-B12F-30641A07BB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5488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253316-AA44-4DDE-9244-FE95DF1CC4CE}" type="datetime'''''''''K''''a''t''''''''''e''go''''''r''''''ie ''''4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70F54D3E-0924-4A1A-BB63-6CA4CFDED81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1775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A44F63C-F94D-4FE0-896A-7A6F1A28803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4800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271B4BF-3CAD-4537-9121-5D879FD3D03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80365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1311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BA4B72-B82D-468A-AF51-D1590BFB76A6}" type="datetime'''''''''''''''''''''S''e''''r''ie'''''' ''''''2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58286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FFD899-D654-4120-83B5-0379B87655FE}" type="datetime'''''''Ser''''''''''''''''''''''i''e'' ''''''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1D2B0292-EC8D-4EDC-AA63-08919669A6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6876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D1305B-3295-4227-9DE1-06E3BA48A80F}" type="datetime'''''''''S''e''''r''''''i''''''''e'' ''''''''''''''''''3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270066A-2A30-412F-8AC0-929B14DF81B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55707787"/>
              </p:ext>
            </p:extLst>
          </p:nvPr>
        </p:nvGraphicFramePr>
        <p:xfrm>
          <a:off x="6981825" y="2260600"/>
          <a:ext cx="4435475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5225" y="5740401"/>
            <a:ext cx="119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A8839-7915-4CBA-ACCB-62FCD968757F}" type="datetime'''''''''''''''''''''''''''''''''''''''''''''''1''''''''0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de-DE" sz="1200" dirty="0"/>
          </a:p>
        </p:txBody>
      </p:sp>
      <p:sp>
        <p:nvSpPr>
          <p:cNvPr id="158" name="Textplatzhalter 2">
            <a:extLst>
              <a:ext uri="{FF2B5EF4-FFF2-40B4-BE49-F238E27FC236}">
                <a16:creationId xmlns:a16="http://schemas.microsoft.com/office/drawing/2014/main" id="{7DFCAEED-2530-45FF-AC00-3C5D4E217B3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27863" y="57404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C0AA0E-1676-4F5D-80DE-457D267D1AB2}" type="datetime'0''''''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160" name="Textplatzhalter 2">
            <a:extLst>
              <a:ext uri="{FF2B5EF4-FFF2-40B4-BE49-F238E27FC236}">
                <a16:creationId xmlns:a16="http://schemas.microsoft.com/office/drawing/2014/main" id="{74829EF9-E6C2-4A26-8149-B952FA5449F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639050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34F20-B35B-4479-B393-E7E898098A8B}" type="datetime'''''''''''''''''''''''''''''2''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157" name="Textplatzhalter 2">
            <a:extLst>
              <a:ext uri="{FF2B5EF4-FFF2-40B4-BE49-F238E27FC236}">
                <a16:creationId xmlns:a16="http://schemas.microsoft.com/office/drawing/2014/main" id="{F3BC3716-085D-463E-9EE3-6E7139BF719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250238" y="57404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9E38E-9E33-4EE2-A88B-1BD74E646C0C}" type="datetime'''''''''''''''''''''''''''''''4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163" name="Textplatzhalter 2">
            <a:extLst>
              <a:ext uri="{FF2B5EF4-FFF2-40B4-BE49-F238E27FC236}">
                <a16:creationId xmlns:a16="http://schemas.microsoft.com/office/drawing/2014/main" id="{11070FBA-41B8-4F05-9333-CFEC8670AB3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858250" y="574040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08AC1A-CCB5-4A53-BE9A-EAB70045D8A0}" type="datetime'''''6''''''''''''''''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277600" y="5740401"/>
            <a:ext cx="114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5F83BE-33DF-4FBB-ABBC-35F65C5A1D8A}" type="datetime'''''''''''''14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e-DE" sz="1200" dirty="0"/>
          </a:p>
        </p:txBody>
      </p:sp>
      <p:sp>
        <p:nvSpPr>
          <p:cNvPr id="182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467850" y="5740401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1496F0-A65D-4767-A859-1A4AD4499C10}" type="datetime'''''''''''''''''''''''''''''''''''8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/>
          </a:p>
        </p:txBody>
      </p:sp>
      <p:sp>
        <p:nvSpPr>
          <p:cNvPr id="18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669588" y="5740401"/>
            <a:ext cx="111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B4F3E7-9A7B-4BA0-8AF2-1B6B62AEB82F}" type="datetime'''''''''''''''1''''''''''''''''''2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/>
          </a:p>
        </p:txBody>
      </p:sp>
      <p:sp>
        <p:nvSpPr>
          <p:cNvPr id="164" name="Textplatzhalter 2">
            <a:extLst>
              <a:ext uri="{FF2B5EF4-FFF2-40B4-BE49-F238E27FC236}">
                <a16:creationId xmlns:a16="http://schemas.microsoft.com/office/drawing/2014/main" id="{FD587CE2-7A7C-4E2E-A2FA-45915E75BC7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348413" y="2670175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18969E-B416-4A95-B8BC-C525C2063114}" type="datetime'''K''''''a''te''''g''o''''''''ri''''e'''' ''''''1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166" name="Textplatzhalter 2">
            <a:extLst>
              <a:ext uri="{FF2B5EF4-FFF2-40B4-BE49-F238E27FC236}">
                <a16:creationId xmlns:a16="http://schemas.microsoft.com/office/drawing/2014/main" id="{2034F66D-AE2E-4964-86F0-54113EB7C62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23013" y="3506788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400772-EE5E-4A78-888E-E29ADC843A66}" type="datetime'''''''''''Ka''''''''''''''t''''''e''''''g''''''''orie ''''''2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165" name="Textplatzhalter 2">
            <a:extLst>
              <a:ext uri="{FF2B5EF4-FFF2-40B4-BE49-F238E27FC236}">
                <a16:creationId xmlns:a16="http://schemas.microsoft.com/office/drawing/2014/main" id="{9DB47F4F-31DC-43EF-9525-212662630F3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9838" y="4343400"/>
            <a:ext cx="642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2ADBF9-BB83-4335-8DDA-82BFC2DFFB16}" type="datetime'''Kateg''o''''''''r''i''''''e'''''''''' ''''''3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167" name="Textplatzhalter 2">
            <a:extLst>
              <a:ext uri="{FF2B5EF4-FFF2-40B4-BE49-F238E27FC236}">
                <a16:creationId xmlns:a16="http://schemas.microsoft.com/office/drawing/2014/main" id="{05102BB0-4C57-450A-A65D-89C9284953F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23013" y="5180013"/>
            <a:ext cx="639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9253F5-0971-4C64-863C-9E6A8DE217FE}" type="datetime'''''''''''''K''''a''''''te''gor''i''''''e ''''''''''''''4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sp>
        <p:nvSpPr>
          <p:cNvPr id="1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744075" y="2670175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4A2501-FFC3-4479-9EDF-3B8BE777583F}" type="datetime'''''''''''''''''''''''''''''''9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804400" y="3506788"/>
            <a:ext cx="122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865413-08DF-44D9-83F6-5059CC551F45}" type="datetime'''''''9''''''''''''''''''''''''''''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621838" y="4343400"/>
            <a:ext cx="12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40C62-DCE1-45C4-B04E-E4C7119394AF}" type="datetime'''''''''''''''''''''''''''''''8''''''''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80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841038" y="518001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CFA072-5B2C-49BF-914B-A65EB4DD2971}" type="datetime'''''''''''''''''''''''''''1''2'''''''">
              <a:rPr lang="de-DE" altLang="en-US" sz="1200" smtClean="0">
                <a:effectLst/>
                <a:latin typeface="+mj-lt"/>
                <a:ea typeface="+mj-ea"/>
                <a:cs typeface="+mj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e-DE" sz="1200" dirty="0">
              <a:latin typeface="+mj-lt"/>
              <a:ea typeface="+mj-ea"/>
              <a:cs typeface="+mj-cs"/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DB692AF6-BC4D-4180-A8AC-78F2DE0ACB9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616950" y="60737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AA53B0AB-0437-47A9-A389-7BCF152DA7E6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886700" y="6073775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6CBBE703-12E4-4B00-B9D2-1ACAC924ECC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372600" y="60737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71" name="Textplatzhalter 2">
            <a:extLst>
              <a:ext uri="{FF2B5EF4-FFF2-40B4-BE49-F238E27FC236}">
                <a16:creationId xmlns:a16="http://schemas.microsoft.com/office/drawing/2014/main" id="{9289745B-76B1-40D0-B8C3-03B1084E8E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51813" y="6069013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51F6A2-24D7-4FEE-9461-886F4E01E021}" type="datetime'S''''e''''r''''''''''''''''''i''e'''''''''' ''1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173" name="Textplatzhalter 2">
            <a:extLst>
              <a:ext uri="{FF2B5EF4-FFF2-40B4-BE49-F238E27FC236}">
                <a16:creationId xmlns:a16="http://schemas.microsoft.com/office/drawing/2014/main" id="{0EB97237-D06E-4D56-A8F5-43CC03D9194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37713" y="606901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2C7678-6515-40DF-AB6B-B80F0C22E7CB}" type="datetime'''''''S''e''ri''''''''''e'''''''''''''''' ''''3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6CA3E6D4-F3A8-4E35-BFA2-6968E3D51D3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82063" y="6069013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C7412E-9A0B-4514-B65F-96DDCEB33F11}" type="datetime'''''''S''''''''''''''e''r''''''''''''''i''''''''''e'''''' 2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6571CAE-10AB-49F8-A02C-01BAB6E21C4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32555398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16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79" name="think-cell Folie" r:id="rId34" imgW="306" imgH="306" progId="TCLayout.ActiveDocument.1">
                  <p:embed/>
                </p:oleObj>
              </mc:Choice>
              <mc:Fallback>
                <p:oleObj name="think-cell Folie" r:id="rId3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inkc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6D75591-0AE9-4435-8203-ACBCE70146AE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3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7408183D-F987-440E-8573-DC3D6D9C11A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1154370"/>
              </p:ext>
            </p:extLst>
          </p:nvPr>
        </p:nvGraphicFramePr>
        <p:xfrm>
          <a:off x="1755775" y="26193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097337" y="4271963"/>
            <a:ext cx="5603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11A28-37C5-4C74-9E83-F2F508229B08}" type="datetime'''57.''''4''''''''''''''''''''''%''''''''''''''''''''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.4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24050" y="4411663"/>
            <a:ext cx="576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03F5A-1C83-4145-8AE3-3C25C3BB1856}" type="datetime'''''23''.''''''''6''''''''''''''''''''''%'''">
              <a:rPr lang="de-DE" altLang="en-US" sz="1600" smtClean="0"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.6%</a:t>
            </a:fld>
            <a:endParaRPr lang="de-DE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32038" y="3041650"/>
            <a:ext cx="5556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A01F27-70E9-4D47-A89A-157A3D48E053}" type="datetime'''1''''''''''9''''''''''.''''''''''''0''''''''''''''''''%'''">
              <a:rPr lang="de-DE" altLang="en-US" sz="1600" smtClean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%</a:t>
            </a:fld>
            <a:endParaRPr lang="de-DE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5D41AAF-C3A4-489E-B143-F250E8C49FD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12988" y="607218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E224F4B-2D12-4660-B4DE-73CE6FFE9D0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43238" y="607218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9719DA8-0483-4261-9BCE-3DB8D6B75D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98888" y="607218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8350" y="6067425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296019-55D8-4607-86A2-997DE3E7933D}" type="datetime'S''''''''e''''''r''''i''''''''''''''e'' ''''''2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78100" y="60674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720E3C-23FB-422F-B484-488A832E7544}" type="datetime'''''''S''''''''''''er''i''e'''''' 1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64000" y="6067425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965B34-F9B3-4169-88EE-EFC5ABE78599}" type="datetime'S''''e''''''''''ri''e'''''''''''''''''''''''''''' ''''''3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3</a:t>
            </a:fld>
            <a:endParaRPr lang="de-DE" sz="1200" dirty="0"/>
          </a:p>
        </p:txBody>
      </p:sp>
      <p:graphicFrame>
        <p:nvGraphicFramePr>
          <p:cNvPr id="45" name="Chart 3">
            <a:extLst>
              <a:ext uri="{FF2B5EF4-FFF2-40B4-BE49-F238E27FC236}">
                <a16:creationId xmlns:a16="http://schemas.microsoft.com/office/drawing/2014/main" id="{9F10EF74-A23C-42DD-8984-6A2710223A0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91968239"/>
              </p:ext>
            </p:extLst>
          </p:nvPr>
        </p:nvGraphicFramePr>
        <p:xfrm>
          <a:off x="6473825" y="2300288"/>
          <a:ext cx="4687888" cy="346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2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83338" y="2841625"/>
            <a:ext cx="71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BEB9EB-3A36-4267-BC16-BF596D4F2A97}" type="datetime'''''''''''''''''''5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e-DE" sz="1200" dirty="0"/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84925" y="448945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9B0E47-AF06-45D3-BC88-22A061750A55}" type="datetime'''''''''''2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80163" y="5588000"/>
            <a:ext cx="7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656CA0-36F2-43F5-8105-58F42E8B5EFC}" type="datetime'''''0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e-DE" sz="1200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410325" y="5038725"/>
            <a:ext cx="44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408A8E-E011-497D-AB30-E4FFF45ADCE5}" type="datetime'''''''''''''1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de-DE" sz="1200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84925" y="3390900"/>
            <a:ext cx="69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467240-127F-4077-9BDE-8EC7DFDC6954}" type="datetime'''''''''''''''''''''''''''''''''''''''''''''''''''''''''''4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381751" y="3940175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BCBB64-1386-45A4-9FC8-C8AF391D84DA}" type="datetime'''''''3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81750" y="2292350"/>
            <a:ext cx="73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D2BB75-9FA0-4A14-93EC-1275BD394579}" type="datetime'''''''''6'''''''''''''''''''''''''''''''''''''''''''''''">
              <a:rPr lang="de-DE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de-DE" sz="1200" dirty="0"/>
          </a:p>
        </p:txBody>
      </p:sp>
      <p:sp useBgFill="1">
        <p:nvSpPr>
          <p:cNvPr id="1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594475" y="4122738"/>
            <a:ext cx="1143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33E009-6197-4A1C-A432-9D8364ECA4BD}" type="datetime'''''''''2''''''''''''''''''''''''''''''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83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43639" y="5729288"/>
            <a:ext cx="627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498D4F-8DF3-412E-B87A-C2FE5D69A126}" type="datetime'''K''a''''te''''''''g''''''o''''r''i''''''''e'''''''''' ''1'''">
              <a:rPr lang="de-DE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1</a:t>
            </a:fld>
            <a:endParaRPr lang="de-DE" sz="1200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35B9145E-B87B-42A3-A2EC-27B08264315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39063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A061D-C963-4AAC-88D2-AA15952B23FA}" type="datetime'''K''''at''e''''''''''''''''''g''''o''r''i''e ''''2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2</a:t>
            </a:fld>
            <a:endParaRPr lang="de-DE" sz="1200" dirty="0"/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86A09554-438F-4A9C-B61A-D1D9F579C45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244013" y="5729288"/>
            <a:ext cx="655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CAF5C-D6CA-4E37-B72F-9703C65C21B6}" type="datetime'''''''K''''''''a''''t''''egor''''i''''''e'''' ''''''''''3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3</a:t>
            </a:fld>
            <a:endParaRPr lang="de-DE" sz="1200" dirty="0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C439E97B-7C04-4F6F-8C17-0377F071BC4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753725" y="5729288"/>
            <a:ext cx="65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6105FF-28D3-416B-957D-2D901139A9DE}" type="datetime'''''K''a''''t''e''''g''''''''''or''''i''''e'''''' 4'''''''">
              <a:rPr lang="de-DE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tegorie 4</a:t>
            </a:fld>
            <a:endParaRPr lang="de-DE" sz="12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2789A01-94C4-40A3-83B9-D253A0010D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44550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9B1521FF-AD8D-4B59-BFC0-EC34073A02F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7152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889F777-71F1-45EF-912E-14200CD9880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9201150" y="6149975"/>
            <a:ext cx="2143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80363" y="6065838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D2C9F5-12FB-4BB3-B7AC-E0FB2D687554}" type="datetime'''Se''''''''''''''''''r''''''''''ie 1''''''''''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1</a:t>
            </a:fld>
            <a:endParaRPr lang="de-DE" sz="1200" dirty="0"/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ED34F90-646C-43C1-A3BA-F129F466D71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10613" y="6065838"/>
            <a:ext cx="388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89C5F3-4C75-494B-9CA9-95365145FA84}" type="datetime'''''''S''''''''''''''''er''''''''i''''e'' ''''''''2'''''''''">
              <a:rPr lang="de-DE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 2</a:t>
            </a:fld>
            <a:endParaRPr lang="de-DE" sz="1200" dirty="0"/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E1CE4F5-D0DF-4F35-A507-7B085664273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466263" y="6065838"/>
            <a:ext cx="282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9BEC7B-0A01-4BF6-B80B-AAE1BE27C401}" type="datetime'''''''''''''''''''''''''''S''''e''r''''''''''''''''''ie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3ECFBD-DE6F-44B4-8196-0EB4818A20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12741467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66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1/3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91A8CC-ED59-4D8A-805A-6DE8673B59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3B2A8BE-E951-4C34-A4AC-5799106DE74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4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Säul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Säulendiagram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E9B30116-F8EA-4F96-A918-7BD6D0069B9D}"/>
              </a:ext>
            </a:extLst>
          </p:cNvPr>
          <p:cNvGraphicFramePr/>
          <p:nvPr/>
        </p:nvGraphicFramePr>
        <p:xfrm>
          <a:off x="623888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FB5CD770-D55B-4C4A-B336-372D03495F41}"/>
              </a:ext>
            </a:extLst>
          </p:cNvPr>
          <p:cNvGraphicFramePr/>
          <p:nvPr/>
        </p:nvGraphicFramePr>
        <p:xfrm>
          <a:off x="6222027" y="2214952"/>
          <a:ext cx="5238136" cy="409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E68E0A-EA08-4EE4-A34C-76018661B8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88317906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003A82-BBE5-4C2D-BDC0-27899C24EE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54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D003A82-BBE5-4C2D-BDC0-27899C24E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6224F92-A7F1-4629-AFFE-E5CF5C6F82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2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3FB4030-2088-4919-93DE-503FD2A2C5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421A7E-59B0-476B-A40E-4041223EC512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66FA54E-D6AA-40CE-A746-D10DF9AFAA8B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3869B4-BF67-4474-B222-F32846BF40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5</a:t>
            </a:fld>
            <a:endParaRPr lang="de-DE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04515C48-F5FC-4CFB-8D61-54B8208B7430}"/>
              </a:ext>
            </a:extLst>
          </p:cNvPr>
          <p:cNvGraphicFramePr/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Diagramm 13">
            <a:extLst>
              <a:ext uri="{FF2B5EF4-FFF2-40B4-BE49-F238E27FC236}">
                <a16:creationId xmlns:a16="http://schemas.microsoft.com/office/drawing/2014/main" id="{ABFF03E2-2659-4244-9EA7-ED8AC25039CB}"/>
              </a:ext>
            </a:extLst>
          </p:cNvPr>
          <p:cNvGraphicFramePr/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253EECF-16D4-42E6-BEA4-26EE6017D7B2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FFD444F-8FCF-4805-A12D-BE4EBFB6C7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estapeltes Balken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49E92A-84A3-405B-8B1F-A393F7819D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0D5C07-84FE-422D-AFEE-610563E7452C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8E5805C-EB94-4E75-8B49-BF44A33D7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Gruppiertes Balkendiagram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91E326B-DAA7-4418-956B-395D7076AF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522B7A-2179-4CA5-836B-A2C797EC59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112647080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619616A-7A68-4364-9CE0-01499E8FA6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648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619616A-7A68-4364-9CE0-01499E8FA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88047D-6751-46F5-8BA8-30271CD35E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iagramme (3/3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5F034B-666D-4BC7-B99A-0D33FF79F8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FFE0CA-DCD4-47A9-82C8-D64C93052FD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A7672E8-247B-474E-B365-7597C9480AD1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99C0C0-EA7E-451C-BB3F-7ECCA3DBF2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6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6607B7-AD29-4F3E-BF59-88074B1CA2F4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8880565" y="1869262"/>
            <a:chExt cx="2579597" cy="372897"/>
          </a:xfrm>
        </p:grpSpPr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B408A6-9591-4E06-9996-14AB290456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iniendiagramm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F042968-5796-4F4A-B746-71F96A58EE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322FB45-AB36-4AC7-9FA4-4D1E48F4317E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4406CF2-6275-4FAF-8C95-EFFD602D98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Kreisdiagramm</a:t>
              </a: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29A8385-3020-49C6-9A54-80760BB918C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5B7B9990-7F9B-476B-B5AA-4C5C03426204}"/>
              </a:ext>
            </a:extLst>
          </p:cNvPr>
          <p:cNvGraphicFramePr>
            <a:graphicFrameLocks/>
          </p:cNvGraphicFramePr>
          <p:nvPr/>
        </p:nvGraphicFramePr>
        <p:xfrm>
          <a:off x="623888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B859E2CF-916B-4A02-A351-3B508F7F210F}"/>
              </a:ext>
            </a:extLst>
          </p:cNvPr>
          <p:cNvGraphicFramePr>
            <a:graphicFrameLocks/>
          </p:cNvGraphicFramePr>
          <p:nvPr/>
        </p:nvGraphicFramePr>
        <p:xfrm>
          <a:off x="6222027" y="2214948"/>
          <a:ext cx="5238136" cy="4093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525E3FE-D6AB-457D-825C-12198F50CF5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27555223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99B6BD-BFC6-4ED6-801B-8C781A7538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70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D99B6BD-BFC6-4ED6-801B-8C781A753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C6FF552-F6FD-4AE4-87C1-2B44E7CFE68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Organigram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9BA887-754A-4EFC-A75C-8D0746174EA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395C858-5AC1-4BF0-89C5-D34019B724A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3DE6DC-3092-42C5-AFD9-07DEA6178C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7</a:t>
            </a:fld>
            <a:endParaRPr lang="de-DE" dirty="0"/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6C2502B0-714C-40DE-A8EE-148C999AE574}"/>
              </a:ext>
            </a:extLst>
          </p:cNvPr>
          <p:cNvCxnSpPr>
            <a:stCxn id="26" idx="2"/>
            <a:endCxn id="39" idx="0"/>
          </p:cNvCxnSpPr>
          <p:nvPr/>
        </p:nvCxnSpPr>
        <p:spPr bwMode="gray">
          <a:xfrm rot="5400000">
            <a:off x="4386510" y="1002143"/>
            <a:ext cx="507423" cy="279755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363841A5-8948-4BED-9B93-BBE5D28D6076}"/>
              </a:ext>
            </a:extLst>
          </p:cNvPr>
          <p:cNvCxnSpPr>
            <a:stCxn id="26" idx="2"/>
            <a:endCxn id="40" idx="0"/>
          </p:cNvCxnSpPr>
          <p:nvPr/>
        </p:nvCxnSpPr>
        <p:spPr bwMode="gray">
          <a:xfrm rot="16200000" flipH="1">
            <a:off x="7184065" y="1002142"/>
            <a:ext cx="507423" cy="2797556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ADCA2402-8C62-4E07-86A7-F79672DC3AEE}"/>
              </a:ext>
            </a:extLst>
          </p:cNvPr>
          <p:cNvCxnSpPr>
            <a:cxnSpLocks/>
            <a:stCxn id="40" idx="2"/>
            <a:endCxn id="36" idx="0"/>
          </p:cNvCxnSpPr>
          <p:nvPr/>
        </p:nvCxnSpPr>
        <p:spPr bwMode="gray">
          <a:xfrm rot="16200000" flipH="1">
            <a:off x="9283745" y="2762386"/>
            <a:ext cx="507422" cy="1401805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F5B5CE22-0190-40EC-999E-55CDAD227E1D}"/>
              </a:ext>
            </a:extLst>
          </p:cNvPr>
          <p:cNvCxnSpPr>
            <a:stCxn id="40" idx="2"/>
            <a:endCxn id="33" idx="0"/>
          </p:cNvCxnSpPr>
          <p:nvPr/>
        </p:nvCxnSpPr>
        <p:spPr bwMode="gray">
          <a:xfrm rot="5400000">
            <a:off x="7883454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672578DA-7C33-4A11-BA15-90530D37BD8B}"/>
              </a:ext>
            </a:extLst>
          </p:cNvPr>
          <p:cNvCxnSpPr>
            <a:stCxn id="39" idx="2"/>
            <a:endCxn id="30" idx="0"/>
          </p:cNvCxnSpPr>
          <p:nvPr/>
        </p:nvCxnSpPr>
        <p:spPr bwMode="gray">
          <a:xfrm rot="16200000" flipH="1">
            <a:off x="3687120" y="2763900"/>
            <a:ext cx="507422" cy="1398777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:a16="http://schemas.microsoft.com/office/drawing/2014/main" id="{9D342B27-18C5-484D-B944-A38EEDB06119}"/>
              </a:ext>
            </a:extLst>
          </p:cNvPr>
          <p:cNvCxnSpPr>
            <a:stCxn id="39" idx="2"/>
            <a:endCxn id="27" idx="0"/>
          </p:cNvCxnSpPr>
          <p:nvPr/>
        </p:nvCxnSpPr>
        <p:spPr bwMode="gray">
          <a:xfrm rot="5400000">
            <a:off x="2288343" y="2763900"/>
            <a:ext cx="507422" cy="1398778"/>
          </a:xfrm>
          <a:prstGeom prst="bentConnector3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F34547A8-0BD0-4995-8A58-42535F95DE81}"/>
              </a:ext>
            </a:extLst>
          </p:cNvPr>
          <p:cNvCxnSpPr>
            <a:stCxn id="27" idx="2"/>
            <a:endCxn id="28" idx="1"/>
          </p:cNvCxnSpPr>
          <p:nvPr/>
        </p:nvCxnSpPr>
        <p:spPr bwMode="gray">
          <a:xfrm rot="5400000">
            <a:off x="1064839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83EDF7E9-8916-4522-ACF8-3ED84D7E46EE}"/>
              </a:ext>
            </a:extLst>
          </p:cNvPr>
          <p:cNvCxnSpPr>
            <a:stCxn id="30" idx="2"/>
            <a:endCxn id="31" idx="1"/>
          </p:cNvCxnSpPr>
          <p:nvPr/>
        </p:nvCxnSpPr>
        <p:spPr bwMode="gray">
          <a:xfrm rot="5400000">
            <a:off x="3862394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Verbinder: gewinkelt 67">
            <a:extLst>
              <a:ext uri="{FF2B5EF4-FFF2-40B4-BE49-F238E27FC236}">
                <a16:creationId xmlns:a16="http://schemas.microsoft.com/office/drawing/2014/main" id="{7D637D1B-C008-4AEB-A299-1DD35B2FAB24}"/>
              </a:ext>
            </a:extLst>
          </p:cNvPr>
          <p:cNvCxnSpPr>
            <a:stCxn id="33" idx="2"/>
            <a:endCxn id="34" idx="1"/>
          </p:cNvCxnSpPr>
          <p:nvPr/>
        </p:nvCxnSpPr>
        <p:spPr bwMode="gray">
          <a:xfrm rot="5400000">
            <a:off x="6659950" y="4351340"/>
            <a:ext cx="857221" cy="698433"/>
          </a:xfrm>
          <a:prstGeom prst="bentConnector4">
            <a:avLst>
              <a:gd name="adj1" fmla="val 35287"/>
              <a:gd name="adj2" fmla="val 13273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Verbinder: gewinkelt 71">
            <a:extLst>
              <a:ext uri="{FF2B5EF4-FFF2-40B4-BE49-F238E27FC236}">
                <a16:creationId xmlns:a16="http://schemas.microsoft.com/office/drawing/2014/main" id="{9B5CD50E-50E9-4200-B7DA-7AD0F0634761}"/>
              </a:ext>
            </a:extLst>
          </p:cNvPr>
          <p:cNvCxnSpPr>
            <a:cxnSpLocks/>
            <a:stCxn id="36" idx="2"/>
            <a:endCxn id="37" idx="1"/>
          </p:cNvCxnSpPr>
          <p:nvPr/>
        </p:nvCxnSpPr>
        <p:spPr bwMode="gray">
          <a:xfrm rot="5400000">
            <a:off x="9440669" y="4331476"/>
            <a:ext cx="857221" cy="738160"/>
          </a:xfrm>
          <a:prstGeom prst="bentConnector4">
            <a:avLst>
              <a:gd name="adj1" fmla="val 35287"/>
              <a:gd name="adj2" fmla="val 13096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B7BFA2F-116D-481F-A7D5-B87FA190055E}"/>
              </a:ext>
            </a:extLst>
          </p:cNvPr>
          <p:cNvSpPr>
            <a:spLocks/>
          </p:cNvSpPr>
          <p:nvPr/>
        </p:nvSpPr>
        <p:spPr bwMode="gray">
          <a:xfrm>
            <a:off x="4820220" y="1592263"/>
            <a:ext cx="2437555" cy="5549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latin typeface="+mj-lt"/>
              </a:rPr>
              <a:t>Lorem ips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7E9EB83-3BA8-44BF-8712-5571F624CB40}"/>
              </a:ext>
            </a:extLst>
          </p:cNvPr>
          <p:cNvSpPr>
            <a:spLocks/>
          </p:cNvSpPr>
          <p:nvPr/>
        </p:nvSpPr>
        <p:spPr bwMode="gray">
          <a:xfrm>
            <a:off x="623887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B56BF54-EE17-4F1B-9928-538FC27D4434}"/>
              </a:ext>
            </a:extLst>
          </p:cNvPr>
          <p:cNvSpPr>
            <a:spLocks/>
          </p:cNvSpPr>
          <p:nvPr/>
        </p:nvSpPr>
        <p:spPr bwMode="gray">
          <a:xfrm>
            <a:off x="1144232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93744C5-D4B0-429F-855B-DC4A7ED6FD2D}"/>
              </a:ext>
            </a:extLst>
          </p:cNvPr>
          <p:cNvSpPr>
            <a:spLocks/>
          </p:cNvSpPr>
          <p:nvPr/>
        </p:nvSpPr>
        <p:spPr bwMode="gray">
          <a:xfrm>
            <a:off x="1143049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224A2F2-38FB-4212-8F64-630C011A24BC}"/>
              </a:ext>
            </a:extLst>
          </p:cNvPr>
          <p:cNvSpPr>
            <a:spLocks/>
          </p:cNvSpPr>
          <p:nvPr/>
        </p:nvSpPr>
        <p:spPr bwMode="gray">
          <a:xfrm>
            <a:off x="3421442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E06E095-EB99-494E-AD07-28A3DF803007}"/>
              </a:ext>
            </a:extLst>
          </p:cNvPr>
          <p:cNvSpPr>
            <a:spLocks/>
          </p:cNvSpPr>
          <p:nvPr/>
        </p:nvSpPr>
        <p:spPr bwMode="gray">
          <a:xfrm>
            <a:off x="3941787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909D306-7A06-4D27-A481-FBE260C281D3}"/>
              </a:ext>
            </a:extLst>
          </p:cNvPr>
          <p:cNvSpPr>
            <a:spLocks/>
          </p:cNvSpPr>
          <p:nvPr/>
        </p:nvSpPr>
        <p:spPr bwMode="gray">
          <a:xfrm>
            <a:off x="3940604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4C0A85A-6994-4D9D-85D7-8919CA3776EC}"/>
              </a:ext>
            </a:extLst>
          </p:cNvPr>
          <p:cNvSpPr>
            <a:spLocks/>
          </p:cNvSpPr>
          <p:nvPr/>
        </p:nvSpPr>
        <p:spPr bwMode="gray">
          <a:xfrm>
            <a:off x="6218998" y="3717000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34877AA-7AFA-40D6-A8C9-9C76E6C56AE8}"/>
              </a:ext>
            </a:extLst>
          </p:cNvPr>
          <p:cNvSpPr>
            <a:spLocks/>
          </p:cNvSpPr>
          <p:nvPr/>
        </p:nvSpPr>
        <p:spPr bwMode="gray">
          <a:xfrm>
            <a:off x="6739343" y="4876922"/>
            <a:ext cx="1917210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BE489EE-8AF5-4787-AE34-148A72FF9335}"/>
              </a:ext>
            </a:extLst>
          </p:cNvPr>
          <p:cNvSpPr>
            <a:spLocks/>
          </p:cNvSpPr>
          <p:nvPr/>
        </p:nvSpPr>
        <p:spPr bwMode="gray">
          <a:xfrm>
            <a:off x="6738160" y="5804458"/>
            <a:ext cx="1918393" cy="5042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B7611F7-ADB5-4EEB-855F-8993E295C803}"/>
              </a:ext>
            </a:extLst>
          </p:cNvPr>
          <p:cNvSpPr>
            <a:spLocks/>
          </p:cNvSpPr>
          <p:nvPr/>
        </p:nvSpPr>
        <p:spPr bwMode="gray">
          <a:xfrm>
            <a:off x="9016554" y="3717000"/>
            <a:ext cx="2443609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7BED830-95AE-4224-B1CD-54741545D479}"/>
              </a:ext>
            </a:extLst>
          </p:cNvPr>
          <p:cNvSpPr>
            <a:spLocks/>
          </p:cNvSpPr>
          <p:nvPr/>
        </p:nvSpPr>
        <p:spPr bwMode="gray">
          <a:xfrm>
            <a:off x="9500199" y="4876922"/>
            <a:ext cx="1959964" cy="50449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E9AC26E-A517-4425-8748-3C2FCF2717BD}"/>
              </a:ext>
            </a:extLst>
          </p:cNvPr>
          <p:cNvSpPr>
            <a:spLocks/>
          </p:cNvSpPr>
          <p:nvPr/>
        </p:nvSpPr>
        <p:spPr bwMode="gray">
          <a:xfrm>
            <a:off x="9503029" y="5791281"/>
            <a:ext cx="1957134" cy="51744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5A9BFDF-8FFA-410A-AA00-A4DEB0D8A833}"/>
              </a:ext>
            </a:extLst>
          </p:cNvPr>
          <p:cNvSpPr>
            <a:spLocks/>
          </p:cNvSpPr>
          <p:nvPr/>
        </p:nvSpPr>
        <p:spPr bwMode="gray">
          <a:xfrm>
            <a:off x="2022665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A75231F-392F-4E62-B3A1-0A8CEA10BE83}"/>
              </a:ext>
            </a:extLst>
          </p:cNvPr>
          <p:cNvSpPr>
            <a:spLocks/>
          </p:cNvSpPr>
          <p:nvPr/>
        </p:nvSpPr>
        <p:spPr bwMode="gray">
          <a:xfrm>
            <a:off x="7617776" y="2654632"/>
            <a:ext cx="2437555" cy="55494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36000" rIns="72000" bIns="36000" numCol="1" spcCol="1270" anchor="ctr" anchorCtr="0">
            <a:noAutofit/>
          </a:bodyPr>
          <a:lstStyle/>
          <a:p>
            <a:pPr marL="0" lvl="0" indent="0" algn="ctr" defTabSz="533400"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600" kern="1200" dirty="0">
                <a:solidFill>
                  <a:schemeClr val="tx1"/>
                </a:solidFill>
                <a:latin typeface="+mj-lt"/>
              </a:rPr>
              <a:t>Lorem ipsum</a:t>
            </a:r>
          </a:p>
        </p:txBody>
      </p:sp>
      <p:cxnSp>
        <p:nvCxnSpPr>
          <p:cNvPr id="59" name="Verbinder: gewinkelt 58">
            <a:extLst>
              <a:ext uri="{FF2B5EF4-FFF2-40B4-BE49-F238E27FC236}">
                <a16:creationId xmlns:a16="http://schemas.microsoft.com/office/drawing/2014/main" id="{C5DECAA2-F954-4082-9C57-FCB7298D4D48}"/>
              </a:ext>
            </a:extLst>
          </p:cNvPr>
          <p:cNvCxnSpPr>
            <a:cxnSpLocks/>
            <a:stCxn id="28" idx="1"/>
            <a:endCxn id="29" idx="1"/>
          </p:cNvCxnSpPr>
          <p:nvPr/>
        </p:nvCxnSpPr>
        <p:spPr bwMode="gray">
          <a:xfrm rot="10800000" flipV="1">
            <a:off x="1143050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Verbinder: gewinkelt 64">
            <a:extLst>
              <a:ext uri="{FF2B5EF4-FFF2-40B4-BE49-F238E27FC236}">
                <a16:creationId xmlns:a16="http://schemas.microsoft.com/office/drawing/2014/main" id="{54D1F232-3984-4795-A492-40B3F4A1CBB1}"/>
              </a:ext>
            </a:extLst>
          </p:cNvPr>
          <p:cNvCxnSpPr>
            <a:cxnSpLocks/>
            <a:stCxn id="31" idx="1"/>
            <a:endCxn id="32" idx="1"/>
          </p:cNvCxnSpPr>
          <p:nvPr/>
        </p:nvCxnSpPr>
        <p:spPr bwMode="gray">
          <a:xfrm rot="10800000" flipV="1">
            <a:off x="3940605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Verbinder: gewinkelt 69">
            <a:extLst>
              <a:ext uri="{FF2B5EF4-FFF2-40B4-BE49-F238E27FC236}">
                <a16:creationId xmlns:a16="http://schemas.microsoft.com/office/drawing/2014/main" id="{C3895480-61A0-4E61-9A6C-68D542F80277}"/>
              </a:ext>
            </a:extLst>
          </p:cNvPr>
          <p:cNvCxnSpPr>
            <a:stCxn id="34" idx="1"/>
            <a:endCxn id="35" idx="1"/>
          </p:cNvCxnSpPr>
          <p:nvPr/>
        </p:nvCxnSpPr>
        <p:spPr bwMode="gray">
          <a:xfrm rot="10800000" flipV="1">
            <a:off x="6738161" y="5129166"/>
            <a:ext cx="1183" cy="927425"/>
          </a:xfrm>
          <a:prstGeom prst="bentConnector3">
            <a:avLst>
              <a:gd name="adj1" fmla="val 1942375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76AD3361-0905-4EDF-8782-D6E951250ED3}"/>
              </a:ext>
            </a:extLst>
          </p:cNvPr>
          <p:cNvCxnSpPr>
            <a:stCxn id="37" idx="1"/>
            <a:endCxn id="38" idx="1"/>
          </p:cNvCxnSpPr>
          <p:nvPr/>
        </p:nvCxnSpPr>
        <p:spPr bwMode="gray">
          <a:xfrm rot="10800000" flipH="1" flipV="1">
            <a:off x="9500199" y="5129167"/>
            <a:ext cx="2830" cy="920836"/>
          </a:xfrm>
          <a:prstGeom prst="bentConnector3">
            <a:avLst>
              <a:gd name="adj1" fmla="val -807773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A63870-A956-453C-A177-F7729D3C51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40462116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21F49B-1D22-497A-B276-532B1C443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03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21F49B-1D22-497A-B276-532B1C443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8EEFE-4981-4E5E-81A5-8F12C88A7FC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796" r="32796"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3CEB0761-053F-433F-BF4B-344B0096CCD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rei Ziel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D3934F3B-7867-4720-B153-98C51463BE80}"/>
              </a:ext>
            </a:extLst>
          </p:cNvPr>
          <p:cNvGrpSpPr/>
          <p:nvPr/>
        </p:nvGrpSpPr>
        <p:grpSpPr bwMode="gray">
          <a:xfrm>
            <a:off x="623887" y="1592263"/>
            <a:ext cx="7120970" cy="827123"/>
            <a:chOff x="623887" y="1592263"/>
            <a:chExt cx="7120970" cy="827123"/>
          </a:xfrm>
        </p:grpSpPr>
        <p:sp>
          <p:nvSpPr>
            <p:cNvPr id="14" name="Textplatzhalter 6">
              <a:extLst>
                <a:ext uri="{FF2B5EF4-FFF2-40B4-BE49-F238E27FC236}">
                  <a16:creationId xmlns:a16="http://schemas.microsoft.com/office/drawing/2014/main" id="{5E258079-47BE-442F-B931-3FAC7851D45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7" y="15922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5" name="Textplatzhalter 7">
              <a:extLst>
                <a:ext uri="{FF2B5EF4-FFF2-40B4-BE49-F238E27FC236}">
                  <a16:creationId xmlns:a16="http://schemas.microsoft.com/office/drawing/2014/main" id="{34927F27-26FA-40E5-B583-23709DD2C0A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1734583"/>
              <a:ext cx="6251337" cy="684803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1</a:t>
              </a:r>
            </a:p>
            <a:p>
              <a:pPr marL="0" indent="0">
                <a:buNone/>
              </a:pP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F825ABD-497C-4560-ACAD-0F4A6AEF9A83}"/>
              </a:ext>
            </a:extLst>
          </p:cNvPr>
          <p:cNvGrpSpPr/>
          <p:nvPr/>
        </p:nvGrpSpPr>
        <p:grpSpPr bwMode="gray">
          <a:xfrm>
            <a:off x="623888" y="3129548"/>
            <a:ext cx="7120969" cy="788652"/>
            <a:chOff x="623888" y="3129548"/>
            <a:chExt cx="7120969" cy="788652"/>
          </a:xfrm>
        </p:grpSpPr>
        <p:sp>
          <p:nvSpPr>
            <p:cNvPr id="16" name="Textplatzhalter 8">
              <a:extLst>
                <a:ext uri="{FF2B5EF4-FFF2-40B4-BE49-F238E27FC236}">
                  <a16:creationId xmlns:a16="http://schemas.microsoft.com/office/drawing/2014/main" id="{5D4A5D29-4175-4D55-80D4-56005CF7AA2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3129548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4DB3CCF7-21A4-4D15-9699-63ED2EC19C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3271869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2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BA66B4C-7C54-491C-9F70-E4D15400C80C}"/>
              </a:ext>
            </a:extLst>
          </p:cNvPr>
          <p:cNvGrpSpPr/>
          <p:nvPr/>
        </p:nvGrpSpPr>
        <p:grpSpPr bwMode="gray">
          <a:xfrm>
            <a:off x="623888" y="4628363"/>
            <a:ext cx="7120969" cy="788651"/>
            <a:chOff x="623888" y="4628363"/>
            <a:chExt cx="7120969" cy="788651"/>
          </a:xfrm>
        </p:grpSpPr>
        <p:sp>
          <p:nvSpPr>
            <p:cNvPr id="18" name="Textplatzhalter 10">
              <a:extLst>
                <a:ext uri="{FF2B5EF4-FFF2-40B4-BE49-F238E27FC236}">
                  <a16:creationId xmlns:a16="http://schemas.microsoft.com/office/drawing/2014/main" id="{1C9B5112-96A9-4416-9FE5-62DD416F181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3888" y="4628363"/>
              <a:ext cx="648000" cy="648000"/>
            </a:xfrm>
            <a:prstGeom prst="rect">
              <a:avLst/>
            </a:prstGeom>
            <a:solidFill>
              <a:schemeClr val="accent1"/>
            </a:solidFill>
          </p:spPr>
          <p:txBody>
            <a:bodyPr anchor="ctr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24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platzhalter 11">
              <a:extLst>
                <a:ext uri="{FF2B5EF4-FFF2-40B4-BE49-F238E27FC236}">
                  <a16:creationId xmlns:a16="http://schemas.microsoft.com/office/drawing/2014/main" id="{BE2EE3C0-FA5E-4BC2-8C69-AF1739FC73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93520" y="4770683"/>
              <a:ext cx="6251337" cy="646331"/>
            </a:xfrm>
            <a:prstGeom prst="rect">
              <a:avLst/>
            </a:prstGeom>
          </p:spPr>
          <p:txBody>
            <a:bodyPr lIns="0" tIns="0" rIns="0" bIns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DE" sz="2400" dirty="0">
                  <a:latin typeface="+mj-lt"/>
                </a:rPr>
                <a:t>Ziel 3</a:t>
              </a:r>
              <a:br>
                <a:rPr lang="de-DE" sz="1800" dirty="0">
                  <a:latin typeface="+mj-lt"/>
                </a:rPr>
              </a:br>
              <a:r>
                <a:rPr lang="de-DE" sz="1800" dirty="0"/>
                <a:t>Zieldefinition: Bitte Definition des Ziels eingeben</a:t>
              </a:r>
            </a:p>
          </p:txBody>
        </p:sp>
      </p:grp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8924F5E4-614F-4BBA-A2C6-C6E021EF123B}"/>
              </a:ext>
            </a:extLst>
          </p:cNvPr>
          <p:cNvSpPr txBox="1">
            <a:spLocks/>
          </p:cNvSpPr>
          <p:nvPr/>
        </p:nvSpPr>
        <p:spPr bwMode="gray">
          <a:xfrm>
            <a:off x="8370094" y="6531032"/>
            <a:ext cx="621507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FF9B52-3DD9-4FD6-A712-32A7F5006566}" type="datetime1">
              <a:rPr lang="de-DE"/>
              <a:pPr/>
              <a:t>28.04.22</a:t>
            </a:fld>
            <a:endParaRPr lang="de-DE" dirty="0"/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7D240353-AF21-4E2C-B4E4-F82094864EAA}"/>
              </a:ext>
            </a:extLst>
          </p:cNvPr>
          <p:cNvSpPr txBox="1">
            <a:spLocks/>
          </p:cNvSpPr>
          <p:nvPr/>
        </p:nvSpPr>
        <p:spPr bwMode="gray">
          <a:xfrm>
            <a:off x="9131300" y="6531032"/>
            <a:ext cx="54372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eite </a:t>
            </a:r>
            <a:fld id="{487D266B-E72C-4639-8FD6-1CF954A8FA0B}" type="slidenum">
              <a:rPr lang="de-DE"/>
              <a:pPr/>
              <a:t>118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A46F648-B58D-40FC-8FB2-3E4A9B161F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23607250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7E0362A0-CE5E-4F93-AD7D-F6392C0221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54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7E0362A0-CE5E-4F93-AD7D-F6392C0221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E9BBDF82-86B1-48B8-973D-7F43F0CA6E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55" name="Titel 54">
            <a:extLst>
              <a:ext uri="{FF2B5EF4-FFF2-40B4-BE49-F238E27FC236}">
                <a16:creationId xmlns:a16="http://schemas.microsoft.com/office/drawing/2014/main" id="{F038FE8B-8FB9-4FD6-A4FD-D4DC9EFEF4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Next Steps (1/2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4B70B4-434A-4DD5-A869-BEC529F97D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6769776-D7CD-4D2D-B0D2-7229884FC5E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Erster Step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31F861DC-14B7-43B2-AB4A-2939E513398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493520" y="2054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4A5F7EE-7FD8-4A14-B337-B29B516C0FF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3888" y="2744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65ED7035-88FB-43B9-BBCB-C23F138567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93520" y="2929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Zweiter Step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A67E621-B67B-4FA9-A8AF-CB4824657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206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D1CDABA-0B3E-458E-8CC1-AFA56DC286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3888" y="3896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41104A8-ADD1-4500-9BF4-4AA60AEBDEE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493520" y="4081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Dritter Step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98709C1-D073-4E52-8B61-E07FB74299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1493520" y="4358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0045C1-EDC3-48FB-8F8F-62780A8A90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623888" y="5048263"/>
            <a:ext cx="648000" cy="648000"/>
          </a:xfrm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A31DBB0-8FBC-4CB3-8BCA-B32C8BDC2ED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1493520" y="5233763"/>
            <a:ext cx="6251337" cy="276999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Vierter Step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5B03434-2958-4F38-BB68-DC9FFDE012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93520" y="5510762"/>
            <a:ext cx="6251337" cy="215444"/>
          </a:xfrm>
        </p:spPr>
        <p:txBody>
          <a:bodyPr/>
          <a:lstStyle/>
          <a:p>
            <a:pPr lvl="0"/>
            <a:r>
              <a:rPr lang="de-DE" noProof="1"/>
              <a:t>Duis aute irure dolor in reprehenderit in voluptate</a:t>
            </a:r>
          </a:p>
          <a:p>
            <a:r>
              <a:rPr lang="de-DE" noProof="0" dirty="0"/>
              <a:t>Sed ut perspiciatis unde accusantium doloremque laudantium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0CEF771C-3E57-4D69-9D7B-6EBDA78B18C2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B24B0AEB-FA12-434B-BD8A-BDC6755186B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CEF0F572-A194-4220-BE47-90DF8CC4EB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19</a:t>
            </a:fld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F735AB1F-0AC2-4B7F-A45B-0D2BE752FF5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6691143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chaubild S 10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Pfeile nach und nach einblend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Als letztes </a:t>
            </a:r>
            <a:r>
              <a:rPr lang="de-DE" sz="1400" dirty="0" err="1"/>
              <a:t>einblenen</a:t>
            </a:r>
            <a:r>
              <a:rPr lang="de-DE" sz="1400" dirty="0"/>
              <a:t>: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Application</a:t>
            </a:r>
            <a:r>
              <a:rPr lang="de-DE" sz="1400" dirty="0"/>
              <a:t> = V8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vent </a:t>
            </a:r>
            <a:r>
              <a:rPr lang="de-DE" sz="1400" dirty="0" err="1"/>
              <a:t>demultiplexer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</a:t>
            </a:r>
            <a:r>
              <a:rPr lang="de-DE" sz="1400" dirty="0" err="1"/>
              <a:t>queue</a:t>
            </a:r>
            <a:r>
              <a:rPr lang="de-DE" sz="1400" dirty="0"/>
              <a:t>, </a:t>
            </a:r>
            <a:r>
              <a:rPr lang="de-DE" sz="1400" dirty="0" err="1"/>
              <a:t>event</a:t>
            </a:r>
            <a:r>
              <a:rPr lang="de-DE" sz="1400" dirty="0"/>
              <a:t> loop = </a:t>
            </a:r>
            <a:r>
              <a:rPr lang="de-DE" sz="1400" dirty="0" err="1"/>
              <a:t>libuv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Demultiplexer</a:t>
            </a:r>
            <a:r>
              <a:rPr lang="de-DE" sz="1400" dirty="0"/>
              <a:t> Teil von OS, z.B. </a:t>
            </a:r>
            <a:r>
              <a:rPr lang="de-DE" sz="1400" dirty="0" err="1"/>
              <a:t>Epoll</a:t>
            </a:r>
            <a:r>
              <a:rPr lang="de-DE" sz="1400" dirty="0"/>
              <a:t> in Linux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05298781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958DAE07-487F-4BCA-8010-353DA85BDC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7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958DAE07-487F-4BCA-8010-353DA85BD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>
            <a:extLst>
              <a:ext uri="{FF2B5EF4-FFF2-40B4-BE49-F238E27FC236}">
                <a16:creationId xmlns:a16="http://schemas.microsoft.com/office/drawing/2014/main" id="{59459586-B65A-4C4E-ADCD-6784EBFA49F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ext Steps (2/2)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13A5195F-B5C7-478B-88E5-5FED12617F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692121-F59C-4CC7-BDC8-5A36D070941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212177F-F2E4-4F1F-B99E-E2756F4A15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0</a:t>
            </a:fld>
            <a:endParaRPr lang="de-DE" dirty="0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1F93BB4-E2D1-460B-B34B-B203767F5076}"/>
              </a:ext>
            </a:extLst>
          </p:cNvPr>
          <p:cNvCxnSpPr>
            <a:cxnSpLocks/>
          </p:cNvCxnSpPr>
          <p:nvPr/>
        </p:nvCxnSpPr>
        <p:spPr bwMode="gray">
          <a:xfrm>
            <a:off x="0" y="2429669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0709C15-21E7-4FA0-9E9B-B872BBB7FBAA}"/>
              </a:ext>
            </a:extLst>
          </p:cNvPr>
          <p:cNvSpPr>
            <a:spLocks/>
          </p:cNvSpPr>
          <p:nvPr/>
        </p:nvSpPr>
        <p:spPr bwMode="gray">
          <a:xfrm>
            <a:off x="623888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4356DEB-1201-40F9-A4A3-D00CAD392093}"/>
              </a:ext>
            </a:extLst>
          </p:cNvPr>
          <p:cNvSpPr>
            <a:spLocks/>
          </p:cNvSpPr>
          <p:nvPr/>
        </p:nvSpPr>
        <p:spPr bwMode="gray">
          <a:xfrm>
            <a:off x="3440642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F0D447B-615E-470E-9CC1-B237809F7413}"/>
              </a:ext>
            </a:extLst>
          </p:cNvPr>
          <p:cNvSpPr>
            <a:spLocks/>
          </p:cNvSpPr>
          <p:nvPr/>
        </p:nvSpPr>
        <p:spPr bwMode="gray">
          <a:xfrm>
            <a:off x="9074151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95D03D4-D08B-4A3E-B69B-4B12B3FFEB58}"/>
              </a:ext>
            </a:extLst>
          </p:cNvPr>
          <p:cNvSpPr>
            <a:spLocks/>
          </p:cNvSpPr>
          <p:nvPr/>
        </p:nvSpPr>
        <p:spPr bwMode="gray">
          <a:xfrm>
            <a:off x="6257396" y="2125663"/>
            <a:ext cx="608012" cy="6080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de-DE" sz="2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31" name="TextBox 82">
            <a:extLst>
              <a:ext uri="{FF2B5EF4-FFF2-40B4-BE49-F238E27FC236}">
                <a16:creationId xmlns:a16="http://schemas.microsoft.com/office/drawing/2014/main" id="{8C5B8BB2-A6C9-4B03-A87E-7F9BC87017F6}"/>
              </a:ext>
            </a:extLst>
          </p:cNvPr>
          <p:cNvSpPr txBox="1">
            <a:spLocks/>
          </p:cNvSpPr>
          <p:nvPr/>
        </p:nvSpPr>
        <p:spPr bwMode="gray">
          <a:xfrm>
            <a:off x="623888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rster Step</a:t>
            </a:r>
          </a:p>
          <a:p>
            <a:pPr marL="18000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400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085DEBBA-7A1C-4C88-9F79-5DCF62287676}"/>
              </a:ext>
            </a:extLst>
          </p:cNvPr>
          <p:cNvSpPr txBox="1">
            <a:spLocks/>
          </p:cNvSpPr>
          <p:nvPr/>
        </p:nvSpPr>
        <p:spPr bwMode="gray">
          <a:xfrm>
            <a:off x="3440642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Zwei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3" name="TextBox 82">
            <a:extLst>
              <a:ext uri="{FF2B5EF4-FFF2-40B4-BE49-F238E27FC236}">
                <a16:creationId xmlns:a16="http://schemas.microsoft.com/office/drawing/2014/main" id="{8BB85970-E63E-485A-94C4-202D1047EA21}"/>
              </a:ext>
            </a:extLst>
          </p:cNvPr>
          <p:cNvSpPr txBox="1">
            <a:spLocks/>
          </p:cNvSpPr>
          <p:nvPr/>
        </p:nvSpPr>
        <p:spPr bwMode="gray">
          <a:xfrm>
            <a:off x="6257396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rit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4" name="TextBox 82">
            <a:extLst>
              <a:ext uri="{FF2B5EF4-FFF2-40B4-BE49-F238E27FC236}">
                <a16:creationId xmlns:a16="http://schemas.microsoft.com/office/drawing/2014/main" id="{96ADA740-23F5-4136-9D6F-6CE4980ACADC}"/>
              </a:ext>
            </a:extLst>
          </p:cNvPr>
          <p:cNvSpPr txBox="1">
            <a:spLocks/>
          </p:cNvSpPr>
          <p:nvPr/>
        </p:nvSpPr>
        <p:spPr bwMode="gray">
          <a:xfrm>
            <a:off x="9074151" y="2895037"/>
            <a:ext cx="2386012" cy="13926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Vierter Step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400" noProof="1"/>
              <a:t>Duis aute irure dolor in reprehenderit in voluptate</a:t>
            </a:r>
          </a:p>
          <a:p>
            <a:pPr marL="180000" indent="-18000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d ut perspiciatis unde accusantium doloremque laudantiu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A2746E-BA09-486C-A394-3D7D779905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01371488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1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90673B6-AF8D-40E3-B4A0-E60347A31DA7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1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523813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CE60008-1CC4-4D20-A82E-6771428B1C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48538057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6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69A07B3-925F-47D9-BFD1-ED47E8A0585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2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A85F677-DBE7-4014-8553-613EEDE7C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29531091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89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68FFF8-EB0B-4E4B-9D5B-8295544A738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3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2CDC97-D764-4FDE-BB85-65C8892BEF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8428534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06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2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35516A4-FDC4-49C4-8EE8-D89DAA0580A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4</a:t>
            </a:fld>
            <a:endParaRPr lang="de-DE" dirty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6222026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</a:t>
              </a:r>
              <a:br>
                <a:rPr lang="de-DE" dirty="0">
                  <a:latin typeface="+mj-lt"/>
                </a:rPr>
              </a:b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 semper 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5238136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Vivamus elementum semper nis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FE5CFF8-A6BB-4672-87F3-A14B69A58B14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9718855-4A7B-4F86-93A1-BC0001CC17EB}"/>
              </a:ext>
            </a:extLst>
          </p:cNvPr>
          <p:cNvSpPr>
            <a:spLocks/>
          </p:cNvSpPr>
          <p:nvPr/>
        </p:nvSpPr>
        <p:spPr bwMode="gray">
          <a:xfrm>
            <a:off x="6222026" y="2445745"/>
            <a:ext cx="5238137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8E1D3E-FC56-408B-A389-3A91C68A16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912471229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74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3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745CA5F-C1A3-4085-94A8-64546CD11A4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5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4355980" y="1592263"/>
            <a:ext cx="3372092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8088071" y="1592263"/>
            <a:ext cx="3372092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4355979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088070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3372092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amet consectetuer </a:t>
              </a:r>
              <a:r>
                <a:rPr lang="de-DE" dirty="0" err="1">
                  <a:latin typeface="+mj-lt"/>
                </a:rPr>
                <a:t>vivamus</a:t>
              </a:r>
              <a:r>
                <a:rPr lang="de-DE" dirty="0">
                  <a:latin typeface="+mj-lt"/>
                </a:rPr>
                <a:t> elementum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3372091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</a:t>
            </a:r>
            <a:br>
              <a:rPr lang="de-DE" sz="1400" dirty="0"/>
            </a:br>
            <a:r>
              <a:rPr lang="de-DE" sz="1400" dirty="0"/>
              <a:t>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BC8B3A-78D9-4816-8C5A-EB95E460FAB2}"/>
              </a:ext>
            </a:extLst>
          </p:cNvPr>
          <p:cNvSpPr>
            <a:spLocks/>
          </p:cNvSpPr>
          <p:nvPr/>
        </p:nvSpPr>
        <p:spPr bwMode="gray">
          <a:xfrm>
            <a:off x="623888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0D4D0DA-D461-4A4C-9102-EBB07B370DBF}"/>
              </a:ext>
            </a:extLst>
          </p:cNvPr>
          <p:cNvSpPr>
            <a:spLocks/>
          </p:cNvSpPr>
          <p:nvPr/>
        </p:nvSpPr>
        <p:spPr bwMode="gray">
          <a:xfrm>
            <a:off x="8088071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11610FA-0EDD-47B5-9AD1-0ADF8D6A5FBB}"/>
              </a:ext>
            </a:extLst>
          </p:cNvPr>
          <p:cNvSpPr>
            <a:spLocks/>
          </p:cNvSpPr>
          <p:nvPr/>
        </p:nvSpPr>
        <p:spPr bwMode="gray">
          <a:xfrm>
            <a:off x="4355980" y="2445745"/>
            <a:ext cx="3372092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1415D-3FB9-4506-B29F-F5FEC9451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6690472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7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4 Spalten mit Bil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2885A2C-47BC-435F-989F-646F6EDB898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6</a:t>
            </a:fld>
            <a:endParaRPr lang="de-DE" dirty="0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>
            <a:grpSpLocks/>
          </p:cNvGrpSpPr>
          <p:nvPr/>
        </p:nvGrpSpPr>
        <p:grpSpPr bwMode="gray">
          <a:xfrm>
            <a:off x="3422956" y="1592263"/>
            <a:ext cx="2439068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>
            <a:grpSpLocks/>
          </p:cNvGrpSpPr>
          <p:nvPr/>
        </p:nvGrpSpPr>
        <p:grpSpPr bwMode="gray">
          <a:xfrm>
            <a:off x="6222025" y="1592263"/>
            <a:ext cx="2439068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>
            <a:grpSpLocks/>
          </p:cNvGrpSpPr>
          <p:nvPr/>
        </p:nvGrpSpPr>
        <p:grpSpPr bwMode="gray">
          <a:xfrm>
            <a:off x="9021094" y="1592263"/>
            <a:ext cx="2439068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422956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6222024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9021093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64C41D1D-1CBD-4D64-AE00-A86CD59CDD22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2439068" cy="649896"/>
            <a:chOff x="3001374" y="1592263"/>
            <a:chExt cx="2579596" cy="649896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73D6B85-997D-469D-BC02-97A975E57B3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E8BFD5D5-8808-435A-8E59-F6C6712041D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285216E6-D668-45D5-9178-FCA93325D5D7}"/>
              </a:ext>
            </a:extLst>
          </p:cNvPr>
          <p:cNvSpPr txBox="1">
            <a:spLocks/>
          </p:cNvSpPr>
          <p:nvPr/>
        </p:nvSpPr>
        <p:spPr bwMode="gray">
          <a:xfrm>
            <a:off x="623888" y="3784349"/>
            <a:ext cx="2439068" cy="2054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 enim justo, rhoncus ut, imperdiet a, venenatis vitae, justo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Integer tincidunt. Cras dapibus. </a:t>
            </a:r>
            <a:br>
              <a:rPr lang="de-DE" sz="1400" dirty="0"/>
            </a:br>
            <a:r>
              <a:rPr lang="de-DE" sz="1400" dirty="0"/>
              <a:t>Vivamus elementum semper nisi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AF405CE-E9A7-48B3-82D8-48D188954FC6}"/>
              </a:ext>
            </a:extLst>
          </p:cNvPr>
          <p:cNvSpPr>
            <a:spLocks/>
          </p:cNvSpPr>
          <p:nvPr/>
        </p:nvSpPr>
        <p:spPr bwMode="gray">
          <a:xfrm>
            <a:off x="623889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DB5E8E-A347-4A15-B7A5-9505DF02B528}"/>
              </a:ext>
            </a:extLst>
          </p:cNvPr>
          <p:cNvSpPr>
            <a:spLocks/>
          </p:cNvSpPr>
          <p:nvPr/>
        </p:nvSpPr>
        <p:spPr bwMode="gray">
          <a:xfrm>
            <a:off x="9021094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B15CC33-1A2A-4E6B-BC17-E2756588CE20}"/>
              </a:ext>
            </a:extLst>
          </p:cNvPr>
          <p:cNvSpPr>
            <a:spLocks/>
          </p:cNvSpPr>
          <p:nvPr/>
        </p:nvSpPr>
        <p:spPr bwMode="gray">
          <a:xfrm>
            <a:off x="3422957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4839E09-7E22-420B-A793-325E7D798821}"/>
              </a:ext>
            </a:extLst>
          </p:cNvPr>
          <p:cNvSpPr>
            <a:spLocks/>
          </p:cNvSpPr>
          <p:nvPr/>
        </p:nvSpPr>
        <p:spPr bwMode="gray">
          <a:xfrm>
            <a:off x="6222025" y="2445745"/>
            <a:ext cx="2439069" cy="1127718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7AC545-E1C6-453C-A46D-7BECC21F29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387423660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8C86EA0A-D394-48A4-ACC9-A1502634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3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8C86EA0A-D394-48A4-ACC9-A1502634C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354141-4F47-46D4-BE6F-EF723AEDFCC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atr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A4BBE-293E-460C-9B35-0951336356B6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D575BBE-BEE2-442C-9656-59C189C6E24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40E57D-AA2F-40BE-8798-96872C24BC6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7</a:t>
            </a:fld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5C799D-0A7A-4DF6-A9AC-4FAB6D544100}"/>
              </a:ext>
            </a:extLst>
          </p:cNvPr>
          <p:cNvSpPr txBox="1">
            <a:spLocks/>
          </p:cNvSpPr>
          <p:nvPr/>
        </p:nvSpPr>
        <p:spPr bwMode="gray">
          <a:xfrm>
            <a:off x="623888" y="2379945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E5B17F-C9FD-4B22-A0D7-8164EE6B3BD3}"/>
              </a:ext>
            </a:extLst>
          </p:cNvPr>
          <p:cNvSpPr txBox="1">
            <a:spLocks/>
          </p:cNvSpPr>
          <p:nvPr/>
        </p:nvSpPr>
        <p:spPr bwMode="gray">
          <a:xfrm>
            <a:off x="623888" y="3749538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AC1EDFA-C632-4C2A-B94B-6866090750C0}"/>
              </a:ext>
            </a:extLst>
          </p:cNvPr>
          <p:cNvSpPr txBox="1">
            <a:spLocks/>
          </p:cNvSpPr>
          <p:nvPr/>
        </p:nvSpPr>
        <p:spPr bwMode="gray">
          <a:xfrm>
            <a:off x="623888" y="5119131"/>
            <a:ext cx="2017486" cy="1189593"/>
          </a:xfrm>
          <a:prstGeom prst="rect">
            <a:avLst/>
          </a:prstGeom>
          <a:solidFill>
            <a:schemeClr val="accent1"/>
          </a:solidFill>
        </p:spPr>
        <p:txBody>
          <a:bodyPr wrap="square" lIns="144000" tIns="72000" rIns="144000" bIns="72000" rtlCol="0">
            <a:noAutofit/>
          </a:bodyPr>
          <a:lstStyle/>
          <a:p>
            <a:pPr algn="l">
              <a:spcAft>
                <a:spcPts val="300"/>
              </a:spcAft>
            </a:pPr>
            <a:r>
              <a:rPr lang="de-DE" dirty="0">
                <a:solidFill>
                  <a:schemeClr val="bg1"/>
                </a:solidFill>
                <a:latin typeface="+mj-lt"/>
              </a:rPr>
              <a:t>Lorem ipsum dolor </a:t>
            </a:r>
            <a:br>
              <a:rPr lang="de-DE" dirty="0">
                <a:solidFill>
                  <a:schemeClr val="bg1"/>
                </a:solidFill>
                <a:latin typeface="+mj-lt"/>
              </a:rPr>
            </a:br>
            <a:r>
              <a:rPr lang="de-DE" dirty="0">
                <a:solidFill>
                  <a:schemeClr val="bg1"/>
                </a:solidFill>
                <a:latin typeface="+mj-lt"/>
              </a:rPr>
              <a:t>amet consectetuer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27C5579-33AA-4BDE-9822-89530E107CCB}"/>
              </a:ext>
            </a:extLst>
          </p:cNvPr>
          <p:cNvGrpSpPr/>
          <p:nvPr/>
        </p:nvGrpSpPr>
        <p:grpSpPr bwMode="gray">
          <a:xfrm>
            <a:off x="3001374" y="1592263"/>
            <a:ext cx="2579596" cy="649896"/>
            <a:chOff x="3001374" y="1592263"/>
            <a:chExt cx="2579596" cy="649896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163A6CAF-BDC9-4EA2-B8FC-074534E75B4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B7998FD5-403A-4EC7-9CE8-531D733C4AF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EDFDCA02-7C91-414A-A510-E48238312B19}"/>
              </a:ext>
            </a:extLst>
          </p:cNvPr>
          <p:cNvGrpSpPr/>
          <p:nvPr/>
        </p:nvGrpSpPr>
        <p:grpSpPr bwMode="gray">
          <a:xfrm>
            <a:off x="5940970" y="1592263"/>
            <a:ext cx="2579596" cy="649896"/>
            <a:chOff x="5940970" y="1592263"/>
            <a:chExt cx="2579596" cy="649896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B366DBC-D3A4-455D-B739-A02381F1D6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40970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3F05A39-8855-4E7A-BBE7-DA789FD8EC1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57AFC1E-8C85-4535-8FB5-1184EC32F6C8}"/>
              </a:ext>
            </a:extLst>
          </p:cNvPr>
          <p:cNvGrpSpPr/>
          <p:nvPr/>
        </p:nvGrpSpPr>
        <p:grpSpPr bwMode="gray">
          <a:xfrm>
            <a:off x="8880565" y="1592263"/>
            <a:ext cx="2579597" cy="649896"/>
            <a:chOff x="8880565" y="1592263"/>
            <a:chExt cx="2579597" cy="649896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0180AEF-38EC-4FC5-A494-79DC612D96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80565" y="1592263"/>
              <a:ext cx="2579596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orem ipsum dolor </a:t>
              </a:r>
              <a:br>
                <a:rPr lang="de-DE" dirty="0">
                  <a:latin typeface="+mj-lt"/>
                </a:rPr>
              </a:br>
              <a:r>
                <a:rPr lang="de-DE" dirty="0">
                  <a:latin typeface="+mj-lt"/>
                </a:rPr>
                <a:t>amet consectetuer</a:t>
              </a: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9CF7498-F7F3-4BA9-9FD1-3E858CFC187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70B794A1-C174-4E88-A81F-3CE0D91CDD8E}"/>
              </a:ext>
            </a:extLst>
          </p:cNvPr>
          <p:cNvSpPr txBox="1">
            <a:spLocks/>
          </p:cNvSpPr>
          <p:nvPr/>
        </p:nvSpPr>
        <p:spPr bwMode="gray">
          <a:xfrm>
            <a:off x="3001374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B66C6E0-B960-466A-A710-B09093521010}"/>
              </a:ext>
            </a:extLst>
          </p:cNvPr>
          <p:cNvSpPr txBox="1">
            <a:spLocks/>
          </p:cNvSpPr>
          <p:nvPr/>
        </p:nvSpPr>
        <p:spPr bwMode="gray">
          <a:xfrm>
            <a:off x="5940970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610303-6ABE-451A-9DC3-5587D939C69A}"/>
              </a:ext>
            </a:extLst>
          </p:cNvPr>
          <p:cNvSpPr txBox="1">
            <a:spLocks/>
          </p:cNvSpPr>
          <p:nvPr/>
        </p:nvSpPr>
        <p:spPr bwMode="gray">
          <a:xfrm>
            <a:off x="8880565" y="2379945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A021DD-AED4-45F2-8BAD-C01143799884}"/>
              </a:ext>
            </a:extLst>
          </p:cNvPr>
          <p:cNvSpPr txBox="1">
            <a:spLocks/>
          </p:cNvSpPr>
          <p:nvPr/>
        </p:nvSpPr>
        <p:spPr bwMode="gray">
          <a:xfrm>
            <a:off x="3001374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46FDCC-006E-4BBB-A986-596342B44F8D}"/>
              </a:ext>
            </a:extLst>
          </p:cNvPr>
          <p:cNvSpPr txBox="1">
            <a:spLocks/>
          </p:cNvSpPr>
          <p:nvPr/>
        </p:nvSpPr>
        <p:spPr bwMode="gray">
          <a:xfrm>
            <a:off x="5940970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508399F-E639-4EC3-A9CC-5F8BD113366F}"/>
              </a:ext>
            </a:extLst>
          </p:cNvPr>
          <p:cNvSpPr txBox="1">
            <a:spLocks/>
          </p:cNvSpPr>
          <p:nvPr/>
        </p:nvSpPr>
        <p:spPr bwMode="gray">
          <a:xfrm>
            <a:off x="8880565" y="3749538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962AFA-60C6-4347-9EC7-C7ACD4A30566}"/>
              </a:ext>
            </a:extLst>
          </p:cNvPr>
          <p:cNvSpPr txBox="1">
            <a:spLocks/>
          </p:cNvSpPr>
          <p:nvPr/>
        </p:nvSpPr>
        <p:spPr bwMode="gray">
          <a:xfrm>
            <a:off x="3001374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8E21C3-31C9-44E5-A9E6-9B134AF9C285}"/>
              </a:ext>
            </a:extLst>
          </p:cNvPr>
          <p:cNvSpPr txBox="1">
            <a:spLocks/>
          </p:cNvSpPr>
          <p:nvPr/>
        </p:nvSpPr>
        <p:spPr bwMode="gray">
          <a:xfrm>
            <a:off x="5940970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64705C5-5FC8-4018-ADC8-6A2B625DFF6B}"/>
              </a:ext>
            </a:extLst>
          </p:cNvPr>
          <p:cNvSpPr txBox="1">
            <a:spLocks/>
          </p:cNvSpPr>
          <p:nvPr/>
        </p:nvSpPr>
        <p:spPr bwMode="gray">
          <a:xfrm>
            <a:off x="8880565" y="5119131"/>
            <a:ext cx="2579596" cy="1189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Cum sociis natoque penatibus </a:t>
            </a:r>
            <a:br>
              <a:rPr lang="de-DE" sz="1400" dirty="0"/>
            </a:br>
            <a:r>
              <a:rPr lang="de-DE" sz="1400" dirty="0"/>
              <a:t>et magnis dis parturient montes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Donec quam felis, ultricies nec, </a:t>
            </a:r>
            <a:br>
              <a:rPr lang="de-DE" sz="1400" dirty="0"/>
            </a:br>
            <a:r>
              <a:rPr lang="de-DE" sz="1400" dirty="0"/>
              <a:t>pellentesque eu, pretium quis, </a:t>
            </a:r>
            <a:br>
              <a:rPr lang="de-DE" sz="1400" dirty="0"/>
            </a:br>
            <a:r>
              <a:rPr lang="de-DE" sz="1400" dirty="0"/>
              <a:t>sem consequat massa quis enim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BB3AE3A-064C-4B75-9577-9529C8913DB5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3659538"/>
            <a:ext cx="8458788" cy="0"/>
            <a:chOff x="3001374" y="3682652"/>
            <a:chExt cx="8458788" cy="0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1A4B25F-6247-486B-BA30-10BC2111611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6FB664A8-4F37-4A79-8CA6-74E0C8AEC84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56856273-78DE-423C-8930-920CB085819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5F2050-3235-4AFE-9C6D-DE8A0DDF38C3}"/>
              </a:ext>
            </a:extLst>
          </p:cNvPr>
          <p:cNvGrpSpPr>
            <a:grpSpLocks/>
          </p:cNvGrpSpPr>
          <p:nvPr/>
        </p:nvGrpSpPr>
        <p:grpSpPr bwMode="gray">
          <a:xfrm>
            <a:off x="3001374" y="5029131"/>
            <a:ext cx="8458788" cy="0"/>
            <a:chOff x="3001374" y="3682652"/>
            <a:chExt cx="8458788" cy="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7BEA4E2-9D47-4BD2-A923-7D0C230C5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00664925-1759-4C22-A755-D17ECD4C7B7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40970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DFA0C9CE-2ACB-4E0D-80CC-B35DA4766A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80566" y="3682652"/>
              <a:ext cx="2579596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CB14190-5E10-4B1A-B1DA-175418D2C1D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545203980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B75EC4DB-B9CB-475B-9DF8-4350E87A1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B75EC4DB-B9CB-475B-9DF8-4350E87A1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B4C37F7-3830-4246-A28D-DC3FBE5D692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recht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B28CA9-B46B-4440-A7BE-14308C793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ultricies nec, pellentesque eu, pretium quis, sem consequat massa quis enim.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In enim justo, rhoncus ut, imperdiet a, venenatis vitae, justo. Integer tincidunt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530A0E-863A-4A0B-8FA6-117A12C525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 donec quam feli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8C85AA9-A23D-41A4-B160-A4256C7917F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69523F1-D852-4B15-88CB-67ADB0778B7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142C348-37A0-49E0-B156-45BE4B8934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8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4291AD1-EDC8-4980-B025-43AFE8E1E7C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57139051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000180F-1F49-478A-9291-AA7B54B8D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9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000180F-1F49-478A-9291-AA7B54B8D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9163DE-00C6-4B83-9A4C-9516BE19954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rgebnis un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C728C42-BADD-43D0-9ADA-9F0B6FC752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dirty="0">
                <a:latin typeface="+mj-lt"/>
              </a:rPr>
              <a:t>Cum sociis natoque penatibus et magnis dis parturient montes. Donec quam felis, ultricies nec, pellentesque eu, pretium quis,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sem consequat massa quis enim. In enim justo, rhoncus ut, imperdiet a, venenatis vitae, justo. Integer tincidunt. Cras dapibus. </a:t>
            </a:r>
          </a:p>
          <a:p>
            <a:r>
              <a:rPr lang="de-DE" dirty="0"/>
              <a:t>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52292B-D095-46AF-A1F3-67E378235E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Cum sociis natoque penatibus et magnis dis parturient montes.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8FE9CBC-E8AD-4F0F-A93D-06AB03EE7152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8585E7C-1084-4A09-898C-0E0EE4F4B9EB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DD5A592-C832-476F-B641-C6F7C5712B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29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882565-255C-4DA8-B177-97D94332F9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363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E2B3113A-BA92-3BAB-6C90-574C06EA7DD8}"/>
              </a:ext>
            </a:extLst>
          </p:cNvPr>
          <p:cNvSpPr/>
          <p:nvPr/>
        </p:nvSpPr>
        <p:spPr>
          <a:xfrm>
            <a:off x="623888" y="4559500"/>
            <a:ext cx="3784448" cy="13090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</a:t>
            </a:r>
            <a:r>
              <a:rPr lang="de-DE" sz="1400" dirty="0" err="1">
                <a:solidFill>
                  <a:schemeClr val="tx1"/>
                </a:solidFill>
              </a:rPr>
              <a:t>Demultiplex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60F318C-D8FB-91D4-86D5-7332D53E9BB4}"/>
              </a:ext>
            </a:extLst>
          </p:cNvPr>
          <p:cNvSpPr/>
          <p:nvPr/>
        </p:nvSpPr>
        <p:spPr>
          <a:xfrm>
            <a:off x="860263" y="4888251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ode.js</a:t>
            </a:r>
            <a:r>
              <a:rPr lang="de-DE" dirty="0"/>
              <a:t> nutzt das </a:t>
            </a:r>
            <a:r>
              <a:rPr lang="de-DE" dirty="0" err="1"/>
              <a:t>Reactor</a:t>
            </a:r>
            <a:r>
              <a:rPr lang="de-DE" dirty="0"/>
              <a:t> Pattern, um asynchrone, rechenintensive Operationen unter der Haube zu koordinieren und abzu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E77698-8A44-F957-E4A4-23B1AC19693D}"/>
              </a:ext>
            </a:extLst>
          </p:cNvPr>
          <p:cNvSpPr txBox="1"/>
          <p:nvPr/>
        </p:nvSpPr>
        <p:spPr>
          <a:xfrm>
            <a:off x="2295353" y="2157305"/>
            <a:ext cx="19867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1. neue IO </a:t>
            </a:r>
            <a:r>
              <a:rPr lang="de-DE" sz="1200" dirty="0" err="1"/>
              <a:t>operation</a:t>
            </a:r>
            <a:r>
              <a:rPr lang="de-DE" sz="1200" dirty="0"/>
              <a:t> für </a:t>
            </a:r>
            <a:r>
              <a:rPr lang="de-DE" sz="1200" dirty="0" err="1"/>
              <a:t>event</a:t>
            </a:r>
            <a:r>
              <a:rPr lang="de-DE" sz="1200" dirty="0"/>
              <a:t> </a:t>
            </a:r>
            <a:r>
              <a:rPr lang="de-DE" sz="1200" dirty="0" err="1"/>
              <a:t>demultiplexer</a:t>
            </a:r>
            <a:r>
              <a:rPr lang="de-DE" sz="1200" dirty="0"/>
              <a:t> anforder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812DFBD-4F82-374A-6444-FCC296D5DDBA}"/>
              </a:ext>
            </a:extLst>
          </p:cNvPr>
          <p:cNvSpPr/>
          <p:nvPr/>
        </p:nvSpPr>
        <p:spPr>
          <a:xfrm>
            <a:off x="204745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29D141-55C1-9234-4060-00FE73D98F8D}"/>
              </a:ext>
            </a:extLst>
          </p:cNvPr>
          <p:cNvSpPr/>
          <p:nvPr/>
        </p:nvSpPr>
        <p:spPr>
          <a:xfrm>
            <a:off x="313207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03C9A31-5CE9-4784-6D15-5F7C5C46827C}"/>
              </a:ext>
            </a:extLst>
          </p:cNvPr>
          <p:cNvSpPr/>
          <p:nvPr/>
        </p:nvSpPr>
        <p:spPr>
          <a:xfrm>
            <a:off x="4282072" y="1795675"/>
            <a:ext cx="3784448" cy="11476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Applicatio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65CCDBD-E8FF-C8FD-1488-41D7A0FD20C6}"/>
              </a:ext>
            </a:extLst>
          </p:cNvPr>
          <p:cNvSpPr/>
          <p:nvPr/>
        </p:nvSpPr>
        <p:spPr>
          <a:xfrm>
            <a:off x="4502829" y="2444850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Request I/O</a:t>
            </a:r>
          </a:p>
        </p:txBody>
      </p:sp>
      <p:cxnSp>
        <p:nvCxnSpPr>
          <p:cNvPr id="35" name="Gewinkelte Verbindung 34">
            <a:extLst>
              <a:ext uri="{FF2B5EF4-FFF2-40B4-BE49-F238E27FC236}">
                <a16:creationId xmlns:a16="http://schemas.microsoft.com/office/drawing/2014/main" id="{266BF52E-6725-AC94-2810-FA3B3FCEA5BD}"/>
              </a:ext>
            </a:extLst>
          </p:cNvPr>
          <p:cNvCxnSpPr>
            <a:cxnSpLocks/>
            <a:stCxn id="28" idx="1"/>
            <a:endCxn id="8" idx="0"/>
          </p:cNvCxnSpPr>
          <p:nvPr/>
        </p:nvCxnSpPr>
        <p:spPr>
          <a:xfrm rot="10800000" flipV="1">
            <a:off x="2516113" y="2595924"/>
            <a:ext cx="1986717" cy="1963575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35">
            <a:extLst>
              <a:ext uri="{FF2B5EF4-FFF2-40B4-BE49-F238E27FC236}">
                <a16:creationId xmlns:a16="http://schemas.microsoft.com/office/drawing/2014/main" id="{5BC771CC-6226-8733-766C-624C7B44B0A4}"/>
              </a:ext>
            </a:extLst>
          </p:cNvPr>
          <p:cNvCxnSpPr>
            <a:cxnSpLocks/>
            <a:stCxn id="8" idx="3"/>
            <a:endCxn id="28" idx="2"/>
          </p:cNvCxnSpPr>
          <p:nvPr/>
        </p:nvCxnSpPr>
        <p:spPr>
          <a:xfrm flipV="1">
            <a:off x="4408336" y="2747000"/>
            <a:ext cx="804778" cy="24670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AF1B482C-FCCD-EE76-E8E3-F506D8694DCA}"/>
              </a:ext>
            </a:extLst>
          </p:cNvPr>
          <p:cNvSpPr txBox="1"/>
          <p:nvPr/>
        </p:nvSpPr>
        <p:spPr>
          <a:xfrm>
            <a:off x="4154911" y="3381961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2. Kontrolle an Applikation zurückgeben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A51C1F4-56B1-DE28-AE42-3EB68F7857C1}"/>
              </a:ext>
            </a:extLst>
          </p:cNvPr>
          <p:cNvSpPr/>
          <p:nvPr/>
        </p:nvSpPr>
        <p:spPr>
          <a:xfrm>
            <a:off x="5580559" y="3895833"/>
            <a:ext cx="1440000" cy="14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Loop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8F9C612-395F-C4BA-2B79-DD02177E3DAC}"/>
              </a:ext>
            </a:extLst>
          </p:cNvPr>
          <p:cNvSpPr/>
          <p:nvPr/>
        </p:nvSpPr>
        <p:spPr>
          <a:xfrm>
            <a:off x="8530734" y="3607110"/>
            <a:ext cx="2698432" cy="2033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vent Queu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0D114AE-7B2E-EED7-01AF-888950418899}"/>
              </a:ext>
            </a:extLst>
          </p:cNvPr>
          <p:cNvSpPr/>
          <p:nvPr/>
        </p:nvSpPr>
        <p:spPr>
          <a:xfrm>
            <a:off x="886968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81FF7721-6918-8B07-B5AA-2A29C312F31B}"/>
              </a:ext>
            </a:extLst>
          </p:cNvPr>
          <p:cNvSpPr/>
          <p:nvPr/>
        </p:nvSpPr>
        <p:spPr>
          <a:xfrm>
            <a:off x="9954300" y="400174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D91BAC8-ED99-E0B9-59C2-BCACC355E98B}"/>
              </a:ext>
            </a:extLst>
          </p:cNvPr>
          <p:cNvSpPr/>
          <p:nvPr/>
        </p:nvSpPr>
        <p:spPr>
          <a:xfrm>
            <a:off x="886968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E9C35F1D-F563-D810-B33B-E066FB382681}"/>
              </a:ext>
            </a:extLst>
          </p:cNvPr>
          <p:cNvSpPr/>
          <p:nvPr/>
        </p:nvSpPr>
        <p:spPr>
          <a:xfrm>
            <a:off x="9954300" y="4365448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FA090016-600C-D0B1-8DD7-0FA0A7BD3E92}"/>
              </a:ext>
            </a:extLst>
          </p:cNvPr>
          <p:cNvSpPr/>
          <p:nvPr/>
        </p:nvSpPr>
        <p:spPr>
          <a:xfrm>
            <a:off x="886968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BAA8173-5540-58B9-9B57-DC073EDB8D50}"/>
              </a:ext>
            </a:extLst>
          </p:cNvPr>
          <p:cNvSpPr/>
          <p:nvPr/>
        </p:nvSpPr>
        <p:spPr>
          <a:xfrm>
            <a:off x="9954300" y="4736826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FADC2544-E7AE-E478-BCA4-5C31ED4407DD}"/>
              </a:ext>
            </a:extLst>
          </p:cNvPr>
          <p:cNvSpPr/>
          <p:nvPr/>
        </p:nvSpPr>
        <p:spPr>
          <a:xfrm>
            <a:off x="886968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vent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06E9C56-5E73-4CC6-298C-9C2C5D785978}"/>
              </a:ext>
            </a:extLst>
          </p:cNvPr>
          <p:cNvSpPr/>
          <p:nvPr/>
        </p:nvSpPr>
        <p:spPr>
          <a:xfrm>
            <a:off x="9954300" y="510820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cxnSp>
        <p:nvCxnSpPr>
          <p:cNvPr id="64" name="Gewinkelte Verbindung 63">
            <a:extLst>
              <a:ext uri="{FF2B5EF4-FFF2-40B4-BE49-F238E27FC236}">
                <a16:creationId xmlns:a16="http://schemas.microsoft.com/office/drawing/2014/main" id="{133EA74E-C0E9-1DA5-47CC-AFDDE36DC581}"/>
              </a:ext>
            </a:extLst>
          </p:cNvPr>
          <p:cNvCxnSpPr>
            <a:cxnSpLocks/>
            <a:stCxn id="8" idx="2"/>
            <a:endCxn id="48" idx="2"/>
          </p:cNvCxnSpPr>
          <p:nvPr/>
        </p:nvCxnSpPr>
        <p:spPr>
          <a:xfrm rot="5400000" flipH="1" flipV="1">
            <a:off x="6084233" y="2072814"/>
            <a:ext cx="227596" cy="7363838"/>
          </a:xfrm>
          <a:prstGeom prst="bentConnector3">
            <a:avLst>
              <a:gd name="adj1" fmla="val -100441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3F276C17-A2C1-7A12-8CCE-B442B7CE1A4C}"/>
              </a:ext>
            </a:extLst>
          </p:cNvPr>
          <p:cNvSpPr txBox="1"/>
          <p:nvPr/>
        </p:nvSpPr>
        <p:spPr>
          <a:xfrm>
            <a:off x="5892433" y="6103026"/>
            <a:ext cx="14840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3. I/O Operation beendet 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F07495E8-6C53-9FD9-F68B-3348E66E58B3}"/>
              </a:ext>
            </a:extLst>
          </p:cNvPr>
          <p:cNvCxnSpPr>
            <a:cxnSpLocks/>
            <a:stCxn id="48" idx="1"/>
            <a:endCxn id="47" idx="6"/>
          </p:cNvCxnSpPr>
          <p:nvPr/>
        </p:nvCxnSpPr>
        <p:spPr>
          <a:xfrm flipH="1" flipV="1">
            <a:off x="7020559" y="4615833"/>
            <a:ext cx="1510175" cy="819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feld 82">
            <a:extLst>
              <a:ext uri="{FF2B5EF4-FFF2-40B4-BE49-F238E27FC236}">
                <a16:creationId xmlns:a16="http://schemas.microsoft.com/office/drawing/2014/main" id="{692E0D5A-A40D-651B-4BAC-1BCE2DBB9618}"/>
              </a:ext>
            </a:extLst>
          </p:cNvPr>
          <p:cNvSpPr txBox="1"/>
          <p:nvPr/>
        </p:nvSpPr>
        <p:spPr>
          <a:xfrm>
            <a:off x="7192122" y="4008595"/>
            <a:ext cx="8162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4. Event Loop iteriert über Event Queue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D059C532-7388-158F-6831-077899769725}"/>
              </a:ext>
            </a:extLst>
          </p:cNvPr>
          <p:cNvCxnSpPr>
            <a:cxnSpLocks/>
            <a:stCxn id="47" idx="0"/>
          </p:cNvCxnSpPr>
          <p:nvPr/>
        </p:nvCxnSpPr>
        <p:spPr>
          <a:xfrm flipV="1">
            <a:off x="6300559" y="2741311"/>
            <a:ext cx="0" cy="115452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AC9FAA35-623D-2FD5-73B3-CDDCE679F08D}"/>
              </a:ext>
            </a:extLst>
          </p:cNvPr>
          <p:cNvSpPr txBox="1"/>
          <p:nvPr/>
        </p:nvSpPr>
        <p:spPr>
          <a:xfrm>
            <a:off x="6395054" y="3123127"/>
            <a:ext cx="12956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5. Handler wird aufgerufen; Kontrolle zurück an Event Loop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B2757D27-0CAA-CEC1-6889-E1F33AF4E5D9}"/>
              </a:ext>
            </a:extLst>
          </p:cNvPr>
          <p:cNvCxnSpPr>
            <a:cxnSpLocks/>
            <a:stCxn id="47" idx="2"/>
          </p:cNvCxnSpPr>
          <p:nvPr/>
        </p:nvCxnSpPr>
        <p:spPr>
          <a:xfrm rot="10800000" flipV="1">
            <a:off x="4408337" y="4615832"/>
            <a:ext cx="1172222" cy="727741"/>
          </a:xfrm>
          <a:prstGeom prst="bentConnector3">
            <a:avLst>
              <a:gd name="adj1" fmla="val 21592"/>
            </a:avLst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26B61B65-5E7A-AA0B-5BA7-2E79B80F4DBD}"/>
              </a:ext>
            </a:extLst>
          </p:cNvPr>
          <p:cNvSpPr txBox="1"/>
          <p:nvPr/>
        </p:nvSpPr>
        <p:spPr>
          <a:xfrm>
            <a:off x="4674819" y="5387708"/>
            <a:ext cx="23457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/>
              <a:t>6. Event </a:t>
            </a:r>
            <a:r>
              <a:rPr lang="de-DE" sz="1200" dirty="0" err="1"/>
              <a:t>Demultiplexer</a:t>
            </a:r>
            <a:r>
              <a:rPr lang="de-DE" sz="1200" dirty="0"/>
              <a:t> blockt synchron bis neue Events verfügbar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79EF163B-78E4-1E7D-3F0F-79491E01FD94}"/>
              </a:ext>
            </a:extLst>
          </p:cNvPr>
          <p:cNvCxnSpPr>
            <a:cxnSpLocks/>
          </p:cNvCxnSpPr>
          <p:nvPr/>
        </p:nvCxnSpPr>
        <p:spPr>
          <a:xfrm>
            <a:off x="6161316" y="2778282"/>
            <a:ext cx="0" cy="115767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11F5B020-B004-D225-D13E-F4927E78B3F7}"/>
              </a:ext>
            </a:extLst>
          </p:cNvPr>
          <p:cNvSpPr/>
          <p:nvPr/>
        </p:nvSpPr>
        <p:spPr>
          <a:xfrm>
            <a:off x="860262" y="5344557"/>
            <a:ext cx="3376509" cy="4086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endParaRPr lang="de-DE" sz="1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8DFC46D-F11C-91A7-2DD0-4E2512F1FFF6}"/>
              </a:ext>
            </a:extLst>
          </p:cNvPr>
          <p:cNvSpPr/>
          <p:nvPr/>
        </p:nvSpPr>
        <p:spPr>
          <a:xfrm>
            <a:off x="962834" y="4954133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777B394-8701-74C3-A665-3CAEA3D99D15}"/>
              </a:ext>
            </a:extLst>
          </p:cNvPr>
          <p:cNvSpPr/>
          <p:nvPr/>
        </p:nvSpPr>
        <p:spPr>
          <a:xfrm>
            <a:off x="96283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Resource</a:t>
            </a:r>
            <a:endParaRPr lang="de-DE" sz="1400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0493F17-3FEB-67A1-2FAA-6758310E0DFB}"/>
              </a:ext>
            </a:extLst>
          </p:cNvPr>
          <p:cNvSpPr/>
          <p:nvPr/>
        </p:nvSpPr>
        <p:spPr>
          <a:xfrm>
            <a:off x="204745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peration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F6A8C19-1A44-14AD-2566-02C80252FEB0}"/>
              </a:ext>
            </a:extLst>
          </p:cNvPr>
          <p:cNvSpPr/>
          <p:nvPr/>
        </p:nvSpPr>
        <p:spPr>
          <a:xfrm>
            <a:off x="3132074" y="5401814"/>
            <a:ext cx="98205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andler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2648ECE-3A2E-683D-C9A9-4DE4D68A7FD1}"/>
              </a:ext>
            </a:extLst>
          </p:cNvPr>
          <p:cNvSpPr/>
          <p:nvPr/>
        </p:nvSpPr>
        <p:spPr>
          <a:xfrm>
            <a:off x="6058012" y="2439161"/>
            <a:ext cx="1420570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Execute Handler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58BF49-8347-6C78-2E90-93A1CB62B3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7346" y="4698289"/>
            <a:ext cx="1733060" cy="649897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390D5545-E4E8-ADB2-F729-ACD8ACAC80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4300" y="5415752"/>
            <a:ext cx="1733060" cy="6498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F9DB691-8CCF-E7C3-2179-3C374F04F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2122" y="1306896"/>
            <a:ext cx="1431521" cy="143152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C2CCF36-3177-5BBA-2EFE-7B021F6B23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94773" y="4200574"/>
            <a:ext cx="482983" cy="59383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71008EC-5793-CD04-7716-7713CF74FB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951" y="4285594"/>
            <a:ext cx="502319" cy="50231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9C05777-12F1-9F4C-AE50-515BD944A0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450" y="4285594"/>
            <a:ext cx="406736" cy="481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519588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BBDA4D94-D59B-45F1-A2EC-B91BB688A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73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BBDA4D94-D59B-45F1-A2EC-B91BB688A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itel 57">
            <a:extLst>
              <a:ext uri="{FF2B5EF4-FFF2-40B4-BE49-F238E27FC236}">
                <a16:creationId xmlns:a16="http://schemas.microsoft.com/office/drawing/2014/main" id="{884DC60B-98EC-412A-B770-DC5BBE5D9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59" name="Textplatzhalter 58">
            <a:extLst>
              <a:ext uri="{FF2B5EF4-FFF2-40B4-BE49-F238E27FC236}">
                <a16:creationId xmlns:a16="http://schemas.microsoft.com/office/drawing/2014/main" id="{95896FD6-226D-4858-BD9C-8654E9B03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Laptop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138B1FF0-B2D8-4C3F-B460-5E709702E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noProof="0" dirty="0"/>
              <a:t>Lorem ipsum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77EC090-5014-4B17-85F9-1A709EB249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3747B8D-BCE6-4577-A7AB-5ED6E2B20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70BAB3E-DA9E-46A1-BFF1-AEF3C08CC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9" y="5070058"/>
            <a:ext cx="3540706" cy="900246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pic>
        <p:nvPicPr>
          <p:cNvPr id="33" name="Bildplatzhalter 3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7507BB8B-BC8B-473A-AC18-C0E82A5E86B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/>
          <a:srcRect t="3423" b="3423"/>
          <a:stretch/>
        </p:blipFill>
        <p:spPr/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CD1650F3-C909-4613-BB61-3C7EBE086DD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091393B-0AB6-4ADD-8592-53449049985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3614D0F-AA89-4887-920F-A478BBFBA4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0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8FB919-E2C8-48A5-800F-B1FC4D015A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335890673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E1A9B7CC-763B-4060-A125-1DD0570393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0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E1A9B7CC-763B-4060-A125-1DD057039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platzhalter 36">
            <a:extLst>
              <a:ext uri="{FF2B5EF4-FFF2-40B4-BE49-F238E27FC236}">
                <a16:creationId xmlns:a16="http://schemas.microsoft.com/office/drawing/2014/main" id="{B0D383E2-37CB-4786-A868-94B8EBE888E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7"/>
          <a:srcRect l="37165" r="37165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C85A164-033A-4BAD-83BE-FC75875D1BB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ckup für Screensho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2D667-36BF-4AA4-83CD-49AE3096C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martpho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02789A-3B74-49BC-BA4B-E4BAEE8FBA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3CAC5AC-B68B-4F8D-847D-60DE9C3E77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9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6AF8D1-DB5F-4928-BB63-057DD83F3C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0E0829-7A55-4CC9-AA15-1D381C70FD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441470-3BBA-4517-9B80-C15A320843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3AB90E-A794-4BF2-86B0-EFCF53EBA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7919454" y="2445745"/>
            <a:ext cx="3540706" cy="1623521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a, venenatis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145D4E8-ADEF-45A3-9527-9AFBFAC97A8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noProof="0" dirty="0"/>
              <a:t>Lorem ipsum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EC9CB6-3CCE-4253-9751-16793BF12A5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591205A-7D60-4367-97FC-231438C19D8C}"/>
              </a:ext>
            </a:extLst>
          </p:cNvPr>
          <p:cNvSpPr>
            <a:spLocks noGrp="1"/>
          </p:cNvSpPr>
          <p:nvPr>
            <p:ph type="dt" sz="half" idx="23"/>
          </p:nvPr>
        </p:nvSpPr>
        <p:spPr bwMode="gray"/>
        <p:txBody>
          <a:bodyPr/>
          <a:lstStyle/>
          <a:p>
            <a:fld id="{8A116F2A-BF3B-4B53-9ADD-D2A3C3E3BB0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FD376759-3214-4853-9318-86A1D51D43A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1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D077B-311A-4E92-B2AA-DF68C57E893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17172546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290F7D26-E6FD-44BC-A5CC-C178C3B0C6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25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290F7D26-E6FD-44BC-A5CC-C178C3B0C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4826257C-5F50-411B-90EE-8914D99EF68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Teamchart</a:t>
            </a: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29EB4AE-08D3-4181-9894-8939E3EFD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solidFill>
            <a:schemeClr val="bg2"/>
          </a:solidFill>
        </p:spPr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0A57E330-7AFD-404C-97C4-DAC40290A5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solidFill>
            <a:schemeClr val="bg2"/>
          </a:solidFill>
        </p:spPr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F3F228E1-0729-4EC2-B19D-0BECBAA67D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solidFill>
            <a:schemeClr val="bg2"/>
          </a:solidFill>
        </p:spPr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8B5AE6F3-D365-4B93-871C-745D511620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chemeClr val="bg2"/>
          </a:solidFill>
        </p:spPr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6AF3261C-6FB4-454F-B06A-D824D3DBC12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solidFill>
            <a:schemeClr val="bg2"/>
          </a:solidFill>
        </p:spPr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759675DA-7ED5-4145-AA3E-24A709AB69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3888" y="4525643"/>
            <a:ext cx="1879254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6F00F675-6BD0-413D-8B32-EA4FD1FD8C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3888" y="4841114"/>
            <a:ext cx="1879254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0A5E57F-4742-4B36-9001-9228AC7DCF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2863142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BC60929-47A1-49D7-A4E0-1445A57386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6314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8723FCF3-1C90-44C9-8C16-D6CCDC4C63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5102398" y="4525643"/>
            <a:ext cx="1879255" cy="276225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23EDA294-88E5-49EF-8E57-BCDE5095F7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5102398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BA1DF507-6FB8-4281-B63A-C5D7A05D3C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7341652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59FAC10-F203-442D-B665-EA9B199A29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341652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D89EF81C-8872-445A-87D0-AEB69B1ABD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9580906" y="4525643"/>
            <a:ext cx="1879255" cy="276999"/>
          </a:xfrm>
        </p:spPr>
        <p:txBody>
          <a:bodyPr/>
          <a:lstStyle/>
          <a:p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4DB8EF2-A56A-45A2-9671-31B7841A2E6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80906" y="4841114"/>
            <a:ext cx="1879255" cy="215444"/>
          </a:xfrm>
        </p:spPr>
        <p:txBody>
          <a:bodyPr/>
          <a:lstStyle/>
          <a:p>
            <a:r>
              <a:rPr lang="de-DE" dirty="0"/>
              <a:t>Funktio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FF2129CB-337C-428A-9ADB-A35FD195F31C}"/>
              </a:ext>
            </a:extLst>
          </p:cNvPr>
          <p:cNvSpPr>
            <a:spLocks noGrp="1"/>
          </p:cNvSpPr>
          <p:nvPr>
            <p:ph type="dt" sz="half" idx="26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F3194ED5-E648-484C-BC10-14C196B359D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8EB849B-547B-4D00-A972-72B50F0B879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2</a:t>
            </a:fld>
            <a:endParaRPr lang="de-DE" dirty="0"/>
          </a:p>
        </p:txBody>
      </p:sp>
      <p:sp>
        <p:nvSpPr>
          <p:cNvPr id="41" name="Fußzeilenplatzhalter 40">
            <a:extLst>
              <a:ext uri="{FF2B5EF4-FFF2-40B4-BE49-F238E27FC236}">
                <a16:creationId xmlns:a16="http://schemas.microsoft.com/office/drawing/2014/main" id="{56593FC2-4950-4DD8-A464-784B330DBFB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5076248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1CB0432-ECC5-4E51-A12A-0143307AF9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30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1CB0432-ECC5-4E51-A12A-0143307AF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C6EBE41-B296-4E37-853C-06EFEC621B4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Zwei Inhalt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6B504DC-BDB3-4E3B-BF80-5BC292C0F7D7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graphicFrame>
        <p:nvGraphicFramePr>
          <p:cNvPr id="16" name="Inhaltsplatzhalter 15">
            <a:extLst>
              <a:ext uri="{FF2B5EF4-FFF2-40B4-BE49-F238E27FC236}">
                <a16:creationId xmlns:a16="http://schemas.microsoft.com/office/drawing/2014/main" id="{2FAA24C9-C8D2-4B3D-AFA4-62D6E5ABA37E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191451722"/>
              </p:ext>
            </p:extLst>
          </p:nvPr>
        </p:nvGraphicFramePr>
        <p:xfrm>
          <a:off x="6221413" y="1592263"/>
          <a:ext cx="5238750" cy="471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B7CC794-5CA7-4409-A817-B3D70FB54B37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022B0790-C012-47DC-8EEA-F04CB523725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B7FB21-718F-4440-9A9F-879F432987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0C721FB-4809-4B4D-BB51-212972C74E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77463592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12C276E-CCB7-4EEB-87B8-D89BCDD2C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78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12C276E-CCB7-4EEB-87B8-D89BCDD2C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67458100-4699-4E83-92BB-A5CE735EAB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133F4D-7145-4AD6-9677-158211DA21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Bil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3848C22-E869-4BB7-B852-66A949393E0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A3E4416D-5D44-496C-BCD6-B7E56376389F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1FCF61-4564-4B18-A2C5-280EC228AC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13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BFEDB16-3EA9-4E22-8A1E-543B45A20811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7B22481-3E5E-42FD-A32D-8E7C694603E6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480F3A6-5601-44A4-89CE-485D744139A0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AB46F03-FCFC-4E02-982E-6B504A06AA5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78858202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61898BB-6B10-4C63-B17D-EEC820099E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85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61898BB-6B10-4C63-B17D-EEC820099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7279A-1259-4706-B5E7-105BD6EF2A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Marginalspal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6D29D7-E9E3-4655-9D7A-9AF1EE8F27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/>
              <a:t>Donec quam felis, ultricies nec, pellentesque eu, pretium quis, sem consequat massa quis enim</a:t>
            </a:r>
          </a:p>
          <a:p>
            <a:pPr lvl="0"/>
            <a:r>
              <a:rPr lang="de-DE" dirty="0"/>
              <a:t>In enim justo, rhoncus ut, imperdiet </a:t>
            </a:r>
            <a:br>
              <a:rPr lang="de-DE" dirty="0"/>
            </a:br>
            <a:r>
              <a:rPr lang="de-DE" dirty="0"/>
              <a:t>a, venenatis vitae, justo</a:t>
            </a:r>
          </a:p>
          <a:p>
            <a:pPr lvl="0"/>
            <a:r>
              <a:rPr lang="de-DE" dirty="0"/>
              <a:t>Integer tincidunt. Cras dapibus. </a:t>
            </a:r>
            <a:br>
              <a:rPr lang="de-DE" dirty="0"/>
            </a:br>
            <a:r>
              <a:rPr lang="de-DE" dirty="0"/>
              <a:t>Vivamus elementum semper nisi</a:t>
            </a:r>
          </a:p>
          <a:p>
            <a:pPr lvl="0"/>
            <a:r>
              <a:rPr lang="de-DE" dirty="0"/>
              <a:t>Cum sociis natoque penatibus </a:t>
            </a:r>
            <a:br>
              <a:rPr lang="de-DE" dirty="0"/>
            </a:br>
            <a:r>
              <a:rPr lang="de-DE" dirty="0"/>
              <a:t>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911440-01AA-4C1F-AEA8-45C27FD54B19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AEA8F0CB-E6BE-45C5-ADE9-39FF42D28B4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43FDB2-B7C7-4AB3-952B-3D4CF6A744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5</a:t>
            </a:fld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90C07506-CDCE-4FCE-A4A5-F49D5CABE248}"/>
              </a:ext>
            </a:extLst>
          </p:cNvPr>
          <p:cNvSpPr txBox="1">
            <a:spLocks/>
          </p:cNvSpPr>
          <p:nvPr/>
        </p:nvSpPr>
        <p:spPr bwMode="gray">
          <a:xfrm>
            <a:off x="623887" y="1592263"/>
            <a:ext cx="7120970" cy="117724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1363C7AB-6907-492B-B8F7-A7AB640025D8}"/>
              </a:ext>
            </a:extLst>
          </p:cNvPr>
          <p:cNvSpPr txBox="1">
            <a:spLocks/>
          </p:cNvSpPr>
          <p:nvPr/>
        </p:nvSpPr>
        <p:spPr bwMode="gray">
          <a:xfrm>
            <a:off x="623887" y="3333977"/>
            <a:ext cx="7120970" cy="11772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sz="1800" dirty="0">
                <a:latin typeface="+mj-lt"/>
              </a:rPr>
              <a:t>Cum sociis natoque penatibus et magnis dis parturient monte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onec quam felis, ultricies nec, pellentesque eu, pretium quis, sem consequat massa quis enim. </a:t>
            </a:r>
            <a:br>
              <a:rPr lang="de-DE" dirty="0"/>
            </a:br>
            <a:r>
              <a:rPr lang="de-DE" dirty="0"/>
              <a:t>In enim justo, rhoncus ut, imperdiet a, venenatis vitae, justo. Integer tincidunt. Cras dapibus. </a:t>
            </a:r>
            <a:br>
              <a:rPr lang="de-DE" dirty="0"/>
            </a:br>
            <a:r>
              <a:rPr lang="de-DE" dirty="0"/>
              <a:t>Vivamus elementum semper nisi. Cum sociis natoque penatibus et magnis dis parturient montes. </a:t>
            </a:r>
            <a:br>
              <a:rPr lang="de-DE" dirty="0"/>
            </a:br>
            <a:r>
              <a:rPr lang="de-DE" dirty="0"/>
              <a:t>Donec quam felis, ultricies nec, pellentesque eu, pretium quis, sem consequat massa quis enim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A875970-DEBB-440A-8F6D-DD77A7E526F5}"/>
              </a:ext>
            </a:extLst>
          </p:cNvPr>
          <p:cNvCxnSpPr>
            <a:cxnSpLocks/>
          </p:cNvCxnSpPr>
          <p:nvPr/>
        </p:nvCxnSpPr>
        <p:spPr bwMode="gray">
          <a:xfrm>
            <a:off x="623888" y="3051743"/>
            <a:ext cx="712096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4A42FA6-ED89-4743-AF8E-5B69128CCA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26091660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C4E51E3-109A-477C-B35B-D1D5DF3ADC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7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C4E51E3-109A-477C-B35B-D1D5DF3AD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83C73D-837F-4C6F-8069-C32E03EBCC4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nhalt und Kernaussag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CF308D-2533-4BEC-B91B-8EE76F83D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pPr marL="0" lvl="0" indent="0">
              <a:buNone/>
            </a:pPr>
            <a:r>
              <a:rPr lang="de-DE" sz="1800" dirty="0">
                <a:latin typeface="+mj-lt"/>
              </a:rPr>
              <a:t>Cum sociis natoque penatibus et magnis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is parturient montes</a:t>
            </a:r>
          </a:p>
          <a:p>
            <a:pPr lvl="0"/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pPr lvl="0"/>
            <a:r>
              <a:rPr lang="de-DE" dirty="0"/>
              <a:t>In enim justo, rhoncus ut, imperdiet a, venenatis vitae, justo</a:t>
            </a:r>
          </a:p>
          <a:p>
            <a:pPr lvl="0"/>
            <a:r>
              <a:rPr lang="de-DE" dirty="0"/>
              <a:t>Integer tincidunt. Cras dapibus. Vivamus elementum semper nisi</a:t>
            </a:r>
          </a:p>
          <a:p>
            <a:pPr lvl="0"/>
            <a:r>
              <a:rPr lang="de-DE" dirty="0"/>
              <a:t>Cum sociis natoque penatibus et magnis dis parturient montes</a:t>
            </a:r>
          </a:p>
          <a:p>
            <a:pPr lvl="0"/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80D81A-90EA-42C6-AFD2-EAE147DD6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0" indent="0">
              <a:buNone/>
            </a:pPr>
            <a:r>
              <a:rPr lang="de-DE" sz="1800" dirty="0">
                <a:latin typeface="+mj-lt"/>
              </a:rPr>
              <a:t>Sed ut perspiciatis unde accusantium </a:t>
            </a:r>
            <a:br>
              <a:rPr lang="de-DE" sz="1800" dirty="0">
                <a:latin typeface="+mj-lt"/>
              </a:rPr>
            </a:br>
            <a:r>
              <a:rPr lang="de-DE" sz="1800" dirty="0">
                <a:latin typeface="+mj-lt"/>
              </a:rPr>
              <a:t>doloremque laudantium</a:t>
            </a:r>
          </a:p>
          <a:p>
            <a:r>
              <a:rPr lang="de-DE" dirty="0"/>
              <a:t>Donec quam felis, ultricies nec, pellentesque eu, </a:t>
            </a:r>
            <a:br>
              <a:rPr lang="de-DE" dirty="0"/>
            </a:br>
            <a:r>
              <a:rPr lang="de-DE" dirty="0"/>
              <a:t>pretium quis, sem consequat massa quis enim</a:t>
            </a:r>
          </a:p>
          <a:p>
            <a:r>
              <a:rPr lang="de-DE" dirty="0"/>
              <a:t>In enim justo, rhoncus ut, imperdiet a, venenatis vitae, justo</a:t>
            </a:r>
          </a:p>
          <a:p>
            <a:r>
              <a:rPr lang="de-DE" dirty="0"/>
              <a:t>Integer tincidunt. Cras dapibus. Vivamus elementum semper nisi</a:t>
            </a:r>
          </a:p>
          <a:p>
            <a:r>
              <a:rPr lang="de-DE" dirty="0"/>
              <a:t>Cum sociis natoque penatibus et magnis dis parturient montes</a:t>
            </a:r>
          </a:p>
          <a:p>
            <a:r>
              <a:rPr lang="de-DE" dirty="0"/>
              <a:t>Donec quam felis, ultricies nec, pellentesque eu, pretium quis, </a:t>
            </a:r>
            <a:br>
              <a:rPr lang="de-DE" dirty="0"/>
            </a:br>
            <a:r>
              <a:rPr lang="de-DE" dirty="0"/>
              <a:t>sem consequat massa quis eni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7BFBED6-1F7F-4513-85CA-50085367CD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noProof="1"/>
              <a:t>Duis aute irure dolor in reprehenderit </a:t>
            </a:r>
            <a:br>
              <a:rPr lang="de-DE" noProof="1"/>
            </a:br>
            <a:r>
              <a:rPr lang="de-DE" noProof="1"/>
              <a:t>in voluptate s</a:t>
            </a:r>
            <a:r>
              <a:rPr lang="de-DE" noProof="0" dirty="0"/>
              <a:t>ed ut perspiciatis unde 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BEAF76-1EDD-403A-9C1B-9B46B76BF80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FD6F76D-E03A-405E-9FD3-9E54E741D326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1DF997-F05F-4D36-8DCE-3628F72BA2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6</a:t>
            </a:fld>
            <a:endParaRPr lang="de-DE" dirty="0"/>
          </a:p>
        </p:txBody>
      </p:sp>
      <p:sp>
        <p:nvSpPr>
          <p:cNvPr id="14" name="Shape 2591">
            <a:extLst>
              <a:ext uri="{FF2B5EF4-FFF2-40B4-BE49-F238E27FC236}">
                <a16:creationId xmlns:a16="http://schemas.microsoft.com/office/drawing/2014/main" id="{1C76B331-E3EE-47E7-A0EE-80D51155F0A9}"/>
              </a:ext>
            </a:extLst>
          </p:cNvPr>
          <p:cNvSpPr/>
          <p:nvPr/>
        </p:nvSpPr>
        <p:spPr bwMode="gray">
          <a:xfrm>
            <a:off x="6261904" y="5031906"/>
            <a:ext cx="1193586" cy="1193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53E539B-AFDF-479E-A73C-82CB1146947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15495311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80B7381-D73C-4C46-B58F-683041BD54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16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80B7381-D73C-4C46-B58F-683041BD5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61866440-0819-4CDF-A611-1B288F0E834D}"/>
              </a:ext>
            </a:extLst>
          </p:cNvPr>
          <p:cNvSpPr/>
          <p:nvPr/>
        </p:nvSpPr>
        <p:spPr bwMode="gray">
          <a:xfrm>
            <a:off x="3185962" y="1739807"/>
            <a:ext cx="2473515" cy="154631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Freihandform: Form 47">
            <a:extLst>
              <a:ext uri="{FF2B5EF4-FFF2-40B4-BE49-F238E27FC236}">
                <a16:creationId xmlns:a16="http://schemas.microsoft.com/office/drawing/2014/main" id="{6656AE89-74AE-4E5C-A639-33716C3AFE49}"/>
              </a:ext>
            </a:extLst>
          </p:cNvPr>
          <p:cNvSpPr/>
          <p:nvPr/>
        </p:nvSpPr>
        <p:spPr bwMode="gray">
          <a:xfrm flipV="1">
            <a:off x="3185962" y="4314823"/>
            <a:ext cx="2473515" cy="410407"/>
          </a:xfrm>
          <a:custGeom>
            <a:avLst/>
            <a:gdLst>
              <a:gd name="connsiteX0" fmla="*/ 1866900 w 1866900"/>
              <a:gd name="connsiteY0" fmla="*/ 0 h 1516380"/>
              <a:gd name="connsiteX1" fmla="*/ 480060 w 1866900"/>
              <a:gd name="connsiteY1" fmla="*/ 0 h 1516380"/>
              <a:gd name="connsiteX2" fmla="*/ 480060 w 1866900"/>
              <a:gd name="connsiteY2" fmla="*/ 1516380 h 1516380"/>
              <a:gd name="connsiteX3" fmla="*/ 0 w 1866900"/>
              <a:gd name="connsiteY3" fmla="*/ 151638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1516380">
                <a:moveTo>
                  <a:pt x="1866900" y="0"/>
                </a:moveTo>
                <a:lnTo>
                  <a:pt x="480060" y="0"/>
                </a:lnTo>
                <a:lnTo>
                  <a:pt x="480060" y="1516380"/>
                </a:lnTo>
                <a:lnTo>
                  <a:pt x="0" y="151638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59E0F3-A707-4D44-8389-B1DFB02D415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53D43E-31AA-4A5D-9133-E5F9C640A6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C78E879-3594-483F-BCE9-F3A0BAFC3E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576B0A9-8B40-4039-B646-7EC9149B3DF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E8A46D-E34D-4101-8580-E0B68E61B5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7</a:t>
            </a:fld>
            <a:endParaRPr lang="de-DE" dirty="0"/>
          </a:p>
        </p:txBody>
      </p:sp>
      <p:graphicFrame>
        <p:nvGraphicFramePr>
          <p:cNvPr id="22" name="Chart 32">
            <a:extLst>
              <a:ext uri="{FF2B5EF4-FFF2-40B4-BE49-F238E27FC236}">
                <a16:creationId xmlns:a16="http://schemas.microsoft.com/office/drawing/2014/main" id="{84D2BA9B-DA6F-44FF-B656-48DD402BF86D}"/>
              </a:ext>
            </a:extLst>
          </p:cNvPr>
          <p:cNvGraphicFramePr/>
          <p:nvPr/>
        </p:nvGraphicFramePr>
        <p:xfrm>
          <a:off x="4860762" y="1760756"/>
          <a:ext cx="6737172" cy="151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Rectangle: Rounded Corners 33">
            <a:extLst>
              <a:ext uri="{FF2B5EF4-FFF2-40B4-BE49-F238E27FC236}">
                <a16:creationId xmlns:a16="http://schemas.microsoft.com/office/drawing/2014/main" id="{806AC4D0-6D10-4423-B33A-5AB3E714ED11}"/>
              </a:ext>
            </a:extLst>
          </p:cNvPr>
          <p:cNvSpPr>
            <a:spLocks/>
          </p:cNvSpPr>
          <p:nvPr/>
        </p:nvSpPr>
        <p:spPr bwMode="gray">
          <a:xfrm>
            <a:off x="4966636" y="1592263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m exchange</a:t>
            </a:r>
          </a:p>
        </p:txBody>
      </p:sp>
      <p:graphicFrame>
        <p:nvGraphicFramePr>
          <p:cNvPr id="24" name="Chart 34">
            <a:extLst>
              <a:ext uri="{FF2B5EF4-FFF2-40B4-BE49-F238E27FC236}">
                <a16:creationId xmlns:a16="http://schemas.microsoft.com/office/drawing/2014/main" id="{FC507C5F-E43C-4F53-855B-65787792D2EE}"/>
              </a:ext>
            </a:extLst>
          </p:cNvPr>
          <p:cNvGraphicFramePr/>
          <p:nvPr/>
        </p:nvGraphicFramePr>
        <p:xfrm>
          <a:off x="4860762" y="4931147"/>
          <a:ext cx="6737172" cy="1376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Rectangle: Rounded Corners 35">
            <a:extLst>
              <a:ext uri="{FF2B5EF4-FFF2-40B4-BE49-F238E27FC236}">
                <a16:creationId xmlns:a16="http://schemas.microsoft.com/office/drawing/2014/main" id="{C1E35685-F7DE-41B0-9095-A0F1BD6AD56C}"/>
              </a:ext>
            </a:extLst>
          </p:cNvPr>
          <p:cNvSpPr>
            <a:spLocks/>
          </p:cNvSpPr>
          <p:nvPr/>
        </p:nvSpPr>
        <p:spPr bwMode="gray">
          <a:xfrm>
            <a:off x="4966636" y="4572688"/>
            <a:ext cx="6493527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aster updates by affected articles for n:n exchange</a:t>
            </a: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95F0C1CF-7C24-4F55-BBC6-EFA7821FA925}"/>
              </a:ext>
            </a:extLst>
          </p:cNvPr>
          <p:cNvSpPr/>
          <p:nvPr/>
        </p:nvSpPr>
        <p:spPr bwMode="gray">
          <a:xfrm>
            <a:off x="8596574" y="3517645"/>
            <a:ext cx="1702458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cessed spotlight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t nutrition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cycle accessorie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at technique, multimedia …</a:t>
            </a:r>
          </a:p>
        </p:txBody>
      </p:sp>
      <p:sp>
        <p:nvSpPr>
          <p:cNvPr id="27" name="Rectangle 45">
            <a:extLst>
              <a:ext uri="{FF2B5EF4-FFF2-40B4-BE49-F238E27FC236}">
                <a16:creationId xmlns:a16="http://schemas.microsoft.com/office/drawing/2014/main" id="{C4EE2BC6-CBBB-460D-8CAF-565F1E88C820}"/>
              </a:ext>
            </a:extLst>
          </p:cNvPr>
          <p:cNvSpPr/>
          <p:nvPr/>
        </p:nvSpPr>
        <p:spPr bwMode="gray">
          <a:xfrm>
            <a:off x="10597457" y="3517645"/>
            <a:ext cx="862706" cy="730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r coating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eds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veltyshop</a:t>
            </a:r>
          </a:p>
          <a:p>
            <a:pPr marL="144000" marR="0" lvl="0" indent="-1440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eimtex …</a:t>
            </a:r>
          </a:p>
        </p:txBody>
      </p:sp>
      <p:graphicFrame>
        <p:nvGraphicFramePr>
          <p:cNvPr id="28" name="Chart 23">
            <a:extLst>
              <a:ext uri="{FF2B5EF4-FFF2-40B4-BE49-F238E27FC236}">
                <a16:creationId xmlns:a16="http://schemas.microsoft.com/office/drawing/2014/main" id="{AE353D7E-DB35-40B3-935A-7443CF311747}"/>
              </a:ext>
            </a:extLst>
          </p:cNvPr>
          <p:cNvGraphicFramePr/>
          <p:nvPr/>
        </p:nvGraphicFramePr>
        <p:xfrm>
          <a:off x="1189299" y="1532000"/>
          <a:ext cx="3265794" cy="481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BAAA3E1-9275-47F1-9DAD-829261B77B2C}"/>
              </a:ext>
            </a:extLst>
          </p:cNvPr>
          <p:cNvSpPr/>
          <p:nvPr/>
        </p:nvSpPr>
        <p:spPr bwMode="gray">
          <a:xfrm>
            <a:off x="9131300" y="3228975"/>
            <a:ext cx="1331361" cy="257175"/>
          </a:xfrm>
          <a:custGeom>
            <a:avLst/>
            <a:gdLst>
              <a:gd name="connsiteX0" fmla="*/ 0 w 2600325"/>
              <a:gd name="connsiteY0" fmla="*/ 257175 h 257175"/>
              <a:gd name="connsiteX1" fmla="*/ 0 w 2600325"/>
              <a:gd name="connsiteY1" fmla="*/ 147638 h 257175"/>
              <a:gd name="connsiteX2" fmla="*/ 2600325 w 2600325"/>
              <a:gd name="connsiteY2" fmla="*/ 147638 h 257175"/>
              <a:gd name="connsiteX3" fmla="*/ 2600325 w 2600325"/>
              <a:gd name="connsiteY3" fmla="*/ 0 h 25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0325" h="257175">
                <a:moveTo>
                  <a:pt x="0" y="257175"/>
                </a:moveTo>
                <a:lnTo>
                  <a:pt x="0" y="147638"/>
                </a:lnTo>
                <a:lnTo>
                  <a:pt x="2600325" y="147638"/>
                </a:lnTo>
                <a:lnTo>
                  <a:pt x="2600325" y="0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21FA686-5445-4D81-9812-267A53C81F1F}"/>
              </a:ext>
            </a:extLst>
          </p:cNvPr>
          <p:cNvCxnSpPr>
            <a:cxnSpLocks/>
          </p:cNvCxnSpPr>
          <p:nvPr/>
        </p:nvCxnSpPr>
        <p:spPr bwMode="gray">
          <a:xfrm>
            <a:off x="11115174" y="3228975"/>
            <a:ext cx="0" cy="257175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CB68728-2196-42CB-85CC-EE17790566DD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20" name="Textplatzhalter 10">
              <a:extLst>
                <a:ext uri="{FF2B5EF4-FFF2-40B4-BE49-F238E27FC236}">
                  <a16:creationId xmlns:a16="http://schemas.microsoft.com/office/drawing/2014/main" id="{9E3DB06B-2009-487D-AF1C-E146D1BADB1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8C9C8C3D-810B-47F1-8515-18CBDE1F48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1" name="Textplatzhalter 10">
              <a:extLst>
                <a:ext uri="{FF2B5EF4-FFF2-40B4-BE49-F238E27FC236}">
                  <a16:creationId xmlns:a16="http://schemas.microsoft.com/office/drawing/2014/main" id="{4136163E-3E90-4ED8-8928-A8BC024BDC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10D8F432-3AD0-4482-9766-F23408C0D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4" name="Textplatzhalter 10">
              <a:extLst>
                <a:ext uri="{FF2B5EF4-FFF2-40B4-BE49-F238E27FC236}">
                  <a16:creationId xmlns:a16="http://schemas.microsoft.com/office/drawing/2014/main" id="{307C959A-8A7C-4764-9922-D60EDB678FE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36C31AA5-E81B-4962-A48F-EF6C36F179A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37" name="Textplatzhalter 10">
              <a:extLst>
                <a:ext uri="{FF2B5EF4-FFF2-40B4-BE49-F238E27FC236}">
                  <a16:creationId xmlns:a16="http://schemas.microsoft.com/office/drawing/2014/main" id="{17E1F53E-099F-4CC8-A8C0-0C8FF88B571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29D9629D-51BA-4A3A-B66C-A0C328D0D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41" name="Textplatzhalter 10">
              <a:extLst>
                <a:ext uri="{FF2B5EF4-FFF2-40B4-BE49-F238E27FC236}">
                  <a16:creationId xmlns:a16="http://schemas.microsoft.com/office/drawing/2014/main" id="{F346B01E-95E8-4829-AB13-5ACF83EE2B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D2F1D1F-1650-4078-BB36-DC9AACA69F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0" name="Textplatzhalter 10">
              <a:extLst>
                <a:ext uri="{FF2B5EF4-FFF2-40B4-BE49-F238E27FC236}">
                  <a16:creationId xmlns:a16="http://schemas.microsoft.com/office/drawing/2014/main" id="{69060193-F57F-4985-9255-BA19317D7D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86AAE423-F1CD-4527-B996-A777B4FC7F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623C624A-B0F5-4F57-9074-D71A206D08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87D3780-7DF3-4709-BA58-F44F7525E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F6866A-1B79-4B80-9A1B-DB3D923D3B2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267488566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8D2BBE0-B6D5-4C5F-A5DC-D1E4953D7D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95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8D2BBE0-B6D5-4C5F-A5DC-D1E4953D7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Chart 23">
            <a:extLst>
              <a:ext uri="{FF2B5EF4-FFF2-40B4-BE49-F238E27FC236}">
                <a16:creationId xmlns:a16="http://schemas.microsoft.com/office/drawing/2014/main" id="{733C2E66-F5B3-4FA1-86AD-5F59A7B9502B}"/>
              </a:ext>
            </a:extLst>
          </p:cNvPr>
          <p:cNvGraphicFramePr/>
          <p:nvPr/>
        </p:nvGraphicFramePr>
        <p:xfrm>
          <a:off x="1026933" y="1703557"/>
          <a:ext cx="375716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54D921F-8E47-4A1B-9F0C-819A6A60A0D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aster updates by type, 201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BF5CDF-A4D4-472A-998E-A2B2D13659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Number of affected articles strongly varies between different types of raster updates (in #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F0900A-F7A5-4AC1-8864-08523368291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83728AE-A5F6-488E-8CE3-AF15C6AB46C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D40BD6-BDC8-4E9C-AF62-2F9C7286181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8</a:t>
            </a:fld>
            <a:endParaRPr lang="de-DE" dirty="0"/>
          </a:p>
        </p:txBody>
      </p:sp>
      <p:sp>
        <p:nvSpPr>
          <p:cNvPr id="16" name="Rectangle: Rounded Corners 27">
            <a:extLst>
              <a:ext uri="{FF2B5EF4-FFF2-40B4-BE49-F238E27FC236}">
                <a16:creationId xmlns:a16="http://schemas.microsoft.com/office/drawing/2014/main" id="{960BF0D1-9E04-4B28-9AC1-3DB10D8CD0F4}"/>
              </a:ext>
            </a:extLst>
          </p:cNvPr>
          <p:cNvSpPr>
            <a:spLocks/>
          </p:cNvSpPr>
          <p:nvPr/>
        </p:nvSpPr>
        <p:spPr bwMode="gray">
          <a:xfrm>
            <a:off x="266491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-Rath (411)</a:t>
            </a:r>
          </a:p>
        </p:txBody>
      </p:sp>
      <p:sp>
        <p:nvSpPr>
          <p:cNvPr id="18" name="Rectangle: Rounded Corners 36">
            <a:extLst>
              <a:ext uri="{FF2B5EF4-FFF2-40B4-BE49-F238E27FC236}">
                <a16:creationId xmlns:a16="http://schemas.microsoft.com/office/drawing/2014/main" id="{1A255D01-9EC5-48F3-91AF-8CFF108880DA}"/>
              </a:ext>
            </a:extLst>
          </p:cNvPr>
          <p:cNvSpPr>
            <a:spLocks/>
          </p:cNvSpPr>
          <p:nvPr/>
        </p:nvSpPr>
        <p:spPr bwMode="gray">
          <a:xfrm>
            <a:off x="4458976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ückelhoven (599)</a:t>
            </a:r>
          </a:p>
        </p:txBody>
      </p:sp>
      <p:sp>
        <p:nvSpPr>
          <p:cNvPr id="20" name="Rectangle: Rounded Corners 39">
            <a:extLst>
              <a:ext uri="{FF2B5EF4-FFF2-40B4-BE49-F238E27FC236}">
                <a16:creationId xmlns:a16="http://schemas.microsoft.com/office/drawing/2014/main" id="{ED8BCB59-FA8D-4C3C-9062-5FB807CA5881}"/>
              </a:ext>
            </a:extLst>
          </p:cNvPr>
          <p:cNvSpPr>
            <a:spLocks/>
          </p:cNvSpPr>
          <p:nvPr/>
        </p:nvSpPr>
        <p:spPr bwMode="gray">
          <a:xfrm>
            <a:off x="6253040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Düren (481)</a:t>
            </a:r>
          </a:p>
        </p:txBody>
      </p:sp>
      <p:sp>
        <p:nvSpPr>
          <p:cNvPr id="23" name="Rectangle: Rounded Corners 46">
            <a:extLst>
              <a:ext uri="{FF2B5EF4-FFF2-40B4-BE49-F238E27FC236}">
                <a16:creationId xmlns:a16="http://schemas.microsoft.com/office/drawing/2014/main" id="{3FD8BCBC-C5A2-4E9C-A0B7-902454C0EE1F}"/>
              </a:ext>
            </a:extLst>
          </p:cNvPr>
          <p:cNvSpPr>
            <a:spLocks/>
          </p:cNvSpPr>
          <p:nvPr/>
        </p:nvSpPr>
        <p:spPr bwMode="gray">
          <a:xfrm>
            <a:off x="8047103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K-Mühlheim (252)</a:t>
            </a:r>
          </a:p>
        </p:txBody>
      </p:sp>
      <p:sp>
        <p:nvSpPr>
          <p:cNvPr id="25" name="Rectangle: Rounded Corners 49">
            <a:extLst>
              <a:ext uri="{FF2B5EF4-FFF2-40B4-BE49-F238E27FC236}">
                <a16:creationId xmlns:a16="http://schemas.microsoft.com/office/drawing/2014/main" id="{39C851A0-392A-458F-8F50-5756CCEB64E3}"/>
              </a:ext>
            </a:extLst>
          </p:cNvPr>
          <p:cNvSpPr>
            <a:spLocks/>
          </p:cNvSpPr>
          <p:nvPr/>
        </p:nvSpPr>
        <p:spPr bwMode="gray">
          <a:xfrm>
            <a:off x="9841167" y="1592263"/>
            <a:ext cx="1618996" cy="30765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/>
          <a:lstStyle/>
          <a:p>
            <a:pPr algn="ctr"/>
            <a:r>
              <a:rPr lang="de-DE" sz="1200" kern="0" dirty="0">
                <a:latin typeface="+mj-lt"/>
              </a:rPr>
              <a:t>Herzogenrath (570)</a:t>
            </a:r>
          </a:p>
        </p:txBody>
      </p:sp>
      <p:graphicFrame>
        <p:nvGraphicFramePr>
          <p:cNvPr id="26" name="Table 50">
            <a:extLst>
              <a:ext uri="{FF2B5EF4-FFF2-40B4-BE49-F238E27FC236}">
                <a16:creationId xmlns:a16="http://schemas.microsoft.com/office/drawing/2014/main" id="{01E3C800-C0B9-4EC8-A683-BC7AC5F163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908592"/>
              </p:ext>
            </p:extLst>
          </p:nvPr>
        </p:nvGraphicFramePr>
        <p:xfrm>
          <a:off x="609601" y="5414164"/>
          <a:ext cx="10850560" cy="83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0761">
                  <a:extLst>
                    <a:ext uri="{9D8B030D-6E8A-4147-A177-3AD203B41FA5}">
                      <a16:colId xmlns:a16="http://schemas.microsoft.com/office/drawing/2014/main" val="3926383558"/>
                    </a:ext>
                  </a:extLst>
                </a:gridCol>
                <a:gridCol w="1791222">
                  <a:extLst>
                    <a:ext uri="{9D8B030D-6E8A-4147-A177-3AD203B41FA5}">
                      <a16:colId xmlns:a16="http://schemas.microsoft.com/office/drawing/2014/main" val="1904642201"/>
                    </a:ext>
                  </a:extLst>
                </a:gridCol>
                <a:gridCol w="1851416">
                  <a:extLst>
                    <a:ext uri="{9D8B030D-6E8A-4147-A177-3AD203B41FA5}">
                      <a16:colId xmlns:a16="http://schemas.microsoft.com/office/drawing/2014/main" val="158556259"/>
                    </a:ext>
                  </a:extLst>
                </a:gridCol>
                <a:gridCol w="1743553">
                  <a:extLst>
                    <a:ext uri="{9D8B030D-6E8A-4147-A177-3AD203B41FA5}">
                      <a16:colId xmlns:a16="http://schemas.microsoft.com/office/drawing/2014/main" val="4034760510"/>
                    </a:ext>
                  </a:extLst>
                </a:gridCol>
                <a:gridCol w="1926747">
                  <a:extLst>
                    <a:ext uri="{9D8B030D-6E8A-4147-A177-3AD203B41FA5}">
                      <a16:colId xmlns:a16="http://schemas.microsoft.com/office/drawing/2014/main" val="2213940796"/>
                    </a:ext>
                  </a:extLst>
                </a:gridCol>
                <a:gridCol w="1566861">
                  <a:extLst>
                    <a:ext uri="{9D8B030D-6E8A-4147-A177-3AD203B41FA5}">
                      <a16:colId xmlns:a16="http://schemas.microsoft.com/office/drawing/2014/main" val="12451203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Raster</a:t>
                      </a:r>
                      <a:r>
                        <a:rPr lang="de-DE" sz="1200" b="0" strike="noStrike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total</a:t>
                      </a:r>
                    </a:p>
                  </a:txBody>
                  <a:tcPr marL="72000" marR="72000" marT="72000" marB="72000" anchor="b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,121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9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687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390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1,166</a:t>
                      </a:r>
                    </a:p>
                  </a:txBody>
                  <a:tcPr marL="72000" marR="72000" marT="72000" marB="7200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092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Updated rasters/</a:t>
                      </a:r>
                      <a:b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of total</a:t>
                      </a:r>
                      <a:r>
                        <a:rPr lang="de-DE" sz="1200" b="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18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9/24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96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5/23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11/27%</a:t>
                      </a:r>
                    </a:p>
                  </a:txBody>
                  <a:tcPr marL="72000" marR="72000" marT="72000" marB="720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426370"/>
                  </a:ext>
                </a:extLst>
              </a:tr>
            </a:tbl>
          </a:graphicData>
        </a:graphic>
      </p:graphicFrame>
      <p:sp>
        <p:nvSpPr>
          <p:cNvPr id="44" name="Rectangle 28">
            <a:extLst>
              <a:ext uri="{FF2B5EF4-FFF2-40B4-BE49-F238E27FC236}">
                <a16:creationId xmlns:a16="http://schemas.microsoft.com/office/drawing/2014/main" id="{EF88F2A4-2618-47DA-94E7-1FCA9AD5CC3B}"/>
              </a:ext>
            </a:extLst>
          </p:cNvPr>
          <p:cNvSpPr/>
          <p:nvPr/>
        </p:nvSpPr>
        <p:spPr bwMode="gray">
          <a:xfrm>
            <a:off x="3064919" y="2086511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695</a:t>
            </a:r>
          </a:p>
        </p:txBody>
      </p:sp>
      <p:sp>
        <p:nvSpPr>
          <p:cNvPr id="45" name="Rectangle 37">
            <a:extLst>
              <a:ext uri="{FF2B5EF4-FFF2-40B4-BE49-F238E27FC236}">
                <a16:creationId xmlns:a16="http://schemas.microsoft.com/office/drawing/2014/main" id="{9C3BC182-DA00-490F-BBA0-ED09A1271007}"/>
              </a:ext>
            </a:extLst>
          </p:cNvPr>
          <p:cNvSpPr/>
          <p:nvPr/>
        </p:nvSpPr>
        <p:spPr bwMode="gray">
          <a:xfrm>
            <a:off x="4930845" y="259376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13</a:t>
            </a:r>
          </a:p>
        </p:txBody>
      </p:sp>
      <p:sp>
        <p:nvSpPr>
          <p:cNvPr id="46" name="Rectangle 40">
            <a:extLst>
              <a:ext uri="{FF2B5EF4-FFF2-40B4-BE49-F238E27FC236}">
                <a16:creationId xmlns:a16="http://schemas.microsoft.com/office/drawing/2014/main" id="{CABDAF63-54C7-437D-89AE-86E0B1901C2C}"/>
              </a:ext>
            </a:extLst>
          </p:cNvPr>
          <p:cNvSpPr/>
          <p:nvPr/>
        </p:nvSpPr>
        <p:spPr bwMode="gray">
          <a:xfrm>
            <a:off x="6726520" y="2668064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503</a:t>
            </a:r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A158E0A7-4CD2-4D5D-9310-0FC7DA90C769}"/>
              </a:ext>
            </a:extLst>
          </p:cNvPr>
          <p:cNvSpPr/>
          <p:nvPr/>
        </p:nvSpPr>
        <p:spPr bwMode="gray">
          <a:xfrm>
            <a:off x="8497276" y="3043349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8</a:t>
            </a:r>
          </a:p>
        </p:txBody>
      </p:sp>
      <p:sp>
        <p:nvSpPr>
          <p:cNvPr id="48" name="Rectangle 48">
            <a:extLst>
              <a:ext uri="{FF2B5EF4-FFF2-40B4-BE49-F238E27FC236}">
                <a16:creationId xmlns:a16="http://schemas.microsoft.com/office/drawing/2014/main" id="{EF4CB3D4-DB7E-438F-93C9-7D60A029DDC8}"/>
              </a:ext>
            </a:extLst>
          </p:cNvPr>
          <p:cNvSpPr/>
          <p:nvPr/>
        </p:nvSpPr>
        <p:spPr bwMode="gray">
          <a:xfrm>
            <a:off x="10297247" y="3085258"/>
            <a:ext cx="779144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401</a:t>
            </a:r>
          </a:p>
        </p:txBody>
      </p:sp>
      <p:graphicFrame>
        <p:nvGraphicFramePr>
          <p:cNvPr id="35" name="Chart 29">
            <a:extLst>
              <a:ext uri="{FF2B5EF4-FFF2-40B4-BE49-F238E27FC236}">
                <a16:creationId xmlns:a16="http://schemas.microsoft.com/office/drawing/2014/main" id="{69DAFC3D-B68F-4C8F-AA33-87F5B8B00F0D}"/>
              </a:ext>
            </a:extLst>
          </p:cNvPr>
          <p:cNvGraphicFramePr>
            <a:graphicFrameLocks/>
          </p:cNvGraphicFramePr>
          <p:nvPr/>
        </p:nvGraphicFramePr>
        <p:xfrm>
          <a:off x="396764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Chart 38">
            <a:extLst>
              <a:ext uri="{FF2B5EF4-FFF2-40B4-BE49-F238E27FC236}">
                <a16:creationId xmlns:a16="http://schemas.microsoft.com/office/drawing/2014/main" id="{1043ED78-EA96-444E-807F-CE815A027217}"/>
              </a:ext>
            </a:extLst>
          </p:cNvPr>
          <p:cNvGraphicFramePr>
            <a:graphicFrameLocks/>
          </p:cNvGraphicFramePr>
          <p:nvPr/>
        </p:nvGraphicFramePr>
        <p:xfrm>
          <a:off x="5761709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Chart 41">
            <a:extLst>
              <a:ext uri="{FF2B5EF4-FFF2-40B4-BE49-F238E27FC236}">
                <a16:creationId xmlns:a16="http://schemas.microsoft.com/office/drawing/2014/main" id="{FF8D9318-930B-49F4-B659-E60D93656084}"/>
              </a:ext>
            </a:extLst>
          </p:cNvPr>
          <p:cNvGraphicFramePr>
            <a:graphicFrameLocks/>
          </p:cNvGraphicFramePr>
          <p:nvPr/>
        </p:nvGraphicFramePr>
        <p:xfrm>
          <a:off x="7555772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8" name="Chart 47">
            <a:extLst>
              <a:ext uri="{FF2B5EF4-FFF2-40B4-BE49-F238E27FC236}">
                <a16:creationId xmlns:a16="http://schemas.microsoft.com/office/drawing/2014/main" id="{2141FDE1-E9D3-4D91-B8E5-DA5EA8A48A59}"/>
              </a:ext>
            </a:extLst>
          </p:cNvPr>
          <p:cNvGraphicFramePr>
            <a:graphicFrameLocks/>
          </p:cNvGraphicFramePr>
          <p:nvPr/>
        </p:nvGraphicFramePr>
        <p:xfrm>
          <a:off x="9349835" y="1691014"/>
          <a:ext cx="2601658" cy="38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3ED3120A-6725-4CF9-AE5E-D8B70B1281C8}"/>
              </a:ext>
            </a:extLst>
          </p:cNvPr>
          <p:cNvGrpSpPr/>
          <p:nvPr/>
        </p:nvGrpSpPr>
        <p:grpSpPr bwMode="gray">
          <a:xfrm>
            <a:off x="623888" y="2486901"/>
            <a:ext cx="1666134" cy="2403994"/>
            <a:chOff x="623888" y="2156701"/>
            <a:chExt cx="1666134" cy="2403994"/>
          </a:xfrm>
        </p:grpSpPr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D45AFEE1-77B9-4A5F-9196-A29BC792941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15670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additional articles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6725F10-FA17-420B-9803-3DB4D4ECA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195059"/>
              <a:ext cx="107950" cy="1079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5" name="Textplatzhalter 10">
              <a:extLst>
                <a:ext uri="{FF2B5EF4-FFF2-40B4-BE49-F238E27FC236}">
                  <a16:creationId xmlns:a16="http://schemas.microsoft.com/office/drawing/2014/main" id="{955921D6-376B-413B-BF74-151CEC0E52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52658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 eliminated articles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6180116-B65E-403B-BFFD-00CAF52C0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564947"/>
              <a:ext cx="107950" cy="1079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7" name="Textplatzhalter 10">
              <a:extLst>
                <a:ext uri="{FF2B5EF4-FFF2-40B4-BE49-F238E27FC236}">
                  <a16:creationId xmlns:a16="http://schemas.microsoft.com/office/drawing/2014/main" id="{D96591D1-389E-4895-AD18-9895007CBA4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2896477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additional article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D5574E4-E6E4-446D-AC99-FF3C1C2597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934835"/>
              <a:ext cx="107950" cy="107950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59" name="Textplatzhalter 10">
              <a:extLst>
                <a:ext uri="{FF2B5EF4-FFF2-40B4-BE49-F238E27FC236}">
                  <a16:creationId xmlns:a16="http://schemas.microsoft.com/office/drawing/2014/main" id="{F1EFD731-ED29-44C4-BC09-A8845CB3BC3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266365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 eliminated article</a:t>
              </a: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DEE4029-AC48-4749-B108-26B6FD3B9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304723"/>
              <a:ext cx="107950" cy="107950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1" name="Textplatzhalter 10">
              <a:extLst>
                <a:ext uri="{FF2B5EF4-FFF2-40B4-BE49-F238E27FC236}">
                  <a16:creationId xmlns:a16="http://schemas.microsoft.com/office/drawing/2014/main" id="{6B1970E1-D8A9-465F-9B54-43B3F214DD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3636253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m exchange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958BA797-0A97-4938-8574-74E466F5BF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3674611"/>
              <a:ext cx="107950" cy="107950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3" name="Textplatzhalter 10">
              <a:extLst>
                <a:ext uri="{FF2B5EF4-FFF2-40B4-BE49-F238E27FC236}">
                  <a16:creationId xmlns:a16="http://schemas.microsoft.com/office/drawing/2014/main" id="{A580AA79-0206-4475-8A2E-5F8B89EEFE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006141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n:n exchange</a:t>
              </a: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4D13A9CA-85CD-4ECB-8D8C-158F1A721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044499"/>
              <a:ext cx="107950" cy="107950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5" name="Textplatzhalter 10">
              <a:extLst>
                <a:ext uri="{FF2B5EF4-FFF2-40B4-BE49-F238E27FC236}">
                  <a16:creationId xmlns:a16="http://schemas.microsoft.com/office/drawing/2014/main" id="{8C59D9CA-81DD-4A84-996E-BBC02FCE6CB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83431" y="4376029"/>
              <a:ext cx="1506591" cy="184666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None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dirty="0"/>
                <a:t>1:1 exchange</a:t>
              </a: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2D87539B-78B9-4422-8540-99C80FB6F1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4414387"/>
              <a:ext cx="107950" cy="107950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ctr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49" name="Textfeld 48">
            <a:extLst>
              <a:ext uri="{FF2B5EF4-FFF2-40B4-BE49-F238E27FC236}">
                <a16:creationId xmlns:a16="http://schemas.microsoft.com/office/drawing/2014/main" id="{9DD0FF46-7256-4961-8664-420B6532522C}"/>
              </a:ext>
            </a:extLst>
          </p:cNvPr>
          <p:cNvSpPr txBox="1">
            <a:spLocks/>
          </p:cNvSpPr>
          <p:nvPr/>
        </p:nvSpPr>
        <p:spPr>
          <a:xfrm>
            <a:off x="623888" y="6355817"/>
            <a:ext cx="7121525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1 </a:t>
            </a:r>
            <a:r>
              <a:rPr lang="de-DE" sz="1000" dirty="0"/>
              <a:t>All active and stored (“geparkte”) rasters that were reported by at least one store in 2014 (without lab, without not maintained (“nicht gepflegt”)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B74F6D8-B4AA-48B4-8DA4-2BF3BB4738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323237470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F475F11-D103-44A7-9447-87E0A328E4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7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F475F11-D103-44A7-9447-87E0A328E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06D3C2-AEC1-43E2-BA03-7A727336905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68 Fliesen – Jahresvergleich Umsatzveränderung und Umsatzantei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921A756-40E7-4C8B-83E8-99B6792145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Unterschiedliche Wachstumsraten der Sortimente bedingen potentiell heterogene Artikelauswah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6C4BA-00F1-4C24-BC64-86F2BA67B31A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1547D80-218A-4873-8323-339DFD21C60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A910E1-167D-45C8-974D-CE525B7B04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39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5D0210B-34B1-4BE1-9024-6C24C6A5686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FM Stores, l-f-l, Category Development, Rolljahr 03/2015, in %</a:t>
            </a:r>
          </a:p>
        </p:txBody>
      </p:sp>
      <p:graphicFrame>
        <p:nvGraphicFramePr>
          <p:cNvPr id="25" name="Chart 12">
            <a:extLst>
              <a:ext uri="{FF2B5EF4-FFF2-40B4-BE49-F238E27FC236}">
                <a16:creationId xmlns:a16="http://schemas.microsoft.com/office/drawing/2014/main" id="{B103C307-5F1E-4F96-8C05-0E94B16BCF29}"/>
              </a:ext>
            </a:extLst>
          </p:cNvPr>
          <p:cNvGraphicFramePr/>
          <p:nvPr/>
        </p:nvGraphicFramePr>
        <p:xfrm>
          <a:off x="2680570" y="2717812"/>
          <a:ext cx="8779591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6" name="Chart 13">
            <a:extLst>
              <a:ext uri="{FF2B5EF4-FFF2-40B4-BE49-F238E27FC236}">
                <a16:creationId xmlns:a16="http://schemas.microsoft.com/office/drawing/2014/main" id="{7B3C8DD1-DF5D-4924-8FA0-5623A32C6F15}"/>
              </a:ext>
            </a:extLst>
          </p:cNvPr>
          <p:cNvGraphicFramePr/>
          <p:nvPr/>
        </p:nvGraphicFramePr>
        <p:xfrm>
          <a:off x="2680570" y="4694520"/>
          <a:ext cx="8779590" cy="156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Rectangle 98">
            <a:extLst>
              <a:ext uri="{FF2B5EF4-FFF2-40B4-BE49-F238E27FC236}">
                <a16:creationId xmlns:a16="http://schemas.microsoft.com/office/drawing/2014/main" id="{FDC44C4C-508C-45ED-9FD9-06320729E355}"/>
              </a:ext>
            </a:extLst>
          </p:cNvPr>
          <p:cNvSpPr>
            <a:spLocks/>
          </p:cNvSpPr>
          <p:nvPr/>
        </p:nvSpPr>
        <p:spPr bwMode="gray">
          <a:xfrm>
            <a:off x="623888" y="2872657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-veränderung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zum Vorjahr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102">
            <a:extLst>
              <a:ext uri="{FF2B5EF4-FFF2-40B4-BE49-F238E27FC236}">
                <a16:creationId xmlns:a16="http://schemas.microsoft.com/office/drawing/2014/main" id="{1D788F03-10FE-46AB-B2EE-7E6CDF6437E5}"/>
              </a:ext>
            </a:extLst>
          </p:cNvPr>
          <p:cNvSpPr>
            <a:spLocks/>
          </p:cNvSpPr>
          <p:nvPr/>
        </p:nvSpPr>
        <p:spPr bwMode="gray">
          <a:xfrm>
            <a:off x="623888" y="4827161"/>
            <a:ext cx="1798637" cy="12627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msatzanteil </a:t>
            </a:r>
            <a:b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 % vom Gesamtumsatz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ounded Rectangle 66">
            <a:extLst>
              <a:ext uri="{FF2B5EF4-FFF2-40B4-BE49-F238E27FC236}">
                <a16:creationId xmlns:a16="http://schemas.microsoft.com/office/drawing/2014/main" id="{EDDD6EDF-E180-4EBA-B8AE-E437C9062780}"/>
              </a:ext>
            </a:extLst>
          </p:cNvPr>
          <p:cNvSpPr>
            <a:spLocks/>
          </p:cNvSpPr>
          <p:nvPr/>
        </p:nvSpPr>
        <p:spPr bwMode="gray">
          <a:xfrm>
            <a:off x="2973670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U</a:t>
            </a:r>
          </a:p>
        </p:txBody>
      </p:sp>
      <p:sp>
        <p:nvSpPr>
          <p:cNvPr id="64" name="Rounded Rectangle 73">
            <a:extLst>
              <a:ext uri="{FF2B5EF4-FFF2-40B4-BE49-F238E27FC236}">
                <a16:creationId xmlns:a16="http://schemas.microsoft.com/office/drawing/2014/main" id="{88A9F1F6-8981-493B-A31E-86123185AF48}"/>
              </a:ext>
            </a:extLst>
          </p:cNvPr>
          <p:cNvSpPr>
            <a:spLocks/>
          </p:cNvSpPr>
          <p:nvPr/>
        </p:nvSpPr>
        <p:spPr bwMode="gray">
          <a:xfrm>
            <a:off x="4371566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T</a:t>
            </a:r>
          </a:p>
        </p:txBody>
      </p:sp>
      <p:sp>
        <p:nvSpPr>
          <p:cNvPr id="65" name="Rounded Rectangle 78">
            <a:extLst>
              <a:ext uri="{FF2B5EF4-FFF2-40B4-BE49-F238E27FC236}">
                <a16:creationId xmlns:a16="http://schemas.microsoft.com/office/drawing/2014/main" id="{AD8AD32B-8A79-475E-B516-8D5E9F43A83C}"/>
              </a:ext>
            </a:extLst>
          </p:cNvPr>
          <p:cNvSpPr>
            <a:spLocks/>
          </p:cNvSpPr>
          <p:nvPr/>
        </p:nvSpPr>
        <p:spPr bwMode="gray">
          <a:xfrm>
            <a:off x="5769462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VN</a:t>
            </a:r>
          </a:p>
        </p:txBody>
      </p:sp>
      <p:sp>
        <p:nvSpPr>
          <p:cNvPr id="66" name="Rounded Rectangle 83">
            <a:extLst>
              <a:ext uri="{FF2B5EF4-FFF2-40B4-BE49-F238E27FC236}">
                <a16:creationId xmlns:a16="http://schemas.microsoft.com/office/drawing/2014/main" id="{3C0839F0-96A7-43C2-AE8F-1C0AC8208698}"/>
              </a:ext>
            </a:extLst>
          </p:cNvPr>
          <p:cNvSpPr>
            <a:spLocks/>
          </p:cNvSpPr>
          <p:nvPr/>
        </p:nvSpPr>
        <p:spPr bwMode="gray">
          <a:xfrm>
            <a:off x="7167358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ZE</a:t>
            </a:r>
          </a:p>
        </p:txBody>
      </p:sp>
      <p:sp>
        <p:nvSpPr>
          <p:cNvPr id="67" name="Rounded Rectangle 88">
            <a:extLst>
              <a:ext uri="{FF2B5EF4-FFF2-40B4-BE49-F238E27FC236}">
                <a16:creationId xmlns:a16="http://schemas.microsoft.com/office/drawing/2014/main" id="{A141AA6B-F3DA-4A62-827F-B1EE5CDAD2BB}"/>
              </a:ext>
            </a:extLst>
          </p:cNvPr>
          <p:cNvSpPr>
            <a:spLocks/>
          </p:cNvSpPr>
          <p:nvPr/>
        </p:nvSpPr>
        <p:spPr bwMode="gray">
          <a:xfrm>
            <a:off x="8565254" y="2461943"/>
            <a:ext cx="11430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UN</a:t>
            </a:r>
          </a:p>
        </p:txBody>
      </p:sp>
      <p:sp>
        <p:nvSpPr>
          <p:cNvPr id="68" name="Rounded Rectangle 93">
            <a:extLst>
              <a:ext uri="{FF2B5EF4-FFF2-40B4-BE49-F238E27FC236}">
                <a16:creationId xmlns:a16="http://schemas.microsoft.com/office/drawing/2014/main" id="{F764DCAF-E3FB-4BA6-B6A7-43DCF28666A1}"/>
              </a:ext>
            </a:extLst>
          </p:cNvPr>
          <p:cNvSpPr/>
          <p:nvPr/>
        </p:nvSpPr>
        <p:spPr bwMode="gray">
          <a:xfrm>
            <a:off x="9963150" y="2461943"/>
            <a:ext cx="121920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SAMT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2083827-04EB-4FB1-9FE2-CDAE06B40CF0}"/>
              </a:ext>
            </a:extLst>
          </p:cNvPr>
          <p:cNvCxnSpPr>
            <a:cxnSpLocks/>
          </p:cNvCxnSpPr>
          <p:nvPr/>
        </p:nvCxnSpPr>
        <p:spPr bwMode="gray">
          <a:xfrm>
            <a:off x="623888" y="4481280"/>
            <a:ext cx="1083627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>
            <a:extLst>
              <a:ext uri="{FF2B5EF4-FFF2-40B4-BE49-F238E27FC236}">
                <a16:creationId xmlns:a16="http://schemas.microsoft.com/office/drawing/2014/main" id="{8AD8C849-967B-45FD-A881-E3B3E224A6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26596" y="2059806"/>
            <a:ext cx="437150" cy="292162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926DE205-5E70-4FB4-80FC-74A13EAE3C8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4492" y="2059806"/>
            <a:ext cx="437150" cy="292162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BE6E147C-7D15-43F0-BFB1-CD187B2CB4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2388" y="2059806"/>
            <a:ext cx="437150" cy="292162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3DEDA3A3-61EC-4E2C-A126-55C210CEE4B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20283" y="2059806"/>
            <a:ext cx="437150" cy="292162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E4C5EB48-DBDA-4F6E-8905-3D70AD7EE90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18179" y="2059806"/>
            <a:ext cx="437150" cy="292162"/>
          </a:xfrm>
          <a:prstGeom prst="rect">
            <a:avLst/>
          </a:prstGeom>
        </p:spPr>
      </p:pic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A65CEAD-94B6-403F-BD7C-F29FB8A96C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3688664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37BE96-A6DD-CA9C-5358-9CDD0526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Reactor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ist im Code selbst kaum sichtbar, da diese Ebene wegabstrahiert i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8EB684-5D52-2DC5-B620-5070124E3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7B5718-DF58-3D36-24E8-145ECCF840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B40904-7283-A791-8F97-653C5F1B830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B9B345-4402-1EAB-9868-B28CC8BE886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ECB0D5-B523-170E-D526-0BCD8A6731A4}"/>
              </a:ext>
            </a:extLst>
          </p:cNvPr>
          <p:cNvSpPr/>
          <p:nvPr/>
        </p:nvSpPr>
        <p:spPr>
          <a:xfrm>
            <a:off x="623887" y="1735494"/>
            <a:ext cx="9509158" cy="456266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mpor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*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rom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1. neue IO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anforder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  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ata.js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‘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// Zum Event in Event Queue zugehöriger Handl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3. / 4. / 5. Handler aufruf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JSON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par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6. Hiernach übernimmt Event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ied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updateF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2. Kontrolle an Applikation zurückgeb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synchronou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operation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79937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3F3A663-6F64-42C7-B53E-F73EFB2B28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57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3F3A663-6F64-42C7-B53E-F73EFB2B2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C9F7AC3-8CC7-42D4-87AD-7AB16EB5DC4A}"/>
              </a:ext>
            </a:extLst>
          </p:cNvPr>
          <p:cNvCxnSpPr>
            <a:cxnSpLocks/>
          </p:cNvCxnSpPr>
          <p:nvPr/>
        </p:nvCxnSpPr>
        <p:spPr bwMode="gray">
          <a:xfrm>
            <a:off x="7894320" y="2846757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ACFDF386-4E16-4810-9590-5D615BC6BDE7}"/>
              </a:ext>
            </a:extLst>
          </p:cNvPr>
          <p:cNvCxnSpPr>
            <a:cxnSpLocks/>
          </p:cNvCxnSpPr>
          <p:nvPr/>
        </p:nvCxnSpPr>
        <p:spPr bwMode="gray">
          <a:xfrm>
            <a:off x="7894320" y="3877083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A0EF1D18-6673-487B-AAF7-6A2670A3E914}"/>
              </a:ext>
            </a:extLst>
          </p:cNvPr>
          <p:cNvCxnSpPr>
            <a:cxnSpLocks/>
          </p:cNvCxnSpPr>
          <p:nvPr/>
        </p:nvCxnSpPr>
        <p:spPr bwMode="gray">
          <a:xfrm>
            <a:off x="7894320" y="4907408"/>
            <a:ext cx="8763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CA1055DD-86BF-45A2-A62A-04752E40EA8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tailbetrachtung Abteilungsumsatz 44 – Gartenmöbel und Gril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1463A53-A629-4807-9C06-D3350AEF4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artenmöbel und Grill mit mittlerer Priorität mit stark variierender Umsatzstreu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5194E03-DD1A-481C-BB4C-EE2B3115574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44DBEE9-D1B1-4DB1-8D19-DF579F17492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3900A2-E2B6-47E5-A16E-CD9E759C922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140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A3A3133-8075-40C8-9CFA-D8A0020AE717}"/>
              </a:ext>
            </a:extLst>
          </p:cNvPr>
          <p:cNvSpPr txBox="1"/>
          <p:nvPr/>
        </p:nvSpPr>
        <p:spPr bwMode="gray">
          <a:xfrm>
            <a:off x="623888" y="1592263"/>
            <a:ext cx="56880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Umsatzstreuung 2014 – In %</a:t>
            </a:r>
          </a:p>
        </p:txBody>
      </p:sp>
      <p:graphicFrame>
        <p:nvGraphicFramePr>
          <p:cNvPr id="26" name="Chart 15">
            <a:extLst>
              <a:ext uri="{FF2B5EF4-FFF2-40B4-BE49-F238E27FC236}">
                <a16:creationId xmlns:a16="http://schemas.microsoft.com/office/drawing/2014/main" id="{E462821F-6B15-4345-9603-E87FA8DD59FF}"/>
              </a:ext>
            </a:extLst>
          </p:cNvPr>
          <p:cNvGraphicFramePr/>
          <p:nvPr/>
        </p:nvGraphicFramePr>
        <p:xfrm>
          <a:off x="617538" y="2044700"/>
          <a:ext cx="7469187" cy="3405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Right Triangle 16">
            <a:extLst>
              <a:ext uri="{FF2B5EF4-FFF2-40B4-BE49-F238E27FC236}">
                <a16:creationId xmlns:a16="http://schemas.microsoft.com/office/drawing/2014/main" id="{7C15E9AB-E524-420E-888D-B424300635AA}"/>
              </a:ext>
            </a:extLst>
          </p:cNvPr>
          <p:cNvSpPr/>
          <p:nvPr/>
        </p:nvSpPr>
        <p:spPr bwMode="gray">
          <a:xfrm rot="10800000">
            <a:off x="1094464" y="2185087"/>
            <a:ext cx="6811285" cy="938439"/>
          </a:xfrm>
          <a:prstGeom prst="rtTriangle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8" name="Parallelogram 17">
            <a:extLst>
              <a:ext uri="{FF2B5EF4-FFF2-40B4-BE49-F238E27FC236}">
                <a16:creationId xmlns:a16="http://schemas.microsoft.com/office/drawing/2014/main" id="{65BB3C70-9D5E-4BB4-B4CA-FB65EBEE69B7}"/>
              </a:ext>
            </a:extLst>
          </p:cNvPr>
          <p:cNvSpPr/>
          <p:nvPr/>
        </p:nvSpPr>
        <p:spPr bwMode="gray">
          <a:xfrm rot="16200000">
            <a:off x="3213328" y="78928"/>
            <a:ext cx="2573560" cy="6811289"/>
          </a:xfrm>
          <a:prstGeom prst="parallelogram">
            <a:avLst>
              <a:gd name="adj" fmla="val 36385"/>
            </a:avLst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29" name="Right Triangle 18">
            <a:extLst>
              <a:ext uri="{FF2B5EF4-FFF2-40B4-BE49-F238E27FC236}">
                <a16:creationId xmlns:a16="http://schemas.microsoft.com/office/drawing/2014/main" id="{3F66839C-F33E-414F-9A4E-1C08302E543B}"/>
              </a:ext>
            </a:extLst>
          </p:cNvPr>
          <p:cNvSpPr/>
          <p:nvPr/>
        </p:nvSpPr>
        <p:spPr bwMode="gray">
          <a:xfrm>
            <a:off x="1094464" y="3839375"/>
            <a:ext cx="6811287" cy="1210732"/>
          </a:xfrm>
          <a:custGeom>
            <a:avLst/>
            <a:gdLst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6710 w 5766710"/>
              <a:gd name="connsiteY2" fmla="*/ 1220141 h 1220141"/>
              <a:gd name="connsiteX3" fmla="*/ 0 w 5766710"/>
              <a:gd name="connsiteY3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403176 w 5766710"/>
              <a:gd name="connsiteY2" fmla="*/ 11382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0364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5127 w 5766710"/>
              <a:gd name="connsiteY2" fmla="*/ 950118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6710"/>
              <a:gd name="connsiteY0" fmla="*/ 1220141 h 1220141"/>
              <a:gd name="connsiteX1" fmla="*/ 0 w 5766710"/>
              <a:gd name="connsiteY1" fmla="*/ 0 h 1220141"/>
              <a:gd name="connsiteX2" fmla="*/ 5762746 w 5766710"/>
              <a:gd name="connsiteY2" fmla="*/ 947737 h 1220141"/>
              <a:gd name="connsiteX3" fmla="*/ 5766710 w 5766710"/>
              <a:gd name="connsiteY3" fmla="*/ 1220141 h 1220141"/>
              <a:gd name="connsiteX4" fmla="*/ 0 w 5766710"/>
              <a:gd name="connsiteY4" fmla="*/ 1220141 h 1220141"/>
              <a:gd name="connsiteX0" fmla="*/ 0 w 5767601"/>
              <a:gd name="connsiteY0" fmla="*/ 1220141 h 1220141"/>
              <a:gd name="connsiteX1" fmla="*/ 0 w 5767601"/>
              <a:gd name="connsiteY1" fmla="*/ 0 h 1220141"/>
              <a:gd name="connsiteX2" fmla="*/ 5767506 w 5767601"/>
              <a:gd name="connsiteY2" fmla="*/ 942974 h 1220141"/>
              <a:gd name="connsiteX3" fmla="*/ 5766710 w 5767601"/>
              <a:gd name="connsiteY3" fmla="*/ 1220141 h 1220141"/>
              <a:gd name="connsiteX4" fmla="*/ 0 w 5767601"/>
              <a:gd name="connsiteY4" fmla="*/ 1220141 h 1220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7601" h="1220141">
                <a:moveTo>
                  <a:pt x="0" y="1220141"/>
                </a:moveTo>
                <a:lnTo>
                  <a:pt x="0" y="0"/>
                </a:lnTo>
                <a:lnTo>
                  <a:pt x="5767506" y="942974"/>
                </a:lnTo>
                <a:cubicBezTo>
                  <a:pt x="5768034" y="1032982"/>
                  <a:pt x="5766182" y="1130133"/>
                  <a:pt x="5766710" y="1220141"/>
                </a:cubicBezTo>
                <a:lnTo>
                  <a:pt x="0" y="1220141"/>
                </a:lnTo>
                <a:close/>
              </a:path>
            </a:pathLst>
          </a:cu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1" name="TextBox 44">
            <a:extLst>
              <a:ext uri="{FF2B5EF4-FFF2-40B4-BE49-F238E27FC236}">
                <a16:creationId xmlns:a16="http://schemas.microsoft.com/office/drawing/2014/main" id="{CB489541-7AB1-439E-81D4-3D30C1A22677}"/>
              </a:ext>
            </a:extLst>
          </p:cNvPr>
          <p:cNvSpPr txBox="1"/>
          <p:nvPr/>
        </p:nvSpPr>
        <p:spPr bwMode="gray">
          <a:xfrm>
            <a:off x="3594931" y="4492397"/>
            <a:ext cx="1437381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1 – Auflagen &amp; Schirme</a:t>
            </a:r>
          </a:p>
        </p:txBody>
      </p:sp>
      <p:sp>
        <p:nvSpPr>
          <p:cNvPr id="32" name="Oval 47">
            <a:extLst>
              <a:ext uri="{FF2B5EF4-FFF2-40B4-BE49-F238E27FC236}">
                <a16:creationId xmlns:a16="http://schemas.microsoft.com/office/drawing/2014/main" id="{604D3DCB-783C-4EAD-9386-E108B3FB570E}"/>
              </a:ext>
            </a:extLst>
          </p:cNvPr>
          <p:cNvSpPr/>
          <p:nvPr/>
        </p:nvSpPr>
        <p:spPr bwMode="gray">
          <a:xfrm>
            <a:off x="3417308" y="454088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4" name="TextBox 51">
            <a:extLst>
              <a:ext uri="{FF2B5EF4-FFF2-40B4-BE49-F238E27FC236}">
                <a16:creationId xmlns:a16="http://schemas.microsoft.com/office/drawing/2014/main" id="{70D89C62-9801-4A50-888B-5559472C6E91}"/>
              </a:ext>
            </a:extLst>
          </p:cNvPr>
          <p:cNvSpPr txBox="1">
            <a:spLocks/>
          </p:cNvSpPr>
          <p:nvPr/>
        </p:nvSpPr>
        <p:spPr bwMode="gray">
          <a:xfrm>
            <a:off x="3509575" y="3939525"/>
            <a:ext cx="156369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3 – Baden &amp; Wassersport</a:t>
            </a:r>
          </a:p>
        </p:txBody>
      </p:sp>
      <p:sp>
        <p:nvSpPr>
          <p:cNvPr id="35" name="Oval 52">
            <a:extLst>
              <a:ext uri="{FF2B5EF4-FFF2-40B4-BE49-F238E27FC236}">
                <a16:creationId xmlns:a16="http://schemas.microsoft.com/office/drawing/2014/main" id="{56E67406-DD0C-4650-9A41-CF8B59EE5185}"/>
              </a:ext>
            </a:extLst>
          </p:cNvPr>
          <p:cNvSpPr>
            <a:spLocks/>
          </p:cNvSpPr>
          <p:nvPr/>
        </p:nvSpPr>
        <p:spPr bwMode="gray">
          <a:xfrm>
            <a:off x="3331952" y="3987587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37" name="TextBox 54">
            <a:extLst>
              <a:ext uri="{FF2B5EF4-FFF2-40B4-BE49-F238E27FC236}">
                <a16:creationId xmlns:a16="http://schemas.microsoft.com/office/drawing/2014/main" id="{A1433EFF-995F-43A7-9F2F-74E1D9735C0E}"/>
              </a:ext>
            </a:extLst>
          </p:cNvPr>
          <p:cNvSpPr txBox="1"/>
          <p:nvPr/>
        </p:nvSpPr>
        <p:spPr bwMode="gray">
          <a:xfrm>
            <a:off x="3957619" y="3559417"/>
            <a:ext cx="9101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2 – Grillgeräte</a:t>
            </a:r>
          </a:p>
        </p:txBody>
      </p:sp>
      <p:sp>
        <p:nvSpPr>
          <p:cNvPr id="38" name="Oval 55">
            <a:extLst>
              <a:ext uri="{FF2B5EF4-FFF2-40B4-BE49-F238E27FC236}">
                <a16:creationId xmlns:a16="http://schemas.microsoft.com/office/drawing/2014/main" id="{0A90A2D0-586C-44D9-8220-1E9F2952F57A}"/>
              </a:ext>
            </a:extLst>
          </p:cNvPr>
          <p:cNvSpPr/>
          <p:nvPr/>
        </p:nvSpPr>
        <p:spPr bwMode="gray">
          <a:xfrm>
            <a:off x="3779996" y="3607903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0" name="TextBox 57">
            <a:extLst>
              <a:ext uri="{FF2B5EF4-FFF2-40B4-BE49-F238E27FC236}">
                <a16:creationId xmlns:a16="http://schemas.microsoft.com/office/drawing/2014/main" id="{53B93A47-2288-4EDF-BFC5-640D966FCAAD}"/>
              </a:ext>
            </a:extLst>
          </p:cNvPr>
          <p:cNvSpPr txBox="1"/>
          <p:nvPr/>
        </p:nvSpPr>
        <p:spPr bwMode="gray">
          <a:xfrm>
            <a:off x="3304392" y="3281882"/>
            <a:ext cx="10066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3 – Grillzubehör</a:t>
            </a:r>
          </a:p>
        </p:txBody>
      </p:sp>
      <p:sp>
        <p:nvSpPr>
          <p:cNvPr id="41" name="Oval 58">
            <a:extLst>
              <a:ext uri="{FF2B5EF4-FFF2-40B4-BE49-F238E27FC236}">
                <a16:creationId xmlns:a16="http://schemas.microsoft.com/office/drawing/2014/main" id="{51D25352-1075-43F3-A537-9E3DDC3896DB}"/>
              </a:ext>
            </a:extLst>
          </p:cNvPr>
          <p:cNvSpPr/>
          <p:nvPr/>
        </p:nvSpPr>
        <p:spPr bwMode="gray">
          <a:xfrm>
            <a:off x="3126769" y="3330368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3" name="TextBox 60">
            <a:extLst>
              <a:ext uri="{FF2B5EF4-FFF2-40B4-BE49-F238E27FC236}">
                <a16:creationId xmlns:a16="http://schemas.microsoft.com/office/drawing/2014/main" id="{D95FA05C-6265-4C71-8791-DFC2166D230D}"/>
              </a:ext>
            </a:extLst>
          </p:cNvPr>
          <p:cNvSpPr txBox="1"/>
          <p:nvPr/>
        </p:nvSpPr>
        <p:spPr bwMode="gray">
          <a:xfrm>
            <a:off x="1235551" y="3059162"/>
            <a:ext cx="108593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4 – Partyzubehör</a:t>
            </a:r>
          </a:p>
        </p:txBody>
      </p:sp>
      <p:sp>
        <p:nvSpPr>
          <p:cNvPr id="44" name="Oval 61">
            <a:extLst>
              <a:ext uri="{FF2B5EF4-FFF2-40B4-BE49-F238E27FC236}">
                <a16:creationId xmlns:a16="http://schemas.microsoft.com/office/drawing/2014/main" id="{FC7E1F3B-EBC5-4AF4-B07C-7544253F7B0F}"/>
              </a:ext>
            </a:extLst>
          </p:cNvPr>
          <p:cNvSpPr/>
          <p:nvPr/>
        </p:nvSpPr>
        <p:spPr bwMode="gray">
          <a:xfrm>
            <a:off x="1057928" y="3107648"/>
            <a:ext cx="88543" cy="88543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6" name="TextBox 63">
            <a:extLst>
              <a:ext uri="{FF2B5EF4-FFF2-40B4-BE49-F238E27FC236}">
                <a16:creationId xmlns:a16="http://schemas.microsoft.com/office/drawing/2014/main" id="{C77BFAA5-8017-44AC-8BBC-0712F70C0DCA}"/>
              </a:ext>
            </a:extLst>
          </p:cNvPr>
          <p:cNvSpPr txBox="1"/>
          <p:nvPr/>
        </p:nvSpPr>
        <p:spPr bwMode="gray">
          <a:xfrm>
            <a:off x="6386646" y="3712399"/>
            <a:ext cx="107157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40 – Gartenmöbel</a:t>
            </a:r>
          </a:p>
        </p:txBody>
      </p:sp>
      <p:sp>
        <p:nvSpPr>
          <p:cNvPr id="47" name="Oval 64">
            <a:extLst>
              <a:ext uri="{FF2B5EF4-FFF2-40B4-BE49-F238E27FC236}">
                <a16:creationId xmlns:a16="http://schemas.microsoft.com/office/drawing/2014/main" id="{3B84F4C0-452A-441B-AD8B-ED1E88D7B096}"/>
              </a:ext>
            </a:extLst>
          </p:cNvPr>
          <p:cNvSpPr/>
          <p:nvPr/>
        </p:nvSpPr>
        <p:spPr bwMode="gray">
          <a:xfrm>
            <a:off x="6209023" y="3760885"/>
            <a:ext cx="88543" cy="88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49" name="TextBox 66">
            <a:extLst>
              <a:ext uri="{FF2B5EF4-FFF2-40B4-BE49-F238E27FC236}">
                <a16:creationId xmlns:a16="http://schemas.microsoft.com/office/drawing/2014/main" id="{E2F76B57-11FE-4E84-9EE4-5D7C6E02FA32}"/>
              </a:ext>
            </a:extLst>
          </p:cNvPr>
          <p:cNvSpPr txBox="1"/>
          <p:nvPr/>
        </p:nvSpPr>
        <p:spPr bwMode="gray">
          <a:xfrm>
            <a:off x="1890871" y="2572432"/>
            <a:ext cx="841577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38 – Camping</a:t>
            </a:r>
          </a:p>
        </p:txBody>
      </p:sp>
      <p:sp>
        <p:nvSpPr>
          <p:cNvPr id="50" name="Oval 67">
            <a:extLst>
              <a:ext uri="{FF2B5EF4-FFF2-40B4-BE49-F238E27FC236}">
                <a16:creationId xmlns:a16="http://schemas.microsoft.com/office/drawing/2014/main" id="{B9669F42-7E0D-4033-B540-FE07ED8A727C}"/>
              </a:ext>
            </a:extLst>
          </p:cNvPr>
          <p:cNvSpPr/>
          <p:nvPr/>
        </p:nvSpPr>
        <p:spPr bwMode="gray">
          <a:xfrm>
            <a:off x="1713248" y="2620918"/>
            <a:ext cx="88543" cy="88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bi Sans ML 20 PP Regular" panose="02000800040000020004" pitchFamily="50" charset="0"/>
            </a:endParaRPr>
          </a:p>
        </p:txBody>
      </p:sp>
      <p:sp>
        <p:nvSpPr>
          <p:cNvPr id="52" name="Oval 22">
            <a:extLst>
              <a:ext uri="{FF2B5EF4-FFF2-40B4-BE49-F238E27FC236}">
                <a16:creationId xmlns:a16="http://schemas.microsoft.com/office/drawing/2014/main" id="{ABAF87DC-C417-4A2F-B559-63109C32BE7D}"/>
              </a:ext>
            </a:extLst>
          </p:cNvPr>
          <p:cNvSpPr>
            <a:spLocks/>
          </p:cNvSpPr>
          <p:nvPr/>
        </p:nvSpPr>
        <p:spPr bwMode="gray">
          <a:xfrm>
            <a:off x="8746889" y="2649907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</a:p>
        </p:txBody>
      </p:sp>
      <p:sp>
        <p:nvSpPr>
          <p:cNvPr id="55" name="Oval 26">
            <a:extLst>
              <a:ext uri="{FF2B5EF4-FFF2-40B4-BE49-F238E27FC236}">
                <a16:creationId xmlns:a16="http://schemas.microsoft.com/office/drawing/2014/main" id="{13462EB3-362D-498C-9E14-69EAE57EBA88}"/>
              </a:ext>
            </a:extLst>
          </p:cNvPr>
          <p:cNvSpPr>
            <a:spLocks/>
          </p:cNvSpPr>
          <p:nvPr/>
        </p:nvSpPr>
        <p:spPr bwMode="gray">
          <a:xfrm>
            <a:off x="8746889" y="3680233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</a:t>
            </a:r>
          </a:p>
        </p:txBody>
      </p:sp>
      <p:sp>
        <p:nvSpPr>
          <p:cNvPr id="58" name="Oval 29">
            <a:extLst>
              <a:ext uri="{FF2B5EF4-FFF2-40B4-BE49-F238E27FC236}">
                <a16:creationId xmlns:a16="http://schemas.microsoft.com/office/drawing/2014/main" id="{76E9F44D-0EDC-43CB-8F52-CF642F99FC1C}"/>
              </a:ext>
            </a:extLst>
          </p:cNvPr>
          <p:cNvSpPr>
            <a:spLocks/>
          </p:cNvSpPr>
          <p:nvPr/>
        </p:nvSpPr>
        <p:spPr bwMode="gray">
          <a:xfrm>
            <a:off x="8746889" y="4710558"/>
            <a:ext cx="393700" cy="39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</a:t>
            </a:r>
          </a:p>
        </p:txBody>
      </p:sp>
      <p:grpSp>
        <p:nvGrpSpPr>
          <p:cNvPr id="74" name="Group 137">
            <a:extLst>
              <a:ext uri="{FF2B5EF4-FFF2-40B4-BE49-F238E27FC236}">
                <a16:creationId xmlns:a16="http://schemas.microsoft.com/office/drawing/2014/main" id="{B9133C55-9E90-4A38-AA3B-A506075C5796}"/>
              </a:ext>
            </a:extLst>
          </p:cNvPr>
          <p:cNvGrpSpPr/>
          <p:nvPr/>
        </p:nvGrpSpPr>
        <p:grpSpPr bwMode="gray">
          <a:xfrm>
            <a:off x="1091620" y="5517860"/>
            <a:ext cx="4991546" cy="576293"/>
            <a:chOff x="970663" y="5306809"/>
            <a:chExt cx="4991546" cy="576293"/>
          </a:xfrm>
        </p:grpSpPr>
        <p:sp>
          <p:nvSpPr>
            <p:cNvPr id="75" name="Rectangle 136">
              <a:extLst>
                <a:ext uri="{FF2B5EF4-FFF2-40B4-BE49-F238E27FC236}">
                  <a16:creationId xmlns:a16="http://schemas.microsoft.com/office/drawing/2014/main" id="{692F0C13-F120-4E17-846C-2B5D48DF8A3C}"/>
                </a:ext>
              </a:extLst>
            </p:cNvPr>
            <p:cNvSpPr/>
            <p:nvPr/>
          </p:nvSpPr>
          <p:spPr bwMode="gray">
            <a:xfrm>
              <a:off x="3343883" y="5487232"/>
              <a:ext cx="2618326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Anteil am Gesamtumsatz 2014 – In %</a:t>
              </a:r>
            </a:p>
          </p:txBody>
        </p:sp>
        <p:sp>
          <p:nvSpPr>
            <p:cNvPr id="76" name="Isosceles Triangle 135">
              <a:extLst>
                <a:ext uri="{FF2B5EF4-FFF2-40B4-BE49-F238E27FC236}">
                  <a16:creationId xmlns:a16="http://schemas.microsoft.com/office/drawing/2014/main" id="{C9C52A6D-EB88-4EF6-A8E9-DE313A2E5CEB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118025" y="5551400"/>
              <a:ext cx="201064" cy="87112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Rectangle 134">
              <a:extLst>
                <a:ext uri="{FF2B5EF4-FFF2-40B4-BE49-F238E27FC236}">
                  <a16:creationId xmlns:a16="http://schemas.microsoft.com/office/drawing/2014/main" id="{85BCA58B-5934-4C8E-91D7-DB63CED95BEB}"/>
                </a:ext>
              </a:extLst>
            </p:cNvPr>
            <p:cNvSpPr>
              <a:spLocks/>
            </p:cNvSpPr>
            <p:nvPr/>
          </p:nvSpPr>
          <p:spPr bwMode="gray">
            <a:xfrm>
              <a:off x="970663" y="5306809"/>
              <a:ext cx="2204338" cy="576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Umsatz aller Länder in 2014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E5E5E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bt. 44: 158 Mio. €</a:t>
              </a:r>
            </a:p>
          </p:txBody>
        </p:sp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C800AA19-2E50-44CD-B8DD-79A3D2178919}"/>
              </a:ext>
            </a:extLst>
          </p:cNvPr>
          <p:cNvSpPr/>
          <p:nvPr/>
        </p:nvSpPr>
        <p:spPr bwMode="gray">
          <a:xfrm>
            <a:off x="2432843" y="6382192"/>
            <a:ext cx="107950" cy="10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9E55D18-E47A-4681-855D-52D89AF4B38A}"/>
              </a:ext>
            </a:extLst>
          </p:cNvPr>
          <p:cNvSpPr/>
          <p:nvPr/>
        </p:nvSpPr>
        <p:spPr bwMode="gray">
          <a:xfrm>
            <a:off x="3201193" y="6382192"/>
            <a:ext cx="107950" cy="1079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2F0108E-EF30-4980-ACC9-2C5EC30B1EE7}"/>
              </a:ext>
            </a:extLst>
          </p:cNvPr>
          <p:cNvSpPr/>
          <p:nvPr/>
        </p:nvSpPr>
        <p:spPr bwMode="gray">
          <a:xfrm>
            <a:off x="3969543" y="6382192"/>
            <a:ext cx="107950" cy="107950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52FD55A9-D521-4F50-9E02-208420AE62B6}"/>
              </a:ext>
            </a:extLst>
          </p:cNvPr>
          <p:cNvSpPr/>
          <p:nvPr/>
        </p:nvSpPr>
        <p:spPr bwMode="gray">
          <a:xfrm>
            <a:off x="4737893" y="6382192"/>
            <a:ext cx="107950" cy="1079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85" name="Rounded Rectangle 23">
            <a:extLst>
              <a:ext uri="{FF2B5EF4-FFF2-40B4-BE49-F238E27FC236}">
                <a16:creationId xmlns:a16="http://schemas.microsoft.com/office/drawing/2014/main" id="{82316302-F2E1-4E79-9063-12BCA9DFED37}"/>
              </a:ext>
            </a:extLst>
          </p:cNvPr>
          <p:cNvSpPr/>
          <p:nvPr/>
        </p:nvSpPr>
        <p:spPr bwMode="gray">
          <a:xfrm>
            <a:off x="9290982" y="2666147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Hoher Umsatzanteil, relativ geringe Umsatzstreuung</a:t>
            </a:r>
          </a:p>
        </p:txBody>
      </p:sp>
      <p:sp>
        <p:nvSpPr>
          <p:cNvPr id="86" name="Rounded Rectangle 25">
            <a:extLst>
              <a:ext uri="{FF2B5EF4-FFF2-40B4-BE49-F238E27FC236}">
                <a16:creationId xmlns:a16="http://schemas.microsoft.com/office/drawing/2014/main" id="{4631301C-C85B-4882-A527-55D2BE906025}"/>
              </a:ext>
            </a:extLst>
          </p:cNvPr>
          <p:cNvSpPr/>
          <p:nvPr/>
        </p:nvSpPr>
        <p:spPr bwMode="gray">
          <a:xfrm>
            <a:off x="9290983" y="3703758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Mittlerer Umsatzanteil, stark variierende Umsatzstreuung</a:t>
            </a:r>
          </a:p>
        </p:txBody>
      </p:sp>
      <p:sp>
        <p:nvSpPr>
          <p:cNvPr id="87" name="Rounded Rectangle 28">
            <a:extLst>
              <a:ext uri="{FF2B5EF4-FFF2-40B4-BE49-F238E27FC236}">
                <a16:creationId xmlns:a16="http://schemas.microsoft.com/office/drawing/2014/main" id="{8139EBAB-6247-4BED-9425-64F8E300A2D9}"/>
              </a:ext>
            </a:extLst>
          </p:cNvPr>
          <p:cNvSpPr/>
          <p:nvPr/>
        </p:nvSpPr>
        <p:spPr bwMode="gray">
          <a:xfrm>
            <a:off x="9290982" y="4731106"/>
            <a:ext cx="2040592" cy="787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Bold" panose="02000800040000020004" pitchFamily="50" charset="0"/>
                <a:ea typeface="+mn-ea"/>
                <a:cs typeface="+mn-cs"/>
              </a:rPr>
              <a:t>Prioritä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Obi Sans ML 20 Regular" panose="02000800040000020004" pitchFamily="50" charset="0"/>
                <a:ea typeface="+mn-ea"/>
                <a:cs typeface="+mn-cs"/>
              </a:rPr>
              <a:t>Niedriger Umsatzanteil, mittlere Umsatzstreuung</a:t>
            </a:r>
          </a:p>
        </p:txBody>
      </p:sp>
      <p:sp>
        <p:nvSpPr>
          <p:cNvPr id="54" name="Textplatzhalter 10">
            <a:extLst>
              <a:ext uri="{FF2B5EF4-FFF2-40B4-BE49-F238E27FC236}">
                <a16:creationId xmlns:a16="http://schemas.microsoft.com/office/drawing/2014/main" id="{91F283E2-B28B-4EE6-B31A-1B55FE563D80}"/>
              </a:ext>
            </a:extLst>
          </p:cNvPr>
          <p:cNvSpPr txBox="1">
            <a:spLocks/>
          </p:cNvSpPr>
          <p:nvPr/>
        </p:nvSpPr>
        <p:spPr bwMode="gray">
          <a:xfrm>
            <a:off x="2592387" y="6355817"/>
            <a:ext cx="4175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Increase</a:t>
            </a:r>
          </a:p>
        </p:txBody>
      </p:sp>
      <p:sp>
        <p:nvSpPr>
          <p:cNvPr id="56" name="Textplatzhalter 10">
            <a:extLst>
              <a:ext uri="{FF2B5EF4-FFF2-40B4-BE49-F238E27FC236}">
                <a16:creationId xmlns:a16="http://schemas.microsoft.com/office/drawing/2014/main" id="{8FB37F1B-C429-40C1-8691-69439D40F0BB}"/>
              </a:ext>
            </a:extLst>
          </p:cNvPr>
          <p:cNvSpPr txBox="1">
            <a:spLocks/>
          </p:cNvSpPr>
          <p:nvPr/>
        </p:nvSpPr>
        <p:spPr bwMode="gray">
          <a:xfrm>
            <a:off x="3360737" y="6355817"/>
            <a:ext cx="4556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onstant</a:t>
            </a:r>
          </a:p>
        </p:txBody>
      </p:sp>
      <p:sp>
        <p:nvSpPr>
          <p:cNvPr id="57" name="Textplatzhalter 10">
            <a:extLst>
              <a:ext uri="{FF2B5EF4-FFF2-40B4-BE49-F238E27FC236}">
                <a16:creationId xmlns:a16="http://schemas.microsoft.com/office/drawing/2014/main" id="{CC1F7DC1-115E-443E-B79C-0D40FE6AE7F5}"/>
              </a:ext>
            </a:extLst>
          </p:cNvPr>
          <p:cNvSpPr txBox="1">
            <a:spLocks/>
          </p:cNvSpPr>
          <p:nvPr/>
        </p:nvSpPr>
        <p:spPr bwMode="gray">
          <a:xfrm>
            <a:off x="4129087" y="6355817"/>
            <a:ext cx="47466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ecrease</a:t>
            </a:r>
          </a:p>
        </p:txBody>
      </p:sp>
      <p:sp>
        <p:nvSpPr>
          <p:cNvPr id="59" name="Textplatzhalter 10">
            <a:extLst>
              <a:ext uri="{FF2B5EF4-FFF2-40B4-BE49-F238E27FC236}">
                <a16:creationId xmlns:a16="http://schemas.microsoft.com/office/drawing/2014/main" id="{2319566E-B586-4B92-ADAC-1F4FE5AAFB35}"/>
              </a:ext>
            </a:extLst>
          </p:cNvPr>
          <p:cNvSpPr txBox="1">
            <a:spLocks/>
          </p:cNvSpPr>
          <p:nvPr/>
        </p:nvSpPr>
        <p:spPr bwMode="gray">
          <a:xfrm>
            <a:off x="4897437" y="6355817"/>
            <a:ext cx="442913" cy="1538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liminate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0EB7301-2E1F-44F2-9903-95FBC24B8DE5}"/>
              </a:ext>
            </a:extLst>
          </p:cNvPr>
          <p:cNvSpPr txBox="1">
            <a:spLocks/>
          </p:cNvSpPr>
          <p:nvPr/>
        </p:nvSpPr>
        <p:spPr>
          <a:xfrm>
            <a:off x="623889" y="6355817"/>
            <a:ext cx="171449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000" dirty="0">
                <a:latin typeface="+mj-lt"/>
              </a:rPr>
              <a:t>Klassifikation beyond the leaflet: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6523880E-8263-4FAF-A85B-52DF820DE8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 next</a:t>
            </a:r>
          </a:p>
        </p:txBody>
      </p:sp>
    </p:spTree>
    <p:extLst>
      <p:ext uri="{BB962C8B-B14F-4D97-AF65-F5344CB8AC3E}">
        <p14:creationId xmlns:p14="http://schemas.microsoft.com/office/powerpoint/2010/main" val="18200796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7398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bilden die Basis der Asynchronität in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itchFamily="2" charset="2"/>
              </a:rPr>
              <a:t>Event </a:t>
            </a:r>
            <a:r>
              <a:rPr lang="de-DE" sz="1400" dirty="0" err="1">
                <a:sym typeface="Wingdings" pitchFamily="2" charset="2"/>
              </a:rPr>
              <a:t>handler</a:t>
            </a:r>
            <a:r>
              <a:rPr lang="de-DE" sz="1400" dirty="0">
                <a:sym typeface="Wingdings" pitchFamily="2" charset="2"/>
              </a:rPr>
              <a:t> (Aufruf über Event Loop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Wird ausgeführt, nachdem asynchrone Operation beendet wurde (</a:t>
            </a:r>
            <a:r>
              <a:rPr lang="de-DE" sz="1400" dirty="0" err="1"/>
              <a:t>continuation-passing</a:t>
            </a:r>
            <a:r>
              <a:rPr lang="de-DE" sz="1400" dirty="0"/>
              <a:t> style)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Grundlage für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Promises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async</a:t>
            </a:r>
            <a:r>
              <a:rPr lang="de-DE" sz="1400" dirty="0"/>
              <a:t>/</a:t>
            </a:r>
            <a:r>
              <a:rPr lang="de-DE" sz="1400" dirty="0" err="1"/>
              <a:t>await</a:t>
            </a:r>
            <a:r>
              <a:rPr lang="de-DE" sz="1400" dirty="0"/>
              <a:t>,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Events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treams, 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deal in </a:t>
            </a:r>
            <a:r>
              <a:rPr lang="de-DE" sz="1400" dirty="0" err="1"/>
              <a:t>Node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Funktionen sind first-class-</a:t>
            </a:r>
            <a:r>
              <a:rPr lang="de-DE" sz="1400" dirty="0" err="1"/>
              <a:t>objects</a:t>
            </a:r>
            <a:r>
              <a:rPr lang="de-DE" sz="1400" dirty="0"/>
              <a:t>;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closures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5010094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BC12C-26A0-B637-DABD-F35CF084D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losur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EB5E4B-C63C-ECFF-BC9E-BD573BAD5C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0260D9-09E0-BC2E-B3DE-E13E3538F59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B9DEBA-639A-225F-6CBC-BFC807D7A7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23C03F-6D5C-17CA-4B6E-1E9FB6F66D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F5DBD54-6A35-DAF0-F708-748C536B2791}"/>
              </a:ext>
            </a:extLst>
          </p:cNvPr>
          <p:cNvSpPr/>
          <p:nvPr/>
        </p:nvSpPr>
        <p:spPr>
          <a:xfrm>
            <a:off x="623887" y="1832795"/>
            <a:ext cx="9700843" cy="30499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‚Hello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Node.j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kale Variable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ini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losure</a:t>
            </a:r>
            <a:endParaRPr lang="de-DE" sz="1400" dirty="0">
              <a:solidFill>
                <a:srgbClr val="6A9955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onsole.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Variable der äußeren Funktion ist hier verfügba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displayNam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in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;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A99DADC-2571-5A63-5425-B5E194B14B63}"/>
              </a:ext>
            </a:extLst>
          </p:cNvPr>
          <p:cNvSpPr/>
          <p:nvPr/>
        </p:nvSpPr>
        <p:spPr>
          <a:xfrm>
            <a:off x="9917723" y="123679"/>
            <a:ext cx="2180492" cy="1325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r>
              <a:rPr lang="de-DE" sz="1400" dirty="0"/>
              <a:t>Weg?</a:t>
            </a:r>
          </a:p>
        </p:txBody>
      </p:sp>
    </p:spTree>
    <p:extLst>
      <p:ext uri="{BB962C8B-B14F-4D97-AF65-F5344CB8AC3E}">
        <p14:creationId xmlns:p14="http://schemas.microsoft.com/office/powerpoint/2010/main" val="32321452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können auch synchron se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8157127-8349-B4A3-57A5-A76A276A9FCC}"/>
              </a:ext>
            </a:extLst>
          </p:cNvPr>
          <p:cNvSpPr/>
          <p:nvPr/>
        </p:nvSpPr>
        <p:spPr>
          <a:xfrm>
            <a:off x="2406570" y="4115578"/>
            <a:ext cx="5963524" cy="69470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3A6C481-A68B-7928-9637-F2C5A555C3B5}"/>
              </a:ext>
            </a:extLst>
          </p:cNvPr>
          <p:cNvSpPr/>
          <p:nvPr/>
        </p:nvSpPr>
        <p:spPr>
          <a:xfrm>
            <a:off x="2406570" y="2385220"/>
            <a:ext cx="5963524" cy="10533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5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7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p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lem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-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1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[0, 4, 6]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322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r>
              <a:rPr lang="de-DE" dirty="0"/>
              <a:t> für asynchrone Operation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2070473" y="2668555"/>
            <a:ext cx="8051053" cy="15208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Error zuers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aram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allbac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ist immer letzter Parameter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308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1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synchroner API Aufruf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 Datenbank</a:t>
            </a:r>
          </a:p>
          <a:p>
            <a:pPr marL="285750" indent="-2857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ückgabe Da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24E7D77-BAA9-53C1-1FDF-EF01E2B6A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3181303"/>
            <a:ext cx="7712947" cy="298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613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B170DC0-8474-F686-F94A-A87856848D9B}"/>
              </a:ext>
            </a:extLst>
          </p:cNvPr>
          <p:cNvSpPr txBox="1"/>
          <p:nvPr/>
        </p:nvSpPr>
        <p:spPr>
          <a:xfrm>
            <a:off x="623888" y="1673157"/>
            <a:ext cx="10738018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Github</a:t>
            </a:r>
            <a:r>
              <a:rPr lang="de-DE" sz="1400" dirty="0"/>
              <a:t>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Node.js</a:t>
            </a:r>
            <a:r>
              <a:rPr lang="de-DE" sz="1400" dirty="0"/>
              <a:t> Design Patterns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Youtube</a:t>
            </a:r>
            <a:r>
              <a:rPr lang="de-DE" sz="1400" dirty="0"/>
              <a:t>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2"/>
              </a:rPr>
              <a:t>Ryan Dahl Präsentation von Node.js</a:t>
            </a:r>
            <a:endParaRPr lang="de-DE" sz="1400" dirty="0"/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hlinkClick r:id="rId3"/>
              </a:rPr>
              <a:t>Rob Pike – Concurrency is not parallelism    </a:t>
            </a:r>
            <a:r>
              <a:rPr lang="de-DE" sz="1400" dirty="0"/>
              <a:t>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076725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lback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. 68 </a:t>
            </a:r>
            <a:r>
              <a:rPr lang="de-DE" sz="1400" dirty="0" err="1"/>
              <a:t>unleashing</a:t>
            </a:r>
            <a:r>
              <a:rPr lang="de-DE" sz="1400" dirty="0"/>
              <a:t> </a:t>
            </a:r>
            <a:r>
              <a:rPr lang="de-DE" sz="1400" dirty="0" err="1"/>
              <a:t>Zalgo</a:t>
            </a:r>
            <a:r>
              <a:rPr lang="de-DE" sz="1400" dirty="0"/>
              <a:t> – Zeit für das ganze Bsp.? Dann müsste man auch Lösung S. 72 zeigen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(</a:t>
            </a:r>
            <a:r>
              <a:rPr lang="de-DE" sz="1400" dirty="0" err="1"/>
              <a:t>wahrs</a:t>
            </a:r>
            <a:r>
              <a:rPr lang="de-DE" sz="1400" dirty="0"/>
              <a:t> nein)</a:t>
            </a:r>
          </a:p>
        </p:txBody>
      </p:sp>
    </p:spTree>
    <p:extLst>
      <p:ext uri="{BB962C8B-B14F-4D97-AF65-F5344CB8AC3E}">
        <p14:creationId xmlns:p14="http://schemas.microsoft.com/office/powerpoint/2010/main" val="1532783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9586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F9A711-35F0-2DB0-69D4-85A409A5E58E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9CDCFE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en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hier verlassen</a:t>
            </a:r>
            <a:endParaRPr lang="de-DE" sz="1400" dirty="0">
              <a:solidFill>
                <a:srgbClr val="DCDCAA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3694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38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Promise</a:t>
            </a:r>
            <a:r>
              <a:rPr lang="de-DE" sz="1400" dirty="0"/>
              <a:t> Objekt repräsentiert die letztendliche Vollendung oder Fehlschlag einer asynchronen Operation und dem resultierenden Wert</a:t>
            </a:r>
          </a:p>
          <a:p>
            <a:pPr>
              <a:spcAft>
                <a:spcPts val="300"/>
              </a:spcAft>
            </a:pPr>
            <a:endParaRPr lang="de-DE" sz="12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C256C7-04A1-60AD-3D68-095239967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2267434"/>
            <a:ext cx="6768331" cy="2509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9962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mis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2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andard API, keine Konvention wie bei </a:t>
            </a:r>
            <a:r>
              <a:rPr lang="de-DE" sz="1400" dirty="0" err="1"/>
              <a:t>Callbacks</a:t>
            </a:r>
            <a:r>
              <a:rPr lang="de-DE" sz="1400" dirty="0"/>
              <a:t>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rch Chainen kürzere Syntax, nur einmal catch notwendi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Übersichtlicher, da man keine CBs aufruft, die an anderer Stelle definiert wu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D2506E1-8F5E-9547-C214-0046A37C1EF0}"/>
              </a:ext>
            </a:extLst>
          </p:cNvPr>
          <p:cNvSpPr/>
          <p:nvPr/>
        </p:nvSpPr>
        <p:spPr>
          <a:xfrm>
            <a:off x="623888" y="3565773"/>
            <a:ext cx="3574888" cy="23471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functionReturningPromi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ar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ul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.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c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rrorhandl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)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A71EB32-F235-6163-D999-76A02D3EB735}"/>
              </a:ext>
            </a:extLst>
          </p:cNvPr>
          <p:cNvSpPr/>
          <p:nvPr/>
        </p:nvSpPr>
        <p:spPr>
          <a:xfrm>
            <a:off x="6239957" y="1737125"/>
            <a:ext cx="4260273" cy="167469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i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c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r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els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Logik 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496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9" grpId="1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3571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30747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endParaRPr lang="de-DE" sz="14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-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l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nächste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weiterreichen für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Chaining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  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})</a:t>
            </a:r>
          </a:p>
          <a:p>
            <a:pPr lvl="0"/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…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6035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sync</a:t>
            </a:r>
            <a:r>
              <a:rPr lang="de-DE" dirty="0"/>
              <a:t>/</a:t>
            </a:r>
            <a:r>
              <a:rPr lang="de-DE" dirty="0" err="1"/>
              <a:t>awai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3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Code sieht synchron aus, trotzdem wird bei </a:t>
            </a:r>
            <a:r>
              <a:rPr lang="de-DE" sz="1400" dirty="0" err="1"/>
              <a:t>await</a:t>
            </a:r>
            <a:r>
              <a:rPr lang="de-DE" sz="1400" dirty="0"/>
              <a:t> nicht der Event Loop geblock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  <a:r>
              <a:rPr lang="de-DE" sz="1400" dirty="0">
                <a:sym typeface="Wingdings" pitchFamily="2" charset="2"/>
              </a:rPr>
              <a:t> </a:t>
            </a:r>
            <a:r>
              <a:rPr lang="de-DE" sz="1400" dirty="0"/>
              <a:t>Daher möglichst immer asynchrone APIs für z.B. Filesystem vorziehen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Bei einem Webserver können also trotzdem noch </a:t>
            </a:r>
            <a:r>
              <a:rPr lang="de-DE" sz="1400" dirty="0" err="1"/>
              <a:t>Requests</a:t>
            </a:r>
            <a:r>
              <a:rPr lang="de-DE" sz="1400" dirty="0"/>
              <a:t> empfangen werd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C2FC8C7-556E-4CD3-A82A-474A73A6915D}"/>
              </a:ext>
            </a:extLst>
          </p:cNvPr>
          <p:cNvSpPr/>
          <p:nvPr/>
        </p:nvSpPr>
        <p:spPr>
          <a:xfrm>
            <a:off x="623888" y="2982970"/>
            <a:ext cx="4918496" cy="97076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uter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syncOpera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381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9767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908C76F-5F3C-8D58-6C62-D7BE076AB1E0}"/>
              </a:ext>
            </a:extLst>
          </p:cNvPr>
          <p:cNvSpPr/>
          <p:nvPr/>
        </p:nvSpPr>
        <p:spPr>
          <a:xfrm>
            <a:off x="1398328" y="2337001"/>
            <a:ext cx="8911998" cy="232830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Funktion als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deklarieren</a:t>
            </a:r>
            <a:endParaRPr lang="de-DE" sz="1400" dirty="0">
              <a:solidFill>
                <a:srgbClr val="569CD6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https:/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-service.prod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-</a:t>
            </a:r>
          </a:p>
          <a:p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ks.dbs.obi.solution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pi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article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/v1/de/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de?articleNumber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=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${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}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`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uperagen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ge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ur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re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bod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[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0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]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query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article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..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a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2597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4E04CB-AB77-2745-871E-D1FDC7EB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BFF6D-CC81-6C4D-B5D0-9864A15720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134A7B-A2E1-EA45-8CF1-AF0675C54F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305AA7-96D7-9E44-9E74-F35F001AD3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DC5A3-4235-1947-95F9-07B0AE40AF5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D7B557E-AC28-5B44-AF1F-2CBC2F29FF34}"/>
              </a:ext>
            </a:extLst>
          </p:cNvPr>
          <p:cNvSpPr txBox="1">
            <a:spLocks/>
          </p:cNvSpPr>
          <p:nvPr/>
        </p:nvSpPr>
        <p:spPr>
          <a:xfrm>
            <a:off x="623888" y="1833826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D5D6823-A13E-C449-8764-0FAA84AF3FE6}"/>
              </a:ext>
            </a:extLst>
          </p:cNvPr>
          <p:cNvSpPr txBox="1">
            <a:spLocks/>
          </p:cNvSpPr>
          <p:nvPr/>
        </p:nvSpPr>
        <p:spPr>
          <a:xfrm>
            <a:off x="623888" y="2110824"/>
            <a:ext cx="6251337" cy="689501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Zunächst Erläuterung des Reactor Patterns bzw. der Implementierung in Javascript in Form des Event Loops. Anschließend Darstellung der Wandlung der Sprache von Callbacks hin zu async/awai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273BA1B-CAB8-9F4C-B7FB-F493BDC41BAB}"/>
              </a:ext>
            </a:extLst>
          </p:cNvPr>
          <p:cNvSpPr txBox="1">
            <a:spLocks/>
          </p:cNvSpPr>
          <p:nvPr/>
        </p:nvSpPr>
        <p:spPr>
          <a:xfrm>
            <a:off x="623888" y="3202951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ream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AB6370C-0486-FC42-9B20-09EA6D0B1D8F}"/>
              </a:ext>
            </a:extLst>
          </p:cNvPr>
          <p:cNvSpPr txBox="1">
            <a:spLocks/>
          </p:cNvSpPr>
          <p:nvPr/>
        </p:nvSpPr>
        <p:spPr>
          <a:xfrm>
            <a:off x="623888" y="3479950"/>
            <a:ext cx="6251337" cy="62313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ls Grundlage Beschreibung des Observer Patterns (in NodeJS in Form der EventEmitter Klasse), anschließend Vertiefung von Readable und Writable Streams</a:t>
            </a:r>
          </a:p>
          <a:p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515987E-B4E8-8541-AD2F-7D94C2E1CD2B}"/>
              </a:ext>
            </a:extLst>
          </p:cNvPr>
          <p:cNvSpPr txBox="1">
            <a:spLocks/>
          </p:cNvSpPr>
          <p:nvPr/>
        </p:nvSpPr>
        <p:spPr>
          <a:xfrm>
            <a:off x="623888" y="4592239"/>
            <a:ext cx="6251337" cy="27699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iterführende Patterns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2EA49FD3-2114-9B43-BECB-35F6732EAA58}"/>
              </a:ext>
            </a:extLst>
          </p:cNvPr>
          <p:cNvSpPr txBox="1">
            <a:spLocks/>
          </p:cNvSpPr>
          <p:nvPr/>
        </p:nvSpPr>
        <p:spPr>
          <a:xfrm>
            <a:off x="623888" y="4869238"/>
            <a:ext cx="6251337" cy="215444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esprechung von asynchron initialisierten Komponenten und/oder asynchronem Request Cach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9874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können auch mehrere asynchrone Aktionen gleichzeitig durchgeführt wer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3003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200" dirty="0" err="1"/>
              <a:t>async</a:t>
            </a:r>
            <a:r>
              <a:rPr lang="de-DE" sz="1200" dirty="0"/>
              <a:t>/</a:t>
            </a:r>
            <a:r>
              <a:rPr lang="de-DE" sz="1200" dirty="0" err="1"/>
              <a:t>await</a:t>
            </a:r>
            <a:r>
              <a:rPr lang="de-DE" sz="1200" dirty="0"/>
              <a:t> mit </a:t>
            </a:r>
            <a:r>
              <a:rPr lang="de-DE" sz="1200" dirty="0" err="1"/>
              <a:t>Array.forEach</a:t>
            </a:r>
            <a:r>
              <a:rPr lang="de-DE" sz="1200" dirty="0"/>
              <a:t> klappt nicht – kein </a:t>
            </a:r>
            <a:r>
              <a:rPr lang="de-DE" sz="1200" dirty="0" err="1"/>
              <a:t>Bsp</a:t>
            </a:r>
            <a:r>
              <a:rPr lang="de-DE" sz="1200" dirty="0"/>
              <a:t>, damit wir uns das nicht falsch einprägen</a:t>
            </a:r>
          </a:p>
          <a:p>
            <a:pPr algn="l">
              <a:spcAft>
                <a:spcPts val="300"/>
              </a:spcAft>
            </a:pPr>
            <a:endParaRPr lang="de-DE" sz="1200" dirty="0"/>
          </a:p>
          <a:p>
            <a:pPr algn="l">
              <a:spcAft>
                <a:spcPts val="300"/>
              </a:spcAft>
            </a:pPr>
            <a:r>
              <a:rPr lang="de-DE" sz="1200" dirty="0"/>
              <a:t>Stattdessen:</a:t>
            </a:r>
          </a:p>
          <a:p>
            <a:pPr>
              <a:spcAft>
                <a:spcPts val="300"/>
              </a:spcAft>
            </a:pPr>
            <a:r>
              <a:rPr lang="de-DE" sz="1200" dirty="0" err="1"/>
              <a:t>Promise.all</a:t>
            </a:r>
            <a:r>
              <a:rPr lang="de-DE" sz="1200" dirty="0"/>
              <a:t>(</a:t>
            </a:r>
            <a:r>
              <a:rPr lang="de-DE" sz="1200" dirty="0" err="1"/>
              <a:t>iterable</a:t>
            </a:r>
            <a:r>
              <a:rPr lang="de-DE" sz="1200" dirty="0"/>
              <a:t>);</a:t>
            </a:r>
          </a:p>
          <a:p>
            <a:pPr>
              <a:spcAft>
                <a:spcPts val="300"/>
              </a:spcAft>
            </a:pPr>
            <a:endParaRPr lang="de-DE" sz="1200" dirty="0"/>
          </a:p>
          <a:p>
            <a:pPr>
              <a:spcAft>
                <a:spcPts val="300"/>
              </a:spcAft>
            </a:pPr>
            <a:r>
              <a:rPr lang="de-DE" sz="1200" dirty="0" err="1"/>
              <a:t>Bsp</a:t>
            </a:r>
            <a:r>
              <a:rPr lang="de-DE" sz="1200" dirty="0"/>
              <a:t>: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6280DED-ED03-F464-7B29-073A949FE335}"/>
              </a:ext>
            </a:extLst>
          </p:cNvPr>
          <p:cNvSpPr/>
          <p:nvPr/>
        </p:nvSpPr>
        <p:spPr>
          <a:xfrm>
            <a:off x="623887" y="3197282"/>
            <a:ext cx="8236028" cy="310088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mis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: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} =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quir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fs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solv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>
                <a:solidFill>
                  <a:srgbClr val="B5CEA8"/>
                </a:solidFill>
                <a:latin typeface="Menlo" panose="020B0609030804020204" pitchFamily="49" charset="0"/>
              </a:rPr>
              <a:t>42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return</a:t>
            </a:r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readdi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"."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4EC9B0"/>
                </a:solidFill>
                <a:latin typeface="Menlo" panose="020B0609030804020204" pitchFamily="49" charset="0"/>
              </a:rPr>
              <a:t>Promis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ll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[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1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promise2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DCDCAA"/>
                </a:solidFill>
                <a:latin typeface="Menlo" panose="020B0609030804020204" pitchFamily="49" charset="0"/>
              </a:rPr>
              <a:t>promise3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])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he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value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;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xpecte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outpu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: Array [3, 42, [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DS_St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, '.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gitignor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‘…]] 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6210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1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413225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publish-</a:t>
            </a:r>
            <a:r>
              <a:rPr lang="de-DE" sz="1400" dirty="0" err="1"/>
              <a:t>subscribe</a:t>
            </a:r>
            <a:r>
              <a:rPr lang="de-DE" sz="1400" dirty="0"/>
              <a:t> </a:t>
            </a:r>
            <a:r>
              <a:rPr lang="de-DE" sz="1400" dirty="0" err="1"/>
              <a:t>pattern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EventEmitter</a:t>
            </a:r>
            <a:r>
              <a:rPr lang="de-DE" sz="1400" dirty="0"/>
              <a:t> sendet Nachricht, wenn eine bestimmte Aktion beendet wurd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Loser gekoppel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 </a:t>
            </a:r>
            <a:r>
              <a:rPr lang="de-DE" sz="1400" dirty="0" err="1"/>
              <a:t>EventEmitter</a:t>
            </a:r>
            <a:r>
              <a:rPr lang="de-DE" sz="1400" dirty="0"/>
              <a:t> S. 78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Event ist wie Broadcast (Rundfunk), Callback ist wie Handshake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B86FC9C-9B14-71D9-32C6-6F9F36B78CD3}"/>
              </a:ext>
            </a:extLst>
          </p:cNvPr>
          <p:cNvSpPr/>
          <p:nvPr/>
        </p:nvSpPr>
        <p:spPr>
          <a:xfrm>
            <a:off x="8163568" y="4431563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2FC99F-5ABE-4592-4A46-A3AC929CE5FE}"/>
              </a:ext>
            </a:extLst>
          </p:cNvPr>
          <p:cNvSpPr/>
          <p:nvPr/>
        </p:nvSpPr>
        <p:spPr>
          <a:xfrm>
            <a:off x="9799137" y="4431563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5C82C9C-91DB-224E-F750-510B6E53E811}"/>
              </a:ext>
            </a:extLst>
          </p:cNvPr>
          <p:cNvCxnSpPr>
            <a:stCxn id="8" idx="6"/>
            <a:endCxn id="12" idx="2"/>
          </p:cNvCxnSpPr>
          <p:nvPr/>
        </p:nvCxnSpPr>
        <p:spPr>
          <a:xfrm>
            <a:off x="8703568" y="4701563"/>
            <a:ext cx="109556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86796A1-C2D3-8BA8-F87D-79F61E4F4008}"/>
              </a:ext>
            </a:extLst>
          </p:cNvPr>
          <p:cNvSpPr/>
          <p:nvPr/>
        </p:nvSpPr>
        <p:spPr>
          <a:xfrm>
            <a:off x="435501" y="4445666"/>
            <a:ext cx="540000" cy="54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A4A9695-55D6-19ED-285E-B0DE29AE0C20}"/>
              </a:ext>
            </a:extLst>
          </p:cNvPr>
          <p:cNvSpPr/>
          <p:nvPr/>
        </p:nvSpPr>
        <p:spPr>
          <a:xfrm>
            <a:off x="2790161" y="4445666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C4B378A-35CA-FB96-ADB4-DCC894686ED7}"/>
              </a:ext>
            </a:extLst>
          </p:cNvPr>
          <p:cNvCxnSpPr>
            <a:stCxn id="14" idx="6"/>
            <a:endCxn id="15" idx="2"/>
          </p:cNvCxnSpPr>
          <p:nvPr/>
        </p:nvCxnSpPr>
        <p:spPr>
          <a:xfrm>
            <a:off x="975501" y="4715666"/>
            <a:ext cx="181466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F34CD22F-6E96-749E-E90C-E8C0922C0945}"/>
              </a:ext>
            </a:extLst>
          </p:cNvPr>
          <p:cNvSpPr/>
          <p:nvPr/>
        </p:nvSpPr>
        <p:spPr>
          <a:xfrm>
            <a:off x="1977778" y="3379967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4268CDB-C630-C0C6-F38E-BFDC6D2847A4}"/>
              </a:ext>
            </a:extLst>
          </p:cNvPr>
          <p:cNvSpPr/>
          <p:nvPr/>
        </p:nvSpPr>
        <p:spPr>
          <a:xfrm>
            <a:off x="3174246" y="3530932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049896F-DB19-7996-713E-799DF2DC786B}"/>
              </a:ext>
            </a:extLst>
          </p:cNvPr>
          <p:cNvSpPr/>
          <p:nvPr/>
        </p:nvSpPr>
        <p:spPr>
          <a:xfrm>
            <a:off x="2927036" y="5630400"/>
            <a:ext cx="540000" cy="540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A49B9AF-A6FB-E558-B8F2-7E6301A1BAA4}"/>
              </a:ext>
            </a:extLst>
          </p:cNvPr>
          <p:cNvCxnSpPr>
            <a:cxnSpLocks/>
            <a:stCxn id="14" idx="6"/>
            <a:endCxn id="19" idx="1"/>
          </p:cNvCxnSpPr>
          <p:nvPr/>
        </p:nvCxnSpPr>
        <p:spPr>
          <a:xfrm>
            <a:off x="975501" y="4715666"/>
            <a:ext cx="2030616" cy="99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A9DBCBF4-2519-A6EE-2092-631EDF9C1DF8}"/>
              </a:ext>
            </a:extLst>
          </p:cNvPr>
          <p:cNvCxnSpPr>
            <a:cxnSpLocks/>
            <a:stCxn id="14" idx="6"/>
            <a:endCxn id="18" idx="3"/>
          </p:cNvCxnSpPr>
          <p:nvPr/>
        </p:nvCxnSpPr>
        <p:spPr>
          <a:xfrm flipV="1">
            <a:off x="975501" y="3991851"/>
            <a:ext cx="2277826" cy="7238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3BA1FF0D-ED26-13A3-EC57-01535141B116}"/>
              </a:ext>
            </a:extLst>
          </p:cNvPr>
          <p:cNvCxnSpPr>
            <a:cxnSpLocks/>
            <a:stCxn id="14" idx="6"/>
            <a:endCxn id="17" idx="4"/>
          </p:cNvCxnSpPr>
          <p:nvPr/>
        </p:nvCxnSpPr>
        <p:spPr>
          <a:xfrm flipV="1">
            <a:off x="975501" y="3919967"/>
            <a:ext cx="1272277" cy="79569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037D44D5-2A5B-25AF-1176-EC165CE83A17}"/>
              </a:ext>
            </a:extLst>
          </p:cNvPr>
          <p:cNvSpPr txBox="1"/>
          <p:nvPr/>
        </p:nvSpPr>
        <p:spPr>
          <a:xfrm>
            <a:off x="11287089" y="499040"/>
            <a:ext cx="7587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Stream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688C7F4A-7F59-3519-0BBA-9A5B1CBB2CB5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8818953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06-event-emitter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5857330-FD49-98CE-8E06-8B6BF84EFFC6}"/>
              </a:ext>
            </a:extLst>
          </p:cNvPr>
          <p:cNvSpPr/>
          <p:nvPr/>
        </p:nvSpPr>
        <p:spPr>
          <a:xfrm>
            <a:off x="623888" y="2366285"/>
            <a:ext cx="3518904" cy="879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myEmitt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 err="1">
                <a:solidFill>
                  <a:srgbClr val="CE9178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CE9178"/>
                </a:solidFill>
                <a:latin typeface="Menlo" panose="020B0609030804020204" pitchFamily="49" charset="0"/>
              </a:rPr>
              <a:t>'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() </a:t>
            </a:r>
            <a:r>
              <a:rPr lang="de-DE" sz="1400" dirty="0">
                <a:solidFill>
                  <a:srgbClr val="569CD6"/>
                </a:solidFill>
                <a:latin typeface="Menlo" panose="020B0609030804020204" pitchFamily="49" charset="0"/>
              </a:rPr>
              <a:t>=&gt;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Logik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);</a:t>
            </a:r>
          </a:p>
          <a:p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817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server Patt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 err="1"/>
              <a:t>Wahrs</a:t>
            </a:r>
            <a:r>
              <a:rPr lang="de-DE" sz="1400" dirty="0"/>
              <a:t> nicht: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Bsp. </a:t>
            </a:r>
            <a:r>
              <a:rPr lang="de-DE" sz="1400" dirty="0" err="1"/>
              <a:t>EventEmitter</a:t>
            </a:r>
            <a:r>
              <a:rPr lang="de-DE" sz="1400" dirty="0"/>
              <a:t> S. 79+80? Oder </a:t>
            </a:r>
            <a:r>
              <a:rPr lang="de-DE" sz="1400" dirty="0" err="1"/>
              <a:t>vlt</a:t>
            </a:r>
            <a:r>
              <a:rPr lang="de-DE" sz="1400" dirty="0"/>
              <a:t>  eher 81+82, da </a:t>
            </a:r>
            <a:r>
              <a:rPr lang="de-DE" sz="1400" dirty="0" err="1"/>
              <a:t>extended</a:t>
            </a:r>
            <a:r>
              <a:rPr lang="de-DE" sz="1400" dirty="0"/>
              <a:t> Klasse </a:t>
            </a:r>
            <a:r>
              <a:rPr lang="de-DE" sz="1400" dirty="0" err="1"/>
              <a:t>EventEmitter</a:t>
            </a:r>
            <a:r>
              <a:rPr lang="de-DE" sz="1400" dirty="0"/>
              <a:t>, so wie es eher in </a:t>
            </a:r>
            <a:r>
              <a:rPr lang="de-DE" sz="1400" dirty="0" err="1"/>
              <a:t>Node</a:t>
            </a:r>
            <a:r>
              <a:rPr lang="de-DE" sz="1400" dirty="0"/>
              <a:t> üblich ist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Callbacks</a:t>
            </a:r>
            <a:r>
              <a:rPr lang="de-DE" sz="1400" dirty="0"/>
              <a:t> vs. </a:t>
            </a:r>
            <a:r>
              <a:rPr lang="de-DE" sz="1400" dirty="0" err="1"/>
              <a:t>EventEmitter</a:t>
            </a:r>
            <a:r>
              <a:rPr lang="de-DE" sz="1400" dirty="0"/>
              <a:t> S. 85-86 (</a:t>
            </a:r>
            <a:r>
              <a:rPr lang="de-DE" sz="1400" dirty="0" err="1"/>
              <a:t>wahrs</a:t>
            </a:r>
            <a:r>
              <a:rPr lang="de-DE" sz="1400" dirty="0"/>
              <a:t> eher nicht?)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8389014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650872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Bsp. 06-gzip-buffer-vs-stream</a:t>
            </a:r>
          </a:p>
        </p:txBody>
      </p:sp>
    </p:spTree>
    <p:extLst>
      <p:ext uri="{BB962C8B-B14F-4D97-AF65-F5344CB8AC3E}">
        <p14:creationId xmlns:p14="http://schemas.microsoft.com/office/powerpoint/2010/main" val="7234119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241261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</a:t>
            </a:r>
            <a:r>
              <a:rPr lang="de-DE" dirty="0" err="1"/>
              <a:t>Buffering</a:t>
            </a:r>
            <a:r>
              <a:rPr lang="de-DE" dirty="0"/>
              <a:t> werden alle Daten vor dem Verarbeiten in den Arbeitsspeicher gelad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330932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765183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7C33712-988C-0C47-AF53-7624FF5788E9}"/>
              </a:ext>
            </a:extLst>
          </p:cNvPr>
          <p:cNvSpPr/>
          <p:nvPr/>
        </p:nvSpPr>
        <p:spPr>
          <a:xfrm>
            <a:off x="428000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25F8480-726C-AD42-93A6-350791B7C8FA}"/>
              </a:ext>
            </a:extLst>
          </p:cNvPr>
          <p:cNvSpPr/>
          <p:nvPr/>
        </p:nvSpPr>
        <p:spPr>
          <a:xfrm>
            <a:off x="4726598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F0CED2F9-303F-6D4C-A907-A7C771AB79F2}"/>
              </a:ext>
            </a:extLst>
          </p:cNvPr>
          <p:cNvSpPr/>
          <p:nvPr/>
        </p:nvSpPr>
        <p:spPr>
          <a:xfrm>
            <a:off x="5200882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49EBD9C-18D2-044E-8C6D-D971F39B1C26}"/>
              </a:ext>
            </a:extLst>
          </p:cNvPr>
          <p:cNvSpPr/>
          <p:nvPr/>
        </p:nvSpPr>
        <p:spPr>
          <a:xfrm>
            <a:off x="5675166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FFF23D8-EE29-7849-9D7A-7FB7B06FB697}"/>
              </a:ext>
            </a:extLst>
          </p:cNvPr>
          <p:cNvSpPr/>
          <p:nvPr/>
        </p:nvSpPr>
        <p:spPr>
          <a:xfrm>
            <a:off x="6149450" y="3854854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272297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D811118-B52C-6E48-B353-E18A3946F731}"/>
              </a:ext>
            </a:extLst>
          </p:cNvPr>
          <p:cNvSpPr/>
          <p:nvPr/>
        </p:nvSpPr>
        <p:spPr>
          <a:xfrm>
            <a:off x="3925503" y="5191115"/>
            <a:ext cx="3784448" cy="9007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3B7B9F9-EB49-7A48-AA81-BF1AA07C7C51}"/>
              </a:ext>
            </a:extLst>
          </p:cNvPr>
          <p:cNvSpPr/>
          <p:nvPr/>
        </p:nvSpPr>
        <p:spPr>
          <a:xfrm>
            <a:off x="1960435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B2607A2F-CB22-D64E-B952-42CECDB7622E}"/>
              </a:ext>
            </a:extLst>
          </p:cNvPr>
          <p:cNvSpPr/>
          <p:nvPr/>
        </p:nvSpPr>
        <p:spPr>
          <a:xfrm>
            <a:off x="428000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06544B3-F74B-E74F-BBDA-F3648FDAD143}"/>
              </a:ext>
            </a:extLst>
          </p:cNvPr>
          <p:cNvSpPr/>
          <p:nvPr/>
        </p:nvSpPr>
        <p:spPr>
          <a:xfrm>
            <a:off x="4726598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5BC9050-3806-4644-9982-71D5F38BEA7C}"/>
              </a:ext>
            </a:extLst>
          </p:cNvPr>
          <p:cNvSpPr/>
          <p:nvPr/>
        </p:nvSpPr>
        <p:spPr>
          <a:xfrm>
            <a:off x="5200882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819E6FD-EB0F-5D47-856D-BA40762A5C87}"/>
              </a:ext>
            </a:extLst>
          </p:cNvPr>
          <p:cNvSpPr/>
          <p:nvPr/>
        </p:nvSpPr>
        <p:spPr>
          <a:xfrm>
            <a:off x="5675166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8B4528D-FC13-9B49-9BB9-A9F557F75172}"/>
              </a:ext>
            </a:extLst>
          </p:cNvPr>
          <p:cNvSpPr/>
          <p:nvPr/>
        </p:nvSpPr>
        <p:spPr>
          <a:xfrm>
            <a:off x="6149450" y="5280786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D455910-41D3-A249-8667-1BE9967DBB55}"/>
              </a:ext>
            </a:extLst>
          </p:cNvPr>
          <p:cNvSpPr/>
          <p:nvPr/>
        </p:nvSpPr>
        <p:spPr>
          <a:xfrm>
            <a:off x="428000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A7678C2-3AF5-BD46-A482-EAC697F29774}"/>
              </a:ext>
            </a:extLst>
          </p:cNvPr>
          <p:cNvSpPr/>
          <p:nvPr/>
        </p:nvSpPr>
        <p:spPr>
          <a:xfrm>
            <a:off x="475428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1270A093-0880-B743-9B5E-3A363783D826}"/>
              </a:ext>
            </a:extLst>
          </p:cNvPr>
          <p:cNvSpPr/>
          <p:nvPr/>
        </p:nvSpPr>
        <p:spPr>
          <a:xfrm>
            <a:off x="5228568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E2DDB9C-BBF0-5F47-B317-61558C5C331B}"/>
              </a:ext>
            </a:extLst>
          </p:cNvPr>
          <p:cNvSpPr/>
          <p:nvPr/>
        </p:nvSpPr>
        <p:spPr>
          <a:xfrm>
            <a:off x="5702852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328ADFE-48B0-D246-9496-E32475414279}"/>
              </a:ext>
            </a:extLst>
          </p:cNvPr>
          <p:cNvSpPr/>
          <p:nvPr/>
        </p:nvSpPr>
        <p:spPr>
          <a:xfrm>
            <a:off x="6177136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1D51493-6D8B-2945-A3E8-F474EBD01253}"/>
              </a:ext>
            </a:extLst>
          </p:cNvPr>
          <p:cNvSpPr/>
          <p:nvPr/>
        </p:nvSpPr>
        <p:spPr>
          <a:xfrm>
            <a:off x="6651420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31564AC-93BC-F543-91BB-224609824148}"/>
              </a:ext>
            </a:extLst>
          </p:cNvPr>
          <p:cNvSpPr/>
          <p:nvPr/>
        </p:nvSpPr>
        <p:spPr>
          <a:xfrm>
            <a:off x="7125704" y="569822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3446ACA-FB9E-8846-B4D6-818276CD6C45}"/>
              </a:ext>
            </a:extLst>
          </p:cNvPr>
          <p:cNvSpPr/>
          <p:nvPr/>
        </p:nvSpPr>
        <p:spPr>
          <a:xfrm>
            <a:off x="8597329" y="5375099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stCxn id="8" idx="3"/>
            <a:endCxn id="24" idx="1"/>
          </p:cNvCxnSpPr>
          <p:nvPr/>
        </p:nvCxnSpPr>
        <p:spPr>
          <a:xfrm flipV="1">
            <a:off x="3038126" y="2691613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 flipV="1">
            <a:off x="3038126" y="4215535"/>
            <a:ext cx="887377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534BA19-69BF-7246-B371-9C1C6566DA1C}"/>
              </a:ext>
            </a:extLst>
          </p:cNvPr>
          <p:cNvCxnSpPr>
            <a:cxnSpLocks/>
            <a:stCxn id="41" idx="3"/>
            <a:endCxn id="55" idx="1"/>
          </p:cNvCxnSpPr>
          <p:nvPr/>
        </p:nvCxnSpPr>
        <p:spPr>
          <a:xfrm>
            <a:off x="7709951" y="5641467"/>
            <a:ext cx="887378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5E69549-BC6E-4942-9149-EC1978BA075D}"/>
              </a:ext>
            </a:extLst>
          </p:cNvPr>
          <p:cNvSpPr txBox="1"/>
          <p:nvPr/>
        </p:nvSpPr>
        <p:spPr>
          <a:xfrm>
            <a:off x="7745515" y="541516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6C78C0C-9BF7-1A44-8F48-CD70B2F43FCD}"/>
              </a:ext>
            </a:extLst>
          </p:cNvPr>
          <p:cNvSpPr txBox="1"/>
          <p:nvPr/>
        </p:nvSpPr>
        <p:spPr>
          <a:xfrm>
            <a:off x="1073991" y="5533745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6866000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374E61C-816E-DC4A-B67E-6B530AB3EDF8}"/>
              </a:ext>
            </a:extLst>
          </p:cNvPr>
          <p:cNvSpPr/>
          <p:nvPr/>
        </p:nvSpPr>
        <p:spPr>
          <a:xfrm>
            <a:off x="3925503" y="2408232"/>
            <a:ext cx="3784448" cy="546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m Streaming werden Daten bereits vor dem vollständigen Laden verarbeit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xxx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B95205-4A4D-A842-BCFA-53E4E81E642D}"/>
              </a:ext>
            </a:extLst>
          </p:cNvPr>
          <p:cNvSpPr/>
          <p:nvPr/>
        </p:nvSpPr>
        <p:spPr>
          <a:xfrm>
            <a:off x="1960435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FD94B6-3DF1-8745-B900-862B0330169E}"/>
              </a:ext>
            </a:extLst>
          </p:cNvPr>
          <p:cNvSpPr/>
          <p:nvPr/>
        </p:nvSpPr>
        <p:spPr>
          <a:xfrm>
            <a:off x="428000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D5D3096-2A78-B94A-83B1-046F9FF92033}"/>
              </a:ext>
            </a:extLst>
          </p:cNvPr>
          <p:cNvSpPr/>
          <p:nvPr/>
        </p:nvSpPr>
        <p:spPr>
          <a:xfrm>
            <a:off x="4726598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9F03B5F-FC5D-2443-B048-068F4002FB69}"/>
              </a:ext>
            </a:extLst>
          </p:cNvPr>
          <p:cNvSpPr/>
          <p:nvPr/>
        </p:nvSpPr>
        <p:spPr>
          <a:xfrm>
            <a:off x="5200882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4BC0FF2-8B2E-E24C-A679-DBBD009EC76E}"/>
              </a:ext>
            </a:extLst>
          </p:cNvPr>
          <p:cNvSpPr/>
          <p:nvPr/>
        </p:nvSpPr>
        <p:spPr>
          <a:xfrm>
            <a:off x="5675166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186AFB-89E6-9044-888B-C224CA16808D}"/>
              </a:ext>
            </a:extLst>
          </p:cNvPr>
          <p:cNvSpPr/>
          <p:nvPr/>
        </p:nvSpPr>
        <p:spPr>
          <a:xfrm>
            <a:off x="6149450" y="2497903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8166EA5-130E-0E41-A7FB-DD49FE9E5CB5}"/>
              </a:ext>
            </a:extLst>
          </p:cNvPr>
          <p:cNvSpPr/>
          <p:nvPr/>
        </p:nvSpPr>
        <p:spPr>
          <a:xfrm>
            <a:off x="8597329" y="2425245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8CCAF4E-2E9B-0B48-8A4C-E822EEB65BD8}"/>
              </a:ext>
            </a:extLst>
          </p:cNvPr>
          <p:cNvSpPr/>
          <p:nvPr/>
        </p:nvSpPr>
        <p:spPr>
          <a:xfrm>
            <a:off x="3925503" y="3926909"/>
            <a:ext cx="3784448" cy="5958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l"/>
            <a:endParaRPr lang="de-DE" sz="14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A683BB0-4DD5-AE40-935E-08498CCE3502}"/>
              </a:ext>
            </a:extLst>
          </p:cNvPr>
          <p:cNvSpPr/>
          <p:nvPr/>
        </p:nvSpPr>
        <p:spPr>
          <a:xfrm>
            <a:off x="1960435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Producer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0CAF987-B68E-6744-8067-1B8EC910AF29}"/>
              </a:ext>
            </a:extLst>
          </p:cNvPr>
          <p:cNvSpPr/>
          <p:nvPr/>
        </p:nvSpPr>
        <p:spPr>
          <a:xfrm>
            <a:off x="428000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N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52AFC79-9A0B-514C-8830-1AF18696E06A}"/>
              </a:ext>
            </a:extLst>
          </p:cNvPr>
          <p:cNvSpPr/>
          <p:nvPr/>
        </p:nvSpPr>
        <p:spPr>
          <a:xfrm>
            <a:off x="475428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o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F778FCB-BDAD-A54D-9786-E2A74CC1DEE5}"/>
              </a:ext>
            </a:extLst>
          </p:cNvPr>
          <p:cNvSpPr/>
          <p:nvPr/>
        </p:nvSpPr>
        <p:spPr>
          <a:xfrm>
            <a:off x="5228568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d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23F8011-7752-C144-AA4D-E18029E68FD9}"/>
              </a:ext>
            </a:extLst>
          </p:cNvPr>
          <p:cNvSpPr/>
          <p:nvPr/>
        </p:nvSpPr>
        <p:spPr>
          <a:xfrm>
            <a:off x="5702852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e</a:t>
            </a:r>
            <a:endParaRPr lang="de-DE" sz="1400" dirty="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0BEC1213-0290-A243-A01C-1F57EB7773BC}"/>
              </a:ext>
            </a:extLst>
          </p:cNvPr>
          <p:cNvSpPr/>
          <p:nvPr/>
        </p:nvSpPr>
        <p:spPr>
          <a:xfrm>
            <a:off x="6177136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7AE041F-F844-ED42-B7C1-348620D44134}"/>
              </a:ext>
            </a:extLst>
          </p:cNvPr>
          <p:cNvSpPr/>
          <p:nvPr/>
        </p:nvSpPr>
        <p:spPr>
          <a:xfrm>
            <a:off x="6651420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 err="1"/>
              <a:t>j</a:t>
            </a:r>
            <a:endParaRPr lang="de-DE" sz="14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F8FD422-CB02-BF40-82C2-F42101A14602}"/>
              </a:ext>
            </a:extLst>
          </p:cNvPr>
          <p:cNvSpPr/>
          <p:nvPr/>
        </p:nvSpPr>
        <p:spPr>
          <a:xfrm>
            <a:off x="7125704" y="4129179"/>
            <a:ext cx="368698" cy="3021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4A1BECD-E8A6-444E-823F-1C210E955A79}"/>
              </a:ext>
            </a:extLst>
          </p:cNvPr>
          <p:cNvSpPr/>
          <p:nvPr/>
        </p:nvSpPr>
        <p:spPr>
          <a:xfrm>
            <a:off x="8597329" y="3949167"/>
            <a:ext cx="1077691" cy="532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sz="1400" dirty="0"/>
              <a:t>Consumer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4F7DEF91-DFE9-2746-9695-FC4EE4D63589}"/>
              </a:ext>
            </a:extLst>
          </p:cNvPr>
          <p:cNvCxnSpPr>
            <a:cxnSpLocks/>
            <a:stCxn id="8" idx="3"/>
            <a:endCxn id="24" idx="1"/>
          </p:cNvCxnSpPr>
          <p:nvPr/>
        </p:nvCxnSpPr>
        <p:spPr>
          <a:xfrm flipV="1">
            <a:off x="3038126" y="2681589"/>
            <a:ext cx="887377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624C130A-6370-5C4E-8490-D8D4F63DD7B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>
            <a:off x="3038126" y="4215536"/>
            <a:ext cx="887377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E1B866C7-49DA-0B43-8EF4-5C29544215D6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7709951" y="2681589"/>
            <a:ext cx="887378" cy="100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ADC48E1-DF96-664B-AC5C-6AA4A70E5F89}"/>
              </a:ext>
            </a:extLst>
          </p:cNvPr>
          <p:cNvCxnSpPr>
            <a:cxnSpLocks/>
            <a:stCxn id="26" idx="3"/>
            <a:endCxn id="40" idx="1"/>
          </p:cNvCxnSpPr>
          <p:nvPr/>
        </p:nvCxnSpPr>
        <p:spPr>
          <a:xfrm flipV="1">
            <a:off x="7709951" y="4215536"/>
            <a:ext cx="887378" cy="930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0AF7A5AA-2E69-1D46-A791-056E8BCE92B5}"/>
              </a:ext>
            </a:extLst>
          </p:cNvPr>
          <p:cNvSpPr txBox="1"/>
          <p:nvPr/>
        </p:nvSpPr>
        <p:spPr>
          <a:xfrm>
            <a:off x="3031354" y="2461066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871E795-4048-FE41-9087-219B7D4A1C31}"/>
              </a:ext>
            </a:extLst>
          </p:cNvPr>
          <p:cNvSpPr txBox="1"/>
          <p:nvPr/>
        </p:nvSpPr>
        <p:spPr>
          <a:xfrm>
            <a:off x="3031354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 err="1"/>
              <a:t>Receive</a:t>
            </a:r>
            <a:endParaRPr lang="de-DE" sz="1200" dirty="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287C941-2D68-914B-9669-69D87D41CE58}"/>
              </a:ext>
            </a:extLst>
          </p:cNvPr>
          <p:cNvSpPr txBox="1"/>
          <p:nvPr/>
        </p:nvSpPr>
        <p:spPr>
          <a:xfrm>
            <a:off x="1077112" y="2572530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1.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7B86E7A9-1E97-B24D-8E45-C84848F0698C}"/>
              </a:ext>
            </a:extLst>
          </p:cNvPr>
          <p:cNvSpPr txBox="1"/>
          <p:nvPr/>
        </p:nvSpPr>
        <p:spPr>
          <a:xfrm>
            <a:off x="1045108" y="4107813"/>
            <a:ext cx="80542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2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A01DDB82-220D-4842-A83D-29EE468E30B1}"/>
              </a:ext>
            </a:extLst>
          </p:cNvPr>
          <p:cNvSpPr txBox="1"/>
          <p:nvPr/>
        </p:nvSpPr>
        <p:spPr>
          <a:xfrm>
            <a:off x="7745515" y="2448053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47B64A9-9159-D54B-BD57-5CA5EC74E130}"/>
              </a:ext>
            </a:extLst>
          </p:cNvPr>
          <p:cNvSpPr txBox="1"/>
          <p:nvPr/>
        </p:nvSpPr>
        <p:spPr>
          <a:xfrm>
            <a:off x="7769940" y="3979351"/>
            <a:ext cx="8162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200" dirty="0"/>
              <a:t>Send</a:t>
            </a:r>
          </a:p>
        </p:txBody>
      </p:sp>
    </p:spTree>
    <p:extLst>
      <p:ext uri="{BB962C8B-B14F-4D97-AF65-F5344CB8AC3E}">
        <p14:creationId xmlns:p14="http://schemas.microsoft.com/office/powerpoint/2010/main" val="248518822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955040-AD6B-6F4B-621B-4D1DDD40B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42AEDF-AE62-F099-3140-3D137579F7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4E3D9A-8E9E-5A41-C039-525630FD2A3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5C3C00-A03C-EB29-959A-90C7177553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FC8245D-DEEC-394C-C9CF-0CE9FC62C2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39</a:t>
            </a:fld>
            <a:endParaRPr lang="de-DE" dirty="0"/>
          </a:p>
        </p:txBody>
      </p:sp>
      <p:pic>
        <p:nvPicPr>
          <p:cNvPr id="416770" name="Picture 2">
            <a:extLst>
              <a:ext uri="{FF2B5EF4-FFF2-40B4-BE49-F238E27FC236}">
                <a16:creationId xmlns:a16="http://schemas.microsoft.com/office/drawing/2014/main" id="{7E5A39D2-CCF0-EE33-C574-816EC8B7B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2117832"/>
            <a:ext cx="5971136" cy="374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F3F6B001-6DD7-A3C8-573D-E2644188A111}"/>
              </a:ext>
            </a:extLst>
          </p:cNvPr>
          <p:cNvSpPr txBox="1"/>
          <p:nvPr/>
        </p:nvSpPr>
        <p:spPr>
          <a:xfrm>
            <a:off x="623888" y="1673157"/>
            <a:ext cx="107380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Das anstatt die Folien vorher? Beides? (</a:t>
            </a:r>
            <a:r>
              <a:rPr lang="de-DE" sz="1400" dirty="0" err="1"/>
              <a:t>eig</a:t>
            </a:r>
            <a:r>
              <a:rPr lang="de-DE" sz="1400" dirty="0"/>
              <a:t> wird der Punkt ja schon auf der Grafik erklärt, wo Client und Server abgebildet sind)</a:t>
            </a:r>
          </a:p>
        </p:txBody>
      </p:sp>
    </p:spTree>
    <p:extLst>
      <p:ext uri="{BB962C8B-B14F-4D97-AF65-F5344CB8AC3E}">
        <p14:creationId xmlns:p14="http://schemas.microsoft.com/office/powerpoint/2010/main" val="786099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8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Stream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Weiterführende Pattern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4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7676416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992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Effizienter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Memory Verbrauch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Verarbeitungszeit	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Ermöglicht überhaupt erst das Verarbeiten großer Datenmengen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	V8 </a:t>
            </a:r>
            <a:r>
              <a:rPr lang="de-DE" sz="1400" dirty="0" err="1"/>
              <a:t>Buffer</a:t>
            </a:r>
            <a:r>
              <a:rPr lang="de-DE" sz="1400" dirty="0"/>
              <a:t> sind </a:t>
            </a:r>
            <a:r>
              <a:rPr lang="de-DE" sz="1400" dirty="0" err="1"/>
              <a:t>grds</a:t>
            </a:r>
            <a:r>
              <a:rPr lang="de-DE" sz="1400" dirty="0"/>
              <a:t>. in Größe beschränkt (</a:t>
            </a:r>
            <a:r>
              <a:rPr lang="de-DE" sz="1400" dirty="0" err="1"/>
              <a:t>Node</a:t>
            </a:r>
            <a:r>
              <a:rPr lang="de-DE" sz="1400" dirty="0"/>
              <a:t> 17: 4294967296 Bytes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	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Composability</a:t>
            </a: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	Einfache Syntax</a:t>
            </a:r>
          </a:p>
        </p:txBody>
      </p:sp>
    </p:spTree>
    <p:extLst>
      <p:ext uri="{BB962C8B-B14F-4D97-AF65-F5344CB8AC3E}">
        <p14:creationId xmlns:p14="http://schemas.microsoft.com/office/powerpoint/2010/main" val="13201298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27546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Readable</a:t>
            </a:r>
            <a:r>
              <a:rPr lang="de-DE" sz="1400" dirty="0"/>
              <a:t> (z.B. </a:t>
            </a:r>
            <a:r>
              <a:rPr lang="de-DE" sz="1400" dirty="0" err="1"/>
              <a:t>stdin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 (z.B. </a:t>
            </a:r>
            <a:r>
              <a:rPr lang="de-DE" sz="1400" dirty="0" err="1"/>
              <a:t>stdout</a:t>
            </a:r>
            <a:r>
              <a:rPr lang="de-DE" sz="1400" dirty="0"/>
              <a:t>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Duplex: </a:t>
            </a:r>
            <a:r>
              <a:rPr lang="de-DE" sz="1400" dirty="0" err="1"/>
              <a:t>readable+writable</a:t>
            </a:r>
            <a:r>
              <a:rPr lang="de-DE" sz="1400" dirty="0"/>
              <a:t>, z.B. TCP Socket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Transform: Daten transformieren, z.B. </a:t>
            </a:r>
            <a:r>
              <a:rPr lang="de-DE" sz="1400" dirty="0" err="1"/>
              <a:t>zlib.createGzip</a:t>
            </a:r>
            <a:r>
              <a:rPr lang="de-DE" sz="1400" dirty="0"/>
              <a:t>()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Grafiken 185 und 186 zum veranschaulichen?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Stream ist Instanz von </a:t>
            </a:r>
            <a:r>
              <a:rPr lang="de-DE" sz="1400" dirty="0" err="1"/>
              <a:t>EventEmitter</a:t>
            </a:r>
            <a:r>
              <a:rPr lang="de-DE" sz="1400" dirty="0"/>
              <a:t>!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 err="1"/>
              <a:t>Async</a:t>
            </a:r>
            <a:r>
              <a:rPr lang="de-DE" sz="1400" dirty="0"/>
              <a:t> </a:t>
            </a:r>
            <a:r>
              <a:rPr lang="de-DE" sz="1400" dirty="0" err="1"/>
              <a:t>iterator</a:t>
            </a:r>
            <a:endParaRPr lang="de-DE" sz="1400" dirty="0"/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E7ECE9E-4C9F-F54A-9B23-80B692120F80}"/>
              </a:ext>
            </a:extLst>
          </p:cNvPr>
          <p:cNvSpPr/>
          <p:nvPr/>
        </p:nvSpPr>
        <p:spPr>
          <a:xfrm>
            <a:off x="623888" y="4919570"/>
            <a:ext cx="5472112" cy="125083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async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functio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ma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 {</a:t>
            </a: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awai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con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4FC1FF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tdin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9CDCFE"/>
                </a:solidFill>
                <a:latin typeface="Menlo" panose="020B0609030804020204" pitchFamily="49" charset="0"/>
              </a:rPr>
              <a:t>   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onsole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lo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lengt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chunk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toString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))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7169508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neuen </a:t>
            </a:r>
            <a:r>
              <a:rPr lang="de-DE" dirty="0" err="1"/>
              <a:t>custom</a:t>
            </a:r>
            <a:r>
              <a:rPr lang="de-DE" dirty="0"/>
              <a:t> </a:t>
            </a:r>
            <a:r>
              <a:rPr lang="de-DE" dirty="0" err="1"/>
              <a:t>readable</a:t>
            </a:r>
            <a:r>
              <a:rPr lang="de-DE" dirty="0"/>
              <a:t> Stream implement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08-custom-readable_async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5687235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Writable</a:t>
            </a:r>
            <a:r>
              <a:rPr lang="de-DE" sz="1400" dirty="0"/>
              <a:t>: in Ziel schreiben, z.B. Datei, </a:t>
            </a:r>
            <a:r>
              <a:rPr lang="de-DE" sz="1400" dirty="0" err="1"/>
              <a:t>stdout</a:t>
            </a:r>
            <a:r>
              <a:rPr lang="de-DE" sz="1400" dirty="0"/>
              <a:t>, ...</a:t>
            </a:r>
          </a:p>
          <a:p>
            <a:pPr>
              <a:spcAft>
                <a:spcPts val="300"/>
              </a:spcAft>
            </a:pPr>
            <a:r>
              <a:rPr lang="de-DE" sz="1400" dirty="0"/>
              <a:t>09-writable-http-entropy-server </a:t>
            </a:r>
            <a:r>
              <a:rPr lang="de-DE" sz="1400" dirty="0">
                <a:sym typeface="Wingdings" pitchFamily="2" charset="2"/>
              </a:rPr>
              <a:t> 10-writable-http-entropy-server-backpressure</a:t>
            </a:r>
          </a:p>
          <a:p>
            <a:pPr>
              <a:spcAft>
                <a:spcPts val="300"/>
              </a:spcAft>
            </a:pPr>
            <a:endParaRPr lang="de-DE" sz="1400" dirty="0">
              <a:sym typeface="Wingdings" pitchFamily="2" charset="2"/>
            </a:endParaRPr>
          </a:p>
          <a:p>
            <a:pPr>
              <a:spcAft>
                <a:spcPts val="300"/>
              </a:spcAft>
            </a:pPr>
            <a:r>
              <a:rPr lang="de-DE" sz="1400" dirty="0">
                <a:sym typeface="Wingdings" pitchFamily="2" charset="2"/>
              </a:rPr>
              <a:t>Beides zeigen? Oder wie hin zu </a:t>
            </a:r>
            <a:r>
              <a:rPr lang="de-DE" sz="1400" dirty="0" err="1">
                <a:sym typeface="Wingdings" pitchFamily="2" charset="2"/>
              </a:rPr>
              <a:t>backpressure</a:t>
            </a:r>
            <a:r>
              <a:rPr lang="de-DE" sz="1400" dirty="0">
                <a:sym typeface="Wingdings" pitchFamily="2" charset="2"/>
              </a:rPr>
              <a:t> kommen?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208659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 früheres Beginnen der späteren Verarbeitungsschritte ist Streaming zeit-effizien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4</a:t>
            </a:fld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CDD1B43-083C-F544-8D89-8F65E5C38D91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2361366"/>
            <a:ext cx="4985468" cy="373705"/>
            <a:chOff x="623888" y="2370834"/>
            <a:chExt cx="10836270" cy="662651"/>
          </a:xfrm>
        </p:grpSpPr>
        <p:sp>
          <p:nvSpPr>
            <p:cNvPr id="9" name="Pfeil: Fünfeck 17">
              <a:extLst>
                <a:ext uri="{FF2B5EF4-FFF2-40B4-BE49-F238E27FC236}">
                  <a16:creationId xmlns:a16="http://schemas.microsoft.com/office/drawing/2014/main" id="{9139EE4F-055F-B342-91FA-54730F80A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Pfeil: Chevron 18">
              <a:extLst>
                <a:ext uri="{FF2B5EF4-FFF2-40B4-BE49-F238E27FC236}">
                  <a16:creationId xmlns:a16="http://schemas.microsoft.com/office/drawing/2014/main" id="{2F8F4298-78E5-864D-8182-3AEB92E5FD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Pfeil: Chevron 19">
              <a:extLst>
                <a:ext uri="{FF2B5EF4-FFF2-40B4-BE49-F238E27FC236}">
                  <a16:creationId xmlns:a16="http://schemas.microsoft.com/office/drawing/2014/main" id="{BFB37500-9BA7-1145-AF48-6995E5204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send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EE5E185-B6B5-E04F-9FD5-0DC1F0992287}"/>
              </a:ext>
            </a:extLst>
          </p:cNvPr>
          <p:cNvGrpSpPr>
            <a:grpSpLocks/>
          </p:cNvGrpSpPr>
          <p:nvPr/>
        </p:nvGrpSpPr>
        <p:grpSpPr bwMode="gray">
          <a:xfrm>
            <a:off x="6464411" y="2779865"/>
            <a:ext cx="4995745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13" name="Pfeil: Fünfeck 17">
              <a:extLst>
                <a:ext uri="{FF2B5EF4-FFF2-40B4-BE49-F238E27FC236}">
                  <a16:creationId xmlns:a16="http://schemas.microsoft.com/office/drawing/2014/main" id="{C73AF608-FAAF-984D-9688-AC12ACEFC9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eiv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18">
              <a:extLst>
                <a:ext uri="{FF2B5EF4-FFF2-40B4-BE49-F238E27FC236}">
                  <a16:creationId xmlns:a16="http://schemas.microsoft.com/office/drawing/2014/main" id="{344F6598-0725-A543-8F7E-FB8A4FDD5A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ompres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Pfeil: Chevron 19">
              <a:extLst>
                <a:ext uri="{FF2B5EF4-FFF2-40B4-BE49-F238E27FC236}">
                  <a16:creationId xmlns:a16="http://schemas.microsoft.com/office/drawing/2014/main" id="{96EBF4FE-7C7B-384C-BE25-75234ED92F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4ECE67C-BB82-5245-A74B-09CDE6BD8318}"/>
              </a:ext>
            </a:extLst>
          </p:cNvPr>
          <p:cNvGrpSpPr>
            <a:grpSpLocks/>
          </p:cNvGrpSpPr>
          <p:nvPr/>
        </p:nvGrpSpPr>
        <p:grpSpPr bwMode="gray">
          <a:xfrm>
            <a:off x="1478943" y="3520025"/>
            <a:ext cx="1694948" cy="373705"/>
            <a:chOff x="623888" y="2370834"/>
            <a:chExt cx="10836270" cy="662651"/>
          </a:xfrm>
        </p:grpSpPr>
        <p:sp>
          <p:nvSpPr>
            <p:cNvPr id="17" name="Pfeil: Fünfeck 17">
              <a:extLst>
                <a:ext uri="{FF2B5EF4-FFF2-40B4-BE49-F238E27FC236}">
                  <a16:creationId xmlns:a16="http://schemas.microsoft.com/office/drawing/2014/main" id="{2FC9E0CA-5EBF-5344-8FBB-A2D84D578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Pfeil: Chevron 18">
              <a:extLst>
                <a:ext uri="{FF2B5EF4-FFF2-40B4-BE49-F238E27FC236}">
                  <a16:creationId xmlns:a16="http://schemas.microsoft.com/office/drawing/2014/main" id="{C1BD3A31-33A8-A24F-A29A-E3697E2F88C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Pfeil: Chevron 19">
              <a:extLst>
                <a:ext uri="{FF2B5EF4-FFF2-40B4-BE49-F238E27FC236}">
                  <a16:creationId xmlns:a16="http://schemas.microsoft.com/office/drawing/2014/main" id="{243DDD97-D3D2-3C42-89A7-0BAEAFB57A6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9C6570D5-C1E8-6A4C-8EA2-E82D8E596F5E}"/>
              </a:ext>
            </a:extLst>
          </p:cNvPr>
          <p:cNvGrpSpPr>
            <a:grpSpLocks/>
          </p:cNvGrpSpPr>
          <p:nvPr/>
        </p:nvGrpSpPr>
        <p:grpSpPr bwMode="gray">
          <a:xfrm>
            <a:off x="2614539" y="3997629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1" name="Pfeil: Fünfeck 17">
              <a:extLst>
                <a:ext uri="{FF2B5EF4-FFF2-40B4-BE49-F238E27FC236}">
                  <a16:creationId xmlns:a16="http://schemas.microsoft.com/office/drawing/2014/main" id="{F06A363A-5DDF-BD4E-81C4-55E444639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2" name="Pfeil: Chevron 18">
              <a:extLst>
                <a:ext uri="{FF2B5EF4-FFF2-40B4-BE49-F238E27FC236}">
                  <a16:creationId xmlns:a16="http://schemas.microsoft.com/office/drawing/2014/main" id="{175C102E-D3CB-C64C-9F7C-17B409C23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3" name="Pfeil: Chevron 19">
              <a:extLst>
                <a:ext uri="{FF2B5EF4-FFF2-40B4-BE49-F238E27FC236}">
                  <a16:creationId xmlns:a16="http://schemas.microsoft.com/office/drawing/2014/main" id="{8B9CA019-EF09-9A46-B0B2-EA2E5CE26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001F4EEA-CE77-D048-89D2-C4962FC5972A}"/>
              </a:ext>
            </a:extLst>
          </p:cNvPr>
          <p:cNvGrpSpPr>
            <a:grpSpLocks/>
          </p:cNvGrpSpPr>
          <p:nvPr/>
        </p:nvGrpSpPr>
        <p:grpSpPr bwMode="gray">
          <a:xfrm>
            <a:off x="2055187" y="4491831"/>
            <a:ext cx="1694948" cy="373705"/>
            <a:chOff x="623888" y="2370834"/>
            <a:chExt cx="10836270" cy="662651"/>
          </a:xfrm>
        </p:grpSpPr>
        <p:sp>
          <p:nvSpPr>
            <p:cNvPr id="45" name="Pfeil: Fünfeck 17">
              <a:extLst>
                <a:ext uri="{FF2B5EF4-FFF2-40B4-BE49-F238E27FC236}">
                  <a16:creationId xmlns:a16="http://schemas.microsoft.com/office/drawing/2014/main" id="{007DBE8A-C9FD-1B4B-9D07-F95C51D00F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Pfeil: Chevron 18">
              <a:extLst>
                <a:ext uri="{FF2B5EF4-FFF2-40B4-BE49-F238E27FC236}">
                  <a16:creationId xmlns:a16="http://schemas.microsoft.com/office/drawing/2014/main" id="{F128402C-E294-3D4B-99CB-DAC38D1A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47" name="Pfeil: Chevron 19">
              <a:extLst>
                <a:ext uri="{FF2B5EF4-FFF2-40B4-BE49-F238E27FC236}">
                  <a16:creationId xmlns:a16="http://schemas.microsoft.com/office/drawing/2014/main" id="{B366DB77-9C86-2849-97C0-AE8C68B36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C82AD20-4942-C442-BB26-53153CF60921}"/>
              </a:ext>
            </a:extLst>
          </p:cNvPr>
          <p:cNvGrpSpPr>
            <a:grpSpLocks/>
          </p:cNvGrpSpPr>
          <p:nvPr/>
        </p:nvGrpSpPr>
        <p:grpSpPr bwMode="gray">
          <a:xfrm>
            <a:off x="3190783" y="4969435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49" name="Pfeil: Fünfeck 17">
              <a:extLst>
                <a:ext uri="{FF2B5EF4-FFF2-40B4-BE49-F238E27FC236}">
                  <a16:creationId xmlns:a16="http://schemas.microsoft.com/office/drawing/2014/main" id="{413A8BFF-1643-A149-A82A-32DE435E8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0" name="Pfeil: Chevron 18">
              <a:extLst>
                <a:ext uri="{FF2B5EF4-FFF2-40B4-BE49-F238E27FC236}">
                  <a16:creationId xmlns:a16="http://schemas.microsoft.com/office/drawing/2014/main" id="{6713C158-B0A2-7240-909C-6508AAD2F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1" name="Pfeil: Chevron 19">
              <a:extLst>
                <a:ext uri="{FF2B5EF4-FFF2-40B4-BE49-F238E27FC236}">
                  <a16:creationId xmlns:a16="http://schemas.microsoft.com/office/drawing/2014/main" id="{BA75CC08-2FB1-3B47-BE08-C3DA0A83D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FC794B1-49F1-DB40-8010-B240657FFECA}"/>
              </a:ext>
            </a:extLst>
          </p:cNvPr>
          <p:cNvGrpSpPr>
            <a:grpSpLocks/>
          </p:cNvGrpSpPr>
          <p:nvPr/>
        </p:nvGrpSpPr>
        <p:grpSpPr bwMode="gray">
          <a:xfrm>
            <a:off x="2631431" y="5467060"/>
            <a:ext cx="1694948" cy="373705"/>
            <a:chOff x="623888" y="2370834"/>
            <a:chExt cx="10836270" cy="662651"/>
          </a:xfrm>
        </p:grpSpPr>
        <p:sp>
          <p:nvSpPr>
            <p:cNvPr id="53" name="Pfeil: Fünfeck 17">
              <a:extLst>
                <a:ext uri="{FF2B5EF4-FFF2-40B4-BE49-F238E27FC236}">
                  <a16:creationId xmlns:a16="http://schemas.microsoft.com/office/drawing/2014/main" id="{C60485E8-9C4E-714F-A186-C20D2A2146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ad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Pfeil: Chevron 18">
              <a:extLst>
                <a:ext uri="{FF2B5EF4-FFF2-40B4-BE49-F238E27FC236}">
                  <a16:creationId xmlns:a16="http://schemas.microsoft.com/office/drawing/2014/main" id="{2D177F86-E629-5F49-A22B-25F4C8091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com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5" name="Pfeil: Chevron 19">
              <a:extLst>
                <a:ext uri="{FF2B5EF4-FFF2-40B4-BE49-F238E27FC236}">
                  <a16:creationId xmlns:a16="http://schemas.microsoft.com/office/drawing/2014/main" id="{AB9773CE-F22E-BC4E-A09B-05B5BF1950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86CEB33-6962-A849-B92E-52636B7809A4}"/>
              </a:ext>
            </a:extLst>
          </p:cNvPr>
          <p:cNvGrpSpPr>
            <a:grpSpLocks/>
          </p:cNvGrpSpPr>
          <p:nvPr/>
        </p:nvGrpSpPr>
        <p:grpSpPr bwMode="gray">
          <a:xfrm>
            <a:off x="3767027" y="5944664"/>
            <a:ext cx="1694948" cy="373705"/>
            <a:chOff x="623888" y="2370834"/>
            <a:chExt cx="10836270" cy="662651"/>
          </a:xfrm>
          <a:solidFill>
            <a:schemeClr val="accent1"/>
          </a:solidFill>
        </p:grpSpPr>
        <p:sp>
          <p:nvSpPr>
            <p:cNvPr id="57" name="Pfeil: Fünfeck 17">
              <a:extLst>
                <a:ext uri="{FF2B5EF4-FFF2-40B4-BE49-F238E27FC236}">
                  <a16:creationId xmlns:a16="http://schemas.microsoft.com/office/drawing/2014/main" id="{06098D7D-DFBB-854B-B5A3-DEDC894340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70834"/>
              <a:ext cx="3684090" cy="662651"/>
            </a:xfrm>
            <a:prstGeom prst="homePlate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r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8" name="Pfeil: Chevron 18">
              <a:extLst>
                <a:ext uri="{FF2B5EF4-FFF2-40B4-BE49-F238E27FC236}">
                  <a16:creationId xmlns:a16="http://schemas.microsoft.com/office/drawing/2014/main" id="{68583816-8F67-804D-A334-469DC2EEDC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997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dec</a:t>
              </a:r>
              <a:r>
                <a:rPr lang="de-DE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9" name="Pfeil: Chevron 19">
              <a:extLst>
                <a:ext uri="{FF2B5EF4-FFF2-40B4-BE49-F238E27FC236}">
                  <a16:creationId xmlns:a16="http://schemas.microsoft.com/office/drawing/2014/main" id="{7104585D-8CBA-A943-B7A6-A433E5E781A7}"/>
                </a:ext>
              </a:extLst>
            </p:cNvPr>
            <p:cNvSpPr>
              <a:spLocks/>
            </p:cNvSpPr>
            <p:nvPr/>
          </p:nvSpPr>
          <p:spPr bwMode="gray">
            <a:xfrm>
              <a:off x="7776068" y="2370834"/>
              <a:ext cx="3684090" cy="662651"/>
            </a:xfrm>
            <a:prstGeom prst="chevron">
              <a:avLst>
                <a:gd name="adj" fmla="val 2903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wri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feld 59">
            <a:extLst>
              <a:ext uri="{FF2B5EF4-FFF2-40B4-BE49-F238E27FC236}">
                <a16:creationId xmlns:a16="http://schemas.microsoft.com/office/drawing/2014/main" id="{3D2A1B21-307B-C64F-BFAC-1A6759DC2615}"/>
              </a:ext>
            </a:extLst>
          </p:cNvPr>
          <p:cNvSpPr txBox="1"/>
          <p:nvPr/>
        </p:nvSpPr>
        <p:spPr>
          <a:xfrm>
            <a:off x="623888" y="2440496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 err="1"/>
              <a:t>Buffering</a:t>
            </a:r>
            <a:endParaRPr lang="de-DE" sz="1400" dirty="0"/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F2C8A00-F831-4449-B7AD-2DAE7DFA714B}"/>
              </a:ext>
            </a:extLst>
          </p:cNvPr>
          <p:cNvSpPr txBox="1"/>
          <p:nvPr/>
        </p:nvSpPr>
        <p:spPr>
          <a:xfrm>
            <a:off x="623887" y="3599155"/>
            <a:ext cx="8550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Streaming</a:t>
            </a:r>
          </a:p>
        </p:txBody>
      </p:sp>
      <p:cxnSp>
        <p:nvCxnSpPr>
          <p:cNvPr id="63" name="Gerade Verbindung 62">
            <a:extLst>
              <a:ext uri="{FF2B5EF4-FFF2-40B4-BE49-F238E27FC236}">
                <a16:creationId xmlns:a16="http://schemas.microsoft.com/office/drawing/2014/main" id="{D9018473-194A-4149-BE3A-027830655C2E}"/>
              </a:ext>
            </a:extLst>
          </p:cNvPr>
          <p:cNvCxnSpPr/>
          <p:nvPr/>
        </p:nvCxnSpPr>
        <p:spPr>
          <a:xfrm>
            <a:off x="623887" y="3349908"/>
            <a:ext cx="10926883" cy="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feil: Fünfeck 17">
            <a:extLst>
              <a:ext uri="{FF2B5EF4-FFF2-40B4-BE49-F238E27FC236}">
                <a16:creationId xmlns:a16="http://schemas.microsoft.com/office/drawing/2014/main" id="{ADBDD568-EE5C-EC8E-59BC-262890245C01}"/>
              </a:ext>
            </a:extLst>
          </p:cNvPr>
          <p:cNvSpPr>
            <a:spLocks/>
          </p:cNvSpPr>
          <p:nvPr/>
        </p:nvSpPr>
        <p:spPr bwMode="gray">
          <a:xfrm>
            <a:off x="7980072" y="1505012"/>
            <a:ext cx="1694948" cy="373705"/>
          </a:xfrm>
          <a:prstGeom prst="homePlate">
            <a:avLst>
              <a:gd name="adj" fmla="val 29039"/>
            </a:avLst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lient</a:t>
            </a:r>
          </a:p>
        </p:txBody>
      </p:sp>
      <p:sp>
        <p:nvSpPr>
          <p:cNvPr id="67" name="Pfeil: Fünfeck 17">
            <a:extLst>
              <a:ext uri="{FF2B5EF4-FFF2-40B4-BE49-F238E27FC236}">
                <a16:creationId xmlns:a16="http://schemas.microsoft.com/office/drawing/2014/main" id="{ADCCC5F7-4CCE-1453-DDCD-DDB9EEFFEE05}"/>
              </a:ext>
            </a:extLst>
          </p:cNvPr>
          <p:cNvSpPr>
            <a:spLocks/>
          </p:cNvSpPr>
          <p:nvPr/>
        </p:nvSpPr>
        <p:spPr bwMode="gray">
          <a:xfrm>
            <a:off x="9784373" y="1498826"/>
            <a:ext cx="1698442" cy="373705"/>
          </a:xfrm>
          <a:prstGeom prst="homePlate">
            <a:avLst>
              <a:gd name="adj" fmla="val 290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5FD533C-1772-D893-1CA1-C601D8AAC343}"/>
              </a:ext>
            </a:extLst>
          </p:cNvPr>
          <p:cNvSpPr txBox="1"/>
          <p:nvPr/>
        </p:nvSpPr>
        <p:spPr>
          <a:xfrm>
            <a:off x="7313632" y="1543529"/>
            <a:ext cx="9926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Legende</a:t>
            </a:r>
            <a:endParaRPr lang="de-DE" sz="14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8260157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r>
              <a:rPr lang="de-DE" dirty="0"/>
              <a:t>: </a:t>
            </a:r>
            <a:r>
              <a:rPr lang="de-DE" dirty="0" err="1"/>
              <a:t>writable</a:t>
            </a:r>
            <a:r>
              <a:rPr lang="de-DE" dirty="0"/>
              <a:t> erst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 err="1"/>
              <a:t>Bsp</a:t>
            </a:r>
            <a:r>
              <a:rPr lang="de-DE" sz="1400" dirty="0"/>
              <a:t> 11-custom-writable-to-file-stream/</a:t>
            </a:r>
            <a:r>
              <a:rPr lang="de-DE" sz="1400" dirty="0" err="1"/>
              <a:t>simplified-constructio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3183265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3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synchron initialisierte Komponen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1704598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2-async-init-quick-and-easy</a:t>
            </a:r>
          </a:p>
          <a:p>
            <a:pPr>
              <a:spcAft>
                <a:spcPts val="300"/>
              </a:spcAft>
            </a:pPr>
            <a:r>
              <a:rPr lang="de-DE" sz="1400" dirty="0" err="1"/>
              <a:t>Vlt</a:t>
            </a:r>
            <a:r>
              <a:rPr lang="de-DE" sz="1400" dirty="0"/>
              <a:t> nur </a:t>
            </a:r>
            <a:r>
              <a:rPr lang="de-DE" sz="1400" dirty="0" err="1"/>
              <a:t>db.js</a:t>
            </a:r>
            <a:r>
              <a:rPr lang="de-DE" sz="1400" dirty="0"/>
              <a:t> zeigen? Oder noch </a:t>
            </a:r>
            <a:r>
              <a:rPr lang="de-DE" sz="1400" dirty="0" err="1"/>
              <a:t>localInitializationCheck</a:t>
            </a:r>
            <a:r>
              <a:rPr lang="de-DE" sz="1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3982860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s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400" dirty="0"/>
              <a:t>13-async-init-queues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In </a:t>
            </a:r>
            <a:r>
              <a:rPr lang="de-DE" sz="1400" dirty="0" err="1"/>
              <a:t>the</a:t>
            </a:r>
            <a:r>
              <a:rPr lang="de-DE" sz="1400" dirty="0"/>
              <a:t> wild: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2"/>
              </a:rPr>
              <a:t>Mongoose</a:t>
            </a:r>
            <a:r>
              <a:rPr lang="de-DE" sz="1400" dirty="0"/>
              <a:t> – MongoDB ORM</a:t>
            </a:r>
          </a:p>
          <a:p>
            <a:pPr>
              <a:spcAft>
                <a:spcPts val="300"/>
              </a:spcAft>
            </a:pPr>
            <a:r>
              <a:rPr lang="de-DE" sz="1400" dirty="0">
                <a:hlinkClick r:id="rId3"/>
              </a:rPr>
              <a:t>pg</a:t>
            </a:r>
            <a:r>
              <a:rPr lang="de-DE" sz="1400" dirty="0"/>
              <a:t>  </a:t>
            </a:r>
            <a:r>
              <a:rPr lang="de-DE" sz="1400" dirty="0" err="1"/>
              <a:t>Pg</a:t>
            </a:r>
            <a:r>
              <a:rPr lang="de-DE" sz="1400" dirty="0"/>
              <a:t>: Client für </a:t>
            </a:r>
            <a:r>
              <a:rPr lang="de-DE" sz="1400" dirty="0" err="1"/>
              <a:t>Postgres</a:t>
            </a:r>
            <a:r>
              <a:rPr lang="de-DE" sz="1400" dirty="0"/>
              <a:t> DB – hier wird versucht sofort nach </a:t>
            </a:r>
            <a:r>
              <a:rPr lang="de-DE" sz="1400" dirty="0" err="1"/>
              <a:t>Queueing</a:t>
            </a:r>
            <a:r>
              <a:rPr lang="de-DE" sz="1400" dirty="0"/>
              <a:t> die Queue abzuarbeiten</a:t>
            </a:r>
          </a:p>
        </p:txBody>
      </p:sp>
    </p:spTree>
    <p:extLst>
      <p:ext uri="{BB962C8B-B14F-4D97-AF65-F5344CB8AC3E}">
        <p14:creationId xmlns:p14="http://schemas.microsoft.com/office/powerpoint/2010/main" val="330422183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5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Bonusthe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86019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1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rundlagen der Asynchronität in </a:t>
            </a:r>
            <a:r>
              <a:rPr lang="de-DE" dirty="0" err="1"/>
              <a:t>Javascrip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566015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13253-6E23-0548-BE68-43475613D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a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566DDA-8CDD-E645-B759-6484292500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5E8E7-80B3-B440-9562-BE984B4FCCB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68F427-3C01-2648-9E67-9058984D83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DE3A4D-A482-C942-9E90-D9A80374EA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32F3C56-CDB7-094D-8F5B-64E2A2CE7EA1}"/>
              </a:ext>
            </a:extLst>
          </p:cNvPr>
          <p:cNvSpPr txBox="1"/>
          <p:nvPr/>
        </p:nvSpPr>
        <p:spPr>
          <a:xfrm>
            <a:off x="623888" y="1673157"/>
            <a:ext cx="10738018" cy="9771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/>
              <a:t>07-readable-flowing</a:t>
            </a:r>
          </a:p>
          <a:p>
            <a:pPr algn="l">
              <a:spcAft>
                <a:spcPts val="300"/>
              </a:spcAft>
            </a:pPr>
            <a:r>
              <a:rPr lang="de-DE" sz="1400" dirty="0"/>
              <a:t>07-readable-non-flowing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  <a:p>
            <a:pPr algn="l">
              <a:spcAft>
                <a:spcPts val="300"/>
              </a:spcAft>
            </a:pPr>
            <a:r>
              <a:rPr lang="de-DE" sz="1400" dirty="0"/>
              <a:t>Paar </a:t>
            </a:r>
            <a:r>
              <a:rPr lang="de-DE" sz="1400" dirty="0" err="1"/>
              <a:t>bullets</a:t>
            </a:r>
            <a:r>
              <a:rPr lang="de-DE" sz="1400" dirty="0"/>
              <a:t> zur </a:t>
            </a:r>
            <a:r>
              <a:rPr lang="de-DE" sz="1400" dirty="0" err="1"/>
              <a:t>erläuterung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4353626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/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5226071-6E72-4967-A632-AE65C3D3E0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82950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10836274" cy="369332"/>
          </a:xfrm>
        </p:spPr>
        <p:txBody>
          <a:bodyPr vert="horz"/>
          <a:lstStyle/>
          <a:p>
            <a:r>
              <a:rPr lang="de-DE" dirty="0"/>
              <a:t>Standardlayout Foli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23888" y="1172389"/>
            <a:ext cx="10836274" cy="276999"/>
          </a:xfrm>
        </p:spPr>
        <p:txBody>
          <a:bodyPr/>
          <a:lstStyle/>
          <a:p>
            <a:r>
              <a:rPr lang="de-DE" dirty="0"/>
              <a:t>Alle Folien haben denselben Aufbau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515F833D-D48C-46DA-9A10-EE9994DF1F8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EBFAF8DA-4013-4F67-807D-6B7B13A54E15}"/>
              </a:ext>
            </a:extLst>
          </p:cNvPr>
          <p:cNvSpPr txBox="1">
            <a:spLocks/>
          </p:cNvSpPr>
          <p:nvPr/>
        </p:nvSpPr>
        <p:spPr bwMode="gray">
          <a:xfrm>
            <a:off x="623887" y="4454327"/>
            <a:ext cx="225266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latin typeface="+mj-lt"/>
              </a:rPr>
              <a:t>Fußnoten </a:t>
            </a:r>
            <a:r>
              <a:rPr lang="de-DE" sz="1400" dirty="0"/>
              <a:t>werden mit Zahlen (1,2,3 etc.) durchnummeriert, nicht mit Sternchen.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0B09C4B0-245F-40FC-BFDC-673AD49B322B}"/>
              </a:ext>
            </a:extLst>
          </p:cNvPr>
          <p:cNvSpPr txBox="1"/>
          <p:nvPr/>
        </p:nvSpPr>
        <p:spPr bwMode="gray">
          <a:xfrm>
            <a:off x="9201150" y="4098489"/>
            <a:ext cx="22590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/>
              <a:t>In der </a:t>
            </a:r>
            <a:r>
              <a:rPr lang="de-DE" sz="1400" dirty="0">
                <a:latin typeface="+mj-lt"/>
              </a:rPr>
              <a:t>Fußzeile</a:t>
            </a:r>
            <a:r>
              <a:rPr lang="de-DE" sz="1400" dirty="0"/>
              <a:t> jeder Folie stehen die Quelle und das Datum.</a:t>
            </a:r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422729"/>
            <a:ext cx="225266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Jede Folie hat einen </a:t>
            </a:r>
            <a:r>
              <a:rPr lang="de-DE" sz="1400" dirty="0">
                <a:latin typeface="+mj-lt"/>
              </a:rPr>
              <a:t>Action Title </a:t>
            </a:r>
            <a:r>
              <a:rPr lang="de-DE" sz="1400" dirty="0"/>
              <a:t>und einen</a:t>
            </a:r>
            <a:r>
              <a:rPr lang="de-DE" sz="1400" dirty="0">
                <a:latin typeface="+mj-lt"/>
              </a:rPr>
              <a:t> Subtitle. </a:t>
            </a:r>
            <a:r>
              <a:rPr lang="de-DE" sz="1400" dirty="0"/>
              <a:t>Schriftgröße und Größe des Textfelds dürfen nicht verändert werden.</a:t>
            </a: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0D4530AB-9C99-4D6D-9C36-69977CADC6B0}"/>
              </a:ext>
            </a:extLst>
          </p:cNvPr>
          <p:cNvSpPr>
            <a:spLocks/>
          </p:cNvSpPr>
          <p:nvPr/>
        </p:nvSpPr>
        <p:spPr bwMode="gray">
          <a:xfrm>
            <a:off x="623888" y="2952750"/>
            <a:ext cx="3062287" cy="42862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B2223D-147E-4DF9-999A-054EBF2A40A8}"/>
              </a:ext>
            </a:extLst>
          </p:cNvPr>
          <p:cNvCxnSpPr>
            <a:cxnSpLocks/>
          </p:cNvCxnSpPr>
          <p:nvPr/>
        </p:nvCxnSpPr>
        <p:spPr bwMode="gray">
          <a:xfrm>
            <a:off x="623888" y="5200650"/>
            <a:ext cx="2843212" cy="0"/>
          </a:xfrm>
          <a:prstGeom prst="line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C0989717-94AC-4D86-876A-468A714FE89B}"/>
              </a:ext>
            </a:extLst>
          </p:cNvPr>
          <p:cNvSpPr>
            <a:spLocks/>
          </p:cNvSpPr>
          <p:nvPr/>
        </p:nvSpPr>
        <p:spPr bwMode="gray">
          <a:xfrm rot="10800000">
            <a:off x="7467598" y="4630519"/>
            <a:ext cx="3992561" cy="522506"/>
          </a:xfrm>
          <a:custGeom>
            <a:avLst/>
            <a:gdLst>
              <a:gd name="connsiteX0" fmla="*/ 0 w 523875"/>
              <a:gd name="connsiteY0" fmla="*/ 314325 h 314325"/>
              <a:gd name="connsiteX1" fmla="*/ 523875 w 523875"/>
              <a:gd name="connsiteY1" fmla="*/ 314325 h 314325"/>
              <a:gd name="connsiteX2" fmla="*/ 523875 w 523875"/>
              <a:gd name="connsiteY2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3875" h="314325">
                <a:moveTo>
                  <a:pt x="0" y="314325"/>
                </a:moveTo>
                <a:lnTo>
                  <a:pt x="523875" y="314325"/>
                </a:lnTo>
                <a:lnTo>
                  <a:pt x="523875" y="0"/>
                </a:lnTo>
              </a:path>
            </a:pathLst>
          </a:cu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F178DFD-3161-4A4E-9BB6-3E79DB1E81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17896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59F35A-2A6E-4CCB-9A20-A49C3CC919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08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59F35A-2A6E-4CCB-9A20-A49C3CC91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Text enthält.&#10;&#10;Automatisch generierte Beschreibung">
            <a:extLst>
              <a:ext uri="{FF2B5EF4-FFF2-40B4-BE49-F238E27FC236}">
                <a16:creationId xmlns:a16="http://schemas.microsoft.com/office/drawing/2014/main" id="{461C7E79-FA43-4820-86C6-4CFA0952DD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524018" y="1808163"/>
            <a:ext cx="7143964" cy="4256842"/>
          </a:xfrm>
          <a:custGeom>
            <a:avLst/>
            <a:gdLst>
              <a:gd name="connsiteX0" fmla="*/ 768605 w 7143964"/>
              <a:gd name="connsiteY0" fmla="*/ 261937 h 4256842"/>
              <a:gd name="connsiteX1" fmla="*/ 768605 w 7143964"/>
              <a:gd name="connsiteY1" fmla="*/ 3754437 h 4256842"/>
              <a:gd name="connsiteX2" fmla="*/ 6416456 w 7143964"/>
              <a:gd name="connsiteY2" fmla="*/ 3754437 h 4256842"/>
              <a:gd name="connsiteX3" fmla="*/ 6416456 w 7143964"/>
              <a:gd name="connsiteY3" fmla="*/ 261937 h 4256842"/>
              <a:gd name="connsiteX4" fmla="*/ 0 w 7143964"/>
              <a:gd name="connsiteY4" fmla="*/ 0 h 4256842"/>
              <a:gd name="connsiteX5" fmla="*/ 7143964 w 7143964"/>
              <a:gd name="connsiteY5" fmla="*/ 0 h 4256842"/>
              <a:gd name="connsiteX6" fmla="*/ 7143964 w 7143964"/>
              <a:gd name="connsiteY6" fmla="*/ 4256842 h 4256842"/>
              <a:gd name="connsiteX7" fmla="*/ 0 w 7143964"/>
              <a:gd name="connsiteY7" fmla="*/ 4256842 h 425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43964" h="4256842">
                <a:moveTo>
                  <a:pt x="768605" y="261937"/>
                </a:moveTo>
                <a:lnTo>
                  <a:pt x="768605" y="3754437"/>
                </a:lnTo>
                <a:lnTo>
                  <a:pt x="6416456" y="3754437"/>
                </a:lnTo>
                <a:lnTo>
                  <a:pt x="6416456" y="261937"/>
                </a:lnTo>
                <a:close/>
                <a:moveTo>
                  <a:pt x="0" y="0"/>
                </a:moveTo>
                <a:lnTo>
                  <a:pt x="7143964" y="0"/>
                </a:lnTo>
                <a:lnTo>
                  <a:pt x="7143964" y="4256842"/>
                </a:lnTo>
                <a:lnTo>
                  <a:pt x="0" y="4256842"/>
                </a:lnTo>
                <a:close/>
              </a:path>
            </a:pathLst>
          </a:cu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A2D760C-0642-48FD-B289-7A1B7D6C81EA}"/>
              </a:ext>
            </a:extLst>
          </p:cNvPr>
          <p:cNvSpPr>
            <a:spLocks/>
          </p:cNvSpPr>
          <p:nvPr/>
        </p:nvSpPr>
        <p:spPr bwMode="gray">
          <a:xfrm>
            <a:off x="3276600" y="2051050"/>
            <a:ext cx="5683250" cy="3524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92B7E428-2AD3-4FE0-A6E4-ACD85DAA31C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3282949" y="2205810"/>
            <a:ext cx="5657850" cy="318537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CB6AE949-3B63-417A-B97D-79F48FAFBEC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layout – </a:t>
            </a:r>
            <a:br>
              <a:rPr lang="de-DE" dirty="0"/>
            </a:br>
            <a:r>
              <a:rPr lang="de-DE" dirty="0"/>
              <a:t>Vertraulichkeitsklass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632C6C2-3308-4948-833C-621C549E3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itelfolien sind mit der Vertraulichkeitsklasse zu kennzeich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0C04BD-C591-44AB-BE58-72802061810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C4CF882-452E-4E54-82B5-1AD3A8558FE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F774CD-97EF-453B-98EB-B21D443E30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B66E8CAA-18BD-4CDB-ACDC-5EF1BB7F2D1C}"/>
              </a:ext>
            </a:extLst>
          </p:cNvPr>
          <p:cNvSpPr txBox="1">
            <a:spLocks/>
          </p:cNvSpPr>
          <p:nvPr/>
        </p:nvSpPr>
        <p:spPr bwMode="gray">
          <a:xfrm>
            <a:off x="623888" y="2136979"/>
            <a:ext cx="22526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Pflichtangabe i.S. der Konzern-richtlinie Informationssicherheit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37B1F0C-5494-4D09-8189-EF846512EA73}"/>
              </a:ext>
            </a:extLst>
          </p:cNvPr>
          <p:cNvGrpSpPr/>
          <p:nvPr/>
        </p:nvGrpSpPr>
        <p:grpSpPr bwMode="gray">
          <a:xfrm>
            <a:off x="623887" y="2390774"/>
            <a:ext cx="3106737" cy="247651"/>
            <a:chOff x="623888" y="2390774"/>
            <a:chExt cx="3068638" cy="247651"/>
          </a:xfrm>
        </p:grpSpPr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779E021-B990-4C43-AAD4-3E91D2DFB5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888" y="2390774"/>
              <a:ext cx="3068638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accent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81A6624-3D42-4C2A-B76F-E6436FC6B6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50340" y="2390774"/>
              <a:ext cx="442185" cy="247651"/>
            </a:xfrm>
            <a:custGeom>
              <a:avLst/>
              <a:gdLst>
                <a:gd name="connsiteX0" fmla="*/ 0 w 523875"/>
                <a:gd name="connsiteY0" fmla="*/ 314325 h 314325"/>
                <a:gd name="connsiteX1" fmla="*/ 523875 w 523875"/>
                <a:gd name="connsiteY1" fmla="*/ 314325 h 314325"/>
                <a:gd name="connsiteX2" fmla="*/ 523875 w 523875"/>
                <a:gd name="connsiteY2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3875" h="314325">
                  <a:moveTo>
                    <a:pt x="0" y="314325"/>
                  </a:moveTo>
                  <a:lnTo>
                    <a:pt x="523875" y="314325"/>
                  </a:lnTo>
                  <a:lnTo>
                    <a:pt x="523875" y="0"/>
                  </a:lnTo>
                </a:path>
              </a:pathLst>
            </a:custGeom>
            <a:noFill/>
            <a:ln w="25400">
              <a:solidFill>
                <a:schemeClr val="bg1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7" name="TextBox 27">
            <a:extLst>
              <a:ext uri="{FF2B5EF4-FFF2-40B4-BE49-F238E27FC236}">
                <a16:creationId xmlns:a16="http://schemas.microsoft.com/office/drawing/2014/main" id="{9C6F2850-2C41-405A-907A-545843D06385}"/>
              </a:ext>
            </a:extLst>
          </p:cNvPr>
          <p:cNvSpPr txBox="1">
            <a:spLocks/>
          </p:cNvSpPr>
          <p:nvPr/>
        </p:nvSpPr>
        <p:spPr bwMode="gray">
          <a:xfrm>
            <a:off x="623887" y="3095143"/>
            <a:ext cx="223702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ohne Risikopotential, </a:t>
            </a:r>
            <a:br>
              <a:rPr lang="de-DE" sz="1000" dirty="0"/>
            </a:br>
            <a:r>
              <a:rPr lang="de-DE" sz="1000" dirty="0"/>
              <a:t>die offen zugänglich sind. </a:t>
            </a:r>
          </a:p>
          <a:p>
            <a:r>
              <a:rPr lang="de-DE" sz="1000" dirty="0">
                <a:latin typeface="+mj-lt"/>
              </a:rPr>
              <a:t>Nur Corporate Communications </a:t>
            </a:r>
            <a:br>
              <a:rPr lang="de-DE" sz="1000" dirty="0">
                <a:latin typeface="+mj-lt"/>
              </a:rPr>
            </a:br>
            <a:r>
              <a:rPr lang="de-DE" sz="1000" dirty="0">
                <a:latin typeface="+mj-lt"/>
              </a:rPr>
              <a:t>&amp; PR darf diese Klasse vergeben!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D02AF3A4-1C71-4E4D-88A2-F4E012CBFDAF}"/>
              </a:ext>
            </a:extLst>
          </p:cNvPr>
          <p:cNvSpPr txBox="1">
            <a:spLocks/>
          </p:cNvSpPr>
          <p:nvPr/>
        </p:nvSpPr>
        <p:spPr bwMode="gray">
          <a:xfrm>
            <a:off x="623887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geringem Risikopotential, die grundsätzlich nicht an einen unbestimmten äußeren Empfängerkreis kommuniziert werden. </a:t>
            </a:r>
          </a:p>
          <a:p>
            <a:r>
              <a:rPr lang="de-DE" sz="1000" dirty="0"/>
              <a:t>Diese Informationen dürfen jedem Mitarbeiter der OBI Gruppe zugänglich gemacht werden.</a:t>
            </a:r>
          </a:p>
          <a:p>
            <a:r>
              <a:rPr lang="de-DE" sz="1000" dirty="0">
                <a:latin typeface="+mj-lt"/>
              </a:rPr>
              <a:t>Standardeinstellung für alle nicht anderweitig klassifizierten Informationen.</a:t>
            </a:r>
          </a:p>
        </p:txBody>
      </p:sp>
      <p:sp>
        <p:nvSpPr>
          <p:cNvPr id="20" name="TextBox 27">
            <a:extLst>
              <a:ext uri="{FF2B5EF4-FFF2-40B4-BE49-F238E27FC236}">
                <a16:creationId xmlns:a16="http://schemas.microsoft.com/office/drawing/2014/main" id="{BBD7722C-62B6-4989-BEA4-DC4BF0F0C3AA}"/>
              </a:ext>
            </a:extLst>
          </p:cNvPr>
          <p:cNvSpPr txBox="1">
            <a:spLocks/>
          </p:cNvSpPr>
          <p:nvPr/>
        </p:nvSpPr>
        <p:spPr bwMode="gray">
          <a:xfrm>
            <a:off x="9223139" y="2333143"/>
            <a:ext cx="223702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hohem Risiko, deren Missbrauch einen hohen finanziellen Schaden und/oder eine Beeinträchtigung des Images der OBI Gruppe hervorrufen kann. Informationen dürfen nur einem definierten Mitarbeiterkreis zugänglich gemacht werden.  </a:t>
            </a:r>
            <a:br>
              <a:rPr lang="de-DE" sz="1000" dirty="0"/>
            </a:br>
            <a:r>
              <a:rPr lang="de-DE" sz="1000" dirty="0">
                <a:latin typeface="+mj-lt"/>
              </a:rPr>
              <a:t>Grundsätzlich sind personenbezogene Daten dieser Kategorie zuzuordnen.</a:t>
            </a:r>
          </a:p>
        </p:txBody>
      </p:sp>
      <p:sp>
        <p:nvSpPr>
          <p:cNvPr id="22" name="TextBox 27">
            <a:extLst>
              <a:ext uri="{FF2B5EF4-FFF2-40B4-BE49-F238E27FC236}">
                <a16:creationId xmlns:a16="http://schemas.microsoft.com/office/drawing/2014/main" id="{D89411F7-DDAE-4F74-AC6A-52E0EE255D08}"/>
              </a:ext>
            </a:extLst>
          </p:cNvPr>
          <p:cNvSpPr txBox="1">
            <a:spLocks/>
          </p:cNvSpPr>
          <p:nvPr/>
        </p:nvSpPr>
        <p:spPr bwMode="gray">
          <a:xfrm>
            <a:off x="9223139" y="4185636"/>
            <a:ext cx="223702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Informationen mit sehr hohem Risiko deren Missbrauch einen sehr hohen bis existenz-bedrohenden finanziellen und immateriellen Schaden für die OBI Gruppe hervorrufen kann.</a:t>
            </a:r>
          </a:p>
          <a:p>
            <a:r>
              <a:rPr lang="de-DE" sz="1000" dirty="0">
                <a:latin typeface="+mj-lt"/>
              </a:rPr>
              <a:t>Diese Informationen dürfen nur definierten einzelnen Mitarbeitern zugänglich gemacht werden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E19F4EA-2178-41BF-8CE4-2286E5DEF03F}"/>
              </a:ext>
            </a:extLst>
          </p:cNvPr>
          <p:cNvSpPr/>
          <p:nvPr/>
        </p:nvSpPr>
        <p:spPr bwMode="gray">
          <a:xfrm>
            <a:off x="623889" y="280035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PUBLIC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02A6964-2EB3-4F2D-BA38-70CB6A0A6325}"/>
              </a:ext>
            </a:extLst>
          </p:cNvPr>
          <p:cNvSpPr>
            <a:spLocks/>
          </p:cNvSpPr>
          <p:nvPr/>
        </p:nvSpPr>
        <p:spPr bwMode="gray">
          <a:xfrm>
            <a:off x="623889" y="3886200"/>
            <a:ext cx="652462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INTERNAL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C37658-377D-401E-AD60-5121D73DCAE8}"/>
              </a:ext>
            </a:extLst>
          </p:cNvPr>
          <p:cNvSpPr/>
          <p:nvPr/>
        </p:nvSpPr>
        <p:spPr bwMode="gray">
          <a:xfrm>
            <a:off x="9223139" y="2038350"/>
            <a:ext cx="9019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CONFIDENTIAL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3A28CF5-EDBB-4162-AEB6-C2989C82C67A}"/>
              </a:ext>
            </a:extLst>
          </p:cNvPr>
          <p:cNvSpPr>
            <a:spLocks/>
          </p:cNvSpPr>
          <p:nvPr/>
        </p:nvSpPr>
        <p:spPr bwMode="gray">
          <a:xfrm>
            <a:off x="9223139" y="3886200"/>
            <a:ext cx="1397236" cy="234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+mj-lt"/>
              </a:rPr>
              <a:t>STRICTLY CONFIDENTIA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2E6DD1-3D70-41FB-BD10-B3ACBC5B8E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33236074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82AA013-6AAE-4E89-BACA-0420D61C58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77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82AA013-6AAE-4E89-BACA-0420D61C5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697AAE-F426-409F-BBCC-E1327C2CF1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Kodierung von Präsentation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243BB84-3D10-443C-A4B7-9CFA664E8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lle Präsentationen werden in einheitlicher Weise abgeleg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FF19E2-163A-4F27-9C58-1F6EB76F4EC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46DB7ED-8C89-4CBD-8FF8-8F450D98E80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8F7086-C0D4-418D-BBAB-0F7EDB1D19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B391B8-9377-4DBE-84DA-1B60D03AD1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67321FEB-D935-403B-A108-3D52BA3B134E}"/>
              </a:ext>
            </a:extLst>
          </p:cNvPr>
          <p:cNvSpPr>
            <a:spLocks/>
          </p:cNvSpPr>
          <p:nvPr/>
        </p:nvSpPr>
        <p:spPr bwMode="gray">
          <a:xfrm>
            <a:off x="3574312" y="2612807"/>
            <a:ext cx="7885849" cy="697816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de-DE" sz="2400" dirty="0">
                <a:solidFill>
                  <a:schemeClr val="tx1"/>
                </a:solidFill>
              </a:rPr>
              <a:t>210719_CCM_Präsentationsschulung_xx_v01.pptx</a:t>
            </a:r>
          </a:p>
        </p:txBody>
      </p:sp>
      <p:sp>
        <p:nvSpPr>
          <p:cNvPr id="24" name="Rectangle: Rounded Corners 4">
            <a:extLst>
              <a:ext uri="{FF2B5EF4-FFF2-40B4-BE49-F238E27FC236}">
                <a16:creationId xmlns:a16="http://schemas.microsoft.com/office/drawing/2014/main" id="{FD07AA70-1752-4852-8343-7310E4F86650}"/>
              </a:ext>
            </a:extLst>
          </p:cNvPr>
          <p:cNvSpPr>
            <a:spLocks/>
          </p:cNvSpPr>
          <p:nvPr/>
        </p:nvSpPr>
        <p:spPr bwMode="gray">
          <a:xfrm>
            <a:off x="8918642" y="3632127"/>
            <a:ext cx="1744639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Versionsnummer</a:t>
            </a:r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743C8CD4-471E-4C34-BE48-0BDABDB875A9}"/>
              </a:ext>
            </a:extLst>
          </p:cNvPr>
          <p:cNvSpPr>
            <a:spLocks/>
          </p:cNvSpPr>
          <p:nvPr/>
        </p:nvSpPr>
        <p:spPr bwMode="gray">
          <a:xfrm>
            <a:off x="5586524" y="3632127"/>
            <a:ext cx="8650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Bereich</a:t>
            </a:r>
          </a:p>
        </p:txBody>
      </p:sp>
      <p:sp>
        <p:nvSpPr>
          <p:cNvPr id="34" name="Rectangle: Rounded Corners 4">
            <a:extLst>
              <a:ext uri="{FF2B5EF4-FFF2-40B4-BE49-F238E27FC236}">
                <a16:creationId xmlns:a16="http://schemas.microsoft.com/office/drawing/2014/main" id="{85EF3C01-F847-4575-858C-44D89A9052D2}"/>
              </a:ext>
            </a:extLst>
          </p:cNvPr>
          <p:cNvSpPr>
            <a:spLocks/>
          </p:cNvSpPr>
          <p:nvPr/>
        </p:nvSpPr>
        <p:spPr bwMode="gray">
          <a:xfrm>
            <a:off x="4710223" y="1846930"/>
            <a:ext cx="1080978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JJMMTT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F398BB8D-13FA-4452-BB1C-ADD82E4270DB}"/>
              </a:ext>
            </a:extLst>
          </p:cNvPr>
          <p:cNvSpPr>
            <a:spLocks/>
          </p:cNvSpPr>
          <p:nvPr/>
        </p:nvSpPr>
        <p:spPr bwMode="gray">
          <a:xfrm>
            <a:off x="6605504" y="1845955"/>
            <a:ext cx="231961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Sprechende Bezeichnung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696F224B-A7E6-40FC-A941-B3A03DA505B6}"/>
              </a:ext>
            </a:extLst>
          </p:cNvPr>
          <p:cNvCxnSpPr>
            <a:cxnSpLocks/>
          </p:cNvCxnSpPr>
          <p:nvPr/>
        </p:nvCxnSpPr>
        <p:spPr bwMode="gray">
          <a:xfrm>
            <a:off x="52507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63BC545-F5DF-4DC0-935B-F81ED65EB7F3}"/>
              </a:ext>
            </a:extLst>
          </p:cNvPr>
          <p:cNvCxnSpPr>
            <a:cxnSpLocks/>
          </p:cNvCxnSpPr>
          <p:nvPr/>
        </p:nvCxnSpPr>
        <p:spPr bwMode="gray">
          <a:xfrm>
            <a:off x="7765312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199643F-1F03-4A7D-80CB-3D20AD48BD77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60190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70A42D-8B40-4546-97E9-DA826E18B69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790962" y="3148980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8" name="Rectangle 39">
            <a:extLst>
              <a:ext uri="{FF2B5EF4-FFF2-40B4-BE49-F238E27FC236}">
                <a16:creationId xmlns:a16="http://schemas.microsoft.com/office/drawing/2014/main" id="{2C671755-8FFF-469A-8670-CEBA9ACC7D98}"/>
              </a:ext>
            </a:extLst>
          </p:cNvPr>
          <p:cNvSpPr>
            <a:spLocks/>
          </p:cNvSpPr>
          <p:nvPr/>
        </p:nvSpPr>
        <p:spPr bwMode="gray">
          <a:xfrm>
            <a:off x="623888" y="2823215"/>
            <a:ext cx="152952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Codierung (Bsp.)</a:t>
            </a:r>
          </a:p>
        </p:txBody>
      </p:sp>
      <p:sp>
        <p:nvSpPr>
          <p:cNvPr id="49" name="Rectangle 39">
            <a:extLst>
              <a:ext uri="{FF2B5EF4-FFF2-40B4-BE49-F238E27FC236}">
                <a16:creationId xmlns:a16="http://schemas.microsoft.com/office/drawing/2014/main" id="{7DF4A500-A9DC-4008-A3AF-DE2B127E751C}"/>
              </a:ext>
            </a:extLst>
          </p:cNvPr>
          <p:cNvSpPr>
            <a:spLocks/>
          </p:cNvSpPr>
          <p:nvPr/>
        </p:nvSpPr>
        <p:spPr bwMode="gray">
          <a:xfrm>
            <a:off x="623888" y="5142165"/>
            <a:ext cx="1777218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r>
              <a:rPr lang="de-DE" dirty="0">
                <a:latin typeface="+mj-lt"/>
              </a:rPr>
              <a:t>Umgang mit 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weiteren Versionen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8B0A0FEB-3AE2-46E9-9371-30F90706F85F}"/>
              </a:ext>
            </a:extLst>
          </p:cNvPr>
          <p:cNvGrpSpPr>
            <a:grpSpLocks/>
          </p:cNvGrpSpPr>
          <p:nvPr/>
        </p:nvGrpSpPr>
        <p:grpSpPr bwMode="gray">
          <a:xfrm>
            <a:off x="3574313" y="4808007"/>
            <a:ext cx="3791688" cy="1222317"/>
            <a:chOff x="3574313" y="4831017"/>
            <a:chExt cx="3791688" cy="1222317"/>
          </a:xfrm>
        </p:grpSpPr>
        <p:sp>
          <p:nvSpPr>
            <p:cNvPr id="50" name="Rectangle: Rounded Corners 4">
              <a:extLst>
                <a:ext uri="{FF2B5EF4-FFF2-40B4-BE49-F238E27FC236}">
                  <a16:creationId xmlns:a16="http://schemas.microsoft.com/office/drawing/2014/main" id="{F2C54531-C7D2-492A-AC62-CCD9C5CCA5F9}"/>
                </a:ext>
              </a:extLst>
            </p:cNvPr>
            <p:cNvSpPr/>
            <p:nvPr/>
          </p:nvSpPr>
          <p:spPr bwMode="gray">
            <a:xfrm>
              <a:off x="3574313" y="4831017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0_CCM_Präsentationsschulung_xx_v01.pptx</a:t>
              </a:r>
            </a:p>
          </p:txBody>
        </p:sp>
        <p:sp>
          <p:nvSpPr>
            <p:cNvPr id="51" name="Rectangle: Rounded Corners 4">
              <a:extLst>
                <a:ext uri="{FF2B5EF4-FFF2-40B4-BE49-F238E27FC236}">
                  <a16:creationId xmlns:a16="http://schemas.microsoft.com/office/drawing/2014/main" id="{7FF7EE03-395E-49E9-9DE5-BAFE9BE3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274456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3_CCM_Präsentationsschulung_xx_v02.pptx</a:t>
              </a:r>
            </a:p>
          </p:txBody>
        </p:sp>
        <p:sp>
          <p:nvSpPr>
            <p:cNvPr id="52" name="Rectangle: Rounded Corners 4">
              <a:extLst>
                <a:ext uri="{FF2B5EF4-FFF2-40B4-BE49-F238E27FC236}">
                  <a16:creationId xmlns:a16="http://schemas.microsoft.com/office/drawing/2014/main" id="{2C3BBA0C-50BB-40EC-A9F8-F993CC597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4313" y="5717895"/>
              <a:ext cx="3791688" cy="33543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/>
            <a:lstStyle/>
            <a:p>
              <a:r>
                <a:rPr lang="de-DE" sz="1200" dirty="0">
                  <a:solidFill>
                    <a:schemeClr val="tx1"/>
                  </a:solidFill>
                </a:rPr>
                <a:t>210728_CCM_Präsentationsschulung_xx_final.pptx</a:t>
              </a:r>
            </a:p>
          </p:txBody>
        </p:sp>
      </p:grpSp>
      <p:sp>
        <p:nvSpPr>
          <p:cNvPr id="55" name="Textfeld 54">
            <a:extLst>
              <a:ext uri="{FF2B5EF4-FFF2-40B4-BE49-F238E27FC236}">
                <a16:creationId xmlns:a16="http://schemas.microsoft.com/office/drawing/2014/main" id="{D2A13F17-1D94-44C4-A0E2-34E467343A57}"/>
              </a:ext>
            </a:extLst>
          </p:cNvPr>
          <p:cNvSpPr txBox="1">
            <a:spLocks/>
          </p:cNvSpPr>
          <p:nvPr/>
        </p:nvSpPr>
        <p:spPr bwMode="gray">
          <a:xfrm>
            <a:off x="7610475" y="5076764"/>
            <a:ext cx="3849688" cy="6848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Neue Versionen einer Präsentation werden fortlaufend durch nummeriert und das Datum aktualisiert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Finale Präsentationen werden mit final benannt</a:t>
            </a:r>
          </a:p>
        </p:txBody>
      </p:sp>
      <p:sp>
        <p:nvSpPr>
          <p:cNvPr id="31" name="Rectangle: Rounded Corners 4">
            <a:extLst>
              <a:ext uri="{FF2B5EF4-FFF2-40B4-BE49-F238E27FC236}">
                <a16:creationId xmlns:a16="http://schemas.microsoft.com/office/drawing/2014/main" id="{F99A7BA4-0E33-436F-BD4F-95D61EB096C9}"/>
              </a:ext>
            </a:extLst>
          </p:cNvPr>
          <p:cNvSpPr>
            <a:spLocks/>
          </p:cNvSpPr>
          <p:nvPr/>
        </p:nvSpPr>
        <p:spPr bwMode="gray">
          <a:xfrm>
            <a:off x="9138406" y="1845955"/>
            <a:ext cx="1524876" cy="4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400" dirty="0"/>
              <a:t>Kürzel Bearbeite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9348784-B661-479E-A7AA-E8625F5EA1FD}"/>
              </a:ext>
            </a:extLst>
          </p:cNvPr>
          <p:cNvCxnSpPr>
            <a:cxnSpLocks/>
          </p:cNvCxnSpPr>
          <p:nvPr/>
        </p:nvCxnSpPr>
        <p:spPr bwMode="gray">
          <a:xfrm>
            <a:off x="9256813" y="2313955"/>
            <a:ext cx="0" cy="47625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6269222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AAFAA3-E304-4746-922A-CE4FC928A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05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7AAFAA3-E304-4746-922A-CE4FC928A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6800DF2-8638-414C-89CB-1F4B466DE5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arbschem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9F9EBD-1E22-4051-867F-A2D907BD0043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4E787D6-C83F-45CD-9284-9740F374793F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4723547-8CA4-4CAD-B95A-1F4D07DF8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1874E9-9838-42C6-892E-99D16C1652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4</a:t>
            </a:fld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1AFC70E-E74D-46D5-BF8A-B8F727610AE7}"/>
              </a:ext>
            </a:extLst>
          </p:cNvPr>
          <p:cNvGrpSpPr/>
          <p:nvPr/>
        </p:nvGrpSpPr>
        <p:grpSpPr bwMode="gray">
          <a:xfrm>
            <a:off x="615959" y="1592263"/>
            <a:ext cx="10960081" cy="1153824"/>
            <a:chOff x="615959" y="1592263"/>
            <a:chExt cx="10960081" cy="1153824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6AA108DF-2F9C-49A8-BA9C-523039BF0EDC}"/>
                </a:ext>
              </a:extLst>
            </p:cNvPr>
            <p:cNvSpPr txBox="1"/>
            <p:nvPr/>
          </p:nvSpPr>
          <p:spPr bwMode="gray">
            <a:xfrm>
              <a:off x="623888" y="1592263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Orange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FE2C7AD-D8E2-4C55-91FF-C4949626AB6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2112984"/>
              <a:ext cx="342000" cy="341789"/>
            </a:xfrm>
            <a:prstGeom prst="rect">
              <a:avLst/>
            </a:prstGeom>
            <a:solidFill>
              <a:srgbClr val="A22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AF617262-A027-452D-80D2-A7DC002F2D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2112984"/>
              <a:ext cx="342000" cy="341789"/>
            </a:xfrm>
            <a:prstGeom prst="rect">
              <a:avLst/>
            </a:prstGeom>
            <a:solidFill>
              <a:srgbClr val="B42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B0926A3-1340-41B4-BFD6-63093886020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2112984"/>
              <a:ext cx="342000" cy="341789"/>
            </a:xfrm>
            <a:prstGeom prst="rect">
              <a:avLst/>
            </a:prstGeom>
            <a:solidFill>
              <a:srgbClr val="CA3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793B51AC-2E43-4270-82B4-B5AF7CAF6F5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2112984"/>
              <a:ext cx="342000" cy="341789"/>
            </a:xfrm>
            <a:prstGeom prst="rect">
              <a:avLst/>
            </a:prstGeom>
            <a:solidFill>
              <a:srgbClr val="DE4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6C22E55F-7E84-4BD7-9949-86FD0E774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2112984"/>
              <a:ext cx="342000" cy="341789"/>
            </a:xfrm>
            <a:prstGeom prst="rect">
              <a:avLst/>
            </a:prstGeom>
            <a:solidFill>
              <a:srgbClr val="F25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08DDF995-A260-4D0E-95B2-0F8489238D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2112984"/>
              <a:ext cx="342000" cy="341789"/>
            </a:xfrm>
            <a:prstGeom prst="rect">
              <a:avLst/>
            </a:prstGeom>
            <a:solidFill>
              <a:srgbClr val="F66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C872B28-E215-40D1-9F32-01E27BE2DA36}"/>
                </a:ext>
              </a:extLst>
            </p:cNvPr>
            <p:cNvSpPr>
              <a:spLocks/>
            </p:cNvSpPr>
            <p:nvPr/>
          </p:nvSpPr>
          <p:spPr bwMode="gray">
            <a:xfrm>
              <a:off x="7517999" y="2112984"/>
              <a:ext cx="342000" cy="341789"/>
            </a:xfrm>
            <a:prstGeom prst="rect">
              <a:avLst/>
            </a:prstGeom>
            <a:solidFill>
              <a:srgbClr val="FF7E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859B4F0B-DD53-4EF9-96C8-66314BADA11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9999" y="2112984"/>
              <a:ext cx="342000" cy="341789"/>
            </a:xfrm>
            <a:prstGeom prst="rect">
              <a:avLst/>
            </a:prstGeom>
            <a:solidFill>
              <a:srgbClr val="FF9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61C27090-30BD-45B7-B9AE-FD4285496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9641999" y="2112984"/>
              <a:ext cx="342000" cy="341789"/>
            </a:xfrm>
            <a:prstGeom prst="rect">
              <a:avLst/>
            </a:prstGeom>
            <a:solidFill>
              <a:srgbClr val="FFA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D47F4E4-491E-4E38-A34E-E97E67DFF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04000" y="2112984"/>
              <a:ext cx="342000" cy="341789"/>
            </a:xfrm>
            <a:prstGeom prst="rect">
              <a:avLst/>
            </a:prstGeom>
            <a:solidFill>
              <a:srgbClr val="FFC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19F923FB-9ECD-46E9-AA7E-E38E0A616A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62 | 42 | 0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7B16EBDB-02CD-487F-A269-51983D332A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80 | 47 | 0</a:t>
              </a: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1D8771FD-6A04-4B1F-933A-EB209B4D31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02 | 61 | 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83A8604-957F-48CB-8644-4CAC29D830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22 | 71 | 0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E3696317-AC53-474D-8B25-8DDDEDBF1A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2 | 86 | 0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A5DA541B-2918-4A4B-9D03-20BF33E9A8D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46 | 105 | 0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A3E422AA-8A7B-46C6-88E4-916BD53FB2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26 | 33</a:t>
              </a:r>
            </a:p>
          </p:txBody>
        </p: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EA75F29-6679-4BF1-9507-9057436A7F2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49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50 | 71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A5E97EA5-9BDE-401F-A467-9DE6336AF5C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11961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169 | 105</a:t>
              </a:r>
            </a:p>
          </p:txBody>
        </p: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59A6D53F-1253-42B5-AC80-1636C1968CC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173960" y="2576810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02 | 163</a:t>
              </a:r>
            </a:p>
          </p:txBody>
        </p:sp>
        <p:sp>
          <p:nvSpPr>
            <p:cNvPr id="182" name="Textfeld 181">
              <a:extLst>
                <a:ext uri="{FF2B5EF4-FFF2-40B4-BE49-F238E27FC236}">
                  <a16:creationId xmlns:a16="http://schemas.microsoft.com/office/drawing/2014/main" id="{CBB11EF3-BFCA-4FFA-AA1C-93E3F522E33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87960" y="1823138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Orange</a:t>
              </a:r>
            </a:p>
          </p:txBody>
        </p:sp>
      </p:grpSp>
      <p:sp>
        <p:nvSpPr>
          <p:cNvPr id="183" name="Textfeld 182">
            <a:extLst>
              <a:ext uri="{FF2B5EF4-FFF2-40B4-BE49-F238E27FC236}">
                <a16:creationId xmlns:a16="http://schemas.microsoft.com/office/drawing/2014/main" id="{C9A3F4D9-BF7F-423D-8BC9-37C0783F2CEE}"/>
              </a:ext>
            </a:extLst>
          </p:cNvPr>
          <p:cNvSpPr txBox="1">
            <a:spLocks/>
          </p:cNvSpPr>
          <p:nvPr/>
        </p:nvSpPr>
        <p:spPr bwMode="gray">
          <a:xfrm>
            <a:off x="9111961" y="350152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>
                <a:solidFill>
                  <a:schemeClr val="tx2"/>
                </a:solidFill>
                <a:latin typeface="+mj-lt"/>
              </a:rPr>
              <a:t>OBI Silbergrau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B99037D7-0133-4C7F-A0BA-9B00415878B6}"/>
              </a:ext>
            </a:extLst>
          </p:cNvPr>
          <p:cNvSpPr>
            <a:spLocks/>
          </p:cNvSpPr>
          <p:nvPr/>
        </p:nvSpPr>
        <p:spPr bwMode="gray">
          <a:xfrm>
            <a:off x="1145999" y="3792841"/>
            <a:ext cx="342000" cy="341789"/>
          </a:xfrm>
          <a:prstGeom prst="rect">
            <a:avLst/>
          </a:prstGeom>
          <a:solidFill>
            <a:srgbClr val="33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ABCD49C9-DED8-4E60-9686-4B3F7FD4B980}"/>
              </a:ext>
            </a:extLst>
          </p:cNvPr>
          <p:cNvSpPr>
            <a:spLocks/>
          </p:cNvSpPr>
          <p:nvPr/>
        </p:nvSpPr>
        <p:spPr bwMode="gray">
          <a:xfrm>
            <a:off x="2207999" y="3792841"/>
            <a:ext cx="342000" cy="341789"/>
          </a:xfrm>
          <a:prstGeom prst="rect">
            <a:avLst/>
          </a:prstGeom>
          <a:solidFill>
            <a:srgbClr val="4C4E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AFC63680-FF9D-475F-A949-585BFC2E9029}"/>
              </a:ext>
            </a:extLst>
          </p:cNvPr>
          <p:cNvSpPr>
            <a:spLocks/>
          </p:cNvSpPr>
          <p:nvPr/>
        </p:nvSpPr>
        <p:spPr bwMode="gray">
          <a:xfrm>
            <a:off x="3269999" y="3792841"/>
            <a:ext cx="342000" cy="341789"/>
          </a:xfrm>
          <a:prstGeom prst="rect">
            <a:avLst/>
          </a:prstGeom>
          <a:solidFill>
            <a:srgbClr val="63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50293DA-08F8-4664-B0B0-5A9DF75083F8}"/>
              </a:ext>
            </a:extLst>
          </p:cNvPr>
          <p:cNvSpPr>
            <a:spLocks/>
          </p:cNvSpPr>
          <p:nvPr/>
        </p:nvSpPr>
        <p:spPr bwMode="gray">
          <a:xfrm>
            <a:off x="4331999" y="3792841"/>
            <a:ext cx="342000" cy="341789"/>
          </a:xfrm>
          <a:prstGeom prst="rect">
            <a:avLst/>
          </a:prstGeom>
          <a:solidFill>
            <a:srgbClr val="767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18B1AAD-A243-4E43-907E-25644C75D00E}"/>
              </a:ext>
            </a:extLst>
          </p:cNvPr>
          <p:cNvSpPr>
            <a:spLocks/>
          </p:cNvSpPr>
          <p:nvPr/>
        </p:nvSpPr>
        <p:spPr bwMode="gray">
          <a:xfrm>
            <a:off x="5393999" y="3792841"/>
            <a:ext cx="342000" cy="341789"/>
          </a:xfrm>
          <a:prstGeom prst="rect">
            <a:avLst/>
          </a:prstGeom>
          <a:solidFill>
            <a:srgbClr val="89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CE7E4B3-3B04-4621-80E0-7CC4BBB83F28}"/>
              </a:ext>
            </a:extLst>
          </p:cNvPr>
          <p:cNvSpPr>
            <a:spLocks/>
          </p:cNvSpPr>
          <p:nvPr/>
        </p:nvSpPr>
        <p:spPr bwMode="gray">
          <a:xfrm>
            <a:off x="6455999" y="3792841"/>
            <a:ext cx="342000" cy="341789"/>
          </a:xfrm>
          <a:prstGeom prst="rect">
            <a:avLst/>
          </a:prstGeom>
          <a:solidFill>
            <a:srgbClr val="A0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3CC9E491-4A3F-4288-9095-072E9E947B06}"/>
              </a:ext>
            </a:extLst>
          </p:cNvPr>
          <p:cNvSpPr>
            <a:spLocks/>
          </p:cNvSpPr>
          <p:nvPr/>
        </p:nvSpPr>
        <p:spPr bwMode="gray">
          <a:xfrm>
            <a:off x="7517999" y="3792841"/>
            <a:ext cx="342000" cy="341789"/>
          </a:xfrm>
          <a:prstGeom prst="rect">
            <a:avLst/>
          </a:prstGeom>
          <a:solidFill>
            <a:srgbClr val="B7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2A8190F-DA27-4837-AE5A-EE05632C3D45}"/>
              </a:ext>
            </a:extLst>
          </p:cNvPr>
          <p:cNvSpPr>
            <a:spLocks/>
          </p:cNvSpPr>
          <p:nvPr/>
        </p:nvSpPr>
        <p:spPr bwMode="gray">
          <a:xfrm>
            <a:off x="8579999" y="3792841"/>
            <a:ext cx="342000" cy="341789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AC27EB6-06DF-468C-A12C-103DA4E8B617}"/>
              </a:ext>
            </a:extLst>
          </p:cNvPr>
          <p:cNvSpPr>
            <a:spLocks/>
          </p:cNvSpPr>
          <p:nvPr/>
        </p:nvSpPr>
        <p:spPr bwMode="gray">
          <a:xfrm>
            <a:off x="9641999" y="3792841"/>
            <a:ext cx="342000" cy="341789"/>
          </a:xfrm>
          <a:prstGeom prst="rect">
            <a:avLst/>
          </a:prstGeom>
          <a:solidFill>
            <a:srgbClr val="D9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7671A6FE-1941-4123-8C47-D73D667E2447}"/>
              </a:ext>
            </a:extLst>
          </p:cNvPr>
          <p:cNvSpPr>
            <a:spLocks/>
          </p:cNvSpPr>
          <p:nvPr/>
        </p:nvSpPr>
        <p:spPr bwMode="gray">
          <a:xfrm>
            <a:off x="10704000" y="3792841"/>
            <a:ext cx="342000" cy="341789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86AA0FE-8AF7-4DD9-9FB5-39E5235D7EEE}"/>
              </a:ext>
            </a:extLst>
          </p:cNvPr>
          <p:cNvSpPr txBox="1"/>
          <p:nvPr/>
        </p:nvSpPr>
        <p:spPr bwMode="gray">
          <a:xfrm>
            <a:off x="623888" y="3272120"/>
            <a:ext cx="35116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dirty="0">
                <a:latin typeface="+mj-lt"/>
              </a:rPr>
              <a:t>Grau</a:t>
            </a: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F2B442CD-3189-4550-8B80-FB855F69F6FF}"/>
              </a:ext>
            </a:extLst>
          </p:cNvPr>
          <p:cNvSpPr txBox="1">
            <a:spLocks/>
          </p:cNvSpPr>
          <p:nvPr/>
        </p:nvSpPr>
        <p:spPr bwMode="gray">
          <a:xfrm>
            <a:off x="615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51 | 53 | 53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AC40F6B0-7078-4624-BB5F-0C8A78EFD5C6}"/>
              </a:ext>
            </a:extLst>
          </p:cNvPr>
          <p:cNvSpPr txBox="1">
            <a:spLocks/>
          </p:cNvSpPr>
          <p:nvPr/>
        </p:nvSpPr>
        <p:spPr bwMode="gray">
          <a:xfrm>
            <a:off x="1677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76 | 78 | 78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7E74D3C-06D6-46B0-83D8-0ED369073A35}"/>
              </a:ext>
            </a:extLst>
          </p:cNvPr>
          <p:cNvSpPr txBox="1">
            <a:spLocks/>
          </p:cNvSpPr>
          <p:nvPr/>
        </p:nvSpPr>
        <p:spPr bwMode="gray">
          <a:xfrm>
            <a:off x="2739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99 | 101 | 101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610231C1-965D-4D80-8B55-545944134301}"/>
              </a:ext>
            </a:extLst>
          </p:cNvPr>
          <p:cNvSpPr txBox="1">
            <a:spLocks/>
          </p:cNvSpPr>
          <p:nvPr/>
        </p:nvSpPr>
        <p:spPr bwMode="gray">
          <a:xfrm>
            <a:off x="3801959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18 | 120 | 120</a:t>
            </a: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C0CCB625-7433-4C6B-9782-6982C2E1729C}"/>
              </a:ext>
            </a:extLst>
          </p:cNvPr>
          <p:cNvSpPr txBox="1">
            <a:spLocks/>
          </p:cNvSpPr>
          <p:nvPr/>
        </p:nvSpPr>
        <p:spPr bwMode="gray">
          <a:xfrm>
            <a:off x="486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37 | 139 | 139</a:t>
            </a: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1AA9675-9BA9-433D-939F-7AA3857F29D4}"/>
              </a:ext>
            </a:extLst>
          </p:cNvPr>
          <p:cNvSpPr txBox="1">
            <a:spLocks/>
          </p:cNvSpPr>
          <p:nvPr/>
        </p:nvSpPr>
        <p:spPr bwMode="gray">
          <a:xfrm>
            <a:off x="5925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60 | 162 | 162</a:t>
            </a: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17AFCF9D-699E-4D88-AFBE-49E431B43AC2}"/>
              </a:ext>
            </a:extLst>
          </p:cNvPr>
          <p:cNvSpPr txBox="1">
            <a:spLocks/>
          </p:cNvSpPr>
          <p:nvPr/>
        </p:nvSpPr>
        <p:spPr bwMode="gray">
          <a:xfrm>
            <a:off x="6987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183 | 185 | 185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8099B201-5C3F-4641-8A04-5D4AF29B076B}"/>
              </a:ext>
            </a:extLst>
          </p:cNvPr>
          <p:cNvSpPr txBox="1">
            <a:spLocks/>
          </p:cNvSpPr>
          <p:nvPr/>
        </p:nvSpPr>
        <p:spPr bwMode="gray">
          <a:xfrm>
            <a:off x="8049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00 | 202 | 202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8B4F74CF-D9AD-4CA1-90D6-DC43E829D033}"/>
              </a:ext>
            </a:extLst>
          </p:cNvPr>
          <p:cNvSpPr txBox="1">
            <a:spLocks/>
          </p:cNvSpPr>
          <p:nvPr/>
        </p:nvSpPr>
        <p:spPr bwMode="gray">
          <a:xfrm>
            <a:off x="9111961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17 | 218 | 218</a:t>
            </a: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302A8443-56CD-44AE-A795-957489C1F9DA}"/>
              </a:ext>
            </a:extLst>
          </p:cNvPr>
          <p:cNvSpPr txBox="1">
            <a:spLocks/>
          </p:cNvSpPr>
          <p:nvPr/>
        </p:nvSpPr>
        <p:spPr bwMode="gray">
          <a:xfrm>
            <a:off x="10173960" y="4256667"/>
            <a:ext cx="140208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100" dirty="0"/>
              <a:t>228 | 228 | 228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814DBB6-FDF4-44A9-BEF5-C23697A2E574}"/>
              </a:ext>
            </a:extLst>
          </p:cNvPr>
          <p:cNvGrpSpPr/>
          <p:nvPr/>
        </p:nvGrpSpPr>
        <p:grpSpPr bwMode="gray">
          <a:xfrm>
            <a:off x="615959" y="4951976"/>
            <a:ext cx="6712081" cy="1153824"/>
            <a:chOff x="615959" y="4951976"/>
            <a:chExt cx="6712081" cy="1153824"/>
          </a:xfrm>
        </p:grpSpPr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9E4B2ADA-701B-48D1-8FD0-926EAAE93D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99" y="5472697"/>
              <a:ext cx="342000" cy="3417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A6E1F428-9E4E-4489-803D-8E142BA27E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7999" y="5472697"/>
              <a:ext cx="342000" cy="34178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A0F58D94-42C8-4340-83BA-2639CD342B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1999" y="5472697"/>
              <a:ext cx="342000" cy="341789"/>
            </a:xfrm>
            <a:prstGeom prst="rect">
              <a:avLst/>
            </a:prstGeom>
            <a:solidFill>
              <a:srgbClr val="71B8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19AEF6FF-0ABD-4B35-947A-41D2241381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3999" y="5472697"/>
              <a:ext cx="342000" cy="341789"/>
            </a:xfrm>
            <a:prstGeom prst="rect">
              <a:avLst/>
            </a:prstGeom>
            <a:solidFill>
              <a:srgbClr val="00B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DCD79F83-34B6-40ED-9822-420C95618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5999" y="5472697"/>
              <a:ext cx="342000" cy="341789"/>
            </a:xfrm>
            <a:prstGeom prst="rect">
              <a:avLst/>
            </a:prstGeom>
            <a:solidFill>
              <a:srgbClr val="6BBB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844DA803-AC47-4F9C-90A0-BEF36597B0FF}"/>
                </a:ext>
              </a:extLst>
            </p:cNvPr>
            <p:cNvSpPr txBox="1"/>
            <p:nvPr/>
          </p:nvSpPr>
          <p:spPr bwMode="gray">
            <a:xfrm>
              <a:off x="623888" y="4951976"/>
              <a:ext cx="351160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usätzliche Farben</a:t>
              </a:r>
            </a:p>
          </p:txBody>
        </p:sp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5681456F-B7FC-4B75-92BF-6A16FB57D0B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15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255 | 255 | 255</a:t>
              </a:r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C2289877-53E8-48FB-994D-A9BE5D494D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77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0 | 0</a:t>
              </a:r>
            </a:p>
          </p:txBody>
        </p:sp>
        <p:sp>
          <p:nvSpPr>
            <p:cNvPr id="174" name="Textfeld 173">
              <a:extLst>
                <a:ext uri="{FF2B5EF4-FFF2-40B4-BE49-F238E27FC236}">
                  <a16:creationId xmlns:a16="http://schemas.microsoft.com/office/drawing/2014/main" id="{7ED11D6E-3480-4DF5-AFAE-D6F70C345E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13 | 184 | 77</a:t>
              </a:r>
            </a:p>
          </p:txBody>
        </p:sp>
        <p:sp>
          <p:nvSpPr>
            <p:cNvPr id="175" name="Textfeld 174">
              <a:extLst>
                <a:ext uri="{FF2B5EF4-FFF2-40B4-BE49-F238E27FC236}">
                  <a16:creationId xmlns:a16="http://schemas.microsoft.com/office/drawing/2014/main" id="{2E9CCFF6-2F60-4CAA-86B1-6D002345CFD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0 | 178 | 210</a:t>
              </a:r>
            </a:p>
          </p:txBody>
        </p: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48498AD2-6909-4274-B756-4A6254FA74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60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107 | 187 | 174 </a:t>
              </a:r>
            </a:p>
          </p:txBody>
        </p:sp>
        <p:sp>
          <p:nvSpPr>
            <p:cNvPr id="184" name="Textfeld 183">
              <a:extLst>
                <a:ext uri="{FF2B5EF4-FFF2-40B4-BE49-F238E27FC236}">
                  <a16:creationId xmlns:a16="http://schemas.microsoft.com/office/drawing/2014/main" id="{E5906681-7B18-46C0-A358-959F274FFE3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OBI Anthrazit</a:t>
              </a:r>
            </a:p>
          </p:txBody>
        </p:sp>
        <p:sp>
          <p:nvSpPr>
            <p:cNvPr id="185" name="Rechteck 184">
              <a:extLst>
                <a:ext uri="{FF2B5EF4-FFF2-40B4-BE49-F238E27FC236}">
                  <a16:creationId xmlns:a16="http://schemas.microsoft.com/office/drawing/2014/main" id="{AA5DCB5E-9F57-482E-9A5E-DB3E119C8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9999" y="5472697"/>
              <a:ext cx="342000" cy="34178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86" name="Textfeld 185">
              <a:extLst>
                <a:ext uri="{FF2B5EF4-FFF2-40B4-BE49-F238E27FC236}">
                  <a16:creationId xmlns:a16="http://schemas.microsoft.com/office/drawing/2014/main" id="{D596A8EA-8A7B-48D4-83D4-50BAE2AE3D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39959" y="593652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/>
                <a:t>63 | 72 | 70</a:t>
              </a: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5A2AF96B-5DFE-41EA-B4D1-E7E9F81D563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01959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Gartenplaner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E85113D9-A4FD-4205-BE76-D6CDE31517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63960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Badplaner</a:t>
              </a: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475E8A09-5727-4CAA-B563-A4785BE6B0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925958" y="5181383"/>
              <a:ext cx="140208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100" dirty="0">
                  <a:solidFill>
                    <a:schemeClr val="tx2"/>
                  </a:solidFill>
                  <a:latin typeface="+mj-lt"/>
                </a:rPr>
                <a:t>Küchenplaner</a:t>
              </a:r>
            </a:p>
          </p:txBody>
        </p:sp>
      </p:grp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15D421EA-84FD-4680-ADC4-C984F8C1C5A0}"/>
              </a:ext>
            </a:extLst>
          </p:cNvPr>
          <p:cNvCxnSpPr/>
          <p:nvPr/>
        </p:nvCxnSpPr>
        <p:spPr bwMode="gray">
          <a:xfrm>
            <a:off x="623887" y="30022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0EAAE102-E6DF-499F-8697-F18EF583FB9F}"/>
              </a:ext>
            </a:extLst>
          </p:cNvPr>
          <p:cNvCxnSpPr/>
          <p:nvPr/>
        </p:nvCxnSpPr>
        <p:spPr bwMode="gray">
          <a:xfrm>
            <a:off x="623887" y="47167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29773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653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s Abkürzun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EEFAD4-782A-4097-8ED8-6D1D0A0EA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uch Abkürzungen folgen einheitlichen Regel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B226A69-79E9-4E8D-A0AB-D6B72CCCEF3D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5</a:t>
            </a:fld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998802C-A30F-4FB0-A9B5-8F6F721BEC2B}"/>
              </a:ext>
            </a:extLst>
          </p:cNvPr>
          <p:cNvSpPr txBox="1">
            <a:spLocks/>
          </p:cNvSpPr>
          <p:nvPr/>
        </p:nvSpPr>
        <p:spPr bwMode="gray">
          <a:xfrm>
            <a:off x="6222026" y="2167003"/>
            <a:ext cx="5238137" cy="2846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:</a:t>
            </a:r>
            <a:br>
              <a:rPr lang="de-DE" noProof="0" dirty="0"/>
            </a:br>
            <a:r>
              <a:rPr lang="de-DE" noProof="0" dirty="0"/>
              <a:t>Euro			€ </a:t>
            </a:r>
            <a:br>
              <a:rPr lang="de-DE" noProof="0" dirty="0"/>
            </a:br>
            <a:r>
              <a:rPr lang="de-DE" noProof="0" dirty="0"/>
              <a:t>Dollar			$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Währung + Einheit</a:t>
            </a:r>
            <a:br>
              <a:rPr lang="de-DE" noProof="0" dirty="0">
                <a:latin typeface="+mj-lt"/>
              </a:rPr>
            </a:br>
            <a:r>
              <a:rPr lang="de-DE" noProof="0" dirty="0"/>
              <a:t>Tausend Euro (deutsch):	t€</a:t>
            </a:r>
            <a:br>
              <a:rPr lang="de-DE" noProof="0" dirty="0"/>
            </a:br>
            <a:r>
              <a:rPr lang="de-DE" noProof="0" dirty="0"/>
              <a:t>Tausend Euro (englisch):	k€</a:t>
            </a:r>
            <a:br>
              <a:rPr lang="de-DE" noProof="0" dirty="0"/>
            </a:br>
            <a:r>
              <a:rPr lang="de-DE" noProof="0" dirty="0"/>
              <a:t>Millionen Euro:		m€</a:t>
            </a:r>
          </a:p>
          <a:p>
            <a:pPr marL="180000" lvl="0" indent="-180000" defTabSz="89693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Fläche:</a:t>
            </a:r>
            <a:br>
              <a:rPr lang="de-DE" noProof="0" dirty="0"/>
            </a:br>
            <a:r>
              <a:rPr lang="de-DE" noProof="0" dirty="0"/>
              <a:t>Quadratmeter (deutsch):	qm</a:t>
            </a:r>
            <a:br>
              <a:rPr lang="de-DE" noProof="0" dirty="0"/>
            </a:br>
            <a:r>
              <a:rPr lang="de-DE" noProof="0" dirty="0"/>
              <a:t>Quadratmeter (englisch):	sq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84709918-D6AD-4817-9655-FFEBFE7E6D2D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17C791E8-E29A-43E5-AD64-D5EC123D27D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Länderkürzel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2E31D369-A30A-43CD-B4F5-9FF77166D8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5AEAF40F-8F0C-4D0D-9F75-70F1365639FB}"/>
              </a:ext>
            </a:extLst>
          </p:cNvPr>
          <p:cNvSpPr txBox="1">
            <a:spLocks/>
          </p:cNvSpPr>
          <p:nvPr/>
        </p:nvSpPr>
        <p:spPr bwMode="gray">
          <a:xfrm>
            <a:off x="623888" y="2167003"/>
            <a:ext cx="5238137" cy="22544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Ländernamen</a:t>
            </a:r>
            <a:r>
              <a:rPr lang="de-DE" noProof="0" dirty="0"/>
              <a:t> werden mit zwei Zeichen abgekürzt </a:t>
            </a:r>
            <a:br>
              <a:rPr lang="de-DE" noProof="0" dirty="0"/>
            </a:br>
            <a:r>
              <a:rPr lang="de-DE" noProof="0" dirty="0"/>
              <a:t>(gleiche Abkürzung für deutsche und englische Präsentationen)</a:t>
            </a:r>
          </a:p>
          <a:p>
            <a:pPr marL="180000" lvl="0" indent="-180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noProof="0" dirty="0">
                <a:latin typeface="+mj-lt"/>
              </a:rPr>
              <a:t>Beispiele:</a:t>
            </a:r>
            <a:br>
              <a:rPr lang="de-DE" noProof="0" dirty="0"/>
            </a:br>
            <a:r>
              <a:rPr lang="de-DE" noProof="0" dirty="0"/>
              <a:t>Deutschland: 	DE</a:t>
            </a:r>
            <a:br>
              <a:rPr lang="de-DE" noProof="0" dirty="0"/>
            </a:br>
            <a:r>
              <a:rPr lang="de-DE" noProof="0" dirty="0"/>
              <a:t>Österreich: 	AT</a:t>
            </a:r>
            <a:br>
              <a:rPr lang="de-DE" noProof="0" dirty="0"/>
            </a:br>
            <a:r>
              <a:rPr lang="de-DE" noProof="0" dirty="0"/>
              <a:t>Russland: 	RU</a:t>
            </a:r>
            <a:br>
              <a:rPr lang="de-DE" noProof="0" dirty="0"/>
            </a:br>
            <a:r>
              <a:rPr lang="de-DE" noProof="0" dirty="0"/>
              <a:t>Tschechien: 	CZ</a:t>
            </a:r>
            <a:endParaRPr lang="de-DE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44F1BDA-FE8A-4E8D-84D6-3CF8FB35A60E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83A4CBE5-C1EE-4F41-8F64-2C62E7C22AD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Zahlen und Einheiten</a:t>
              </a:r>
            </a:p>
          </p:txBody>
        </p: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48BE7F93-7904-4BDC-9881-E12CE5BBB7D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F777B6-BD97-41E7-8F55-E6335FF373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8845338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C2D03D7-420E-4B93-8DD7-6448CD893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C2D03D7-420E-4B93-8DD7-6448CD89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EBE2D7E-F755-45BA-9937-82BA11250E6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tandard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D3381-8C69-4422-BA5D-7BFA36B71E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9E9AD4A-C8AA-4433-8F2D-0530D030905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E61C0-08A7-47B4-A447-F2B214A6B39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6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F16723D-1640-421E-BCA0-27AAF9F01441}"/>
              </a:ext>
            </a:extLst>
          </p:cNvPr>
          <p:cNvSpPr>
            <a:spLocks/>
          </p:cNvSpPr>
          <p:nvPr/>
        </p:nvSpPr>
        <p:spPr bwMode="gray">
          <a:xfrm>
            <a:off x="623886" y="2364457"/>
            <a:ext cx="671328" cy="6713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7AF5C46-2365-43CA-80E9-6E4BD7C444A3}"/>
              </a:ext>
            </a:extLst>
          </p:cNvPr>
          <p:cNvCxnSpPr>
            <a:cxnSpLocks/>
          </p:cNvCxnSpPr>
          <p:nvPr/>
        </p:nvCxnSpPr>
        <p:spPr bwMode="gray">
          <a:xfrm>
            <a:off x="623888" y="4787992"/>
            <a:ext cx="523813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5DB0B9F-9647-4005-BB7F-831A02C56253}"/>
              </a:ext>
            </a:extLst>
          </p:cNvPr>
          <p:cNvCxnSpPr>
            <a:cxnSpLocks/>
          </p:cNvCxnSpPr>
          <p:nvPr/>
        </p:nvCxnSpPr>
        <p:spPr bwMode="gray">
          <a:xfrm>
            <a:off x="623888" y="5194758"/>
            <a:ext cx="5238137" cy="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9EBA3328-090B-4F61-A960-848519FA8812}"/>
              </a:ext>
            </a:extLst>
          </p:cNvPr>
          <p:cNvSpPr>
            <a:spLocks/>
          </p:cNvSpPr>
          <p:nvPr/>
        </p:nvSpPr>
        <p:spPr bwMode="gray">
          <a:xfrm rot="5400000">
            <a:off x="3380061" y="2191070"/>
            <a:ext cx="671331" cy="1016141"/>
          </a:xfrm>
          <a:prstGeom prst="homePlate">
            <a:avLst>
              <a:gd name="adj" fmla="val 3395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945840F0-4EFE-46CE-9A6F-7427631A2A4C}"/>
              </a:ext>
            </a:extLst>
          </p:cNvPr>
          <p:cNvSpPr/>
          <p:nvPr/>
        </p:nvSpPr>
        <p:spPr bwMode="gray">
          <a:xfrm>
            <a:off x="4511185" y="2360158"/>
            <a:ext cx="1000614" cy="671324"/>
          </a:xfrm>
          <a:prstGeom prst="homePlate">
            <a:avLst>
              <a:gd name="adj" fmla="val 231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8453265-71AB-4486-A52E-339EF0CEA86D}"/>
              </a:ext>
            </a:extLst>
          </p:cNvPr>
          <p:cNvGrpSpPr>
            <a:grpSpLocks/>
          </p:cNvGrpSpPr>
          <p:nvPr/>
        </p:nvGrpSpPr>
        <p:grpSpPr bwMode="gray">
          <a:xfrm>
            <a:off x="1582603" y="2364457"/>
            <a:ext cx="1337665" cy="671328"/>
            <a:chOff x="11138227" y="2012137"/>
            <a:chExt cx="948997" cy="476269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FC9AADB-A374-4B97-8DF4-A26B165D07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7"/>
              <a:ext cx="948997" cy="476269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54FC070-48C4-4CD9-82D1-0AF7A4D6CD6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8227" y="2012138"/>
              <a:ext cx="948997" cy="180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23" name="Gleichschenkliges Dreieck 22">
              <a:extLst>
                <a:ext uri="{FF2B5EF4-FFF2-40B4-BE49-F238E27FC236}">
                  <a16:creationId xmlns:a16="http://schemas.microsoft.com/office/drawing/2014/main" id="{22C541B6-1649-408D-A419-6519325B19A1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1500175" y="2190753"/>
              <a:ext cx="225100" cy="6667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08C8DDB-618F-4D54-8897-B84FB2E080A9}"/>
              </a:ext>
            </a:extLst>
          </p:cNvPr>
          <p:cNvSpPr/>
          <p:nvPr/>
        </p:nvSpPr>
        <p:spPr bwMode="gray">
          <a:xfrm rot="10800000">
            <a:off x="623886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62B795DA-F86E-4010-8FE6-CBA63F99D29E}"/>
              </a:ext>
            </a:extLst>
          </p:cNvPr>
          <p:cNvSpPr/>
          <p:nvPr/>
        </p:nvSpPr>
        <p:spPr bwMode="gray">
          <a:xfrm>
            <a:off x="3484554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B5967BF-CD5D-408A-9E47-D4328F0FF462}"/>
              </a:ext>
            </a:extLst>
          </p:cNvPr>
          <p:cNvSpPr/>
          <p:nvPr/>
        </p:nvSpPr>
        <p:spPr bwMode="gray">
          <a:xfrm rot="10800000" flipH="1">
            <a:off x="1578132" y="3491989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472C1C72-CAB7-4CF3-8133-3AE916DE8804}"/>
              </a:ext>
            </a:extLst>
          </p:cNvPr>
          <p:cNvSpPr/>
          <p:nvPr/>
        </p:nvSpPr>
        <p:spPr bwMode="gray">
          <a:xfrm flipH="1">
            <a:off x="2531343" y="3309395"/>
            <a:ext cx="812776" cy="755380"/>
          </a:xfrm>
          <a:custGeom>
            <a:avLst/>
            <a:gdLst>
              <a:gd name="connsiteX0" fmla="*/ 576618 w 576618"/>
              <a:gd name="connsiteY0" fmla="*/ 535899 h 535899"/>
              <a:gd name="connsiteX1" fmla="*/ 0 w 576618"/>
              <a:gd name="connsiteY1" fmla="*/ 535899 h 535899"/>
              <a:gd name="connsiteX2" fmla="*/ 0 w 576618"/>
              <a:gd name="connsiteY2" fmla="*/ 131763 h 535899"/>
              <a:gd name="connsiteX3" fmla="*/ 1 w 576618"/>
              <a:gd name="connsiteY3" fmla="*/ 131763 h 535899"/>
              <a:gd name="connsiteX4" fmla="*/ 1 w 576618"/>
              <a:gd name="connsiteY4" fmla="*/ 0 h 535899"/>
              <a:gd name="connsiteX5" fmla="*/ 98388 w 576618"/>
              <a:gd name="connsiteY5" fmla="*/ 131763 h 535899"/>
              <a:gd name="connsiteX6" fmla="*/ 576618 w 576618"/>
              <a:gd name="connsiteY6" fmla="*/ 131763 h 535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6618" h="535899">
                <a:moveTo>
                  <a:pt x="576618" y="535899"/>
                </a:moveTo>
                <a:lnTo>
                  <a:pt x="0" y="535899"/>
                </a:lnTo>
                <a:lnTo>
                  <a:pt x="0" y="131763"/>
                </a:lnTo>
                <a:lnTo>
                  <a:pt x="1" y="131763"/>
                </a:lnTo>
                <a:lnTo>
                  <a:pt x="1" y="0"/>
                </a:lnTo>
                <a:lnTo>
                  <a:pt x="98388" y="131763"/>
                </a:lnTo>
                <a:lnTo>
                  <a:pt x="576618" y="13176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t">
            <a:noAutofit/>
          </a:bodyPr>
          <a:lstStyle/>
          <a:p>
            <a:pPr marL="266700" indent="-266700" algn="l">
              <a:buAutoNum type="arabicPeriod"/>
            </a:pPr>
            <a:endParaRPr lang="de-DE" sz="14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47B30D55-9AFD-41E7-BDCD-449647C1A25A}"/>
              </a:ext>
            </a:extLst>
          </p:cNvPr>
          <p:cNvGrpSpPr/>
          <p:nvPr/>
        </p:nvGrpSpPr>
        <p:grpSpPr bwMode="gray">
          <a:xfrm>
            <a:off x="6602007" y="2357016"/>
            <a:ext cx="4465424" cy="3255222"/>
            <a:chOff x="6131939" y="2118128"/>
            <a:chExt cx="5143906" cy="374982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86CD5BD-3D1C-4127-8713-E8383D5EE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547981" y="2118128"/>
              <a:ext cx="727864" cy="809246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192F0CDD-9504-4A32-B6E3-2FB940483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7621" y="2173449"/>
              <a:ext cx="926289" cy="65562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D50A938-91ED-4E0A-ACA5-C30A0CDC7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11970" y="2118128"/>
              <a:ext cx="741580" cy="76626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6BB4B5E-CC6C-4E19-9926-BCC8B2D7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041462" y="2233799"/>
              <a:ext cx="1006756" cy="376734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50DDCC28-2E39-4F70-A15C-7DDF16C61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131939" y="2118128"/>
              <a:ext cx="600762" cy="608077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82EAC2B8-4241-420B-94F5-E675143C9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423355" y="5364271"/>
              <a:ext cx="1738278" cy="20482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F2A896B-F1ED-4415-A281-51C894E0D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414561" y="4732678"/>
              <a:ext cx="1260046" cy="212141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0DE4A7A-82B5-420B-A7CA-CDB788159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0840" y="4732678"/>
              <a:ext cx="1223470" cy="34381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0EDC6771-3653-4D35-AD96-F30D549AA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15053046">
              <a:off x="9066222" y="4548625"/>
              <a:ext cx="597710" cy="2040945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02191E3A-93E7-4FD8-A9B6-029730789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389873" y="3819603"/>
              <a:ext cx="1309423" cy="285293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0D49ED9C-1425-4401-8727-EDDB7230B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178137" y="3122675"/>
              <a:ext cx="1804115" cy="30632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6B6BA628-EBA9-40EC-9C17-7541174B4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50683" y="3122675"/>
              <a:ext cx="1563627" cy="1219812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17FE59B4-7537-4897-8DC1-05E5BB52DE47}"/>
              </a:ext>
            </a:extLst>
          </p:cNvPr>
          <p:cNvGrpSpPr>
            <a:grpSpLocks/>
          </p:cNvGrpSpPr>
          <p:nvPr/>
        </p:nvGrpSpPr>
        <p:grpSpPr bwMode="gray">
          <a:xfrm>
            <a:off x="623888" y="1592263"/>
            <a:ext cx="5238137" cy="372897"/>
            <a:chOff x="3001374" y="1869262"/>
            <a:chExt cx="2579596" cy="372897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97DE38D-A94E-4064-98D6-63E5AD0E9C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PT-Formen</a:t>
              </a: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73F7DE1-BC75-4DBA-8DB2-0FF683DAE55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754A273-AD42-46BD-BC37-089C425008A9}"/>
              </a:ext>
            </a:extLst>
          </p:cNvPr>
          <p:cNvGrpSpPr>
            <a:grpSpLocks/>
          </p:cNvGrpSpPr>
          <p:nvPr/>
        </p:nvGrpSpPr>
        <p:grpSpPr bwMode="gray">
          <a:xfrm>
            <a:off x="6222026" y="1592263"/>
            <a:ext cx="5238137" cy="372897"/>
            <a:chOff x="3001374" y="1869262"/>
            <a:chExt cx="2579596" cy="372897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B155272-398F-459F-B46F-7D4AF3311E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001374" y="1869262"/>
              <a:ext cx="257959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dirty="0">
                  <a:latin typeface="+mj-lt"/>
                </a:rPr>
                <a:t>Pfeile und mehr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5A1EBD3-D66D-4846-AD15-0EE21C25FF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001374" y="2242159"/>
              <a:ext cx="257959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52667D-0A6E-4106-96CD-3B487E2EA7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6365213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3366E03-B3E8-498C-AEEF-11E1517D7D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90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3366E03-B3E8-498C-AEEF-11E1517D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BFFB14-1BF2-4F49-A801-185C7E43F8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Symbol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11D36B3-FA04-415B-ADB6-CF66B59101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Häufig benötigte Zeich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B5DF7-2C29-4868-B7B5-ECA0004678F9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62B9E0B-D762-4F53-99A5-EB7CD3E64FD1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604B5E-2A54-4050-BA2A-8E4A4C99941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7</a:t>
            </a:fld>
            <a:endParaRPr lang="de-DE" dirty="0"/>
          </a:p>
        </p:txBody>
      </p:sp>
      <p:grpSp>
        <p:nvGrpSpPr>
          <p:cNvPr id="237" name="Gruppieren 236">
            <a:extLst>
              <a:ext uri="{FF2B5EF4-FFF2-40B4-BE49-F238E27FC236}">
                <a16:creationId xmlns:a16="http://schemas.microsoft.com/office/drawing/2014/main" id="{A521892D-C493-403E-BDE3-D5F017AD85D2}"/>
              </a:ext>
            </a:extLst>
          </p:cNvPr>
          <p:cNvGrpSpPr>
            <a:grpSpLocks/>
          </p:cNvGrpSpPr>
          <p:nvPr/>
        </p:nvGrpSpPr>
        <p:grpSpPr bwMode="gray">
          <a:xfrm>
            <a:off x="624765" y="4988910"/>
            <a:ext cx="396000" cy="396000"/>
            <a:chOff x="624765" y="4988910"/>
            <a:chExt cx="396000" cy="396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0A402E4-A85C-4876-82E3-62F59DE24B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76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14956791-CD60-4303-AE4A-264C0D77E3D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9830" y="5090887"/>
              <a:ext cx="105872" cy="192046"/>
              <a:chOff x="804153" y="5133476"/>
              <a:chExt cx="68263" cy="123826"/>
            </a:xfrm>
            <a:solidFill>
              <a:schemeClr val="bg1"/>
            </a:solidFill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2AF74A75-D05A-401D-8282-942026F3FC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740" y="5189039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EF36BB4-A7A8-4233-8449-A90069AFFA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4153" y="513347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8" name="Gruppieren 237">
            <a:extLst>
              <a:ext uri="{FF2B5EF4-FFF2-40B4-BE49-F238E27FC236}">
                <a16:creationId xmlns:a16="http://schemas.microsoft.com/office/drawing/2014/main" id="{0CAF672E-57D0-4038-BC8B-772A912BA81E}"/>
              </a:ext>
            </a:extLst>
          </p:cNvPr>
          <p:cNvGrpSpPr>
            <a:grpSpLocks/>
          </p:cNvGrpSpPr>
          <p:nvPr/>
        </p:nvGrpSpPr>
        <p:grpSpPr bwMode="gray">
          <a:xfrm>
            <a:off x="1222540" y="4988910"/>
            <a:ext cx="396000" cy="396000"/>
            <a:chOff x="1222540" y="4988910"/>
            <a:chExt cx="396000" cy="396000"/>
          </a:xfrm>
        </p:grpSpPr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E00D129F-414C-49CE-B5E4-979A43D506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2540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C7D24466-798E-494B-9DFE-7E57197A4C1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24517" y="5133975"/>
              <a:ext cx="192046" cy="105870"/>
              <a:chOff x="1351840" y="5171577"/>
              <a:chExt cx="123826" cy="68263"/>
            </a:xfrm>
            <a:solidFill>
              <a:schemeClr val="bg1"/>
            </a:solidFill>
          </p:grpSpPr>
          <p:sp>
            <p:nvSpPr>
              <p:cNvPr id="27" name="Freeform 6">
                <a:extLst>
                  <a:ext uri="{FF2B5EF4-FFF2-40B4-BE49-F238E27FC236}">
                    <a16:creationId xmlns:a16="http://schemas.microsoft.com/office/drawing/2014/main" id="{CBE3229F-4673-4399-9B3D-40FD62E9A3C5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352634" y="5172370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D209913D-AAC6-4A24-B35C-67366F15C0F3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408197" y="5172371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078970D7-1F0C-4956-9DE1-16D780103E9D}"/>
              </a:ext>
            </a:extLst>
          </p:cNvPr>
          <p:cNvGrpSpPr>
            <a:grpSpLocks/>
          </p:cNvGrpSpPr>
          <p:nvPr/>
        </p:nvGrpSpPr>
        <p:grpSpPr bwMode="gray">
          <a:xfrm>
            <a:off x="1806741" y="4988910"/>
            <a:ext cx="396000" cy="396000"/>
            <a:chOff x="1806741" y="4988910"/>
            <a:chExt cx="396000" cy="396000"/>
          </a:xfrm>
        </p:grpSpPr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56D5A7FC-6887-4ACC-BCE3-DC33B048EE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674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83606A-152B-4376-B32A-7A556903093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951806" y="5090887"/>
              <a:ext cx="105872" cy="192046"/>
              <a:chOff x="1955090" y="5133475"/>
              <a:chExt cx="68263" cy="123826"/>
            </a:xfrm>
            <a:solidFill>
              <a:schemeClr val="bg1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3447A2B-B045-43FD-9FF8-340979A227B0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1" y="513347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F4C90BD0-92D9-48D8-AD0B-6E40F391E76E}"/>
                  </a:ext>
                </a:extLst>
              </p:cNvPr>
              <p:cNvSpPr>
                <a:spLocks/>
              </p:cNvSpPr>
              <p:nvPr/>
            </p:nvSpPr>
            <p:spPr bwMode="gray">
              <a:xfrm rot="10800000">
                <a:off x="1955090" y="5190626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C9191E2E-A9CD-4CB7-BC27-6765F32D0AD9}"/>
              </a:ext>
            </a:extLst>
          </p:cNvPr>
          <p:cNvGrpSpPr>
            <a:grpSpLocks/>
          </p:cNvGrpSpPr>
          <p:nvPr/>
        </p:nvGrpSpPr>
        <p:grpSpPr bwMode="gray">
          <a:xfrm>
            <a:off x="2378953" y="4988910"/>
            <a:ext cx="396000" cy="396000"/>
            <a:chOff x="2378953" y="4988910"/>
            <a:chExt cx="396000" cy="396000"/>
          </a:xfrm>
        </p:grpSpPr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E4023875-BC1C-4A1E-A206-7106ECBEA3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895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7C6B1C1-0866-4246-BBFA-54D165F51E5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80930" y="5133975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124BE0C0-A665-4D35-A75A-C5B6FBFDF2A7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9087957B-DA34-49C8-9D99-E52975DC2891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B0157DFF-9AFE-4692-84AA-BC6B072ECA9C}"/>
              </a:ext>
            </a:extLst>
          </p:cNvPr>
          <p:cNvGrpSpPr>
            <a:grpSpLocks/>
          </p:cNvGrpSpPr>
          <p:nvPr/>
        </p:nvGrpSpPr>
        <p:grpSpPr bwMode="gray">
          <a:xfrm>
            <a:off x="624967" y="5546662"/>
            <a:ext cx="396000" cy="396000"/>
            <a:chOff x="624967" y="5550787"/>
            <a:chExt cx="396000" cy="396000"/>
          </a:xfrm>
        </p:grpSpPr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FA467B1C-9B3F-4C0B-8E53-DEEB96056A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967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0E24D48A-F3CF-4DEF-A6D7-E48FDECC8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748" y="5664568"/>
              <a:ext cx="168438" cy="168438"/>
            </a:xfrm>
            <a:custGeom>
              <a:avLst/>
              <a:gdLst>
                <a:gd name="T0" fmla="*/ 1014 w 1977"/>
                <a:gd name="T1" fmla="*/ 3 h 1977"/>
                <a:gd name="T2" fmla="*/ 1057 w 1977"/>
                <a:gd name="T3" fmla="*/ 24 h 1977"/>
                <a:gd name="T4" fmla="*/ 1087 w 1977"/>
                <a:gd name="T5" fmla="*/ 62 h 1977"/>
                <a:gd name="T6" fmla="*/ 1099 w 1977"/>
                <a:gd name="T7" fmla="*/ 110 h 1977"/>
                <a:gd name="T8" fmla="*/ 1867 w 1977"/>
                <a:gd name="T9" fmla="*/ 878 h 1977"/>
                <a:gd name="T10" fmla="*/ 1915 w 1977"/>
                <a:gd name="T11" fmla="*/ 890 h 1977"/>
                <a:gd name="T12" fmla="*/ 1953 w 1977"/>
                <a:gd name="T13" fmla="*/ 920 h 1977"/>
                <a:gd name="T14" fmla="*/ 1974 w 1977"/>
                <a:gd name="T15" fmla="*/ 963 h 1977"/>
                <a:gd name="T16" fmla="*/ 1974 w 1977"/>
                <a:gd name="T17" fmla="*/ 1014 h 1977"/>
                <a:gd name="T18" fmla="*/ 1953 w 1977"/>
                <a:gd name="T19" fmla="*/ 1057 h 1977"/>
                <a:gd name="T20" fmla="*/ 1915 w 1977"/>
                <a:gd name="T21" fmla="*/ 1087 h 1977"/>
                <a:gd name="T22" fmla="*/ 1867 w 1977"/>
                <a:gd name="T23" fmla="*/ 1099 h 1977"/>
                <a:gd name="T24" fmla="*/ 1099 w 1977"/>
                <a:gd name="T25" fmla="*/ 1867 h 1977"/>
                <a:gd name="T26" fmla="*/ 1087 w 1977"/>
                <a:gd name="T27" fmla="*/ 1915 h 1977"/>
                <a:gd name="T28" fmla="*/ 1057 w 1977"/>
                <a:gd name="T29" fmla="*/ 1953 h 1977"/>
                <a:gd name="T30" fmla="*/ 1014 w 1977"/>
                <a:gd name="T31" fmla="*/ 1974 h 1977"/>
                <a:gd name="T32" fmla="*/ 963 w 1977"/>
                <a:gd name="T33" fmla="*/ 1974 h 1977"/>
                <a:gd name="T34" fmla="*/ 920 w 1977"/>
                <a:gd name="T35" fmla="*/ 1953 h 1977"/>
                <a:gd name="T36" fmla="*/ 890 w 1977"/>
                <a:gd name="T37" fmla="*/ 1915 h 1977"/>
                <a:gd name="T38" fmla="*/ 878 w 1977"/>
                <a:gd name="T39" fmla="*/ 1867 h 1977"/>
                <a:gd name="T40" fmla="*/ 110 w 1977"/>
                <a:gd name="T41" fmla="*/ 1099 h 1977"/>
                <a:gd name="T42" fmla="*/ 62 w 1977"/>
                <a:gd name="T43" fmla="*/ 1087 h 1977"/>
                <a:gd name="T44" fmla="*/ 24 w 1977"/>
                <a:gd name="T45" fmla="*/ 1057 h 1977"/>
                <a:gd name="T46" fmla="*/ 3 w 1977"/>
                <a:gd name="T47" fmla="*/ 1014 h 1977"/>
                <a:gd name="T48" fmla="*/ 3 w 1977"/>
                <a:gd name="T49" fmla="*/ 963 h 1977"/>
                <a:gd name="T50" fmla="*/ 24 w 1977"/>
                <a:gd name="T51" fmla="*/ 920 h 1977"/>
                <a:gd name="T52" fmla="*/ 62 w 1977"/>
                <a:gd name="T53" fmla="*/ 890 h 1977"/>
                <a:gd name="T54" fmla="*/ 110 w 1977"/>
                <a:gd name="T55" fmla="*/ 878 h 1977"/>
                <a:gd name="T56" fmla="*/ 878 w 1977"/>
                <a:gd name="T57" fmla="*/ 110 h 1977"/>
                <a:gd name="T58" fmla="*/ 890 w 1977"/>
                <a:gd name="T59" fmla="*/ 62 h 1977"/>
                <a:gd name="T60" fmla="*/ 920 w 1977"/>
                <a:gd name="T61" fmla="*/ 24 h 1977"/>
                <a:gd name="T62" fmla="*/ 963 w 1977"/>
                <a:gd name="T63" fmla="*/ 3 h 1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7" h="1977">
                  <a:moveTo>
                    <a:pt x="989" y="0"/>
                  </a:moveTo>
                  <a:lnTo>
                    <a:pt x="1014" y="3"/>
                  </a:lnTo>
                  <a:lnTo>
                    <a:pt x="1036" y="11"/>
                  </a:lnTo>
                  <a:lnTo>
                    <a:pt x="1057" y="24"/>
                  </a:lnTo>
                  <a:lnTo>
                    <a:pt x="1074" y="42"/>
                  </a:lnTo>
                  <a:lnTo>
                    <a:pt x="1087" y="62"/>
                  </a:lnTo>
                  <a:lnTo>
                    <a:pt x="1096" y="85"/>
                  </a:lnTo>
                  <a:lnTo>
                    <a:pt x="1099" y="110"/>
                  </a:lnTo>
                  <a:lnTo>
                    <a:pt x="1099" y="878"/>
                  </a:lnTo>
                  <a:lnTo>
                    <a:pt x="1867" y="878"/>
                  </a:lnTo>
                  <a:lnTo>
                    <a:pt x="1892" y="881"/>
                  </a:lnTo>
                  <a:lnTo>
                    <a:pt x="1915" y="890"/>
                  </a:lnTo>
                  <a:lnTo>
                    <a:pt x="1935" y="903"/>
                  </a:lnTo>
                  <a:lnTo>
                    <a:pt x="1953" y="920"/>
                  </a:lnTo>
                  <a:lnTo>
                    <a:pt x="1966" y="941"/>
                  </a:lnTo>
                  <a:lnTo>
                    <a:pt x="1974" y="963"/>
                  </a:lnTo>
                  <a:lnTo>
                    <a:pt x="1977" y="989"/>
                  </a:lnTo>
                  <a:lnTo>
                    <a:pt x="1974" y="1014"/>
                  </a:lnTo>
                  <a:lnTo>
                    <a:pt x="1966" y="1036"/>
                  </a:lnTo>
                  <a:lnTo>
                    <a:pt x="1953" y="1057"/>
                  </a:lnTo>
                  <a:lnTo>
                    <a:pt x="1935" y="1074"/>
                  </a:lnTo>
                  <a:lnTo>
                    <a:pt x="1915" y="1087"/>
                  </a:lnTo>
                  <a:lnTo>
                    <a:pt x="1892" y="1096"/>
                  </a:lnTo>
                  <a:lnTo>
                    <a:pt x="1867" y="1099"/>
                  </a:lnTo>
                  <a:lnTo>
                    <a:pt x="1099" y="1099"/>
                  </a:lnTo>
                  <a:lnTo>
                    <a:pt x="1099" y="1867"/>
                  </a:lnTo>
                  <a:lnTo>
                    <a:pt x="1096" y="1892"/>
                  </a:lnTo>
                  <a:lnTo>
                    <a:pt x="1087" y="1915"/>
                  </a:lnTo>
                  <a:lnTo>
                    <a:pt x="1074" y="1935"/>
                  </a:lnTo>
                  <a:lnTo>
                    <a:pt x="1057" y="1953"/>
                  </a:lnTo>
                  <a:lnTo>
                    <a:pt x="1036" y="1966"/>
                  </a:lnTo>
                  <a:lnTo>
                    <a:pt x="1014" y="1974"/>
                  </a:lnTo>
                  <a:lnTo>
                    <a:pt x="989" y="1977"/>
                  </a:lnTo>
                  <a:lnTo>
                    <a:pt x="963" y="1974"/>
                  </a:lnTo>
                  <a:lnTo>
                    <a:pt x="941" y="1966"/>
                  </a:lnTo>
                  <a:lnTo>
                    <a:pt x="920" y="1953"/>
                  </a:lnTo>
                  <a:lnTo>
                    <a:pt x="903" y="1935"/>
                  </a:lnTo>
                  <a:lnTo>
                    <a:pt x="890" y="1915"/>
                  </a:lnTo>
                  <a:lnTo>
                    <a:pt x="881" y="1892"/>
                  </a:lnTo>
                  <a:lnTo>
                    <a:pt x="878" y="1867"/>
                  </a:lnTo>
                  <a:lnTo>
                    <a:pt x="878" y="1099"/>
                  </a:lnTo>
                  <a:lnTo>
                    <a:pt x="110" y="1099"/>
                  </a:lnTo>
                  <a:lnTo>
                    <a:pt x="85" y="1096"/>
                  </a:lnTo>
                  <a:lnTo>
                    <a:pt x="62" y="1087"/>
                  </a:lnTo>
                  <a:lnTo>
                    <a:pt x="42" y="1074"/>
                  </a:lnTo>
                  <a:lnTo>
                    <a:pt x="24" y="1057"/>
                  </a:lnTo>
                  <a:lnTo>
                    <a:pt x="11" y="1036"/>
                  </a:lnTo>
                  <a:lnTo>
                    <a:pt x="3" y="1014"/>
                  </a:lnTo>
                  <a:lnTo>
                    <a:pt x="0" y="989"/>
                  </a:lnTo>
                  <a:lnTo>
                    <a:pt x="3" y="963"/>
                  </a:lnTo>
                  <a:lnTo>
                    <a:pt x="11" y="941"/>
                  </a:lnTo>
                  <a:lnTo>
                    <a:pt x="24" y="920"/>
                  </a:lnTo>
                  <a:lnTo>
                    <a:pt x="42" y="903"/>
                  </a:lnTo>
                  <a:lnTo>
                    <a:pt x="62" y="890"/>
                  </a:lnTo>
                  <a:lnTo>
                    <a:pt x="85" y="881"/>
                  </a:lnTo>
                  <a:lnTo>
                    <a:pt x="110" y="878"/>
                  </a:lnTo>
                  <a:lnTo>
                    <a:pt x="878" y="878"/>
                  </a:lnTo>
                  <a:lnTo>
                    <a:pt x="878" y="110"/>
                  </a:lnTo>
                  <a:lnTo>
                    <a:pt x="881" y="85"/>
                  </a:lnTo>
                  <a:lnTo>
                    <a:pt x="890" y="62"/>
                  </a:lnTo>
                  <a:lnTo>
                    <a:pt x="903" y="42"/>
                  </a:lnTo>
                  <a:lnTo>
                    <a:pt x="920" y="24"/>
                  </a:lnTo>
                  <a:lnTo>
                    <a:pt x="941" y="11"/>
                  </a:lnTo>
                  <a:lnTo>
                    <a:pt x="963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0DE98EE-0241-4F7D-A3A1-E72B2DCE163B}"/>
              </a:ext>
            </a:extLst>
          </p:cNvPr>
          <p:cNvGrpSpPr>
            <a:grpSpLocks/>
          </p:cNvGrpSpPr>
          <p:nvPr/>
        </p:nvGrpSpPr>
        <p:grpSpPr bwMode="gray">
          <a:xfrm>
            <a:off x="2379113" y="5546662"/>
            <a:ext cx="396000" cy="396000"/>
            <a:chOff x="2379113" y="5550787"/>
            <a:chExt cx="396000" cy="396000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EB42076B-5D18-4A8B-B3F3-6E462E89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791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9" name="Group 116">
              <a:extLst>
                <a:ext uri="{FF2B5EF4-FFF2-40B4-BE49-F238E27FC236}">
                  <a16:creationId xmlns:a16="http://schemas.microsoft.com/office/drawing/2014/main" id="{FFF387B9-B297-4676-B48C-C0A8815880D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09134" y="5680809"/>
              <a:ext cx="135957" cy="135957"/>
              <a:chOff x="900113" y="3840163"/>
              <a:chExt cx="241300" cy="241300"/>
            </a:xfrm>
            <a:solidFill>
              <a:schemeClr val="bg1"/>
            </a:solidFill>
          </p:grpSpPr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FFAFC4C7-40B9-46EB-BF2E-E78765D222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0113" y="3948113"/>
                <a:ext cx="241300" cy="25400"/>
              </a:xfrm>
              <a:custGeom>
                <a:avLst/>
                <a:gdLst>
                  <a:gd name="T0" fmla="*/ 110 w 1970"/>
                  <a:gd name="T1" fmla="*/ 0 h 220"/>
                  <a:gd name="T2" fmla="*/ 1860 w 1970"/>
                  <a:gd name="T3" fmla="*/ 0 h 220"/>
                  <a:gd name="T4" fmla="*/ 1885 w 1970"/>
                  <a:gd name="T5" fmla="*/ 3 h 220"/>
                  <a:gd name="T6" fmla="*/ 1908 w 1970"/>
                  <a:gd name="T7" fmla="*/ 11 h 220"/>
                  <a:gd name="T8" fmla="*/ 1928 w 1970"/>
                  <a:gd name="T9" fmla="*/ 25 h 220"/>
                  <a:gd name="T10" fmla="*/ 1945 w 1970"/>
                  <a:gd name="T11" fmla="*/ 42 h 220"/>
                  <a:gd name="T12" fmla="*/ 1959 w 1970"/>
                  <a:gd name="T13" fmla="*/ 62 h 220"/>
                  <a:gd name="T14" fmla="*/ 1967 w 1970"/>
                  <a:gd name="T15" fmla="*/ 85 h 220"/>
                  <a:gd name="T16" fmla="*/ 1970 w 1970"/>
                  <a:gd name="T17" fmla="*/ 110 h 220"/>
                  <a:gd name="T18" fmla="*/ 1967 w 1970"/>
                  <a:gd name="T19" fmla="*/ 135 h 220"/>
                  <a:gd name="T20" fmla="*/ 1959 w 1970"/>
                  <a:gd name="T21" fmla="*/ 158 h 220"/>
                  <a:gd name="T22" fmla="*/ 1945 w 1970"/>
                  <a:gd name="T23" fmla="*/ 178 h 220"/>
                  <a:gd name="T24" fmla="*/ 1928 w 1970"/>
                  <a:gd name="T25" fmla="*/ 195 h 220"/>
                  <a:gd name="T26" fmla="*/ 1908 w 1970"/>
                  <a:gd name="T27" fmla="*/ 209 h 220"/>
                  <a:gd name="T28" fmla="*/ 1885 w 1970"/>
                  <a:gd name="T29" fmla="*/ 217 h 220"/>
                  <a:gd name="T30" fmla="*/ 1860 w 1970"/>
                  <a:gd name="T31" fmla="*/ 220 h 220"/>
                  <a:gd name="T32" fmla="*/ 110 w 1970"/>
                  <a:gd name="T33" fmla="*/ 220 h 220"/>
                  <a:gd name="T34" fmla="*/ 85 w 1970"/>
                  <a:gd name="T35" fmla="*/ 217 h 220"/>
                  <a:gd name="T36" fmla="*/ 62 w 1970"/>
                  <a:gd name="T37" fmla="*/ 209 h 220"/>
                  <a:gd name="T38" fmla="*/ 42 w 1970"/>
                  <a:gd name="T39" fmla="*/ 195 h 220"/>
                  <a:gd name="T40" fmla="*/ 25 w 1970"/>
                  <a:gd name="T41" fmla="*/ 178 h 220"/>
                  <a:gd name="T42" fmla="*/ 11 w 1970"/>
                  <a:gd name="T43" fmla="*/ 158 h 220"/>
                  <a:gd name="T44" fmla="*/ 3 w 1970"/>
                  <a:gd name="T45" fmla="*/ 135 h 220"/>
                  <a:gd name="T46" fmla="*/ 0 w 1970"/>
                  <a:gd name="T47" fmla="*/ 110 h 220"/>
                  <a:gd name="T48" fmla="*/ 3 w 1970"/>
                  <a:gd name="T49" fmla="*/ 85 h 220"/>
                  <a:gd name="T50" fmla="*/ 11 w 1970"/>
                  <a:gd name="T51" fmla="*/ 62 h 220"/>
                  <a:gd name="T52" fmla="*/ 25 w 1970"/>
                  <a:gd name="T53" fmla="*/ 42 h 220"/>
                  <a:gd name="T54" fmla="*/ 42 w 1970"/>
                  <a:gd name="T55" fmla="*/ 25 h 220"/>
                  <a:gd name="T56" fmla="*/ 62 w 1970"/>
                  <a:gd name="T57" fmla="*/ 11 h 220"/>
                  <a:gd name="T58" fmla="*/ 85 w 1970"/>
                  <a:gd name="T59" fmla="*/ 3 h 220"/>
                  <a:gd name="T60" fmla="*/ 110 w 1970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20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5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5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9"/>
                    </a:lnTo>
                    <a:lnTo>
                      <a:pt x="1885" y="217"/>
                    </a:lnTo>
                    <a:lnTo>
                      <a:pt x="1860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5D6951BE-08E2-4562-B14C-F52BF670F1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3840163"/>
                <a:ext cx="79375" cy="80963"/>
              </a:xfrm>
              <a:custGeom>
                <a:avLst/>
                <a:gdLst>
                  <a:gd name="T0" fmla="*/ 311 w 656"/>
                  <a:gd name="T1" fmla="*/ 221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8 h 657"/>
                  <a:gd name="T10" fmla="*/ 223 w 656"/>
                  <a:gd name="T11" fmla="*/ 361 h 657"/>
                  <a:gd name="T12" fmla="*/ 238 w 656"/>
                  <a:gd name="T13" fmla="*/ 389 h 657"/>
                  <a:gd name="T14" fmla="*/ 267 w 656"/>
                  <a:gd name="T15" fmla="*/ 420 h 657"/>
                  <a:gd name="T16" fmla="*/ 306 w 656"/>
                  <a:gd name="T17" fmla="*/ 436 h 657"/>
                  <a:gd name="T18" fmla="*/ 345 w 656"/>
                  <a:gd name="T19" fmla="*/ 437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8 h 657"/>
                  <a:gd name="T28" fmla="*/ 433 w 656"/>
                  <a:gd name="T29" fmla="*/ 296 h 657"/>
                  <a:gd name="T30" fmla="*/ 418 w 656"/>
                  <a:gd name="T31" fmla="*/ 267 h 657"/>
                  <a:gd name="T32" fmla="*/ 389 w 656"/>
                  <a:gd name="T33" fmla="*/ 238 h 657"/>
                  <a:gd name="T34" fmla="*/ 350 w 656"/>
                  <a:gd name="T35" fmla="*/ 222 h 657"/>
                  <a:gd name="T36" fmla="*/ 328 w 656"/>
                  <a:gd name="T37" fmla="*/ 0 h 657"/>
                  <a:gd name="T38" fmla="*/ 394 w 656"/>
                  <a:gd name="T39" fmla="*/ 7 h 657"/>
                  <a:gd name="T40" fmla="*/ 456 w 656"/>
                  <a:gd name="T41" fmla="*/ 27 h 657"/>
                  <a:gd name="T42" fmla="*/ 512 w 656"/>
                  <a:gd name="T43" fmla="*/ 57 h 657"/>
                  <a:gd name="T44" fmla="*/ 569 w 656"/>
                  <a:gd name="T45" fmla="*/ 106 h 657"/>
                  <a:gd name="T46" fmla="*/ 614 w 656"/>
                  <a:gd name="T47" fmla="*/ 167 h 657"/>
                  <a:gd name="T48" fmla="*/ 644 w 656"/>
                  <a:gd name="T49" fmla="*/ 241 h 657"/>
                  <a:gd name="T50" fmla="*/ 656 w 656"/>
                  <a:gd name="T51" fmla="*/ 328 h 657"/>
                  <a:gd name="T52" fmla="*/ 649 w 656"/>
                  <a:gd name="T53" fmla="*/ 394 h 657"/>
                  <a:gd name="T54" fmla="*/ 630 w 656"/>
                  <a:gd name="T55" fmla="*/ 456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6 h 657"/>
                  <a:gd name="T64" fmla="*/ 328 w 656"/>
                  <a:gd name="T65" fmla="*/ 657 h 657"/>
                  <a:gd name="T66" fmla="*/ 262 w 656"/>
                  <a:gd name="T67" fmla="*/ 651 h 657"/>
                  <a:gd name="T68" fmla="*/ 200 w 656"/>
                  <a:gd name="T69" fmla="*/ 631 h 657"/>
                  <a:gd name="T70" fmla="*/ 144 w 656"/>
                  <a:gd name="T71" fmla="*/ 601 h 657"/>
                  <a:gd name="T72" fmla="*/ 87 w 656"/>
                  <a:gd name="T73" fmla="*/ 552 h 657"/>
                  <a:gd name="T74" fmla="*/ 42 w 656"/>
                  <a:gd name="T75" fmla="*/ 491 h 657"/>
                  <a:gd name="T76" fmla="*/ 12 w 656"/>
                  <a:gd name="T77" fmla="*/ 416 h 657"/>
                  <a:gd name="T78" fmla="*/ 0 w 656"/>
                  <a:gd name="T79" fmla="*/ 328 h 657"/>
                  <a:gd name="T80" fmla="*/ 7 w 656"/>
                  <a:gd name="T81" fmla="*/ 262 h 657"/>
                  <a:gd name="T82" fmla="*/ 26 w 656"/>
                  <a:gd name="T83" fmla="*/ 200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2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11" y="221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8"/>
                    </a:lnTo>
                    <a:lnTo>
                      <a:pt x="251" y="251"/>
                    </a:lnTo>
                    <a:lnTo>
                      <a:pt x="238" y="267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8"/>
                    </a:lnTo>
                    <a:lnTo>
                      <a:pt x="220" y="346"/>
                    </a:lnTo>
                    <a:lnTo>
                      <a:pt x="223" y="361"/>
                    </a:lnTo>
                    <a:lnTo>
                      <a:pt x="229" y="376"/>
                    </a:lnTo>
                    <a:lnTo>
                      <a:pt x="238" y="389"/>
                    </a:lnTo>
                    <a:lnTo>
                      <a:pt x="251" y="406"/>
                    </a:lnTo>
                    <a:lnTo>
                      <a:pt x="267" y="420"/>
                    </a:lnTo>
                    <a:lnTo>
                      <a:pt x="285" y="429"/>
                    </a:lnTo>
                    <a:lnTo>
                      <a:pt x="306" y="436"/>
                    </a:lnTo>
                    <a:lnTo>
                      <a:pt x="328" y="438"/>
                    </a:lnTo>
                    <a:lnTo>
                      <a:pt x="345" y="437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20"/>
                    </a:lnTo>
                    <a:lnTo>
                      <a:pt x="405" y="406"/>
                    </a:lnTo>
                    <a:lnTo>
                      <a:pt x="418" y="389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8"/>
                    </a:lnTo>
                    <a:lnTo>
                      <a:pt x="436" y="312"/>
                    </a:lnTo>
                    <a:lnTo>
                      <a:pt x="433" y="296"/>
                    </a:lnTo>
                    <a:lnTo>
                      <a:pt x="427" y="282"/>
                    </a:lnTo>
                    <a:lnTo>
                      <a:pt x="418" y="267"/>
                    </a:lnTo>
                    <a:lnTo>
                      <a:pt x="405" y="251"/>
                    </a:lnTo>
                    <a:lnTo>
                      <a:pt x="389" y="238"/>
                    </a:lnTo>
                    <a:lnTo>
                      <a:pt x="371" y="228"/>
                    </a:lnTo>
                    <a:lnTo>
                      <a:pt x="350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7"/>
                    </a:lnTo>
                    <a:lnTo>
                      <a:pt x="426" y="15"/>
                    </a:lnTo>
                    <a:lnTo>
                      <a:pt x="456" y="27"/>
                    </a:lnTo>
                    <a:lnTo>
                      <a:pt x="485" y="40"/>
                    </a:lnTo>
                    <a:lnTo>
                      <a:pt x="512" y="57"/>
                    </a:lnTo>
                    <a:lnTo>
                      <a:pt x="541" y="79"/>
                    </a:lnTo>
                    <a:lnTo>
                      <a:pt x="569" y="106"/>
                    </a:lnTo>
                    <a:lnTo>
                      <a:pt x="593" y="134"/>
                    </a:lnTo>
                    <a:lnTo>
                      <a:pt x="614" y="167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5"/>
                    </a:lnTo>
                    <a:lnTo>
                      <a:pt x="656" y="328"/>
                    </a:lnTo>
                    <a:lnTo>
                      <a:pt x="654" y="362"/>
                    </a:lnTo>
                    <a:lnTo>
                      <a:pt x="649" y="394"/>
                    </a:lnTo>
                    <a:lnTo>
                      <a:pt x="641" y="426"/>
                    </a:lnTo>
                    <a:lnTo>
                      <a:pt x="630" y="456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4"/>
                    </a:lnTo>
                    <a:lnTo>
                      <a:pt x="490" y="614"/>
                    </a:lnTo>
                    <a:lnTo>
                      <a:pt x="456" y="631"/>
                    </a:lnTo>
                    <a:lnTo>
                      <a:pt x="415" y="646"/>
                    </a:lnTo>
                    <a:lnTo>
                      <a:pt x="373" y="654"/>
                    </a:lnTo>
                    <a:lnTo>
                      <a:pt x="328" y="657"/>
                    </a:lnTo>
                    <a:lnTo>
                      <a:pt x="294" y="655"/>
                    </a:lnTo>
                    <a:lnTo>
                      <a:pt x="262" y="651"/>
                    </a:lnTo>
                    <a:lnTo>
                      <a:pt x="230" y="642"/>
                    </a:lnTo>
                    <a:lnTo>
                      <a:pt x="200" y="631"/>
                    </a:lnTo>
                    <a:lnTo>
                      <a:pt x="171" y="617"/>
                    </a:lnTo>
                    <a:lnTo>
                      <a:pt x="144" y="601"/>
                    </a:lnTo>
                    <a:lnTo>
                      <a:pt x="115" y="577"/>
                    </a:lnTo>
                    <a:lnTo>
                      <a:pt x="87" y="552"/>
                    </a:lnTo>
                    <a:lnTo>
                      <a:pt x="63" y="523"/>
                    </a:lnTo>
                    <a:lnTo>
                      <a:pt x="42" y="491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3"/>
                    </a:lnTo>
                    <a:lnTo>
                      <a:pt x="0" y="328"/>
                    </a:lnTo>
                    <a:lnTo>
                      <a:pt x="2" y="295"/>
                    </a:lnTo>
                    <a:lnTo>
                      <a:pt x="7" y="262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4"/>
                    </a:lnTo>
                    <a:lnTo>
                      <a:pt x="166" y="43"/>
                    </a:lnTo>
                    <a:lnTo>
                      <a:pt x="200" y="27"/>
                    </a:lnTo>
                    <a:lnTo>
                      <a:pt x="241" y="12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05C0825-2281-4BA6-A73B-2646264C772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1075" y="4000500"/>
                <a:ext cx="79375" cy="80963"/>
              </a:xfrm>
              <a:custGeom>
                <a:avLst/>
                <a:gdLst>
                  <a:gd name="T0" fmla="*/ 311 w 656"/>
                  <a:gd name="T1" fmla="*/ 220 h 657"/>
                  <a:gd name="T2" fmla="*/ 280 w 656"/>
                  <a:gd name="T3" fmla="*/ 230 h 657"/>
                  <a:gd name="T4" fmla="*/ 251 w 656"/>
                  <a:gd name="T5" fmla="*/ 251 h 657"/>
                  <a:gd name="T6" fmla="*/ 227 w 656"/>
                  <a:gd name="T7" fmla="*/ 286 h 657"/>
                  <a:gd name="T8" fmla="*/ 218 w 656"/>
                  <a:gd name="T9" fmla="*/ 329 h 657"/>
                  <a:gd name="T10" fmla="*/ 223 w 656"/>
                  <a:gd name="T11" fmla="*/ 361 h 657"/>
                  <a:gd name="T12" fmla="*/ 238 w 656"/>
                  <a:gd name="T13" fmla="*/ 390 h 657"/>
                  <a:gd name="T14" fmla="*/ 267 w 656"/>
                  <a:gd name="T15" fmla="*/ 419 h 657"/>
                  <a:gd name="T16" fmla="*/ 306 w 656"/>
                  <a:gd name="T17" fmla="*/ 435 h 657"/>
                  <a:gd name="T18" fmla="*/ 345 w 656"/>
                  <a:gd name="T19" fmla="*/ 436 h 657"/>
                  <a:gd name="T20" fmla="*/ 376 w 656"/>
                  <a:gd name="T21" fmla="*/ 427 h 657"/>
                  <a:gd name="T22" fmla="*/ 405 w 656"/>
                  <a:gd name="T23" fmla="*/ 406 h 657"/>
                  <a:gd name="T24" fmla="*/ 429 w 656"/>
                  <a:gd name="T25" fmla="*/ 371 h 657"/>
                  <a:gd name="T26" fmla="*/ 438 w 656"/>
                  <a:gd name="T27" fmla="*/ 329 h 657"/>
                  <a:gd name="T28" fmla="*/ 433 w 656"/>
                  <a:gd name="T29" fmla="*/ 296 h 657"/>
                  <a:gd name="T30" fmla="*/ 418 w 656"/>
                  <a:gd name="T31" fmla="*/ 268 h 657"/>
                  <a:gd name="T32" fmla="*/ 389 w 656"/>
                  <a:gd name="T33" fmla="*/ 237 h 657"/>
                  <a:gd name="T34" fmla="*/ 350 w 656"/>
                  <a:gd name="T35" fmla="*/ 221 h 657"/>
                  <a:gd name="T36" fmla="*/ 328 w 656"/>
                  <a:gd name="T37" fmla="*/ 0 h 657"/>
                  <a:gd name="T38" fmla="*/ 394 w 656"/>
                  <a:gd name="T39" fmla="*/ 6 h 657"/>
                  <a:gd name="T40" fmla="*/ 456 w 656"/>
                  <a:gd name="T41" fmla="*/ 26 h 657"/>
                  <a:gd name="T42" fmla="*/ 512 w 656"/>
                  <a:gd name="T43" fmla="*/ 56 h 657"/>
                  <a:gd name="T44" fmla="*/ 569 w 656"/>
                  <a:gd name="T45" fmla="*/ 105 h 657"/>
                  <a:gd name="T46" fmla="*/ 614 w 656"/>
                  <a:gd name="T47" fmla="*/ 166 h 657"/>
                  <a:gd name="T48" fmla="*/ 644 w 656"/>
                  <a:gd name="T49" fmla="*/ 241 h 657"/>
                  <a:gd name="T50" fmla="*/ 656 w 656"/>
                  <a:gd name="T51" fmla="*/ 329 h 657"/>
                  <a:gd name="T52" fmla="*/ 649 w 656"/>
                  <a:gd name="T53" fmla="*/ 395 h 657"/>
                  <a:gd name="T54" fmla="*/ 630 w 656"/>
                  <a:gd name="T55" fmla="*/ 457 h 657"/>
                  <a:gd name="T56" fmla="*/ 600 w 656"/>
                  <a:gd name="T57" fmla="*/ 512 h 657"/>
                  <a:gd name="T58" fmla="*/ 551 w 656"/>
                  <a:gd name="T59" fmla="*/ 569 h 657"/>
                  <a:gd name="T60" fmla="*/ 490 w 656"/>
                  <a:gd name="T61" fmla="*/ 614 h 657"/>
                  <a:gd name="T62" fmla="*/ 415 w 656"/>
                  <a:gd name="T63" fmla="*/ 645 h 657"/>
                  <a:gd name="T64" fmla="*/ 327 w 656"/>
                  <a:gd name="T65" fmla="*/ 657 h 657"/>
                  <a:gd name="T66" fmla="*/ 262 w 656"/>
                  <a:gd name="T67" fmla="*/ 650 h 657"/>
                  <a:gd name="T68" fmla="*/ 200 w 656"/>
                  <a:gd name="T69" fmla="*/ 630 h 657"/>
                  <a:gd name="T70" fmla="*/ 144 w 656"/>
                  <a:gd name="T71" fmla="*/ 600 h 657"/>
                  <a:gd name="T72" fmla="*/ 87 w 656"/>
                  <a:gd name="T73" fmla="*/ 551 h 657"/>
                  <a:gd name="T74" fmla="*/ 42 w 656"/>
                  <a:gd name="T75" fmla="*/ 490 h 657"/>
                  <a:gd name="T76" fmla="*/ 12 w 656"/>
                  <a:gd name="T77" fmla="*/ 416 h 657"/>
                  <a:gd name="T78" fmla="*/ 0 w 656"/>
                  <a:gd name="T79" fmla="*/ 329 h 657"/>
                  <a:gd name="T80" fmla="*/ 7 w 656"/>
                  <a:gd name="T81" fmla="*/ 263 h 657"/>
                  <a:gd name="T82" fmla="*/ 26 w 656"/>
                  <a:gd name="T83" fmla="*/ 201 h 657"/>
                  <a:gd name="T84" fmla="*/ 56 w 656"/>
                  <a:gd name="T85" fmla="*/ 145 h 657"/>
                  <a:gd name="T86" fmla="*/ 105 w 656"/>
                  <a:gd name="T87" fmla="*/ 88 h 657"/>
                  <a:gd name="T88" fmla="*/ 166 w 656"/>
                  <a:gd name="T89" fmla="*/ 43 h 657"/>
                  <a:gd name="T90" fmla="*/ 241 w 656"/>
                  <a:gd name="T91" fmla="*/ 11 h 657"/>
                  <a:gd name="T92" fmla="*/ 328 w 656"/>
                  <a:gd name="T93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11" y="220"/>
                    </a:lnTo>
                    <a:lnTo>
                      <a:pt x="295" y="224"/>
                    </a:lnTo>
                    <a:lnTo>
                      <a:pt x="280" y="230"/>
                    </a:lnTo>
                    <a:lnTo>
                      <a:pt x="267" y="237"/>
                    </a:lnTo>
                    <a:lnTo>
                      <a:pt x="251" y="251"/>
                    </a:lnTo>
                    <a:lnTo>
                      <a:pt x="238" y="268"/>
                    </a:lnTo>
                    <a:lnTo>
                      <a:pt x="227" y="286"/>
                    </a:lnTo>
                    <a:lnTo>
                      <a:pt x="221" y="306"/>
                    </a:lnTo>
                    <a:lnTo>
                      <a:pt x="218" y="329"/>
                    </a:lnTo>
                    <a:lnTo>
                      <a:pt x="220" y="345"/>
                    </a:lnTo>
                    <a:lnTo>
                      <a:pt x="223" y="361"/>
                    </a:lnTo>
                    <a:lnTo>
                      <a:pt x="229" y="375"/>
                    </a:lnTo>
                    <a:lnTo>
                      <a:pt x="238" y="390"/>
                    </a:lnTo>
                    <a:lnTo>
                      <a:pt x="251" y="406"/>
                    </a:lnTo>
                    <a:lnTo>
                      <a:pt x="267" y="419"/>
                    </a:lnTo>
                    <a:lnTo>
                      <a:pt x="285" y="429"/>
                    </a:lnTo>
                    <a:lnTo>
                      <a:pt x="306" y="435"/>
                    </a:lnTo>
                    <a:lnTo>
                      <a:pt x="328" y="437"/>
                    </a:lnTo>
                    <a:lnTo>
                      <a:pt x="345" y="436"/>
                    </a:lnTo>
                    <a:lnTo>
                      <a:pt x="361" y="433"/>
                    </a:lnTo>
                    <a:lnTo>
                      <a:pt x="376" y="427"/>
                    </a:lnTo>
                    <a:lnTo>
                      <a:pt x="389" y="419"/>
                    </a:lnTo>
                    <a:lnTo>
                      <a:pt x="405" y="406"/>
                    </a:lnTo>
                    <a:lnTo>
                      <a:pt x="418" y="390"/>
                    </a:lnTo>
                    <a:lnTo>
                      <a:pt x="429" y="371"/>
                    </a:lnTo>
                    <a:lnTo>
                      <a:pt x="435" y="351"/>
                    </a:lnTo>
                    <a:lnTo>
                      <a:pt x="438" y="329"/>
                    </a:lnTo>
                    <a:lnTo>
                      <a:pt x="436" y="311"/>
                    </a:lnTo>
                    <a:lnTo>
                      <a:pt x="433" y="296"/>
                    </a:lnTo>
                    <a:lnTo>
                      <a:pt x="427" y="281"/>
                    </a:lnTo>
                    <a:lnTo>
                      <a:pt x="418" y="268"/>
                    </a:lnTo>
                    <a:lnTo>
                      <a:pt x="405" y="251"/>
                    </a:lnTo>
                    <a:lnTo>
                      <a:pt x="389" y="237"/>
                    </a:lnTo>
                    <a:lnTo>
                      <a:pt x="371" y="228"/>
                    </a:lnTo>
                    <a:lnTo>
                      <a:pt x="350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62" y="2"/>
                    </a:lnTo>
                    <a:lnTo>
                      <a:pt x="394" y="6"/>
                    </a:lnTo>
                    <a:lnTo>
                      <a:pt x="426" y="15"/>
                    </a:lnTo>
                    <a:lnTo>
                      <a:pt x="456" y="26"/>
                    </a:lnTo>
                    <a:lnTo>
                      <a:pt x="485" y="40"/>
                    </a:lnTo>
                    <a:lnTo>
                      <a:pt x="512" y="56"/>
                    </a:lnTo>
                    <a:lnTo>
                      <a:pt x="541" y="80"/>
                    </a:lnTo>
                    <a:lnTo>
                      <a:pt x="569" y="105"/>
                    </a:lnTo>
                    <a:lnTo>
                      <a:pt x="593" y="134"/>
                    </a:lnTo>
                    <a:lnTo>
                      <a:pt x="614" y="166"/>
                    </a:lnTo>
                    <a:lnTo>
                      <a:pt x="630" y="201"/>
                    </a:lnTo>
                    <a:lnTo>
                      <a:pt x="644" y="241"/>
                    </a:lnTo>
                    <a:lnTo>
                      <a:pt x="653" y="284"/>
                    </a:lnTo>
                    <a:lnTo>
                      <a:pt x="656" y="329"/>
                    </a:lnTo>
                    <a:lnTo>
                      <a:pt x="654" y="362"/>
                    </a:lnTo>
                    <a:lnTo>
                      <a:pt x="649" y="395"/>
                    </a:lnTo>
                    <a:lnTo>
                      <a:pt x="641" y="426"/>
                    </a:lnTo>
                    <a:lnTo>
                      <a:pt x="630" y="457"/>
                    </a:lnTo>
                    <a:lnTo>
                      <a:pt x="617" y="485"/>
                    </a:lnTo>
                    <a:lnTo>
                      <a:pt x="600" y="512"/>
                    </a:lnTo>
                    <a:lnTo>
                      <a:pt x="577" y="542"/>
                    </a:lnTo>
                    <a:lnTo>
                      <a:pt x="551" y="569"/>
                    </a:lnTo>
                    <a:lnTo>
                      <a:pt x="522" y="593"/>
                    </a:lnTo>
                    <a:lnTo>
                      <a:pt x="490" y="614"/>
                    </a:lnTo>
                    <a:lnTo>
                      <a:pt x="456" y="630"/>
                    </a:lnTo>
                    <a:lnTo>
                      <a:pt x="415" y="645"/>
                    </a:lnTo>
                    <a:lnTo>
                      <a:pt x="373" y="654"/>
                    </a:lnTo>
                    <a:lnTo>
                      <a:pt x="327" y="657"/>
                    </a:lnTo>
                    <a:lnTo>
                      <a:pt x="294" y="655"/>
                    </a:lnTo>
                    <a:lnTo>
                      <a:pt x="262" y="650"/>
                    </a:lnTo>
                    <a:lnTo>
                      <a:pt x="230" y="642"/>
                    </a:lnTo>
                    <a:lnTo>
                      <a:pt x="200" y="630"/>
                    </a:lnTo>
                    <a:lnTo>
                      <a:pt x="171" y="617"/>
                    </a:lnTo>
                    <a:lnTo>
                      <a:pt x="144" y="600"/>
                    </a:lnTo>
                    <a:lnTo>
                      <a:pt x="115" y="578"/>
                    </a:lnTo>
                    <a:lnTo>
                      <a:pt x="87" y="551"/>
                    </a:lnTo>
                    <a:lnTo>
                      <a:pt x="63" y="523"/>
                    </a:lnTo>
                    <a:lnTo>
                      <a:pt x="42" y="490"/>
                    </a:lnTo>
                    <a:lnTo>
                      <a:pt x="26" y="456"/>
                    </a:lnTo>
                    <a:lnTo>
                      <a:pt x="12" y="416"/>
                    </a:lnTo>
                    <a:lnTo>
                      <a:pt x="3" y="372"/>
                    </a:lnTo>
                    <a:lnTo>
                      <a:pt x="0" y="329"/>
                    </a:lnTo>
                    <a:lnTo>
                      <a:pt x="2" y="295"/>
                    </a:lnTo>
                    <a:lnTo>
                      <a:pt x="7" y="263"/>
                    </a:lnTo>
                    <a:lnTo>
                      <a:pt x="15" y="231"/>
                    </a:lnTo>
                    <a:lnTo>
                      <a:pt x="26" y="201"/>
                    </a:lnTo>
                    <a:lnTo>
                      <a:pt x="39" y="172"/>
                    </a:lnTo>
                    <a:lnTo>
                      <a:pt x="56" y="145"/>
                    </a:lnTo>
                    <a:lnTo>
                      <a:pt x="79" y="115"/>
                    </a:lnTo>
                    <a:lnTo>
                      <a:pt x="105" y="88"/>
                    </a:lnTo>
                    <a:lnTo>
                      <a:pt x="134" y="63"/>
                    </a:lnTo>
                    <a:lnTo>
                      <a:pt x="166" y="43"/>
                    </a:lnTo>
                    <a:lnTo>
                      <a:pt x="200" y="26"/>
                    </a:lnTo>
                    <a:lnTo>
                      <a:pt x="241" y="11"/>
                    </a:lnTo>
                    <a:lnTo>
                      <a:pt x="283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8E6BB5F6-F3B5-4217-89C8-226C14907416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5546662"/>
            <a:ext cx="396000" cy="396000"/>
            <a:chOff x="3550015" y="5550787"/>
            <a:chExt cx="396000" cy="396000"/>
          </a:xfrm>
        </p:grpSpPr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B796C6CC-588E-4E41-BE4F-218AA502FE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0015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5" name="Group 118">
              <a:extLst>
                <a:ext uri="{FF2B5EF4-FFF2-40B4-BE49-F238E27FC236}">
                  <a16:creationId xmlns:a16="http://schemas.microsoft.com/office/drawing/2014/main" id="{F1446016-0865-40C3-80BB-F42D33E292F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663415" y="5708201"/>
              <a:ext cx="169200" cy="81172"/>
              <a:chOff x="1497013" y="3903663"/>
              <a:chExt cx="241300" cy="106363"/>
            </a:xfrm>
            <a:solidFill>
              <a:schemeClr val="bg1"/>
            </a:solidFill>
          </p:grpSpPr>
          <p:sp>
            <p:nvSpPr>
              <p:cNvPr id="66" name="Freeform 28">
                <a:extLst>
                  <a:ext uri="{FF2B5EF4-FFF2-40B4-BE49-F238E27FC236}">
                    <a16:creationId xmlns:a16="http://schemas.microsoft.com/office/drawing/2014/main" id="{8E3ACECD-D236-440F-B804-42593A850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83038"/>
                <a:ext cx="241300" cy="26988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3 h 219"/>
                  <a:gd name="T6" fmla="*/ 1908 w 1970"/>
                  <a:gd name="T7" fmla="*/ 11 h 219"/>
                  <a:gd name="T8" fmla="*/ 1928 w 1970"/>
                  <a:gd name="T9" fmla="*/ 24 h 219"/>
                  <a:gd name="T10" fmla="*/ 1945 w 1970"/>
                  <a:gd name="T11" fmla="*/ 42 h 219"/>
                  <a:gd name="T12" fmla="*/ 1959 w 1970"/>
                  <a:gd name="T13" fmla="*/ 62 h 219"/>
                  <a:gd name="T14" fmla="*/ 1967 w 1970"/>
                  <a:gd name="T15" fmla="*/ 84 h 219"/>
                  <a:gd name="T16" fmla="*/ 1970 w 1970"/>
                  <a:gd name="T17" fmla="*/ 110 h 219"/>
                  <a:gd name="T18" fmla="*/ 1967 w 1970"/>
                  <a:gd name="T19" fmla="*/ 135 h 219"/>
                  <a:gd name="T20" fmla="*/ 1959 w 1970"/>
                  <a:gd name="T21" fmla="*/ 157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7 h 219"/>
                  <a:gd name="T44" fmla="*/ 3 w 1970"/>
                  <a:gd name="T45" fmla="*/ 135 h 219"/>
                  <a:gd name="T46" fmla="*/ 0 w 1970"/>
                  <a:gd name="T47" fmla="*/ 110 h 219"/>
                  <a:gd name="T48" fmla="*/ 3 w 1970"/>
                  <a:gd name="T49" fmla="*/ 84 h 219"/>
                  <a:gd name="T50" fmla="*/ 11 w 1970"/>
                  <a:gd name="T51" fmla="*/ 62 h 219"/>
                  <a:gd name="T52" fmla="*/ 25 w 1970"/>
                  <a:gd name="T53" fmla="*/ 42 h 219"/>
                  <a:gd name="T54" fmla="*/ 42 w 1970"/>
                  <a:gd name="T55" fmla="*/ 24 h 219"/>
                  <a:gd name="T56" fmla="*/ 62 w 1970"/>
                  <a:gd name="T57" fmla="*/ 11 h 219"/>
                  <a:gd name="T58" fmla="*/ 85 w 1970"/>
                  <a:gd name="T59" fmla="*/ 3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3"/>
                    </a:lnTo>
                    <a:lnTo>
                      <a:pt x="1908" y="11"/>
                    </a:lnTo>
                    <a:lnTo>
                      <a:pt x="1928" y="24"/>
                    </a:lnTo>
                    <a:lnTo>
                      <a:pt x="1945" y="42"/>
                    </a:lnTo>
                    <a:lnTo>
                      <a:pt x="1959" y="62"/>
                    </a:lnTo>
                    <a:lnTo>
                      <a:pt x="1967" y="84"/>
                    </a:lnTo>
                    <a:lnTo>
                      <a:pt x="1970" y="110"/>
                    </a:lnTo>
                    <a:lnTo>
                      <a:pt x="1967" y="135"/>
                    </a:lnTo>
                    <a:lnTo>
                      <a:pt x="1959" y="157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7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4"/>
                    </a:lnTo>
                    <a:lnTo>
                      <a:pt x="11" y="62"/>
                    </a:lnTo>
                    <a:lnTo>
                      <a:pt x="25" y="42"/>
                    </a:lnTo>
                    <a:lnTo>
                      <a:pt x="42" y="24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29">
                <a:extLst>
                  <a:ext uri="{FF2B5EF4-FFF2-40B4-BE49-F238E27FC236}">
                    <a16:creationId xmlns:a16="http://schemas.microsoft.com/office/drawing/2014/main" id="{97CB8D16-9CC4-4B91-B46D-22EA81FBD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013" y="3903663"/>
                <a:ext cx="241300" cy="25400"/>
              </a:xfrm>
              <a:custGeom>
                <a:avLst/>
                <a:gdLst>
                  <a:gd name="T0" fmla="*/ 110 w 1970"/>
                  <a:gd name="T1" fmla="*/ 0 h 219"/>
                  <a:gd name="T2" fmla="*/ 1860 w 1970"/>
                  <a:gd name="T3" fmla="*/ 0 h 219"/>
                  <a:gd name="T4" fmla="*/ 1885 w 1970"/>
                  <a:gd name="T5" fmla="*/ 2 h 219"/>
                  <a:gd name="T6" fmla="*/ 1908 w 1970"/>
                  <a:gd name="T7" fmla="*/ 12 h 219"/>
                  <a:gd name="T8" fmla="*/ 1928 w 1970"/>
                  <a:gd name="T9" fmla="*/ 24 h 219"/>
                  <a:gd name="T10" fmla="*/ 1945 w 1970"/>
                  <a:gd name="T11" fmla="*/ 41 h 219"/>
                  <a:gd name="T12" fmla="*/ 1959 w 1970"/>
                  <a:gd name="T13" fmla="*/ 61 h 219"/>
                  <a:gd name="T14" fmla="*/ 1967 w 1970"/>
                  <a:gd name="T15" fmla="*/ 85 h 219"/>
                  <a:gd name="T16" fmla="*/ 1970 w 1970"/>
                  <a:gd name="T17" fmla="*/ 109 h 219"/>
                  <a:gd name="T18" fmla="*/ 1967 w 1970"/>
                  <a:gd name="T19" fmla="*/ 135 h 219"/>
                  <a:gd name="T20" fmla="*/ 1959 w 1970"/>
                  <a:gd name="T21" fmla="*/ 158 h 219"/>
                  <a:gd name="T22" fmla="*/ 1945 w 1970"/>
                  <a:gd name="T23" fmla="*/ 178 h 219"/>
                  <a:gd name="T24" fmla="*/ 1928 w 1970"/>
                  <a:gd name="T25" fmla="*/ 195 h 219"/>
                  <a:gd name="T26" fmla="*/ 1908 w 1970"/>
                  <a:gd name="T27" fmla="*/ 208 h 219"/>
                  <a:gd name="T28" fmla="*/ 1885 w 1970"/>
                  <a:gd name="T29" fmla="*/ 216 h 219"/>
                  <a:gd name="T30" fmla="*/ 1860 w 1970"/>
                  <a:gd name="T31" fmla="*/ 219 h 219"/>
                  <a:gd name="T32" fmla="*/ 110 w 1970"/>
                  <a:gd name="T33" fmla="*/ 219 h 219"/>
                  <a:gd name="T34" fmla="*/ 85 w 1970"/>
                  <a:gd name="T35" fmla="*/ 216 h 219"/>
                  <a:gd name="T36" fmla="*/ 62 w 1970"/>
                  <a:gd name="T37" fmla="*/ 208 h 219"/>
                  <a:gd name="T38" fmla="*/ 42 w 1970"/>
                  <a:gd name="T39" fmla="*/ 195 h 219"/>
                  <a:gd name="T40" fmla="*/ 25 w 1970"/>
                  <a:gd name="T41" fmla="*/ 178 h 219"/>
                  <a:gd name="T42" fmla="*/ 11 w 1970"/>
                  <a:gd name="T43" fmla="*/ 158 h 219"/>
                  <a:gd name="T44" fmla="*/ 3 w 1970"/>
                  <a:gd name="T45" fmla="*/ 135 h 219"/>
                  <a:gd name="T46" fmla="*/ 0 w 1970"/>
                  <a:gd name="T47" fmla="*/ 109 h 219"/>
                  <a:gd name="T48" fmla="*/ 3 w 1970"/>
                  <a:gd name="T49" fmla="*/ 85 h 219"/>
                  <a:gd name="T50" fmla="*/ 11 w 1970"/>
                  <a:gd name="T51" fmla="*/ 61 h 219"/>
                  <a:gd name="T52" fmla="*/ 25 w 1970"/>
                  <a:gd name="T53" fmla="*/ 41 h 219"/>
                  <a:gd name="T54" fmla="*/ 42 w 1970"/>
                  <a:gd name="T55" fmla="*/ 24 h 219"/>
                  <a:gd name="T56" fmla="*/ 62 w 1970"/>
                  <a:gd name="T57" fmla="*/ 12 h 219"/>
                  <a:gd name="T58" fmla="*/ 85 w 1970"/>
                  <a:gd name="T59" fmla="*/ 2 h 219"/>
                  <a:gd name="T60" fmla="*/ 110 w 1970"/>
                  <a:gd name="T61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0" h="219">
                    <a:moveTo>
                      <a:pt x="110" y="0"/>
                    </a:moveTo>
                    <a:lnTo>
                      <a:pt x="1860" y="0"/>
                    </a:lnTo>
                    <a:lnTo>
                      <a:pt x="1885" y="2"/>
                    </a:lnTo>
                    <a:lnTo>
                      <a:pt x="1908" y="12"/>
                    </a:lnTo>
                    <a:lnTo>
                      <a:pt x="1928" y="24"/>
                    </a:lnTo>
                    <a:lnTo>
                      <a:pt x="1945" y="41"/>
                    </a:lnTo>
                    <a:lnTo>
                      <a:pt x="1959" y="61"/>
                    </a:lnTo>
                    <a:lnTo>
                      <a:pt x="1967" y="85"/>
                    </a:lnTo>
                    <a:lnTo>
                      <a:pt x="1970" y="109"/>
                    </a:lnTo>
                    <a:lnTo>
                      <a:pt x="1967" y="135"/>
                    </a:lnTo>
                    <a:lnTo>
                      <a:pt x="1959" y="158"/>
                    </a:lnTo>
                    <a:lnTo>
                      <a:pt x="1945" y="178"/>
                    </a:lnTo>
                    <a:lnTo>
                      <a:pt x="1928" y="195"/>
                    </a:lnTo>
                    <a:lnTo>
                      <a:pt x="1908" y="208"/>
                    </a:lnTo>
                    <a:lnTo>
                      <a:pt x="1885" y="216"/>
                    </a:lnTo>
                    <a:lnTo>
                      <a:pt x="1860" y="219"/>
                    </a:lnTo>
                    <a:lnTo>
                      <a:pt x="110" y="219"/>
                    </a:lnTo>
                    <a:lnTo>
                      <a:pt x="85" y="216"/>
                    </a:lnTo>
                    <a:lnTo>
                      <a:pt x="62" y="208"/>
                    </a:lnTo>
                    <a:lnTo>
                      <a:pt x="42" y="195"/>
                    </a:lnTo>
                    <a:lnTo>
                      <a:pt x="25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09"/>
                    </a:lnTo>
                    <a:lnTo>
                      <a:pt x="3" y="85"/>
                    </a:lnTo>
                    <a:lnTo>
                      <a:pt x="11" y="61"/>
                    </a:lnTo>
                    <a:lnTo>
                      <a:pt x="25" y="41"/>
                    </a:lnTo>
                    <a:lnTo>
                      <a:pt x="42" y="24"/>
                    </a:lnTo>
                    <a:lnTo>
                      <a:pt x="62" y="12"/>
                    </a:lnTo>
                    <a:lnTo>
                      <a:pt x="85" y="2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C60C8AAC-E2CA-458A-919F-EAC30224EED1}"/>
              </a:ext>
            </a:extLst>
          </p:cNvPr>
          <p:cNvGrpSpPr>
            <a:grpSpLocks/>
          </p:cNvGrpSpPr>
          <p:nvPr/>
        </p:nvGrpSpPr>
        <p:grpSpPr bwMode="gray">
          <a:xfrm>
            <a:off x="1208211" y="5546662"/>
            <a:ext cx="396000" cy="396000"/>
            <a:chOff x="1208211" y="5550787"/>
            <a:chExt cx="396000" cy="396000"/>
          </a:xfrm>
        </p:grpSpPr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4D068127-A520-4328-BEB1-64417AE45A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82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C2E4E083-D84F-4202-A49C-0C87E8CD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1611" y="5737987"/>
              <a:ext cx="169200" cy="21600"/>
            </a:xfrm>
            <a:custGeom>
              <a:avLst/>
              <a:gdLst>
                <a:gd name="T0" fmla="*/ 110 w 1977"/>
                <a:gd name="T1" fmla="*/ 0 h 220"/>
                <a:gd name="T2" fmla="*/ 1867 w 1977"/>
                <a:gd name="T3" fmla="*/ 0 h 220"/>
                <a:gd name="T4" fmla="*/ 1892 w 1977"/>
                <a:gd name="T5" fmla="*/ 3 h 220"/>
                <a:gd name="T6" fmla="*/ 1915 w 1977"/>
                <a:gd name="T7" fmla="*/ 11 h 220"/>
                <a:gd name="T8" fmla="*/ 1935 w 1977"/>
                <a:gd name="T9" fmla="*/ 25 h 220"/>
                <a:gd name="T10" fmla="*/ 1953 w 1977"/>
                <a:gd name="T11" fmla="*/ 42 h 220"/>
                <a:gd name="T12" fmla="*/ 1966 w 1977"/>
                <a:gd name="T13" fmla="*/ 62 h 220"/>
                <a:gd name="T14" fmla="*/ 1974 w 1977"/>
                <a:gd name="T15" fmla="*/ 85 h 220"/>
                <a:gd name="T16" fmla="*/ 1977 w 1977"/>
                <a:gd name="T17" fmla="*/ 110 h 220"/>
                <a:gd name="T18" fmla="*/ 1974 w 1977"/>
                <a:gd name="T19" fmla="*/ 135 h 220"/>
                <a:gd name="T20" fmla="*/ 1966 w 1977"/>
                <a:gd name="T21" fmla="*/ 158 h 220"/>
                <a:gd name="T22" fmla="*/ 1953 w 1977"/>
                <a:gd name="T23" fmla="*/ 178 h 220"/>
                <a:gd name="T24" fmla="*/ 1935 w 1977"/>
                <a:gd name="T25" fmla="*/ 195 h 220"/>
                <a:gd name="T26" fmla="*/ 1915 w 1977"/>
                <a:gd name="T27" fmla="*/ 209 h 220"/>
                <a:gd name="T28" fmla="*/ 1892 w 1977"/>
                <a:gd name="T29" fmla="*/ 217 h 220"/>
                <a:gd name="T30" fmla="*/ 1867 w 1977"/>
                <a:gd name="T31" fmla="*/ 220 h 220"/>
                <a:gd name="T32" fmla="*/ 110 w 1977"/>
                <a:gd name="T33" fmla="*/ 220 h 220"/>
                <a:gd name="T34" fmla="*/ 85 w 1977"/>
                <a:gd name="T35" fmla="*/ 217 h 220"/>
                <a:gd name="T36" fmla="*/ 62 w 1977"/>
                <a:gd name="T37" fmla="*/ 209 h 220"/>
                <a:gd name="T38" fmla="*/ 42 w 1977"/>
                <a:gd name="T39" fmla="*/ 195 h 220"/>
                <a:gd name="T40" fmla="*/ 24 w 1977"/>
                <a:gd name="T41" fmla="*/ 178 h 220"/>
                <a:gd name="T42" fmla="*/ 11 w 1977"/>
                <a:gd name="T43" fmla="*/ 158 h 220"/>
                <a:gd name="T44" fmla="*/ 3 w 1977"/>
                <a:gd name="T45" fmla="*/ 135 h 220"/>
                <a:gd name="T46" fmla="*/ 0 w 1977"/>
                <a:gd name="T47" fmla="*/ 110 h 220"/>
                <a:gd name="T48" fmla="*/ 3 w 1977"/>
                <a:gd name="T49" fmla="*/ 85 h 220"/>
                <a:gd name="T50" fmla="*/ 11 w 1977"/>
                <a:gd name="T51" fmla="*/ 62 h 220"/>
                <a:gd name="T52" fmla="*/ 24 w 1977"/>
                <a:gd name="T53" fmla="*/ 42 h 220"/>
                <a:gd name="T54" fmla="*/ 42 w 1977"/>
                <a:gd name="T55" fmla="*/ 25 h 220"/>
                <a:gd name="T56" fmla="*/ 62 w 1977"/>
                <a:gd name="T57" fmla="*/ 11 h 220"/>
                <a:gd name="T58" fmla="*/ 85 w 1977"/>
                <a:gd name="T59" fmla="*/ 3 h 220"/>
                <a:gd name="T60" fmla="*/ 110 w 1977"/>
                <a:gd name="T6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77" h="220">
                  <a:moveTo>
                    <a:pt x="110" y="0"/>
                  </a:moveTo>
                  <a:lnTo>
                    <a:pt x="1867" y="0"/>
                  </a:lnTo>
                  <a:lnTo>
                    <a:pt x="1892" y="3"/>
                  </a:lnTo>
                  <a:lnTo>
                    <a:pt x="1915" y="11"/>
                  </a:lnTo>
                  <a:lnTo>
                    <a:pt x="1935" y="25"/>
                  </a:lnTo>
                  <a:lnTo>
                    <a:pt x="1953" y="42"/>
                  </a:lnTo>
                  <a:lnTo>
                    <a:pt x="1966" y="62"/>
                  </a:lnTo>
                  <a:lnTo>
                    <a:pt x="1974" y="85"/>
                  </a:lnTo>
                  <a:lnTo>
                    <a:pt x="1977" y="110"/>
                  </a:lnTo>
                  <a:lnTo>
                    <a:pt x="1974" y="135"/>
                  </a:lnTo>
                  <a:lnTo>
                    <a:pt x="1966" y="158"/>
                  </a:lnTo>
                  <a:lnTo>
                    <a:pt x="1953" y="178"/>
                  </a:lnTo>
                  <a:lnTo>
                    <a:pt x="1935" y="195"/>
                  </a:lnTo>
                  <a:lnTo>
                    <a:pt x="1915" y="209"/>
                  </a:lnTo>
                  <a:lnTo>
                    <a:pt x="1892" y="217"/>
                  </a:lnTo>
                  <a:lnTo>
                    <a:pt x="1867" y="220"/>
                  </a:lnTo>
                  <a:lnTo>
                    <a:pt x="110" y="220"/>
                  </a:lnTo>
                  <a:lnTo>
                    <a:pt x="85" y="217"/>
                  </a:lnTo>
                  <a:lnTo>
                    <a:pt x="62" y="209"/>
                  </a:lnTo>
                  <a:lnTo>
                    <a:pt x="42" y="195"/>
                  </a:lnTo>
                  <a:lnTo>
                    <a:pt x="24" y="178"/>
                  </a:lnTo>
                  <a:lnTo>
                    <a:pt x="11" y="158"/>
                  </a:lnTo>
                  <a:lnTo>
                    <a:pt x="3" y="135"/>
                  </a:lnTo>
                  <a:lnTo>
                    <a:pt x="0" y="110"/>
                  </a:lnTo>
                  <a:lnTo>
                    <a:pt x="3" y="85"/>
                  </a:lnTo>
                  <a:lnTo>
                    <a:pt x="11" y="62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2" y="11"/>
                  </a:lnTo>
                  <a:lnTo>
                    <a:pt x="85" y="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1A659AD5-73F2-4F8A-84A0-6E43A2CA5E99}"/>
              </a:ext>
            </a:extLst>
          </p:cNvPr>
          <p:cNvGrpSpPr>
            <a:grpSpLocks/>
          </p:cNvGrpSpPr>
          <p:nvPr/>
        </p:nvGrpSpPr>
        <p:grpSpPr bwMode="gray">
          <a:xfrm>
            <a:off x="1796341" y="5546662"/>
            <a:ext cx="396000" cy="396000"/>
            <a:chOff x="1796341" y="5550787"/>
            <a:chExt cx="396000" cy="396000"/>
          </a:xfrm>
        </p:grpSpPr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637EE5C6-E2BB-44E0-B666-5D882D78E0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9634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4C6EEC73-FBC1-4478-A656-BC7F6609E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300" y="5680357"/>
              <a:ext cx="138081" cy="136860"/>
            </a:xfrm>
            <a:custGeom>
              <a:avLst/>
              <a:gdLst>
                <a:gd name="T0" fmla="*/ 131 w 1463"/>
                <a:gd name="T1" fmla="*/ 2 h 1458"/>
                <a:gd name="T2" fmla="*/ 170 w 1463"/>
                <a:gd name="T3" fmla="*/ 19 h 1458"/>
                <a:gd name="T4" fmla="*/ 732 w 1463"/>
                <a:gd name="T5" fmla="*/ 575 h 1458"/>
                <a:gd name="T6" fmla="*/ 1293 w 1463"/>
                <a:gd name="T7" fmla="*/ 19 h 1458"/>
                <a:gd name="T8" fmla="*/ 1332 w 1463"/>
                <a:gd name="T9" fmla="*/ 2 h 1458"/>
                <a:gd name="T10" fmla="*/ 1374 w 1463"/>
                <a:gd name="T11" fmla="*/ 2 h 1458"/>
                <a:gd name="T12" fmla="*/ 1413 w 1463"/>
                <a:gd name="T13" fmla="*/ 19 h 1458"/>
                <a:gd name="T14" fmla="*/ 1445 w 1463"/>
                <a:gd name="T15" fmla="*/ 50 h 1458"/>
                <a:gd name="T16" fmla="*/ 1461 w 1463"/>
                <a:gd name="T17" fmla="*/ 89 h 1458"/>
                <a:gd name="T18" fmla="*/ 1461 w 1463"/>
                <a:gd name="T19" fmla="*/ 130 h 1458"/>
                <a:gd name="T20" fmla="*/ 1445 w 1463"/>
                <a:gd name="T21" fmla="*/ 170 h 1458"/>
                <a:gd name="T22" fmla="*/ 887 w 1463"/>
                <a:gd name="T23" fmla="*/ 729 h 1458"/>
                <a:gd name="T24" fmla="*/ 1445 w 1463"/>
                <a:gd name="T25" fmla="*/ 1288 h 1458"/>
                <a:gd name="T26" fmla="*/ 1461 w 1463"/>
                <a:gd name="T27" fmla="*/ 1328 h 1458"/>
                <a:gd name="T28" fmla="*/ 1461 w 1463"/>
                <a:gd name="T29" fmla="*/ 1369 h 1458"/>
                <a:gd name="T30" fmla="*/ 1445 w 1463"/>
                <a:gd name="T31" fmla="*/ 1408 h 1458"/>
                <a:gd name="T32" fmla="*/ 1413 w 1463"/>
                <a:gd name="T33" fmla="*/ 1439 h 1458"/>
                <a:gd name="T34" fmla="*/ 1374 w 1463"/>
                <a:gd name="T35" fmla="*/ 1456 h 1458"/>
                <a:gd name="T36" fmla="*/ 1332 w 1463"/>
                <a:gd name="T37" fmla="*/ 1456 h 1458"/>
                <a:gd name="T38" fmla="*/ 1293 w 1463"/>
                <a:gd name="T39" fmla="*/ 1439 h 1458"/>
                <a:gd name="T40" fmla="*/ 732 w 1463"/>
                <a:gd name="T41" fmla="*/ 883 h 1458"/>
                <a:gd name="T42" fmla="*/ 170 w 1463"/>
                <a:gd name="T43" fmla="*/ 1439 h 1458"/>
                <a:gd name="T44" fmla="*/ 131 w 1463"/>
                <a:gd name="T45" fmla="*/ 1456 h 1458"/>
                <a:gd name="T46" fmla="*/ 89 w 1463"/>
                <a:gd name="T47" fmla="*/ 1456 h 1458"/>
                <a:gd name="T48" fmla="*/ 50 w 1463"/>
                <a:gd name="T49" fmla="*/ 1439 h 1458"/>
                <a:gd name="T50" fmla="*/ 18 w 1463"/>
                <a:gd name="T51" fmla="*/ 1408 h 1458"/>
                <a:gd name="T52" fmla="*/ 2 w 1463"/>
                <a:gd name="T53" fmla="*/ 1369 h 1458"/>
                <a:gd name="T54" fmla="*/ 2 w 1463"/>
                <a:gd name="T55" fmla="*/ 1328 h 1458"/>
                <a:gd name="T56" fmla="*/ 18 w 1463"/>
                <a:gd name="T57" fmla="*/ 1288 h 1458"/>
                <a:gd name="T58" fmla="*/ 576 w 1463"/>
                <a:gd name="T59" fmla="*/ 729 h 1458"/>
                <a:gd name="T60" fmla="*/ 18 w 1463"/>
                <a:gd name="T61" fmla="*/ 170 h 1458"/>
                <a:gd name="T62" fmla="*/ 2 w 1463"/>
                <a:gd name="T63" fmla="*/ 130 h 1458"/>
                <a:gd name="T64" fmla="*/ 2 w 1463"/>
                <a:gd name="T65" fmla="*/ 89 h 1458"/>
                <a:gd name="T66" fmla="*/ 18 w 1463"/>
                <a:gd name="T67" fmla="*/ 50 h 1458"/>
                <a:gd name="T68" fmla="*/ 50 w 1463"/>
                <a:gd name="T69" fmla="*/ 19 h 1458"/>
                <a:gd name="T70" fmla="*/ 89 w 1463"/>
                <a:gd name="T71" fmla="*/ 2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458">
                  <a:moveTo>
                    <a:pt x="110" y="0"/>
                  </a:moveTo>
                  <a:lnTo>
                    <a:pt x="131" y="2"/>
                  </a:lnTo>
                  <a:lnTo>
                    <a:pt x="151" y="8"/>
                  </a:lnTo>
                  <a:lnTo>
                    <a:pt x="170" y="19"/>
                  </a:lnTo>
                  <a:lnTo>
                    <a:pt x="188" y="33"/>
                  </a:lnTo>
                  <a:lnTo>
                    <a:pt x="732" y="575"/>
                  </a:lnTo>
                  <a:lnTo>
                    <a:pt x="1275" y="33"/>
                  </a:lnTo>
                  <a:lnTo>
                    <a:pt x="1293" y="19"/>
                  </a:lnTo>
                  <a:lnTo>
                    <a:pt x="1312" y="8"/>
                  </a:lnTo>
                  <a:lnTo>
                    <a:pt x="1332" y="2"/>
                  </a:lnTo>
                  <a:lnTo>
                    <a:pt x="1353" y="0"/>
                  </a:lnTo>
                  <a:lnTo>
                    <a:pt x="1374" y="2"/>
                  </a:lnTo>
                  <a:lnTo>
                    <a:pt x="1395" y="8"/>
                  </a:lnTo>
                  <a:lnTo>
                    <a:pt x="1413" y="19"/>
                  </a:lnTo>
                  <a:lnTo>
                    <a:pt x="1430" y="33"/>
                  </a:lnTo>
                  <a:lnTo>
                    <a:pt x="1445" y="50"/>
                  </a:lnTo>
                  <a:lnTo>
                    <a:pt x="1455" y="68"/>
                  </a:lnTo>
                  <a:lnTo>
                    <a:pt x="1461" y="89"/>
                  </a:lnTo>
                  <a:lnTo>
                    <a:pt x="1463" y="110"/>
                  </a:lnTo>
                  <a:lnTo>
                    <a:pt x="1461" y="130"/>
                  </a:lnTo>
                  <a:lnTo>
                    <a:pt x="1455" y="151"/>
                  </a:lnTo>
                  <a:lnTo>
                    <a:pt x="1445" y="170"/>
                  </a:lnTo>
                  <a:lnTo>
                    <a:pt x="1430" y="187"/>
                  </a:lnTo>
                  <a:lnTo>
                    <a:pt x="887" y="729"/>
                  </a:lnTo>
                  <a:lnTo>
                    <a:pt x="1430" y="1271"/>
                  </a:lnTo>
                  <a:lnTo>
                    <a:pt x="1445" y="1288"/>
                  </a:lnTo>
                  <a:lnTo>
                    <a:pt x="1455" y="1307"/>
                  </a:lnTo>
                  <a:lnTo>
                    <a:pt x="1461" y="1328"/>
                  </a:lnTo>
                  <a:lnTo>
                    <a:pt x="1463" y="1348"/>
                  </a:lnTo>
                  <a:lnTo>
                    <a:pt x="1461" y="1369"/>
                  </a:lnTo>
                  <a:lnTo>
                    <a:pt x="1455" y="1390"/>
                  </a:lnTo>
                  <a:lnTo>
                    <a:pt x="1445" y="1408"/>
                  </a:lnTo>
                  <a:lnTo>
                    <a:pt x="1430" y="1425"/>
                  </a:lnTo>
                  <a:lnTo>
                    <a:pt x="1413" y="1439"/>
                  </a:lnTo>
                  <a:lnTo>
                    <a:pt x="1395" y="1450"/>
                  </a:lnTo>
                  <a:lnTo>
                    <a:pt x="1374" y="1456"/>
                  </a:lnTo>
                  <a:lnTo>
                    <a:pt x="1353" y="1458"/>
                  </a:lnTo>
                  <a:lnTo>
                    <a:pt x="1332" y="1456"/>
                  </a:lnTo>
                  <a:lnTo>
                    <a:pt x="1312" y="1450"/>
                  </a:lnTo>
                  <a:lnTo>
                    <a:pt x="1293" y="1439"/>
                  </a:lnTo>
                  <a:lnTo>
                    <a:pt x="1275" y="1425"/>
                  </a:lnTo>
                  <a:lnTo>
                    <a:pt x="732" y="883"/>
                  </a:lnTo>
                  <a:lnTo>
                    <a:pt x="188" y="1425"/>
                  </a:lnTo>
                  <a:lnTo>
                    <a:pt x="170" y="1439"/>
                  </a:lnTo>
                  <a:lnTo>
                    <a:pt x="151" y="1450"/>
                  </a:lnTo>
                  <a:lnTo>
                    <a:pt x="131" y="1456"/>
                  </a:lnTo>
                  <a:lnTo>
                    <a:pt x="110" y="1458"/>
                  </a:lnTo>
                  <a:lnTo>
                    <a:pt x="89" y="1456"/>
                  </a:lnTo>
                  <a:lnTo>
                    <a:pt x="68" y="1450"/>
                  </a:lnTo>
                  <a:lnTo>
                    <a:pt x="50" y="1439"/>
                  </a:lnTo>
                  <a:lnTo>
                    <a:pt x="33" y="1425"/>
                  </a:lnTo>
                  <a:lnTo>
                    <a:pt x="18" y="1408"/>
                  </a:lnTo>
                  <a:lnTo>
                    <a:pt x="8" y="1390"/>
                  </a:lnTo>
                  <a:lnTo>
                    <a:pt x="2" y="1369"/>
                  </a:lnTo>
                  <a:lnTo>
                    <a:pt x="0" y="1348"/>
                  </a:lnTo>
                  <a:lnTo>
                    <a:pt x="2" y="1328"/>
                  </a:lnTo>
                  <a:lnTo>
                    <a:pt x="8" y="1307"/>
                  </a:lnTo>
                  <a:lnTo>
                    <a:pt x="18" y="1288"/>
                  </a:lnTo>
                  <a:lnTo>
                    <a:pt x="33" y="1271"/>
                  </a:lnTo>
                  <a:lnTo>
                    <a:pt x="576" y="729"/>
                  </a:lnTo>
                  <a:lnTo>
                    <a:pt x="33" y="187"/>
                  </a:lnTo>
                  <a:lnTo>
                    <a:pt x="18" y="170"/>
                  </a:lnTo>
                  <a:lnTo>
                    <a:pt x="8" y="151"/>
                  </a:lnTo>
                  <a:lnTo>
                    <a:pt x="2" y="130"/>
                  </a:lnTo>
                  <a:lnTo>
                    <a:pt x="0" y="110"/>
                  </a:lnTo>
                  <a:lnTo>
                    <a:pt x="2" y="89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3" y="33"/>
                  </a:lnTo>
                  <a:lnTo>
                    <a:pt x="50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CFCD793F-22E0-491E-8D0C-510C62D5B127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5546662"/>
            <a:ext cx="396000" cy="396000"/>
            <a:chOff x="2965411" y="5550787"/>
            <a:chExt cx="396000" cy="396000"/>
          </a:xfrm>
        </p:grpSpPr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A88A49A-FDEE-46D0-8F86-F1BF455B33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76" name="Group 117">
              <a:extLst>
                <a:ext uri="{FF2B5EF4-FFF2-40B4-BE49-F238E27FC236}">
                  <a16:creationId xmlns:a16="http://schemas.microsoft.com/office/drawing/2014/main" id="{E8F90DBA-787C-4F20-8D1D-B17F3C550EA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8324" y="5666155"/>
              <a:ext cx="130174" cy="165264"/>
              <a:chOff x="3498851" y="3840163"/>
              <a:chExt cx="182563" cy="231775"/>
            </a:xfrm>
            <a:solidFill>
              <a:schemeClr val="bg1"/>
            </a:solidFill>
          </p:grpSpPr>
          <p:sp>
            <p:nvSpPr>
              <p:cNvPr id="77" name="Freeform 47">
                <a:extLst>
                  <a:ext uri="{FF2B5EF4-FFF2-40B4-BE49-F238E27FC236}">
                    <a16:creationId xmlns:a16="http://schemas.microsoft.com/office/drawing/2014/main" id="{9CCD35A4-923B-43FA-9D4D-D06A9FBE40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8851" y="3871913"/>
                <a:ext cx="177800" cy="177800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8" name="Freeform 48">
                <a:extLst>
                  <a:ext uri="{FF2B5EF4-FFF2-40B4-BE49-F238E27FC236}">
                    <a16:creationId xmlns:a16="http://schemas.microsoft.com/office/drawing/2014/main" id="{C1B4380C-1581-4236-ABC7-1E6010F740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3613" y="3840163"/>
                <a:ext cx="79375" cy="80963"/>
              </a:xfrm>
              <a:custGeom>
                <a:avLst/>
                <a:gdLst>
                  <a:gd name="T0" fmla="*/ 307 w 656"/>
                  <a:gd name="T1" fmla="*/ 221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7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9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6 w 656"/>
                  <a:gd name="T23" fmla="*/ 350 h 657"/>
                  <a:gd name="T24" fmla="*/ 436 w 656"/>
                  <a:gd name="T25" fmla="*/ 307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9 w 656"/>
                  <a:gd name="T31" fmla="*/ 221 h 657"/>
                  <a:gd name="T32" fmla="*/ 328 w 656"/>
                  <a:gd name="T33" fmla="*/ 0 h 657"/>
                  <a:gd name="T34" fmla="*/ 411 w 656"/>
                  <a:gd name="T35" fmla="*/ 10 h 657"/>
                  <a:gd name="T36" fmla="*/ 481 w 656"/>
                  <a:gd name="T37" fmla="*/ 38 h 657"/>
                  <a:gd name="T38" fmla="*/ 535 w 656"/>
                  <a:gd name="T39" fmla="*/ 73 h 657"/>
                  <a:gd name="T40" fmla="*/ 583 w 656"/>
                  <a:gd name="T41" fmla="*/ 121 h 657"/>
                  <a:gd name="T42" fmla="*/ 619 w 656"/>
                  <a:gd name="T43" fmla="*/ 176 h 657"/>
                  <a:gd name="T44" fmla="*/ 646 w 656"/>
                  <a:gd name="T45" fmla="*/ 245 h 657"/>
                  <a:gd name="T46" fmla="*/ 656 w 656"/>
                  <a:gd name="T47" fmla="*/ 328 h 657"/>
                  <a:gd name="T48" fmla="*/ 646 w 656"/>
                  <a:gd name="T49" fmla="*/ 412 h 657"/>
                  <a:gd name="T50" fmla="*/ 619 w 656"/>
                  <a:gd name="T51" fmla="*/ 481 h 657"/>
                  <a:gd name="T52" fmla="*/ 583 w 656"/>
                  <a:gd name="T53" fmla="*/ 536 h 657"/>
                  <a:gd name="T54" fmla="*/ 535 w 656"/>
                  <a:gd name="T55" fmla="*/ 583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6 w 656"/>
                  <a:gd name="T65" fmla="*/ 619 h 657"/>
                  <a:gd name="T66" fmla="*/ 121 w 656"/>
                  <a:gd name="T67" fmla="*/ 583 h 657"/>
                  <a:gd name="T68" fmla="*/ 74 w 656"/>
                  <a:gd name="T69" fmla="*/ 536 h 657"/>
                  <a:gd name="T70" fmla="*/ 37 w 656"/>
                  <a:gd name="T71" fmla="*/ 481 h 657"/>
                  <a:gd name="T72" fmla="*/ 11 w 656"/>
                  <a:gd name="T73" fmla="*/ 412 h 657"/>
                  <a:gd name="T74" fmla="*/ 0 w 656"/>
                  <a:gd name="T75" fmla="*/ 328 h 657"/>
                  <a:gd name="T76" fmla="*/ 11 w 656"/>
                  <a:gd name="T77" fmla="*/ 245 h 657"/>
                  <a:gd name="T78" fmla="*/ 37 w 656"/>
                  <a:gd name="T79" fmla="*/ 176 h 657"/>
                  <a:gd name="T80" fmla="*/ 74 w 656"/>
                  <a:gd name="T81" fmla="*/ 121 h 657"/>
                  <a:gd name="T82" fmla="*/ 121 w 656"/>
                  <a:gd name="T83" fmla="*/ 73 h 657"/>
                  <a:gd name="T84" fmla="*/ 176 w 656"/>
                  <a:gd name="T85" fmla="*/ 38 h 657"/>
                  <a:gd name="T86" fmla="*/ 245 w 656"/>
                  <a:gd name="T87" fmla="*/ 10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19"/>
                    </a:moveTo>
                    <a:lnTo>
                      <a:pt x="307" y="221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7"/>
                    </a:lnTo>
                    <a:lnTo>
                      <a:pt x="220" y="307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9" y="436"/>
                    </a:lnTo>
                    <a:lnTo>
                      <a:pt x="370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6" y="350"/>
                    </a:lnTo>
                    <a:lnTo>
                      <a:pt x="438" y="328"/>
                    </a:lnTo>
                    <a:lnTo>
                      <a:pt x="436" y="307"/>
                    </a:lnTo>
                    <a:lnTo>
                      <a:pt x="430" y="287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70" y="227"/>
                    </a:lnTo>
                    <a:lnTo>
                      <a:pt x="349" y="221"/>
                    </a:lnTo>
                    <a:lnTo>
                      <a:pt x="328" y="219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0"/>
                    </a:lnTo>
                    <a:lnTo>
                      <a:pt x="452" y="25"/>
                    </a:lnTo>
                    <a:lnTo>
                      <a:pt x="481" y="38"/>
                    </a:lnTo>
                    <a:lnTo>
                      <a:pt x="509" y="54"/>
                    </a:lnTo>
                    <a:lnTo>
                      <a:pt x="535" y="73"/>
                    </a:lnTo>
                    <a:lnTo>
                      <a:pt x="560" y="97"/>
                    </a:lnTo>
                    <a:lnTo>
                      <a:pt x="583" y="121"/>
                    </a:lnTo>
                    <a:lnTo>
                      <a:pt x="603" y="148"/>
                    </a:lnTo>
                    <a:lnTo>
                      <a:pt x="619" y="176"/>
                    </a:lnTo>
                    <a:lnTo>
                      <a:pt x="632" y="204"/>
                    </a:lnTo>
                    <a:lnTo>
                      <a:pt x="646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6" y="412"/>
                    </a:lnTo>
                    <a:lnTo>
                      <a:pt x="632" y="451"/>
                    </a:lnTo>
                    <a:lnTo>
                      <a:pt x="619" y="481"/>
                    </a:lnTo>
                    <a:lnTo>
                      <a:pt x="603" y="509"/>
                    </a:lnTo>
                    <a:lnTo>
                      <a:pt x="583" y="536"/>
                    </a:lnTo>
                    <a:lnTo>
                      <a:pt x="560" y="560"/>
                    </a:lnTo>
                    <a:lnTo>
                      <a:pt x="535" y="583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2" y="632"/>
                    </a:lnTo>
                    <a:lnTo>
                      <a:pt x="411" y="647"/>
                    </a:lnTo>
                    <a:lnTo>
                      <a:pt x="370" y="654"/>
                    </a:lnTo>
                    <a:lnTo>
                      <a:pt x="328" y="657"/>
                    </a:lnTo>
                    <a:lnTo>
                      <a:pt x="286" y="654"/>
                    </a:lnTo>
                    <a:lnTo>
                      <a:pt x="245" y="647"/>
                    </a:lnTo>
                    <a:lnTo>
                      <a:pt x="205" y="632"/>
                    </a:lnTo>
                    <a:lnTo>
                      <a:pt x="176" y="619"/>
                    </a:lnTo>
                    <a:lnTo>
                      <a:pt x="147" y="603"/>
                    </a:lnTo>
                    <a:lnTo>
                      <a:pt x="121" y="583"/>
                    </a:lnTo>
                    <a:lnTo>
                      <a:pt x="96" y="560"/>
                    </a:lnTo>
                    <a:lnTo>
                      <a:pt x="74" y="536"/>
                    </a:lnTo>
                    <a:lnTo>
                      <a:pt x="54" y="509"/>
                    </a:lnTo>
                    <a:lnTo>
                      <a:pt x="37" y="481"/>
                    </a:lnTo>
                    <a:lnTo>
                      <a:pt x="24" y="451"/>
                    </a:lnTo>
                    <a:lnTo>
                      <a:pt x="11" y="412"/>
                    </a:lnTo>
                    <a:lnTo>
                      <a:pt x="3" y="370"/>
                    </a:lnTo>
                    <a:lnTo>
                      <a:pt x="0" y="328"/>
                    </a:lnTo>
                    <a:lnTo>
                      <a:pt x="3" y="287"/>
                    </a:lnTo>
                    <a:lnTo>
                      <a:pt x="11" y="245"/>
                    </a:lnTo>
                    <a:lnTo>
                      <a:pt x="24" y="204"/>
                    </a:lnTo>
                    <a:lnTo>
                      <a:pt x="37" y="176"/>
                    </a:lnTo>
                    <a:lnTo>
                      <a:pt x="54" y="148"/>
                    </a:lnTo>
                    <a:lnTo>
                      <a:pt x="74" y="121"/>
                    </a:lnTo>
                    <a:lnTo>
                      <a:pt x="96" y="97"/>
                    </a:lnTo>
                    <a:lnTo>
                      <a:pt x="121" y="73"/>
                    </a:lnTo>
                    <a:lnTo>
                      <a:pt x="147" y="54"/>
                    </a:lnTo>
                    <a:lnTo>
                      <a:pt x="176" y="38"/>
                    </a:lnTo>
                    <a:lnTo>
                      <a:pt x="205" y="25"/>
                    </a:lnTo>
                    <a:lnTo>
                      <a:pt x="245" y="10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9" name="Freeform 49">
                <a:extLst>
                  <a:ext uri="{FF2B5EF4-FFF2-40B4-BE49-F238E27FC236}">
                    <a16:creationId xmlns:a16="http://schemas.microsoft.com/office/drawing/2014/main" id="{3C1687D1-7931-4EA5-B5AD-6BCC2A9C9A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00451" y="3992563"/>
                <a:ext cx="80963" cy="79375"/>
              </a:xfrm>
              <a:custGeom>
                <a:avLst/>
                <a:gdLst>
                  <a:gd name="T0" fmla="*/ 307 w 656"/>
                  <a:gd name="T1" fmla="*/ 222 h 657"/>
                  <a:gd name="T2" fmla="*/ 268 w 656"/>
                  <a:gd name="T3" fmla="*/ 237 h 657"/>
                  <a:gd name="T4" fmla="*/ 237 w 656"/>
                  <a:gd name="T5" fmla="*/ 268 h 657"/>
                  <a:gd name="T6" fmla="*/ 220 w 656"/>
                  <a:gd name="T7" fmla="*/ 308 h 657"/>
                  <a:gd name="T8" fmla="*/ 220 w 656"/>
                  <a:gd name="T9" fmla="*/ 350 h 657"/>
                  <a:gd name="T10" fmla="*/ 237 w 656"/>
                  <a:gd name="T11" fmla="*/ 388 h 657"/>
                  <a:gd name="T12" fmla="*/ 268 w 656"/>
                  <a:gd name="T13" fmla="*/ 420 h 657"/>
                  <a:gd name="T14" fmla="*/ 307 w 656"/>
                  <a:gd name="T15" fmla="*/ 436 h 657"/>
                  <a:gd name="T16" fmla="*/ 348 w 656"/>
                  <a:gd name="T17" fmla="*/ 436 h 657"/>
                  <a:gd name="T18" fmla="*/ 388 w 656"/>
                  <a:gd name="T19" fmla="*/ 420 h 657"/>
                  <a:gd name="T20" fmla="*/ 420 w 656"/>
                  <a:gd name="T21" fmla="*/ 388 h 657"/>
                  <a:gd name="T22" fmla="*/ 435 w 656"/>
                  <a:gd name="T23" fmla="*/ 350 h 657"/>
                  <a:gd name="T24" fmla="*/ 435 w 656"/>
                  <a:gd name="T25" fmla="*/ 308 h 657"/>
                  <a:gd name="T26" fmla="*/ 420 w 656"/>
                  <a:gd name="T27" fmla="*/ 268 h 657"/>
                  <a:gd name="T28" fmla="*/ 388 w 656"/>
                  <a:gd name="T29" fmla="*/ 237 h 657"/>
                  <a:gd name="T30" fmla="*/ 348 w 656"/>
                  <a:gd name="T31" fmla="*/ 222 h 657"/>
                  <a:gd name="T32" fmla="*/ 328 w 656"/>
                  <a:gd name="T33" fmla="*/ 0 h 657"/>
                  <a:gd name="T34" fmla="*/ 411 w 656"/>
                  <a:gd name="T35" fmla="*/ 11 h 657"/>
                  <a:gd name="T36" fmla="*/ 481 w 656"/>
                  <a:gd name="T37" fmla="*/ 38 h 657"/>
                  <a:gd name="T38" fmla="*/ 535 w 656"/>
                  <a:gd name="T39" fmla="*/ 74 h 657"/>
                  <a:gd name="T40" fmla="*/ 582 w 656"/>
                  <a:gd name="T41" fmla="*/ 121 h 657"/>
                  <a:gd name="T42" fmla="*/ 619 w 656"/>
                  <a:gd name="T43" fmla="*/ 176 h 657"/>
                  <a:gd name="T44" fmla="*/ 645 w 656"/>
                  <a:gd name="T45" fmla="*/ 245 h 657"/>
                  <a:gd name="T46" fmla="*/ 656 w 656"/>
                  <a:gd name="T47" fmla="*/ 328 h 657"/>
                  <a:gd name="T48" fmla="*/ 645 w 656"/>
                  <a:gd name="T49" fmla="*/ 412 h 657"/>
                  <a:gd name="T50" fmla="*/ 619 w 656"/>
                  <a:gd name="T51" fmla="*/ 482 h 657"/>
                  <a:gd name="T52" fmla="*/ 582 w 656"/>
                  <a:gd name="T53" fmla="*/ 536 h 657"/>
                  <a:gd name="T54" fmla="*/ 535 w 656"/>
                  <a:gd name="T55" fmla="*/ 584 h 657"/>
                  <a:gd name="T56" fmla="*/ 481 w 656"/>
                  <a:gd name="T57" fmla="*/ 619 h 657"/>
                  <a:gd name="T58" fmla="*/ 411 w 656"/>
                  <a:gd name="T59" fmla="*/ 647 h 657"/>
                  <a:gd name="T60" fmla="*/ 328 w 656"/>
                  <a:gd name="T61" fmla="*/ 657 h 657"/>
                  <a:gd name="T62" fmla="*/ 245 w 656"/>
                  <a:gd name="T63" fmla="*/ 647 h 657"/>
                  <a:gd name="T64" fmla="*/ 175 w 656"/>
                  <a:gd name="T65" fmla="*/ 619 h 657"/>
                  <a:gd name="T66" fmla="*/ 121 w 656"/>
                  <a:gd name="T67" fmla="*/ 584 h 657"/>
                  <a:gd name="T68" fmla="*/ 73 w 656"/>
                  <a:gd name="T69" fmla="*/ 536 h 657"/>
                  <a:gd name="T70" fmla="*/ 37 w 656"/>
                  <a:gd name="T71" fmla="*/ 482 h 657"/>
                  <a:gd name="T72" fmla="*/ 10 w 656"/>
                  <a:gd name="T73" fmla="*/ 412 h 657"/>
                  <a:gd name="T74" fmla="*/ 0 w 656"/>
                  <a:gd name="T75" fmla="*/ 328 h 657"/>
                  <a:gd name="T76" fmla="*/ 10 w 656"/>
                  <a:gd name="T77" fmla="*/ 245 h 657"/>
                  <a:gd name="T78" fmla="*/ 37 w 656"/>
                  <a:gd name="T79" fmla="*/ 176 h 657"/>
                  <a:gd name="T80" fmla="*/ 73 w 656"/>
                  <a:gd name="T81" fmla="*/ 121 h 657"/>
                  <a:gd name="T82" fmla="*/ 121 w 656"/>
                  <a:gd name="T83" fmla="*/ 74 h 657"/>
                  <a:gd name="T84" fmla="*/ 175 w 656"/>
                  <a:gd name="T85" fmla="*/ 38 h 657"/>
                  <a:gd name="T86" fmla="*/ 245 w 656"/>
                  <a:gd name="T87" fmla="*/ 11 h 657"/>
                  <a:gd name="T88" fmla="*/ 328 w 656"/>
                  <a:gd name="T8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6" h="657">
                    <a:moveTo>
                      <a:pt x="328" y="220"/>
                    </a:moveTo>
                    <a:lnTo>
                      <a:pt x="307" y="222"/>
                    </a:lnTo>
                    <a:lnTo>
                      <a:pt x="286" y="227"/>
                    </a:lnTo>
                    <a:lnTo>
                      <a:pt x="268" y="237"/>
                    </a:lnTo>
                    <a:lnTo>
                      <a:pt x="251" y="251"/>
                    </a:lnTo>
                    <a:lnTo>
                      <a:pt x="237" y="268"/>
                    </a:lnTo>
                    <a:lnTo>
                      <a:pt x="226" y="288"/>
                    </a:lnTo>
                    <a:lnTo>
                      <a:pt x="220" y="308"/>
                    </a:lnTo>
                    <a:lnTo>
                      <a:pt x="218" y="328"/>
                    </a:lnTo>
                    <a:lnTo>
                      <a:pt x="220" y="350"/>
                    </a:lnTo>
                    <a:lnTo>
                      <a:pt x="226" y="370"/>
                    </a:lnTo>
                    <a:lnTo>
                      <a:pt x="237" y="388"/>
                    </a:lnTo>
                    <a:lnTo>
                      <a:pt x="251" y="406"/>
                    </a:lnTo>
                    <a:lnTo>
                      <a:pt x="268" y="420"/>
                    </a:lnTo>
                    <a:lnTo>
                      <a:pt x="286" y="430"/>
                    </a:lnTo>
                    <a:lnTo>
                      <a:pt x="307" y="436"/>
                    </a:lnTo>
                    <a:lnTo>
                      <a:pt x="328" y="438"/>
                    </a:lnTo>
                    <a:lnTo>
                      <a:pt x="348" y="436"/>
                    </a:lnTo>
                    <a:lnTo>
                      <a:pt x="369" y="430"/>
                    </a:lnTo>
                    <a:lnTo>
                      <a:pt x="388" y="420"/>
                    </a:lnTo>
                    <a:lnTo>
                      <a:pt x="405" y="406"/>
                    </a:lnTo>
                    <a:lnTo>
                      <a:pt x="420" y="388"/>
                    </a:lnTo>
                    <a:lnTo>
                      <a:pt x="430" y="370"/>
                    </a:lnTo>
                    <a:lnTo>
                      <a:pt x="435" y="350"/>
                    </a:lnTo>
                    <a:lnTo>
                      <a:pt x="437" y="328"/>
                    </a:lnTo>
                    <a:lnTo>
                      <a:pt x="435" y="308"/>
                    </a:lnTo>
                    <a:lnTo>
                      <a:pt x="430" y="288"/>
                    </a:lnTo>
                    <a:lnTo>
                      <a:pt x="420" y="268"/>
                    </a:lnTo>
                    <a:lnTo>
                      <a:pt x="405" y="251"/>
                    </a:lnTo>
                    <a:lnTo>
                      <a:pt x="388" y="237"/>
                    </a:lnTo>
                    <a:lnTo>
                      <a:pt x="369" y="227"/>
                    </a:lnTo>
                    <a:lnTo>
                      <a:pt x="348" y="222"/>
                    </a:lnTo>
                    <a:lnTo>
                      <a:pt x="328" y="220"/>
                    </a:lnTo>
                    <a:close/>
                    <a:moveTo>
                      <a:pt x="328" y="0"/>
                    </a:moveTo>
                    <a:lnTo>
                      <a:pt x="370" y="3"/>
                    </a:lnTo>
                    <a:lnTo>
                      <a:pt x="411" y="11"/>
                    </a:lnTo>
                    <a:lnTo>
                      <a:pt x="451" y="25"/>
                    </a:lnTo>
                    <a:lnTo>
                      <a:pt x="481" y="38"/>
                    </a:lnTo>
                    <a:lnTo>
                      <a:pt x="509" y="55"/>
                    </a:lnTo>
                    <a:lnTo>
                      <a:pt x="535" y="74"/>
                    </a:lnTo>
                    <a:lnTo>
                      <a:pt x="560" y="97"/>
                    </a:lnTo>
                    <a:lnTo>
                      <a:pt x="582" y="121"/>
                    </a:lnTo>
                    <a:lnTo>
                      <a:pt x="601" y="147"/>
                    </a:lnTo>
                    <a:lnTo>
                      <a:pt x="619" y="176"/>
                    </a:lnTo>
                    <a:lnTo>
                      <a:pt x="632" y="205"/>
                    </a:lnTo>
                    <a:lnTo>
                      <a:pt x="645" y="245"/>
                    </a:lnTo>
                    <a:lnTo>
                      <a:pt x="653" y="287"/>
                    </a:lnTo>
                    <a:lnTo>
                      <a:pt x="656" y="328"/>
                    </a:lnTo>
                    <a:lnTo>
                      <a:pt x="653" y="370"/>
                    </a:lnTo>
                    <a:lnTo>
                      <a:pt x="645" y="412"/>
                    </a:lnTo>
                    <a:lnTo>
                      <a:pt x="632" y="452"/>
                    </a:lnTo>
                    <a:lnTo>
                      <a:pt x="619" y="482"/>
                    </a:lnTo>
                    <a:lnTo>
                      <a:pt x="601" y="509"/>
                    </a:lnTo>
                    <a:lnTo>
                      <a:pt x="582" y="536"/>
                    </a:lnTo>
                    <a:lnTo>
                      <a:pt x="560" y="561"/>
                    </a:lnTo>
                    <a:lnTo>
                      <a:pt x="535" y="584"/>
                    </a:lnTo>
                    <a:lnTo>
                      <a:pt x="509" y="603"/>
                    </a:lnTo>
                    <a:lnTo>
                      <a:pt x="481" y="619"/>
                    </a:lnTo>
                    <a:lnTo>
                      <a:pt x="451" y="633"/>
                    </a:lnTo>
                    <a:lnTo>
                      <a:pt x="411" y="647"/>
                    </a:lnTo>
                    <a:lnTo>
                      <a:pt x="370" y="655"/>
                    </a:lnTo>
                    <a:lnTo>
                      <a:pt x="328" y="657"/>
                    </a:lnTo>
                    <a:lnTo>
                      <a:pt x="286" y="655"/>
                    </a:lnTo>
                    <a:lnTo>
                      <a:pt x="245" y="647"/>
                    </a:lnTo>
                    <a:lnTo>
                      <a:pt x="204" y="633"/>
                    </a:lnTo>
                    <a:lnTo>
                      <a:pt x="175" y="619"/>
                    </a:lnTo>
                    <a:lnTo>
                      <a:pt x="147" y="603"/>
                    </a:lnTo>
                    <a:lnTo>
                      <a:pt x="121" y="584"/>
                    </a:lnTo>
                    <a:lnTo>
                      <a:pt x="95" y="561"/>
                    </a:lnTo>
                    <a:lnTo>
                      <a:pt x="73" y="536"/>
                    </a:lnTo>
                    <a:lnTo>
                      <a:pt x="54" y="509"/>
                    </a:lnTo>
                    <a:lnTo>
                      <a:pt x="37" y="482"/>
                    </a:lnTo>
                    <a:lnTo>
                      <a:pt x="23" y="452"/>
                    </a:lnTo>
                    <a:lnTo>
                      <a:pt x="10" y="412"/>
                    </a:lnTo>
                    <a:lnTo>
                      <a:pt x="2" y="370"/>
                    </a:lnTo>
                    <a:lnTo>
                      <a:pt x="0" y="328"/>
                    </a:lnTo>
                    <a:lnTo>
                      <a:pt x="2" y="287"/>
                    </a:lnTo>
                    <a:lnTo>
                      <a:pt x="10" y="245"/>
                    </a:lnTo>
                    <a:lnTo>
                      <a:pt x="23" y="205"/>
                    </a:lnTo>
                    <a:lnTo>
                      <a:pt x="37" y="176"/>
                    </a:lnTo>
                    <a:lnTo>
                      <a:pt x="54" y="147"/>
                    </a:lnTo>
                    <a:lnTo>
                      <a:pt x="73" y="121"/>
                    </a:lnTo>
                    <a:lnTo>
                      <a:pt x="95" y="97"/>
                    </a:lnTo>
                    <a:lnTo>
                      <a:pt x="121" y="74"/>
                    </a:lnTo>
                    <a:lnTo>
                      <a:pt x="147" y="55"/>
                    </a:lnTo>
                    <a:lnTo>
                      <a:pt x="175" y="38"/>
                    </a:lnTo>
                    <a:lnTo>
                      <a:pt x="204" y="25"/>
                    </a:lnTo>
                    <a:lnTo>
                      <a:pt x="245" y="11"/>
                    </a:lnTo>
                    <a:lnTo>
                      <a:pt x="286" y="3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C736370C-50C8-49E5-BB18-FFF27DFDAF93}"/>
              </a:ext>
            </a:extLst>
          </p:cNvPr>
          <p:cNvGrpSpPr>
            <a:grpSpLocks/>
          </p:cNvGrpSpPr>
          <p:nvPr/>
        </p:nvGrpSpPr>
        <p:grpSpPr bwMode="gray">
          <a:xfrm>
            <a:off x="4136313" y="5546662"/>
            <a:ext cx="396000" cy="396000"/>
            <a:chOff x="4136313" y="5550787"/>
            <a:chExt cx="396000" cy="396000"/>
          </a:xfrm>
        </p:grpSpPr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BC640660-970B-47C5-A719-24C3807AD7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36313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8A0F75BB-C0CE-43AC-BAC9-718AA35853C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4244265" y="5670914"/>
              <a:ext cx="180095" cy="155746"/>
              <a:chOff x="4248927" y="5664584"/>
              <a:chExt cx="180095" cy="155746"/>
            </a:xfrm>
            <a:solidFill>
              <a:schemeClr val="bg1"/>
            </a:solidFill>
          </p:grpSpPr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9ED08C33-F094-44A7-BD95-60CA16D70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927" y="5664584"/>
                <a:ext cx="87873" cy="87873"/>
              </a:xfrm>
              <a:custGeom>
                <a:avLst/>
                <a:gdLst>
                  <a:gd name="T0" fmla="*/ 1014 w 1977"/>
                  <a:gd name="T1" fmla="*/ 3 h 1977"/>
                  <a:gd name="T2" fmla="*/ 1057 w 1977"/>
                  <a:gd name="T3" fmla="*/ 24 h 1977"/>
                  <a:gd name="T4" fmla="*/ 1087 w 1977"/>
                  <a:gd name="T5" fmla="*/ 62 h 1977"/>
                  <a:gd name="T6" fmla="*/ 1099 w 1977"/>
                  <a:gd name="T7" fmla="*/ 110 h 1977"/>
                  <a:gd name="T8" fmla="*/ 1867 w 1977"/>
                  <a:gd name="T9" fmla="*/ 878 h 1977"/>
                  <a:gd name="T10" fmla="*/ 1915 w 1977"/>
                  <a:gd name="T11" fmla="*/ 890 h 1977"/>
                  <a:gd name="T12" fmla="*/ 1953 w 1977"/>
                  <a:gd name="T13" fmla="*/ 920 h 1977"/>
                  <a:gd name="T14" fmla="*/ 1974 w 1977"/>
                  <a:gd name="T15" fmla="*/ 963 h 1977"/>
                  <a:gd name="T16" fmla="*/ 1974 w 1977"/>
                  <a:gd name="T17" fmla="*/ 1014 h 1977"/>
                  <a:gd name="T18" fmla="*/ 1953 w 1977"/>
                  <a:gd name="T19" fmla="*/ 1057 h 1977"/>
                  <a:gd name="T20" fmla="*/ 1915 w 1977"/>
                  <a:gd name="T21" fmla="*/ 1087 h 1977"/>
                  <a:gd name="T22" fmla="*/ 1867 w 1977"/>
                  <a:gd name="T23" fmla="*/ 1099 h 1977"/>
                  <a:gd name="T24" fmla="*/ 1099 w 1977"/>
                  <a:gd name="T25" fmla="*/ 1867 h 1977"/>
                  <a:gd name="T26" fmla="*/ 1087 w 1977"/>
                  <a:gd name="T27" fmla="*/ 1915 h 1977"/>
                  <a:gd name="T28" fmla="*/ 1057 w 1977"/>
                  <a:gd name="T29" fmla="*/ 1953 h 1977"/>
                  <a:gd name="T30" fmla="*/ 1014 w 1977"/>
                  <a:gd name="T31" fmla="*/ 1974 h 1977"/>
                  <a:gd name="T32" fmla="*/ 963 w 1977"/>
                  <a:gd name="T33" fmla="*/ 1974 h 1977"/>
                  <a:gd name="T34" fmla="*/ 920 w 1977"/>
                  <a:gd name="T35" fmla="*/ 1953 h 1977"/>
                  <a:gd name="T36" fmla="*/ 890 w 1977"/>
                  <a:gd name="T37" fmla="*/ 1915 h 1977"/>
                  <a:gd name="T38" fmla="*/ 878 w 1977"/>
                  <a:gd name="T39" fmla="*/ 1867 h 1977"/>
                  <a:gd name="T40" fmla="*/ 110 w 1977"/>
                  <a:gd name="T41" fmla="*/ 1099 h 1977"/>
                  <a:gd name="T42" fmla="*/ 62 w 1977"/>
                  <a:gd name="T43" fmla="*/ 1087 h 1977"/>
                  <a:gd name="T44" fmla="*/ 24 w 1977"/>
                  <a:gd name="T45" fmla="*/ 1057 h 1977"/>
                  <a:gd name="T46" fmla="*/ 3 w 1977"/>
                  <a:gd name="T47" fmla="*/ 1014 h 1977"/>
                  <a:gd name="T48" fmla="*/ 3 w 1977"/>
                  <a:gd name="T49" fmla="*/ 963 h 1977"/>
                  <a:gd name="T50" fmla="*/ 24 w 1977"/>
                  <a:gd name="T51" fmla="*/ 920 h 1977"/>
                  <a:gd name="T52" fmla="*/ 62 w 1977"/>
                  <a:gd name="T53" fmla="*/ 890 h 1977"/>
                  <a:gd name="T54" fmla="*/ 110 w 1977"/>
                  <a:gd name="T55" fmla="*/ 878 h 1977"/>
                  <a:gd name="T56" fmla="*/ 878 w 1977"/>
                  <a:gd name="T57" fmla="*/ 110 h 1977"/>
                  <a:gd name="T58" fmla="*/ 890 w 1977"/>
                  <a:gd name="T59" fmla="*/ 62 h 1977"/>
                  <a:gd name="T60" fmla="*/ 920 w 1977"/>
                  <a:gd name="T61" fmla="*/ 24 h 1977"/>
                  <a:gd name="T62" fmla="*/ 963 w 1977"/>
                  <a:gd name="T63" fmla="*/ 3 h 1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77" h="1977">
                    <a:moveTo>
                      <a:pt x="989" y="0"/>
                    </a:moveTo>
                    <a:lnTo>
                      <a:pt x="1014" y="3"/>
                    </a:lnTo>
                    <a:lnTo>
                      <a:pt x="1036" y="11"/>
                    </a:lnTo>
                    <a:lnTo>
                      <a:pt x="1057" y="24"/>
                    </a:lnTo>
                    <a:lnTo>
                      <a:pt x="1074" y="42"/>
                    </a:lnTo>
                    <a:lnTo>
                      <a:pt x="1087" y="62"/>
                    </a:lnTo>
                    <a:lnTo>
                      <a:pt x="1096" y="85"/>
                    </a:lnTo>
                    <a:lnTo>
                      <a:pt x="1099" y="110"/>
                    </a:lnTo>
                    <a:lnTo>
                      <a:pt x="1099" y="878"/>
                    </a:lnTo>
                    <a:lnTo>
                      <a:pt x="1867" y="878"/>
                    </a:lnTo>
                    <a:lnTo>
                      <a:pt x="1892" y="881"/>
                    </a:lnTo>
                    <a:lnTo>
                      <a:pt x="1915" y="890"/>
                    </a:lnTo>
                    <a:lnTo>
                      <a:pt x="1935" y="903"/>
                    </a:lnTo>
                    <a:lnTo>
                      <a:pt x="1953" y="920"/>
                    </a:lnTo>
                    <a:lnTo>
                      <a:pt x="1966" y="941"/>
                    </a:lnTo>
                    <a:lnTo>
                      <a:pt x="1974" y="963"/>
                    </a:lnTo>
                    <a:lnTo>
                      <a:pt x="1977" y="989"/>
                    </a:lnTo>
                    <a:lnTo>
                      <a:pt x="1974" y="1014"/>
                    </a:lnTo>
                    <a:lnTo>
                      <a:pt x="1966" y="1036"/>
                    </a:lnTo>
                    <a:lnTo>
                      <a:pt x="1953" y="1057"/>
                    </a:lnTo>
                    <a:lnTo>
                      <a:pt x="1935" y="1074"/>
                    </a:lnTo>
                    <a:lnTo>
                      <a:pt x="1915" y="1087"/>
                    </a:lnTo>
                    <a:lnTo>
                      <a:pt x="1892" y="1096"/>
                    </a:lnTo>
                    <a:lnTo>
                      <a:pt x="1867" y="1099"/>
                    </a:lnTo>
                    <a:lnTo>
                      <a:pt x="1099" y="1099"/>
                    </a:lnTo>
                    <a:lnTo>
                      <a:pt x="1099" y="1867"/>
                    </a:lnTo>
                    <a:lnTo>
                      <a:pt x="1096" y="1892"/>
                    </a:lnTo>
                    <a:lnTo>
                      <a:pt x="1087" y="1915"/>
                    </a:lnTo>
                    <a:lnTo>
                      <a:pt x="1074" y="1935"/>
                    </a:lnTo>
                    <a:lnTo>
                      <a:pt x="1057" y="1953"/>
                    </a:lnTo>
                    <a:lnTo>
                      <a:pt x="1036" y="1966"/>
                    </a:lnTo>
                    <a:lnTo>
                      <a:pt x="1014" y="1974"/>
                    </a:lnTo>
                    <a:lnTo>
                      <a:pt x="989" y="1977"/>
                    </a:lnTo>
                    <a:lnTo>
                      <a:pt x="963" y="1974"/>
                    </a:lnTo>
                    <a:lnTo>
                      <a:pt x="941" y="1966"/>
                    </a:lnTo>
                    <a:lnTo>
                      <a:pt x="920" y="1953"/>
                    </a:lnTo>
                    <a:lnTo>
                      <a:pt x="903" y="1935"/>
                    </a:lnTo>
                    <a:lnTo>
                      <a:pt x="890" y="1915"/>
                    </a:lnTo>
                    <a:lnTo>
                      <a:pt x="881" y="1892"/>
                    </a:lnTo>
                    <a:lnTo>
                      <a:pt x="878" y="1867"/>
                    </a:lnTo>
                    <a:lnTo>
                      <a:pt x="878" y="1099"/>
                    </a:lnTo>
                    <a:lnTo>
                      <a:pt x="110" y="1099"/>
                    </a:lnTo>
                    <a:lnTo>
                      <a:pt x="85" y="1096"/>
                    </a:lnTo>
                    <a:lnTo>
                      <a:pt x="62" y="1087"/>
                    </a:lnTo>
                    <a:lnTo>
                      <a:pt x="42" y="1074"/>
                    </a:lnTo>
                    <a:lnTo>
                      <a:pt x="24" y="1057"/>
                    </a:lnTo>
                    <a:lnTo>
                      <a:pt x="11" y="1036"/>
                    </a:lnTo>
                    <a:lnTo>
                      <a:pt x="3" y="1014"/>
                    </a:lnTo>
                    <a:lnTo>
                      <a:pt x="0" y="989"/>
                    </a:lnTo>
                    <a:lnTo>
                      <a:pt x="3" y="963"/>
                    </a:lnTo>
                    <a:lnTo>
                      <a:pt x="11" y="941"/>
                    </a:lnTo>
                    <a:lnTo>
                      <a:pt x="24" y="920"/>
                    </a:lnTo>
                    <a:lnTo>
                      <a:pt x="42" y="903"/>
                    </a:lnTo>
                    <a:lnTo>
                      <a:pt x="62" y="890"/>
                    </a:lnTo>
                    <a:lnTo>
                      <a:pt x="85" y="881"/>
                    </a:lnTo>
                    <a:lnTo>
                      <a:pt x="110" y="878"/>
                    </a:lnTo>
                    <a:lnTo>
                      <a:pt x="878" y="878"/>
                    </a:lnTo>
                    <a:lnTo>
                      <a:pt x="878" y="110"/>
                    </a:lnTo>
                    <a:lnTo>
                      <a:pt x="881" y="85"/>
                    </a:lnTo>
                    <a:lnTo>
                      <a:pt x="890" y="62"/>
                    </a:lnTo>
                    <a:lnTo>
                      <a:pt x="903" y="42"/>
                    </a:lnTo>
                    <a:lnTo>
                      <a:pt x="920" y="24"/>
                    </a:lnTo>
                    <a:lnTo>
                      <a:pt x="941" y="11"/>
                    </a:lnTo>
                    <a:lnTo>
                      <a:pt x="963" y="3"/>
                    </a:lnTo>
                    <a:lnTo>
                      <a:pt x="98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3" name="Freeform 47">
                <a:extLst>
                  <a:ext uri="{FF2B5EF4-FFF2-40B4-BE49-F238E27FC236}">
                    <a16:creationId xmlns:a16="http://schemas.microsoft.com/office/drawing/2014/main" id="{72A54395-797E-4EE3-953D-C3123688AC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8" y="5693552"/>
                <a:ext cx="126778" cy="126778"/>
              </a:xfrm>
              <a:custGeom>
                <a:avLst/>
                <a:gdLst>
                  <a:gd name="T0" fmla="*/ 1348 w 1458"/>
                  <a:gd name="T1" fmla="*/ 0 h 1458"/>
                  <a:gd name="T2" fmla="*/ 1369 w 1458"/>
                  <a:gd name="T3" fmla="*/ 2 h 1458"/>
                  <a:gd name="T4" fmla="*/ 1390 w 1458"/>
                  <a:gd name="T5" fmla="*/ 8 h 1458"/>
                  <a:gd name="T6" fmla="*/ 1408 w 1458"/>
                  <a:gd name="T7" fmla="*/ 19 h 1458"/>
                  <a:gd name="T8" fmla="*/ 1425 w 1458"/>
                  <a:gd name="T9" fmla="*/ 33 h 1458"/>
                  <a:gd name="T10" fmla="*/ 1439 w 1458"/>
                  <a:gd name="T11" fmla="*/ 50 h 1458"/>
                  <a:gd name="T12" fmla="*/ 1450 w 1458"/>
                  <a:gd name="T13" fmla="*/ 68 h 1458"/>
                  <a:gd name="T14" fmla="*/ 1456 w 1458"/>
                  <a:gd name="T15" fmla="*/ 89 h 1458"/>
                  <a:gd name="T16" fmla="*/ 1458 w 1458"/>
                  <a:gd name="T17" fmla="*/ 110 h 1458"/>
                  <a:gd name="T18" fmla="*/ 1456 w 1458"/>
                  <a:gd name="T19" fmla="*/ 130 h 1458"/>
                  <a:gd name="T20" fmla="*/ 1450 w 1458"/>
                  <a:gd name="T21" fmla="*/ 151 h 1458"/>
                  <a:gd name="T22" fmla="*/ 1439 w 1458"/>
                  <a:gd name="T23" fmla="*/ 170 h 1458"/>
                  <a:gd name="T24" fmla="*/ 1425 w 1458"/>
                  <a:gd name="T25" fmla="*/ 187 h 1458"/>
                  <a:gd name="T26" fmla="*/ 187 w 1458"/>
                  <a:gd name="T27" fmla="*/ 1425 h 1458"/>
                  <a:gd name="T28" fmla="*/ 170 w 1458"/>
                  <a:gd name="T29" fmla="*/ 1439 h 1458"/>
                  <a:gd name="T30" fmla="*/ 151 w 1458"/>
                  <a:gd name="T31" fmla="*/ 1450 h 1458"/>
                  <a:gd name="T32" fmla="*/ 130 w 1458"/>
                  <a:gd name="T33" fmla="*/ 1456 h 1458"/>
                  <a:gd name="T34" fmla="*/ 110 w 1458"/>
                  <a:gd name="T35" fmla="*/ 1458 h 1458"/>
                  <a:gd name="T36" fmla="*/ 89 w 1458"/>
                  <a:gd name="T37" fmla="*/ 1456 h 1458"/>
                  <a:gd name="T38" fmla="*/ 68 w 1458"/>
                  <a:gd name="T39" fmla="*/ 1450 h 1458"/>
                  <a:gd name="T40" fmla="*/ 50 w 1458"/>
                  <a:gd name="T41" fmla="*/ 1439 h 1458"/>
                  <a:gd name="T42" fmla="*/ 33 w 1458"/>
                  <a:gd name="T43" fmla="*/ 1425 h 1458"/>
                  <a:gd name="T44" fmla="*/ 19 w 1458"/>
                  <a:gd name="T45" fmla="*/ 1408 h 1458"/>
                  <a:gd name="T46" fmla="*/ 8 w 1458"/>
                  <a:gd name="T47" fmla="*/ 1390 h 1458"/>
                  <a:gd name="T48" fmla="*/ 2 w 1458"/>
                  <a:gd name="T49" fmla="*/ 1369 h 1458"/>
                  <a:gd name="T50" fmla="*/ 0 w 1458"/>
                  <a:gd name="T51" fmla="*/ 1348 h 1458"/>
                  <a:gd name="T52" fmla="*/ 2 w 1458"/>
                  <a:gd name="T53" fmla="*/ 1328 h 1458"/>
                  <a:gd name="T54" fmla="*/ 8 w 1458"/>
                  <a:gd name="T55" fmla="*/ 1307 h 1458"/>
                  <a:gd name="T56" fmla="*/ 19 w 1458"/>
                  <a:gd name="T57" fmla="*/ 1288 h 1458"/>
                  <a:gd name="T58" fmla="*/ 33 w 1458"/>
                  <a:gd name="T59" fmla="*/ 1271 h 1458"/>
                  <a:gd name="T60" fmla="*/ 1271 w 1458"/>
                  <a:gd name="T61" fmla="*/ 33 h 1458"/>
                  <a:gd name="T62" fmla="*/ 1288 w 1458"/>
                  <a:gd name="T63" fmla="*/ 19 h 1458"/>
                  <a:gd name="T64" fmla="*/ 1307 w 1458"/>
                  <a:gd name="T65" fmla="*/ 8 h 1458"/>
                  <a:gd name="T66" fmla="*/ 1328 w 1458"/>
                  <a:gd name="T67" fmla="*/ 2 h 1458"/>
                  <a:gd name="T68" fmla="*/ 1348 w 1458"/>
                  <a:gd name="T69" fmla="*/ 0 h 1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58" h="1458">
                    <a:moveTo>
                      <a:pt x="1348" y="0"/>
                    </a:moveTo>
                    <a:lnTo>
                      <a:pt x="1369" y="2"/>
                    </a:lnTo>
                    <a:lnTo>
                      <a:pt x="1390" y="8"/>
                    </a:lnTo>
                    <a:lnTo>
                      <a:pt x="1408" y="19"/>
                    </a:lnTo>
                    <a:lnTo>
                      <a:pt x="1425" y="33"/>
                    </a:lnTo>
                    <a:lnTo>
                      <a:pt x="1439" y="50"/>
                    </a:lnTo>
                    <a:lnTo>
                      <a:pt x="1450" y="68"/>
                    </a:lnTo>
                    <a:lnTo>
                      <a:pt x="1456" y="89"/>
                    </a:lnTo>
                    <a:lnTo>
                      <a:pt x="1458" y="110"/>
                    </a:lnTo>
                    <a:lnTo>
                      <a:pt x="1456" y="130"/>
                    </a:lnTo>
                    <a:lnTo>
                      <a:pt x="1450" y="151"/>
                    </a:lnTo>
                    <a:lnTo>
                      <a:pt x="1439" y="170"/>
                    </a:lnTo>
                    <a:lnTo>
                      <a:pt x="1425" y="187"/>
                    </a:lnTo>
                    <a:lnTo>
                      <a:pt x="187" y="1425"/>
                    </a:lnTo>
                    <a:lnTo>
                      <a:pt x="170" y="1439"/>
                    </a:lnTo>
                    <a:lnTo>
                      <a:pt x="151" y="1450"/>
                    </a:lnTo>
                    <a:lnTo>
                      <a:pt x="130" y="1456"/>
                    </a:lnTo>
                    <a:lnTo>
                      <a:pt x="110" y="1458"/>
                    </a:lnTo>
                    <a:lnTo>
                      <a:pt x="89" y="1456"/>
                    </a:lnTo>
                    <a:lnTo>
                      <a:pt x="68" y="1450"/>
                    </a:lnTo>
                    <a:lnTo>
                      <a:pt x="50" y="1439"/>
                    </a:lnTo>
                    <a:lnTo>
                      <a:pt x="33" y="1425"/>
                    </a:lnTo>
                    <a:lnTo>
                      <a:pt x="19" y="1408"/>
                    </a:lnTo>
                    <a:lnTo>
                      <a:pt x="8" y="1390"/>
                    </a:lnTo>
                    <a:lnTo>
                      <a:pt x="2" y="1369"/>
                    </a:lnTo>
                    <a:lnTo>
                      <a:pt x="0" y="1348"/>
                    </a:lnTo>
                    <a:lnTo>
                      <a:pt x="2" y="1328"/>
                    </a:lnTo>
                    <a:lnTo>
                      <a:pt x="8" y="1307"/>
                    </a:lnTo>
                    <a:lnTo>
                      <a:pt x="19" y="1288"/>
                    </a:lnTo>
                    <a:lnTo>
                      <a:pt x="33" y="1271"/>
                    </a:lnTo>
                    <a:lnTo>
                      <a:pt x="1271" y="33"/>
                    </a:lnTo>
                    <a:lnTo>
                      <a:pt x="1288" y="19"/>
                    </a:lnTo>
                    <a:lnTo>
                      <a:pt x="1307" y="8"/>
                    </a:lnTo>
                    <a:lnTo>
                      <a:pt x="1328" y="2"/>
                    </a:lnTo>
                    <a:lnTo>
                      <a:pt x="1348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84" name="Freeform 35">
                <a:extLst>
                  <a:ext uri="{FF2B5EF4-FFF2-40B4-BE49-F238E27FC236}">
                    <a16:creationId xmlns:a16="http://schemas.microsoft.com/office/drawing/2014/main" id="{F1D56A32-8780-4FB6-93C7-5E4A9F60E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7022" y="5792873"/>
                <a:ext cx="72000" cy="14400"/>
              </a:xfrm>
              <a:custGeom>
                <a:avLst/>
                <a:gdLst>
                  <a:gd name="T0" fmla="*/ 110 w 1977"/>
                  <a:gd name="T1" fmla="*/ 0 h 220"/>
                  <a:gd name="T2" fmla="*/ 1867 w 1977"/>
                  <a:gd name="T3" fmla="*/ 0 h 220"/>
                  <a:gd name="T4" fmla="*/ 1892 w 1977"/>
                  <a:gd name="T5" fmla="*/ 3 h 220"/>
                  <a:gd name="T6" fmla="*/ 1915 w 1977"/>
                  <a:gd name="T7" fmla="*/ 11 h 220"/>
                  <a:gd name="T8" fmla="*/ 1935 w 1977"/>
                  <a:gd name="T9" fmla="*/ 25 h 220"/>
                  <a:gd name="T10" fmla="*/ 1953 w 1977"/>
                  <a:gd name="T11" fmla="*/ 42 h 220"/>
                  <a:gd name="T12" fmla="*/ 1966 w 1977"/>
                  <a:gd name="T13" fmla="*/ 62 h 220"/>
                  <a:gd name="T14" fmla="*/ 1974 w 1977"/>
                  <a:gd name="T15" fmla="*/ 85 h 220"/>
                  <a:gd name="T16" fmla="*/ 1977 w 1977"/>
                  <a:gd name="T17" fmla="*/ 110 h 220"/>
                  <a:gd name="T18" fmla="*/ 1974 w 1977"/>
                  <a:gd name="T19" fmla="*/ 135 h 220"/>
                  <a:gd name="T20" fmla="*/ 1966 w 1977"/>
                  <a:gd name="T21" fmla="*/ 158 h 220"/>
                  <a:gd name="T22" fmla="*/ 1953 w 1977"/>
                  <a:gd name="T23" fmla="*/ 178 h 220"/>
                  <a:gd name="T24" fmla="*/ 1935 w 1977"/>
                  <a:gd name="T25" fmla="*/ 195 h 220"/>
                  <a:gd name="T26" fmla="*/ 1915 w 1977"/>
                  <a:gd name="T27" fmla="*/ 209 h 220"/>
                  <a:gd name="T28" fmla="*/ 1892 w 1977"/>
                  <a:gd name="T29" fmla="*/ 217 h 220"/>
                  <a:gd name="T30" fmla="*/ 1867 w 1977"/>
                  <a:gd name="T31" fmla="*/ 220 h 220"/>
                  <a:gd name="T32" fmla="*/ 110 w 1977"/>
                  <a:gd name="T33" fmla="*/ 220 h 220"/>
                  <a:gd name="T34" fmla="*/ 85 w 1977"/>
                  <a:gd name="T35" fmla="*/ 217 h 220"/>
                  <a:gd name="T36" fmla="*/ 62 w 1977"/>
                  <a:gd name="T37" fmla="*/ 209 h 220"/>
                  <a:gd name="T38" fmla="*/ 42 w 1977"/>
                  <a:gd name="T39" fmla="*/ 195 h 220"/>
                  <a:gd name="T40" fmla="*/ 24 w 1977"/>
                  <a:gd name="T41" fmla="*/ 178 h 220"/>
                  <a:gd name="T42" fmla="*/ 11 w 1977"/>
                  <a:gd name="T43" fmla="*/ 158 h 220"/>
                  <a:gd name="T44" fmla="*/ 3 w 1977"/>
                  <a:gd name="T45" fmla="*/ 135 h 220"/>
                  <a:gd name="T46" fmla="*/ 0 w 1977"/>
                  <a:gd name="T47" fmla="*/ 110 h 220"/>
                  <a:gd name="T48" fmla="*/ 3 w 1977"/>
                  <a:gd name="T49" fmla="*/ 85 h 220"/>
                  <a:gd name="T50" fmla="*/ 11 w 1977"/>
                  <a:gd name="T51" fmla="*/ 62 h 220"/>
                  <a:gd name="T52" fmla="*/ 24 w 1977"/>
                  <a:gd name="T53" fmla="*/ 42 h 220"/>
                  <a:gd name="T54" fmla="*/ 42 w 1977"/>
                  <a:gd name="T55" fmla="*/ 25 h 220"/>
                  <a:gd name="T56" fmla="*/ 62 w 1977"/>
                  <a:gd name="T57" fmla="*/ 11 h 220"/>
                  <a:gd name="T58" fmla="*/ 85 w 1977"/>
                  <a:gd name="T59" fmla="*/ 3 h 220"/>
                  <a:gd name="T60" fmla="*/ 110 w 1977"/>
                  <a:gd name="T6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77" h="220">
                    <a:moveTo>
                      <a:pt x="110" y="0"/>
                    </a:moveTo>
                    <a:lnTo>
                      <a:pt x="1867" y="0"/>
                    </a:lnTo>
                    <a:lnTo>
                      <a:pt x="1892" y="3"/>
                    </a:lnTo>
                    <a:lnTo>
                      <a:pt x="1915" y="11"/>
                    </a:lnTo>
                    <a:lnTo>
                      <a:pt x="1935" y="25"/>
                    </a:lnTo>
                    <a:lnTo>
                      <a:pt x="1953" y="42"/>
                    </a:lnTo>
                    <a:lnTo>
                      <a:pt x="1966" y="62"/>
                    </a:lnTo>
                    <a:lnTo>
                      <a:pt x="1974" y="85"/>
                    </a:lnTo>
                    <a:lnTo>
                      <a:pt x="1977" y="110"/>
                    </a:lnTo>
                    <a:lnTo>
                      <a:pt x="1974" y="135"/>
                    </a:lnTo>
                    <a:lnTo>
                      <a:pt x="1966" y="158"/>
                    </a:lnTo>
                    <a:lnTo>
                      <a:pt x="1953" y="178"/>
                    </a:lnTo>
                    <a:lnTo>
                      <a:pt x="1935" y="195"/>
                    </a:lnTo>
                    <a:lnTo>
                      <a:pt x="1915" y="209"/>
                    </a:lnTo>
                    <a:lnTo>
                      <a:pt x="1892" y="217"/>
                    </a:lnTo>
                    <a:lnTo>
                      <a:pt x="1867" y="220"/>
                    </a:lnTo>
                    <a:lnTo>
                      <a:pt x="110" y="220"/>
                    </a:lnTo>
                    <a:lnTo>
                      <a:pt x="85" y="217"/>
                    </a:lnTo>
                    <a:lnTo>
                      <a:pt x="62" y="209"/>
                    </a:lnTo>
                    <a:lnTo>
                      <a:pt x="42" y="195"/>
                    </a:lnTo>
                    <a:lnTo>
                      <a:pt x="24" y="178"/>
                    </a:lnTo>
                    <a:lnTo>
                      <a:pt x="11" y="158"/>
                    </a:lnTo>
                    <a:lnTo>
                      <a:pt x="3" y="135"/>
                    </a:lnTo>
                    <a:lnTo>
                      <a:pt x="0" y="110"/>
                    </a:lnTo>
                    <a:lnTo>
                      <a:pt x="3" y="85"/>
                    </a:lnTo>
                    <a:lnTo>
                      <a:pt x="11" y="62"/>
                    </a:lnTo>
                    <a:lnTo>
                      <a:pt x="24" y="42"/>
                    </a:lnTo>
                    <a:lnTo>
                      <a:pt x="42" y="25"/>
                    </a:lnTo>
                    <a:lnTo>
                      <a:pt x="62" y="11"/>
                    </a:lnTo>
                    <a:lnTo>
                      <a:pt x="85" y="3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19" name="Gruppieren 218">
            <a:extLst>
              <a:ext uri="{FF2B5EF4-FFF2-40B4-BE49-F238E27FC236}">
                <a16:creationId xmlns:a16="http://schemas.microsoft.com/office/drawing/2014/main" id="{DF5615DC-54F2-4ED8-A04E-3A0BDFC588FC}"/>
              </a:ext>
            </a:extLst>
          </p:cNvPr>
          <p:cNvGrpSpPr>
            <a:grpSpLocks/>
          </p:cNvGrpSpPr>
          <p:nvPr/>
        </p:nvGrpSpPr>
        <p:grpSpPr bwMode="gray">
          <a:xfrm>
            <a:off x="4722611" y="5546662"/>
            <a:ext cx="396000" cy="396000"/>
            <a:chOff x="4722611" y="5550787"/>
            <a:chExt cx="396000" cy="396000"/>
          </a:xfrm>
        </p:grpSpPr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id="{29361C22-576F-47B8-9C34-A6A17B0511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2611" y="5550787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5">
              <a:extLst>
                <a:ext uri="{FF2B5EF4-FFF2-40B4-BE49-F238E27FC236}">
                  <a16:creationId xmlns:a16="http://schemas.microsoft.com/office/drawing/2014/main" id="{3475990B-4FBB-4E0F-A002-4F25DFE99D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36287" y="5710458"/>
              <a:ext cx="168648" cy="76658"/>
            </a:xfrm>
            <a:custGeom>
              <a:avLst/>
              <a:gdLst>
                <a:gd name="T0" fmla="*/ 1825 w 2488"/>
                <a:gd name="T1" fmla="*/ 238 h 1128"/>
                <a:gd name="T2" fmla="*/ 1635 w 2488"/>
                <a:gd name="T3" fmla="*/ 336 h 1128"/>
                <a:gd name="T4" fmla="*/ 1411 w 2488"/>
                <a:gd name="T5" fmla="*/ 547 h 1128"/>
                <a:gd name="T6" fmla="*/ 1531 w 2488"/>
                <a:gd name="T7" fmla="*/ 703 h 1128"/>
                <a:gd name="T8" fmla="*/ 1730 w 2488"/>
                <a:gd name="T9" fmla="*/ 852 h 1128"/>
                <a:gd name="T10" fmla="*/ 1884 w 2488"/>
                <a:gd name="T11" fmla="*/ 901 h 1128"/>
                <a:gd name="T12" fmla="*/ 2023 w 2488"/>
                <a:gd name="T13" fmla="*/ 887 h 1128"/>
                <a:gd name="T14" fmla="*/ 2143 w 2488"/>
                <a:gd name="T15" fmla="*/ 821 h 1128"/>
                <a:gd name="T16" fmla="*/ 2234 w 2488"/>
                <a:gd name="T17" fmla="*/ 695 h 1128"/>
                <a:gd name="T18" fmla="*/ 2259 w 2488"/>
                <a:gd name="T19" fmla="*/ 529 h 1128"/>
                <a:gd name="T20" fmla="*/ 2220 w 2488"/>
                <a:gd name="T21" fmla="*/ 403 h 1128"/>
                <a:gd name="T22" fmla="*/ 2123 w 2488"/>
                <a:gd name="T23" fmla="*/ 291 h 1128"/>
                <a:gd name="T24" fmla="*/ 1968 w 2488"/>
                <a:gd name="T25" fmla="*/ 229 h 1128"/>
                <a:gd name="T26" fmla="*/ 498 w 2488"/>
                <a:gd name="T27" fmla="*/ 233 h 1128"/>
                <a:gd name="T28" fmla="*/ 377 w 2488"/>
                <a:gd name="T29" fmla="*/ 283 h 1128"/>
                <a:gd name="T30" fmla="*/ 271 w 2488"/>
                <a:gd name="T31" fmla="*/ 397 h 1128"/>
                <a:gd name="T32" fmla="*/ 226 w 2488"/>
                <a:gd name="T33" fmla="*/ 564 h 1128"/>
                <a:gd name="T34" fmla="*/ 254 w 2488"/>
                <a:gd name="T35" fmla="*/ 695 h 1128"/>
                <a:gd name="T36" fmla="*/ 336 w 2488"/>
                <a:gd name="T37" fmla="*/ 813 h 1128"/>
                <a:gd name="T38" fmla="*/ 476 w 2488"/>
                <a:gd name="T39" fmla="*/ 890 h 1128"/>
                <a:gd name="T40" fmla="*/ 632 w 2488"/>
                <a:gd name="T41" fmla="*/ 897 h 1128"/>
                <a:gd name="T42" fmla="*/ 805 w 2488"/>
                <a:gd name="T43" fmla="*/ 825 h 1128"/>
                <a:gd name="T44" fmla="*/ 1011 w 2488"/>
                <a:gd name="T45" fmla="*/ 649 h 1128"/>
                <a:gd name="T46" fmla="*/ 1014 w 2488"/>
                <a:gd name="T47" fmla="*/ 481 h 1128"/>
                <a:gd name="T48" fmla="*/ 800 w 2488"/>
                <a:gd name="T49" fmla="*/ 300 h 1128"/>
                <a:gd name="T50" fmla="*/ 642 w 2488"/>
                <a:gd name="T51" fmla="*/ 233 h 1128"/>
                <a:gd name="T52" fmla="*/ 1979 w 2488"/>
                <a:gd name="T53" fmla="*/ 3 h 1128"/>
                <a:gd name="T54" fmla="*/ 2192 w 2488"/>
                <a:gd name="T55" fmla="*/ 68 h 1128"/>
                <a:gd name="T56" fmla="*/ 2358 w 2488"/>
                <a:gd name="T57" fmla="*/ 206 h 1128"/>
                <a:gd name="T58" fmla="*/ 2461 w 2488"/>
                <a:gd name="T59" fmla="*/ 397 h 1128"/>
                <a:gd name="T60" fmla="*/ 2485 w 2488"/>
                <a:gd name="T61" fmla="*/ 621 h 1128"/>
                <a:gd name="T62" fmla="*/ 2419 w 2488"/>
                <a:gd name="T63" fmla="*/ 832 h 1128"/>
                <a:gd name="T64" fmla="*/ 2281 w 2488"/>
                <a:gd name="T65" fmla="*/ 999 h 1128"/>
                <a:gd name="T66" fmla="*/ 2090 w 2488"/>
                <a:gd name="T67" fmla="*/ 1102 h 1128"/>
                <a:gd name="T68" fmla="*/ 1869 w 2488"/>
                <a:gd name="T69" fmla="*/ 1125 h 1128"/>
                <a:gd name="T70" fmla="*/ 1671 w 2488"/>
                <a:gd name="T71" fmla="*/ 1074 h 1128"/>
                <a:gd name="T72" fmla="*/ 1477 w 2488"/>
                <a:gd name="T73" fmla="*/ 954 h 1128"/>
                <a:gd name="T74" fmla="*/ 1246 w 2488"/>
                <a:gd name="T75" fmla="*/ 734 h 1128"/>
                <a:gd name="T76" fmla="*/ 1138 w 2488"/>
                <a:gd name="T77" fmla="*/ 842 h 1128"/>
                <a:gd name="T78" fmla="*/ 935 w 2488"/>
                <a:gd name="T79" fmla="*/ 1010 h 1128"/>
                <a:gd name="T80" fmla="*/ 757 w 2488"/>
                <a:gd name="T81" fmla="*/ 1097 h 1128"/>
                <a:gd name="T82" fmla="*/ 565 w 2488"/>
                <a:gd name="T83" fmla="*/ 1128 h 1128"/>
                <a:gd name="T84" fmla="*/ 345 w 2488"/>
                <a:gd name="T85" fmla="*/ 1083 h 1128"/>
                <a:gd name="T86" fmla="*/ 166 w 2488"/>
                <a:gd name="T87" fmla="*/ 963 h 1128"/>
                <a:gd name="T88" fmla="*/ 45 w 2488"/>
                <a:gd name="T89" fmla="*/ 783 h 1128"/>
                <a:gd name="T90" fmla="*/ 0 w 2488"/>
                <a:gd name="T91" fmla="*/ 564 h 1128"/>
                <a:gd name="T92" fmla="*/ 45 w 2488"/>
                <a:gd name="T93" fmla="*/ 344 h 1128"/>
                <a:gd name="T94" fmla="*/ 166 w 2488"/>
                <a:gd name="T95" fmla="*/ 166 h 1128"/>
                <a:gd name="T96" fmla="*/ 345 w 2488"/>
                <a:gd name="T97" fmla="*/ 44 h 1128"/>
                <a:gd name="T98" fmla="*/ 565 w 2488"/>
                <a:gd name="T99" fmla="*/ 0 h 1128"/>
                <a:gd name="T100" fmla="*/ 770 w 2488"/>
                <a:gd name="T101" fmla="*/ 36 h 1128"/>
                <a:gd name="T102" fmla="*/ 964 w 2488"/>
                <a:gd name="T103" fmla="*/ 138 h 1128"/>
                <a:gd name="T104" fmla="*/ 1173 w 2488"/>
                <a:gd name="T105" fmla="*/ 322 h 1128"/>
                <a:gd name="T106" fmla="*/ 1301 w 2488"/>
                <a:gd name="T107" fmla="*/ 336 h 1128"/>
                <a:gd name="T108" fmla="*/ 1511 w 2488"/>
                <a:gd name="T109" fmla="*/ 147 h 1128"/>
                <a:gd name="T110" fmla="*/ 1687 w 2488"/>
                <a:gd name="T111" fmla="*/ 47 h 1128"/>
                <a:gd name="T112" fmla="*/ 1872 w 2488"/>
                <a:gd name="T113" fmla="*/ 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8" h="1128">
                  <a:moveTo>
                    <a:pt x="1923" y="226"/>
                  </a:moveTo>
                  <a:lnTo>
                    <a:pt x="1889" y="227"/>
                  </a:lnTo>
                  <a:lnTo>
                    <a:pt x="1856" y="231"/>
                  </a:lnTo>
                  <a:lnTo>
                    <a:pt x="1825" y="238"/>
                  </a:lnTo>
                  <a:lnTo>
                    <a:pt x="1777" y="254"/>
                  </a:lnTo>
                  <a:lnTo>
                    <a:pt x="1730" y="276"/>
                  </a:lnTo>
                  <a:lnTo>
                    <a:pt x="1683" y="303"/>
                  </a:lnTo>
                  <a:lnTo>
                    <a:pt x="1635" y="336"/>
                  </a:lnTo>
                  <a:lnTo>
                    <a:pt x="1588" y="375"/>
                  </a:lnTo>
                  <a:lnTo>
                    <a:pt x="1540" y="417"/>
                  </a:lnTo>
                  <a:lnTo>
                    <a:pt x="1477" y="480"/>
                  </a:lnTo>
                  <a:lnTo>
                    <a:pt x="1411" y="547"/>
                  </a:lnTo>
                  <a:lnTo>
                    <a:pt x="1397" y="564"/>
                  </a:lnTo>
                  <a:lnTo>
                    <a:pt x="1418" y="587"/>
                  </a:lnTo>
                  <a:lnTo>
                    <a:pt x="1474" y="647"/>
                  </a:lnTo>
                  <a:lnTo>
                    <a:pt x="1531" y="703"/>
                  </a:lnTo>
                  <a:lnTo>
                    <a:pt x="1588" y="754"/>
                  </a:lnTo>
                  <a:lnTo>
                    <a:pt x="1645" y="799"/>
                  </a:lnTo>
                  <a:lnTo>
                    <a:pt x="1688" y="827"/>
                  </a:lnTo>
                  <a:lnTo>
                    <a:pt x="1730" y="852"/>
                  </a:lnTo>
                  <a:lnTo>
                    <a:pt x="1773" y="872"/>
                  </a:lnTo>
                  <a:lnTo>
                    <a:pt x="1809" y="885"/>
                  </a:lnTo>
                  <a:lnTo>
                    <a:pt x="1846" y="894"/>
                  </a:lnTo>
                  <a:lnTo>
                    <a:pt x="1884" y="901"/>
                  </a:lnTo>
                  <a:lnTo>
                    <a:pt x="1923" y="902"/>
                  </a:lnTo>
                  <a:lnTo>
                    <a:pt x="1957" y="901"/>
                  </a:lnTo>
                  <a:lnTo>
                    <a:pt x="1990" y="895"/>
                  </a:lnTo>
                  <a:lnTo>
                    <a:pt x="2023" y="887"/>
                  </a:lnTo>
                  <a:lnTo>
                    <a:pt x="2054" y="876"/>
                  </a:lnTo>
                  <a:lnTo>
                    <a:pt x="2084" y="862"/>
                  </a:lnTo>
                  <a:lnTo>
                    <a:pt x="2111" y="844"/>
                  </a:lnTo>
                  <a:lnTo>
                    <a:pt x="2143" y="821"/>
                  </a:lnTo>
                  <a:lnTo>
                    <a:pt x="2171" y="794"/>
                  </a:lnTo>
                  <a:lnTo>
                    <a:pt x="2196" y="763"/>
                  </a:lnTo>
                  <a:lnTo>
                    <a:pt x="2217" y="731"/>
                  </a:lnTo>
                  <a:lnTo>
                    <a:pt x="2234" y="695"/>
                  </a:lnTo>
                  <a:lnTo>
                    <a:pt x="2249" y="654"/>
                  </a:lnTo>
                  <a:lnTo>
                    <a:pt x="2258" y="610"/>
                  </a:lnTo>
                  <a:lnTo>
                    <a:pt x="2261" y="564"/>
                  </a:lnTo>
                  <a:lnTo>
                    <a:pt x="2259" y="529"/>
                  </a:lnTo>
                  <a:lnTo>
                    <a:pt x="2254" y="495"/>
                  </a:lnTo>
                  <a:lnTo>
                    <a:pt x="2246" y="464"/>
                  </a:lnTo>
                  <a:lnTo>
                    <a:pt x="2235" y="432"/>
                  </a:lnTo>
                  <a:lnTo>
                    <a:pt x="2220" y="403"/>
                  </a:lnTo>
                  <a:lnTo>
                    <a:pt x="2204" y="375"/>
                  </a:lnTo>
                  <a:lnTo>
                    <a:pt x="2179" y="344"/>
                  </a:lnTo>
                  <a:lnTo>
                    <a:pt x="2152" y="316"/>
                  </a:lnTo>
                  <a:lnTo>
                    <a:pt x="2123" y="291"/>
                  </a:lnTo>
                  <a:lnTo>
                    <a:pt x="2089" y="270"/>
                  </a:lnTo>
                  <a:lnTo>
                    <a:pt x="2054" y="252"/>
                  </a:lnTo>
                  <a:lnTo>
                    <a:pt x="2012" y="237"/>
                  </a:lnTo>
                  <a:lnTo>
                    <a:pt x="1968" y="229"/>
                  </a:lnTo>
                  <a:lnTo>
                    <a:pt x="1923" y="226"/>
                  </a:lnTo>
                  <a:close/>
                  <a:moveTo>
                    <a:pt x="565" y="226"/>
                  </a:moveTo>
                  <a:lnTo>
                    <a:pt x="531" y="228"/>
                  </a:lnTo>
                  <a:lnTo>
                    <a:pt x="498" y="233"/>
                  </a:lnTo>
                  <a:lnTo>
                    <a:pt x="465" y="240"/>
                  </a:lnTo>
                  <a:lnTo>
                    <a:pt x="434" y="252"/>
                  </a:lnTo>
                  <a:lnTo>
                    <a:pt x="404" y="267"/>
                  </a:lnTo>
                  <a:lnTo>
                    <a:pt x="377" y="283"/>
                  </a:lnTo>
                  <a:lnTo>
                    <a:pt x="345" y="307"/>
                  </a:lnTo>
                  <a:lnTo>
                    <a:pt x="317" y="334"/>
                  </a:lnTo>
                  <a:lnTo>
                    <a:pt x="292" y="364"/>
                  </a:lnTo>
                  <a:lnTo>
                    <a:pt x="271" y="397"/>
                  </a:lnTo>
                  <a:lnTo>
                    <a:pt x="254" y="432"/>
                  </a:lnTo>
                  <a:lnTo>
                    <a:pt x="239" y="474"/>
                  </a:lnTo>
                  <a:lnTo>
                    <a:pt x="230" y="517"/>
                  </a:lnTo>
                  <a:lnTo>
                    <a:pt x="226" y="564"/>
                  </a:lnTo>
                  <a:lnTo>
                    <a:pt x="229" y="598"/>
                  </a:lnTo>
                  <a:lnTo>
                    <a:pt x="234" y="632"/>
                  </a:lnTo>
                  <a:lnTo>
                    <a:pt x="242" y="664"/>
                  </a:lnTo>
                  <a:lnTo>
                    <a:pt x="254" y="695"/>
                  </a:lnTo>
                  <a:lnTo>
                    <a:pt x="268" y="725"/>
                  </a:lnTo>
                  <a:lnTo>
                    <a:pt x="284" y="753"/>
                  </a:lnTo>
                  <a:lnTo>
                    <a:pt x="309" y="784"/>
                  </a:lnTo>
                  <a:lnTo>
                    <a:pt x="336" y="813"/>
                  </a:lnTo>
                  <a:lnTo>
                    <a:pt x="365" y="837"/>
                  </a:lnTo>
                  <a:lnTo>
                    <a:pt x="399" y="859"/>
                  </a:lnTo>
                  <a:lnTo>
                    <a:pt x="434" y="876"/>
                  </a:lnTo>
                  <a:lnTo>
                    <a:pt x="476" y="890"/>
                  </a:lnTo>
                  <a:lnTo>
                    <a:pt x="520" y="900"/>
                  </a:lnTo>
                  <a:lnTo>
                    <a:pt x="565" y="902"/>
                  </a:lnTo>
                  <a:lnTo>
                    <a:pt x="599" y="901"/>
                  </a:lnTo>
                  <a:lnTo>
                    <a:pt x="632" y="897"/>
                  </a:lnTo>
                  <a:lnTo>
                    <a:pt x="663" y="889"/>
                  </a:lnTo>
                  <a:lnTo>
                    <a:pt x="710" y="873"/>
                  </a:lnTo>
                  <a:lnTo>
                    <a:pt x="758" y="852"/>
                  </a:lnTo>
                  <a:lnTo>
                    <a:pt x="805" y="825"/>
                  </a:lnTo>
                  <a:lnTo>
                    <a:pt x="853" y="792"/>
                  </a:lnTo>
                  <a:lnTo>
                    <a:pt x="900" y="754"/>
                  </a:lnTo>
                  <a:lnTo>
                    <a:pt x="948" y="711"/>
                  </a:lnTo>
                  <a:lnTo>
                    <a:pt x="1011" y="649"/>
                  </a:lnTo>
                  <a:lnTo>
                    <a:pt x="1077" y="580"/>
                  </a:lnTo>
                  <a:lnTo>
                    <a:pt x="1091" y="564"/>
                  </a:lnTo>
                  <a:lnTo>
                    <a:pt x="1070" y="541"/>
                  </a:lnTo>
                  <a:lnTo>
                    <a:pt x="1014" y="481"/>
                  </a:lnTo>
                  <a:lnTo>
                    <a:pt x="957" y="425"/>
                  </a:lnTo>
                  <a:lnTo>
                    <a:pt x="900" y="374"/>
                  </a:lnTo>
                  <a:lnTo>
                    <a:pt x="843" y="330"/>
                  </a:lnTo>
                  <a:lnTo>
                    <a:pt x="800" y="300"/>
                  </a:lnTo>
                  <a:lnTo>
                    <a:pt x="758" y="276"/>
                  </a:lnTo>
                  <a:lnTo>
                    <a:pt x="715" y="256"/>
                  </a:lnTo>
                  <a:lnTo>
                    <a:pt x="679" y="242"/>
                  </a:lnTo>
                  <a:lnTo>
                    <a:pt x="642" y="233"/>
                  </a:lnTo>
                  <a:lnTo>
                    <a:pt x="604" y="228"/>
                  </a:lnTo>
                  <a:lnTo>
                    <a:pt x="565" y="226"/>
                  </a:lnTo>
                  <a:close/>
                  <a:moveTo>
                    <a:pt x="1923" y="0"/>
                  </a:moveTo>
                  <a:lnTo>
                    <a:pt x="1979" y="3"/>
                  </a:lnTo>
                  <a:lnTo>
                    <a:pt x="2036" y="11"/>
                  </a:lnTo>
                  <a:lnTo>
                    <a:pt x="2090" y="25"/>
                  </a:lnTo>
                  <a:lnTo>
                    <a:pt x="2143" y="44"/>
                  </a:lnTo>
                  <a:lnTo>
                    <a:pt x="2192" y="68"/>
                  </a:lnTo>
                  <a:lnTo>
                    <a:pt x="2238" y="96"/>
                  </a:lnTo>
                  <a:lnTo>
                    <a:pt x="2281" y="129"/>
                  </a:lnTo>
                  <a:lnTo>
                    <a:pt x="2321" y="166"/>
                  </a:lnTo>
                  <a:lnTo>
                    <a:pt x="2358" y="206"/>
                  </a:lnTo>
                  <a:lnTo>
                    <a:pt x="2391" y="249"/>
                  </a:lnTo>
                  <a:lnTo>
                    <a:pt x="2419" y="295"/>
                  </a:lnTo>
                  <a:lnTo>
                    <a:pt x="2442" y="344"/>
                  </a:lnTo>
                  <a:lnTo>
                    <a:pt x="2461" y="397"/>
                  </a:lnTo>
                  <a:lnTo>
                    <a:pt x="2476" y="450"/>
                  </a:lnTo>
                  <a:lnTo>
                    <a:pt x="2485" y="506"/>
                  </a:lnTo>
                  <a:lnTo>
                    <a:pt x="2488" y="564"/>
                  </a:lnTo>
                  <a:lnTo>
                    <a:pt x="2485" y="621"/>
                  </a:lnTo>
                  <a:lnTo>
                    <a:pt x="2476" y="677"/>
                  </a:lnTo>
                  <a:lnTo>
                    <a:pt x="2461" y="732"/>
                  </a:lnTo>
                  <a:lnTo>
                    <a:pt x="2442" y="783"/>
                  </a:lnTo>
                  <a:lnTo>
                    <a:pt x="2419" y="832"/>
                  </a:lnTo>
                  <a:lnTo>
                    <a:pt x="2391" y="879"/>
                  </a:lnTo>
                  <a:lnTo>
                    <a:pt x="2358" y="923"/>
                  </a:lnTo>
                  <a:lnTo>
                    <a:pt x="2321" y="963"/>
                  </a:lnTo>
                  <a:lnTo>
                    <a:pt x="2281" y="999"/>
                  </a:lnTo>
                  <a:lnTo>
                    <a:pt x="2238" y="1031"/>
                  </a:lnTo>
                  <a:lnTo>
                    <a:pt x="2192" y="1059"/>
                  </a:lnTo>
                  <a:lnTo>
                    <a:pt x="2143" y="1083"/>
                  </a:lnTo>
                  <a:lnTo>
                    <a:pt x="2090" y="1102"/>
                  </a:lnTo>
                  <a:lnTo>
                    <a:pt x="2036" y="1116"/>
                  </a:lnTo>
                  <a:lnTo>
                    <a:pt x="1979" y="1125"/>
                  </a:lnTo>
                  <a:lnTo>
                    <a:pt x="1923" y="1128"/>
                  </a:lnTo>
                  <a:lnTo>
                    <a:pt x="1869" y="1125"/>
                  </a:lnTo>
                  <a:lnTo>
                    <a:pt x="1816" y="1118"/>
                  </a:lnTo>
                  <a:lnTo>
                    <a:pt x="1767" y="1108"/>
                  </a:lnTo>
                  <a:lnTo>
                    <a:pt x="1717" y="1092"/>
                  </a:lnTo>
                  <a:lnTo>
                    <a:pt x="1671" y="1074"/>
                  </a:lnTo>
                  <a:lnTo>
                    <a:pt x="1626" y="1052"/>
                  </a:lnTo>
                  <a:lnTo>
                    <a:pt x="1573" y="1023"/>
                  </a:lnTo>
                  <a:lnTo>
                    <a:pt x="1524" y="990"/>
                  </a:lnTo>
                  <a:lnTo>
                    <a:pt x="1477" y="954"/>
                  </a:lnTo>
                  <a:lnTo>
                    <a:pt x="1430" y="915"/>
                  </a:lnTo>
                  <a:lnTo>
                    <a:pt x="1386" y="876"/>
                  </a:lnTo>
                  <a:lnTo>
                    <a:pt x="1314" y="806"/>
                  </a:lnTo>
                  <a:lnTo>
                    <a:pt x="1246" y="734"/>
                  </a:lnTo>
                  <a:lnTo>
                    <a:pt x="1243" y="732"/>
                  </a:lnTo>
                  <a:lnTo>
                    <a:pt x="1237" y="740"/>
                  </a:lnTo>
                  <a:lnTo>
                    <a:pt x="1187" y="792"/>
                  </a:lnTo>
                  <a:lnTo>
                    <a:pt x="1138" y="842"/>
                  </a:lnTo>
                  <a:lnTo>
                    <a:pt x="1086" y="891"/>
                  </a:lnTo>
                  <a:lnTo>
                    <a:pt x="1032" y="937"/>
                  </a:lnTo>
                  <a:lnTo>
                    <a:pt x="977" y="981"/>
                  </a:lnTo>
                  <a:lnTo>
                    <a:pt x="935" y="1010"/>
                  </a:lnTo>
                  <a:lnTo>
                    <a:pt x="891" y="1036"/>
                  </a:lnTo>
                  <a:lnTo>
                    <a:pt x="847" y="1059"/>
                  </a:lnTo>
                  <a:lnTo>
                    <a:pt x="801" y="1080"/>
                  </a:lnTo>
                  <a:lnTo>
                    <a:pt x="757" y="1097"/>
                  </a:lnTo>
                  <a:lnTo>
                    <a:pt x="710" y="1110"/>
                  </a:lnTo>
                  <a:lnTo>
                    <a:pt x="664" y="1120"/>
                  </a:lnTo>
                  <a:lnTo>
                    <a:pt x="616" y="1125"/>
                  </a:lnTo>
                  <a:lnTo>
                    <a:pt x="565" y="1128"/>
                  </a:lnTo>
                  <a:lnTo>
                    <a:pt x="508" y="1125"/>
                  </a:lnTo>
                  <a:lnTo>
                    <a:pt x="452" y="1116"/>
                  </a:lnTo>
                  <a:lnTo>
                    <a:pt x="398" y="1102"/>
                  </a:lnTo>
                  <a:lnTo>
                    <a:pt x="345" y="1083"/>
                  </a:lnTo>
                  <a:lnTo>
                    <a:pt x="296" y="1059"/>
                  </a:lnTo>
                  <a:lnTo>
                    <a:pt x="250" y="1031"/>
                  </a:lnTo>
                  <a:lnTo>
                    <a:pt x="206" y="999"/>
                  </a:lnTo>
                  <a:lnTo>
                    <a:pt x="166" y="963"/>
                  </a:lnTo>
                  <a:lnTo>
                    <a:pt x="130" y="923"/>
                  </a:lnTo>
                  <a:lnTo>
                    <a:pt x="97" y="879"/>
                  </a:lnTo>
                  <a:lnTo>
                    <a:pt x="69" y="832"/>
                  </a:lnTo>
                  <a:lnTo>
                    <a:pt x="45" y="783"/>
                  </a:lnTo>
                  <a:lnTo>
                    <a:pt x="27" y="732"/>
                  </a:lnTo>
                  <a:lnTo>
                    <a:pt x="12" y="677"/>
                  </a:lnTo>
                  <a:lnTo>
                    <a:pt x="3" y="621"/>
                  </a:lnTo>
                  <a:lnTo>
                    <a:pt x="0" y="564"/>
                  </a:lnTo>
                  <a:lnTo>
                    <a:pt x="3" y="506"/>
                  </a:lnTo>
                  <a:lnTo>
                    <a:pt x="12" y="450"/>
                  </a:lnTo>
                  <a:lnTo>
                    <a:pt x="27" y="397"/>
                  </a:lnTo>
                  <a:lnTo>
                    <a:pt x="45" y="344"/>
                  </a:lnTo>
                  <a:lnTo>
                    <a:pt x="69" y="295"/>
                  </a:lnTo>
                  <a:lnTo>
                    <a:pt x="97" y="249"/>
                  </a:lnTo>
                  <a:lnTo>
                    <a:pt x="130" y="206"/>
                  </a:lnTo>
                  <a:lnTo>
                    <a:pt x="166" y="166"/>
                  </a:lnTo>
                  <a:lnTo>
                    <a:pt x="206" y="129"/>
                  </a:lnTo>
                  <a:lnTo>
                    <a:pt x="250" y="96"/>
                  </a:lnTo>
                  <a:lnTo>
                    <a:pt x="296" y="68"/>
                  </a:lnTo>
                  <a:lnTo>
                    <a:pt x="345" y="44"/>
                  </a:lnTo>
                  <a:lnTo>
                    <a:pt x="398" y="25"/>
                  </a:lnTo>
                  <a:lnTo>
                    <a:pt x="452" y="11"/>
                  </a:lnTo>
                  <a:lnTo>
                    <a:pt x="508" y="3"/>
                  </a:lnTo>
                  <a:lnTo>
                    <a:pt x="565" y="0"/>
                  </a:lnTo>
                  <a:lnTo>
                    <a:pt x="619" y="2"/>
                  </a:lnTo>
                  <a:lnTo>
                    <a:pt x="672" y="9"/>
                  </a:lnTo>
                  <a:lnTo>
                    <a:pt x="721" y="21"/>
                  </a:lnTo>
                  <a:lnTo>
                    <a:pt x="770" y="36"/>
                  </a:lnTo>
                  <a:lnTo>
                    <a:pt x="817" y="54"/>
                  </a:lnTo>
                  <a:lnTo>
                    <a:pt x="862" y="75"/>
                  </a:lnTo>
                  <a:lnTo>
                    <a:pt x="915" y="105"/>
                  </a:lnTo>
                  <a:lnTo>
                    <a:pt x="964" y="138"/>
                  </a:lnTo>
                  <a:lnTo>
                    <a:pt x="1011" y="174"/>
                  </a:lnTo>
                  <a:lnTo>
                    <a:pt x="1058" y="212"/>
                  </a:lnTo>
                  <a:lnTo>
                    <a:pt x="1102" y="252"/>
                  </a:lnTo>
                  <a:lnTo>
                    <a:pt x="1173" y="322"/>
                  </a:lnTo>
                  <a:lnTo>
                    <a:pt x="1242" y="395"/>
                  </a:lnTo>
                  <a:lnTo>
                    <a:pt x="1244" y="396"/>
                  </a:lnTo>
                  <a:lnTo>
                    <a:pt x="1251" y="387"/>
                  </a:lnTo>
                  <a:lnTo>
                    <a:pt x="1301" y="336"/>
                  </a:lnTo>
                  <a:lnTo>
                    <a:pt x="1350" y="285"/>
                  </a:lnTo>
                  <a:lnTo>
                    <a:pt x="1402" y="237"/>
                  </a:lnTo>
                  <a:lnTo>
                    <a:pt x="1455" y="190"/>
                  </a:lnTo>
                  <a:lnTo>
                    <a:pt x="1511" y="147"/>
                  </a:lnTo>
                  <a:lnTo>
                    <a:pt x="1553" y="118"/>
                  </a:lnTo>
                  <a:lnTo>
                    <a:pt x="1596" y="92"/>
                  </a:lnTo>
                  <a:lnTo>
                    <a:pt x="1641" y="68"/>
                  </a:lnTo>
                  <a:lnTo>
                    <a:pt x="1687" y="47"/>
                  </a:lnTo>
                  <a:lnTo>
                    <a:pt x="1731" y="31"/>
                  </a:lnTo>
                  <a:lnTo>
                    <a:pt x="1777" y="18"/>
                  </a:lnTo>
                  <a:lnTo>
                    <a:pt x="1824" y="8"/>
                  </a:lnTo>
                  <a:lnTo>
                    <a:pt x="1872" y="2"/>
                  </a:lnTo>
                  <a:lnTo>
                    <a:pt x="192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6" name="Group 369">
            <a:extLst>
              <a:ext uri="{FF2B5EF4-FFF2-40B4-BE49-F238E27FC236}">
                <a16:creationId xmlns:a16="http://schemas.microsoft.com/office/drawing/2014/main" id="{C9876C38-2CB3-4FEC-BB4A-F4762455D8C2}"/>
              </a:ext>
            </a:extLst>
          </p:cNvPr>
          <p:cNvGrpSpPr>
            <a:grpSpLocks/>
          </p:cNvGrpSpPr>
          <p:nvPr/>
        </p:nvGrpSpPr>
        <p:grpSpPr bwMode="gray">
          <a:xfrm>
            <a:off x="9013585" y="4938232"/>
            <a:ext cx="943671" cy="407988"/>
            <a:chOff x="7913666" y="2513969"/>
            <a:chExt cx="943671" cy="407988"/>
          </a:xfrm>
          <a:solidFill>
            <a:schemeClr val="tx2"/>
          </a:solidFill>
        </p:grpSpPr>
        <p:sp>
          <p:nvSpPr>
            <p:cNvPr id="137" name="Freeform 92">
              <a:extLst>
                <a:ext uri="{FF2B5EF4-FFF2-40B4-BE49-F238E27FC236}">
                  <a16:creationId xmlns:a16="http://schemas.microsoft.com/office/drawing/2014/main" id="{2C589733-F9CF-4F12-AB01-BB469B14F2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13666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Freeform 92">
              <a:extLst>
                <a:ext uri="{FF2B5EF4-FFF2-40B4-BE49-F238E27FC236}">
                  <a16:creationId xmlns:a16="http://schemas.microsoft.com/office/drawing/2014/main" id="{C0D2A8CE-08E6-4D49-839E-AB202C9B64C5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8449349" y="2513969"/>
              <a:ext cx="407988" cy="407988"/>
            </a:xfrm>
            <a:custGeom>
              <a:avLst/>
              <a:gdLst>
                <a:gd name="T0" fmla="*/ 2151 w 3347"/>
                <a:gd name="T1" fmla="*/ 171 h 3347"/>
                <a:gd name="T2" fmla="*/ 1999 w 3347"/>
                <a:gd name="T3" fmla="*/ 336 h 3347"/>
                <a:gd name="T4" fmla="*/ 1834 w 3347"/>
                <a:gd name="T5" fmla="*/ 662 h 3347"/>
                <a:gd name="T6" fmla="*/ 1552 w 3347"/>
                <a:gd name="T7" fmla="*/ 1074 h 3347"/>
                <a:gd name="T8" fmla="*/ 1087 w 3347"/>
                <a:gd name="T9" fmla="*/ 1468 h 3347"/>
                <a:gd name="T10" fmla="*/ 1811 w 3347"/>
                <a:gd name="T11" fmla="*/ 3164 h 3347"/>
                <a:gd name="T12" fmla="*/ 2677 w 3347"/>
                <a:gd name="T13" fmla="*/ 3179 h 3347"/>
                <a:gd name="T14" fmla="*/ 2885 w 3347"/>
                <a:gd name="T15" fmla="*/ 3102 h 3347"/>
                <a:gd name="T16" fmla="*/ 2923 w 3347"/>
                <a:gd name="T17" fmla="*/ 2920 h 3347"/>
                <a:gd name="T18" fmla="*/ 2863 w 3347"/>
                <a:gd name="T19" fmla="*/ 2821 h 3347"/>
                <a:gd name="T20" fmla="*/ 2862 w 3347"/>
                <a:gd name="T21" fmla="*/ 2719 h 3347"/>
                <a:gd name="T22" fmla="*/ 2969 w 3347"/>
                <a:gd name="T23" fmla="*/ 2644 h 3347"/>
                <a:gd name="T24" fmla="*/ 3007 w 3347"/>
                <a:gd name="T25" fmla="*/ 2503 h 3347"/>
                <a:gd name="T26" fmla="*/ 2947 w 3347"/>
                <a:gd name="T27" fmla="*/ 2402 h 3347"/>
                <a:gd name="T28" fmla="*/ 2946 w 3347"/>
                <a:gd name="T29" fmla="*/ 2301 h 3347"/>
                <a:gd name="T30" fmla="*/ 3052 w 3347"/>
                <a:gd name="T31" fmla="*/ 2225 h 3347"/>
                <a:gd name="T32" fmla="*/ 3090 w 3347"/>
                <a:gd name="T33" fmla="*/ 2084 h 3347"/>
                <a:gd name="T34" fmla="*/ 3031 w 3347"/>
                <a:gd name="T35" fmla="*/ 1984 h 3347"/>
                <a:gd name="T36" fmla="*/ 3029 w 3347"/>
                <a:gd name="T37" fmla="*/ 1883 h 3347"/>
                <a:gd name="T38" fmla="*/ 3136 w 3347"/>
                <a:gd name="T39" fmla="*/ 1807 h 3347"/>
                <a:gd name="T40" fmla="*/ 3174 w 3347"/>
                <a:gd name="T41" fmla="*/ 1664 h 3347"/>
                <a:gd name="T42" fmla="*/ 3053 w 3347"/>
                <a:gd name="T43" fmla="*/ 1536 h 3347"/>
                <a:gd name="T44" fmla="*/ 2679 w 3347"/>
                <a:gd name="T45" fmla="*/ 1506 h 3347"/>
                <a:gd name="T46" fmla="*/ 2258 w 3347"/>
                <a:gd name="T47" fmla="*/ 1491 h 3347"/>
                <a:gd name="T48" fmla="*/ 2082 w 3347"/>
                <a:gd name="T49" fmla="*/ 1421 h 3347"/>
                <a:gd name="T50" fmla="*/ 2153 w 3347"/>
                <a:gd name="T51" fmla="*/ 1205 h 3347"/>
                <a:gd name="T52" fmla="*/ 2297 w 3347"/>
                <a:gd name="T53" fmla="*/ 765 h 3347"/>
                <a:gd name="T54" fmla="*/ 2339 w 3347"/>
                <a:gd name="T55" fmla="*/ 343 h 3347"/>
                <a:gd name="T56" fmla="*/ 2257 w 3347"/>
                <a:gd name="T57" fmla="*/ 183 h 3347"/>
                <a:gd name="T58" fmla="*/ 2301 w 3347"/>
                <a:gd name="T59" fmla="*/ 19 h 3347"/>
                <a:gd name="T60" fmla="*/ 2476 w 3347"/>
                <a:gd name="T61" fmla="*/ 195 h 3347"/>
                <a:gd name="T62" fmla="*/ 2488 w 3347"/>
                <a:gd name="T63" fmla="*/ 652 h 3347"/>
                <a:gd name="T64" fmla="*/ 2395 w 3347"/>
                <a:gd name="T65" fmla="*/ 1333 h 3347"/>
                <a:gd name="T66" fmla="*/ 3018 w 3347"/>
                <a:gd name="T67" fmla="*/ 1355 h 3347"/>
                <a:gd name="T68" fmla="*/ 3286 w 3347"/>
                <a:gd name="T69" fmla="*/ 1509 h 3347"/>
                <a:gd name="T70" fmla="*/ 3338 w 3347"/>
                <a:gd name="T71" fmla="*/ 1786 h 3347"/>
                <a:gd name="T72" fmla="*/ 3218 w 3347"/>
                <a:gd name="T73" fmla="*/ 1958 h 3347"/>
                <a:gd name="T74" fmla="*/ 3248 w 3347"/>
                <a:gd name="T75" fmla="*/ 2217 h 3347"/>
                <a:gd name="T76" fmla="*/ 3150 w 3347"/>
                <a:gd name="T77" fmla="*/ 2414 h 3347"/>
                <a:gd name="T78" fmla="*/ 3152 w 3347"/>
                <a:gd name="T79" fmla="*/ 2669 h 3347"/>
                <a:gd name="T80" fmla="*/ 3067 w 3347"/>
                <a:gd name="T81" fmla="*/ 2840 h 3347"/>
                <a:gd name="T82" fmla="*/ 3091 w 3347"/>
                <a:gd name="T83" fmla="*/ 2905 h 3347"/>
                <a:gd name="T84" fmla="*/ 3086 w 3347"/>
                <a:gd name="T85" fmla="*/ 3064 h 3347"/>
                <a:gd name="T86" fmla="*/ 2909 w 3347"/>
                <a:gd name="T87" fmla="*/ 3293 h 3347"/>
                <a:gd name="T88" fmla="*/ 2054 w 3347"/>
                <a:gd name="T89" fmla="*/ 3345 h 3347"/>
                <a:gd name="T90" fmla="*/ 1195 w 3347"/>
                <a:gd name="T91" fmla="*/ 3261 h 3347"/>
                <a:gd name="T92" fmla="*/ 1026 w 3347"/>
                <a:gd name="T93" fmla="*/ 3344 h 3347"/>
                <a:gd name="T94" fmla="*/ 3 w 3347"/>
                <a:gd name="T95" fmla="*/ 3286 h 3347"/>
                <a:gd name="T96" fmla="*/ 61 w 3347"/>
                <a:gd name="T97" fmla="*/ 1175 h 3347"/>
                <a:gd name="T98" fmla="*/ 1084 w 3347"/>
                <a:gd name="T99" fmla="*/ 1234 h 3347"/>
                <a:gd name="T100" fmla="*/ 1332 w 3347"/>
                <a:gd name="T101" fmla="*/ 1065 h 3347"/>
                <a:gd name="T102" fmla="*/ 1607 w 3347"/>
                <a:gd name="T103" fmla="*/ 720 h 3347"/>
                <a:gd name="T104" fmla="*/ 1722 w 3347"/>
                <a:gd name="T105" fmla="*/ 511 h 3347"/>
                <a:gd name="T106" fmla="*/ 1840 w 3347"/>
                <a:gd name="T107" fmla="*/ 282 h 3347"/>
                <a:gd name="T108" fmla="*/ 1958 w 3347"/>
                <a:gd name="T109" fmla="*/ 102 h 3347"/>
                <a:gd name="T110" fmla="*/ 2175 w 3347"/>
                <a:gd name="T111" fmla="*/ 0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7" h="3347">
                  <a:moveTo>
                    <a:pt x="168" y="1339"/>
                  </a:moveTo>
                  <a:lnTo>
                    <a:pt x="168" y="3179"/>
                  </a:lnTo>
                  <a:lnTo>
                    <a:pt x="921" y="3179"/>
                  </a:lnTo>
                  <a:lnTo>
                    <a:pt x="921" y="1339"/>
                  </a:lnTo>
                  <a:lnTo>
                    <a:pt x="168" y="1339"/>
                  </a:lnTo>
                  <a:close/>
                  <a:moveTo>
                    <a:pt x="2175" y="168"/>
                  </a:moveTo>
                  <a:lnTo>
                    <a:pt x="2151" y="171"/>
                  </a:lnTo>
                  <a:lnTo>
                    <a:pt x="2128" y="180"/>
                  </a:lnTo>
                  <a:lnTo>
                    <a:pt x="2104" y="194"/>
                  </a:lnTo>
                  <a:lnTo>
                    <a:pt x="2083" y="214"/>
                  </a:lnTo>
                  <a:lnTo>
                    <a:pt x="2062" y="239"/>
                  </a:lnTo>
                  <a:lnTo>
                    <a:pt x="2040" y="267"/>
                  </a:lnTo>
                  <a:lnTo>
                    <a:pt x="2020" y="300"/>
                  </a:lnTo>
                  <a:lnTo>
                    <a:pt x="1999" y="336"/>
                  </a:lnTo>
                  <a:lnTo>
                    <a:pt x="1977" y="376"/>
                  </a:lnTo>
                  <a:lnTo>
                    <a:pt x="1956" y="419"/>
                  </a:lnTo>
                  <a:lnTo>
                    <a:pt x="1934" y="463"/>
                  </a:lnTo>
                  <a:lnTo>
                    <a:pt x="1910" y="511"/>
                  </a:lnTo>
                  <a:lnTo>
                    <a:pt x="1886" y="560"/>
                  </a:lnTo>
                  <a:lnTo>
                    <a:pt x="1860" y="611"/>
                  </a:lnTo>
                  <a:lnTo>
                    <a:pt x="1834" y="662"/>
                  </a:lnTo>
                  <a:lnTo>
                    <a:pt x="1806" y="714"/>
                  </a:lnTo>
                  <a:lnTo>
                    <a:pt x="1776" y="766"/>
                  </a:lnTo>
                  <a:lnTo>
                    <a:pt x="1744" y="818"/>
                  </a:lnTo>
                  <a:lnTo>
                    <a:pt x="1710" y="870"/>
                  </a:lnTo>
                  <a:lnTo>
                    <a:pt x="1673" y="921"/>
                  </a:lnTo>
                  <a:lnTo>
                    <a:pt x="1614" y="999"/>
                  </a:lnTo>
                  <a:lnTo>
                    <a:pt x="1552" y="1074"/>
                  </a:lnTo>
                  <a:lnTo>
                    <a:pt x="1485" y="1146"/>
                  </a:lnTo>
                  <a:lnTo>
                    <a:pt x="1417" y="1214"/>
                  </a:lnTo>
                  <a:lnTo>
                    <a:pt x="1345" y="1280"/>
                  </a:lnTo>
                  <a:lnTo>
                    <a:pt x="1270" y="1342"/>
                  </a:lnTo>
                  <a:lnTo>
                    <a:pt x="1193" y="1401"/>
                  </a:lnTo>
                  <a:lnTo>
                    <a:pt x="1112" y="1457"/>
                  </a:lnTo>
                  <a:lnTo>
                    <a:pt x="1087" y="1468"/>
                  </a:lnTo>
                  <a:lnTo>
                    <a:pt x="1087" y="3067"/>
                  </a:lnTo>
                  <a:lnTo>
                    <a:pt x="1206" y="3093"/>
                  </a:lnTo>
                  <a:lnTo>
                    <a:pt x="1326" y="3114"/>
                  </a:lnTo>
                  <a:lnTo>
                    <a:pt x="1447" y="3132"/>
                  </a:lnTo>
                  <a:lnTo>
                    <a:pt x="1568" y="3145"/>
                  </a:lnTo>
                  <a:lnTo>
                    <a:pt x="1689" y="3156"/>
                  </a:lnTo>
                  <a:lnTo>
                    <a:pt x="1811" y="3164"/>
                  </a:lnTo>
                  <a:lnTo>
                    <a:pt x="1933" y="3170"/>
                  </a:lnTo>
                  <a:lnTo>
                    <a:pt x="2053" y="3175"/>
                  </a:lnTo>
                  <a:lnTo>
                    <a:pt x="2175" y="3179"/>
                  </a:lnTo>
                  <a:lnTo>
                    <a:pt x="2207" y="3179"/>
                  </a:lnTo>
                  <a:lnTo>
                    <a:pt x="2230" y="3179"/>
                  </a:lnTo>
                  <a:lnTo>
                    <a:pt x="2258" y="3179"/>
                  </a:lnTo>
                  <a:lnTo>
                    <a:pt x="2677" y="3179"/>
                  </a:lnTo>
                  <a:lnTo>
                    <a:pt x="2717" y="3178"/>
                  </a:lnTo>
                  <a:lnTo>
                    <a:pt x="2754" y="3173"/>
                  </a:lnTo>
                  <a:lnTo>
                    <a:pt x="2787" y="3164"/>
                  </a:lnTo>
                  <a:lnTo>
                    <a:pt x="2817" y="3153"/>
                  </a:lnTo>
                  <a:lnTo>
                    <a:pt x="2843" y="3139"/>
                  </a:lnTo>
                  <a:lnTo>
                    <a:pt x="2865" y="3122"/>
                  </a:lnTo>
                  <a:lnTo>
                    <a:pt x="2885" y="3102"/>
                  </a:lnTo>
                  <a:lnTo>
                    <a:pt x="2900" y="3081"/>
                  </a:lnTo>
                  <a:lnTo>
                    <a:pt x="2912" y="3056"/>
                  </a:lnTo>
                  <a:lnTo>
                    <a:pt x="2921" y="3029"/>
                  </a:lnTo>
                  <a:lnTo>
                    <a:pt x="2926" y="3001"/>
                  </a:lnTo>
                  <a:lnTo>
                    <a:pt x="2928" y="2970"/>
                  </a:lnTo>
                  <a:lnTo>
                    <a:pt x="2926" y="2944"/>
                  </a:lnTo>
                  <a:lnTo>
                    <a:pt x="2923" y="2920"/>
                  </a:lnTo>
                  <a:lnTo>
                    <a:pt x="2917" y="2901"/>
                  </a:lnTo>
                  <a:lnTo>
                    <a:pt x="2909" y="2884"/>
                  </a:lnTo>
                  <a:lnTo>
                    <a:pt x="2901" y="2869"/>
                  </a:lnTo>
                  <a:lnTo>
                    <a:pt x="2891" y="2856"/>
                  </a:lnTo>
                  <a:lnTo>
                    <a:pt x="2882" y="2844"/>
                  </a:lnTo>
                  <a:lnTo>
                    <a:pt x="2872" y="2833"/>
                  </a:lnTo>
                  <a:lnTo>
                    <a:pt x="2863" y="2821"/>
                  </a:lnTo>
                  <a:lnTo>
                    <a:pt x="2856" y="2808"/>
                  </a:lnTo>
                  <a:lnTo>
                    <a:pt x="2850" y="2794"/>
                  </a:lnTo>
                  <a:lnTo>
                    <a:pt x="2846" y="2779"/>
                  </a:lnTo>
                  <a:lnTo>
                    <a:pt x="2845" y="2762"/>
                  </a:lnTo>
                  <a:lnTo>
                    <a:pt x="2847" y="2745"/>
                  </a:lnTo>
                  <a:lnTo>
                    <a:pt x="2853" y="2731"/>
                  </a:lnTo>
                  <a:lnTo>
                    <a:pt x="2862" y="2719"/>
                  </a:lnTo>
                  <a:lnTo>
                    <a:pt x="2873" y="2708"/>
                  </a:lnTo>
                  <a:lnTo>
                    <a:pt x="2888" y="2698"/>
                  </a:lnTo>
                  <a:lnTo>
                    <a:pt x="2903" y="2688"/>
                  </a:lnTo>
                  <a:lnTo>
                    <a:pt x="2920" y="2677"/>
                  </a:lnTo>
                  <a:lnTo>
                    <a:pt x="2936" y="2667"/>
                  </a:lnTo>
                  <a:lnTo>
                    <a:pt x="2953" y="2656"/>
                  </a:lnTo>
                  <a:lnTo>
                    <a:pt x="2969" y="2644"/>
                  </a:lnTo>
                  <a:lnTo>
                    <a:pt x="2982" y="2630"/>
                  </a:lnTo>
                  <a:lnTo>
                    <a:pt x="2994" y="2614"/>
                  </a:lnTo>
                  <a:lnTo>
                    <a:pt x="3003" y="2596"/>
                  </a:lnTo>
                  <a:lnTo>
                    <a:pt x="3010" y="2576"/>
                  </a:lnTo>
                  <a:lnTo>
                    <a:pt x="3012" y="2552"/>
                  </a:lnTo>
                  <a:lnTo>
                    <a:pt x="3011" y="2525"/>
                  </a:lnTo>
                  <a:lnTo>
                    <a:pt x="3007" y="2503"/>
                  </a:lnTo>
                  <a:lnTo>
                    <a:pt x="3000" y="2482"/>
                  </a:lnTo>
                  <a:lnTo>
                    <a:pt x="2993" y="2466"/>
                  </a:lnTo>
                  <a:lnTo>
                    <a:pt x="2984" y="2451"/>
                  </a:lnTo>
                  <a:lnTo>
                    <a:pt x="2975" y="2438"/>
                  </a:lnTo>
                  <a:lnTo>
                    <a:pt x="2965" y="2425"/>
                  </a:lnTo>
                  <a:lnTo>
                    <a:pt x="2956" y="2414"/>
                  </a:lnTo>
                  <a:lnTo>
                    <a:pt x="2947" y="2402"/>
                  </a:lnTo>
                  <a:lnTo>
                    <a:pt x="2939" y="2390"/>
                  </a:lnTo>
                  <a:lnTo>
                    <a:pt x="2933" y="2377"/>
                  </a:lnTo>
                  <a:lnTo>
                    <a:pt x="2929" y="2360"/>
                  </a:lnTo>
                  <a:lnTo>
                    <a:pt x="2928" y="2343"/>
                  </a:lnTo>
                  <a:lnTo>
                    <a:pt x="2930" y="2327"/>
                  </a:lnTo>
                  <a:lnTo>
                    <a:pt x="2936" y="2314"/>
                  </a:lnTo>
                  <a:lnTo>
                    <a:pt x="2946" y="2301"/>
                  </a:lnTo>
                  <a:lnTo>
                    <a:pt x="2958" y="2290"/>
                  </a:lnTo>
                  <a:lnTo>
                    <a:pt x="2972" y="2279"/>
                  </a:lnTo>
                  <a:lnTo>
                    <a:pt x="2987" y="2269"/>
                  </a:lnTo>
                  <a:lnTo>
                    <a:pt x="3003" y="2259"/>
                  </a:lnTo>
                  <a:lnTo>
                    <a:pt x="3020" y="2249"/>
                  </a:lnTo>
                  <a:lnTo>
                    <a:pt x="3037" y="2237"/>
                  </a:lnTo>
                  <a:lnTo>
                    <a:pt x="3052" y="2225"/>
                  </a:lnTo>
                  <a:lnTo>
                    <a:pt x="3066" y="2211"/>
                  </a:lnTo>
                  <a:lnTo>
                    <a:pt x="3078" y="2196"/>
                  </a:lnTo>
                  <a:lnTo>
                    <a:pt x="3088" y="2178"/>
                  </a:lnTo>
                  <a:lnTo>
                    <a:pt x="3093" y="2157"/>
                  </a:lnTo>
                  <a:lnTo>
                    <a:pt x="3096" y="2134"/>
                  </a:lnTo>
                  <a:lnTo>
                    <a:pt x="3094" y="2107"/>
                  </a:lnTo>
                  <a:lnTo>
                    <a:pt x="3090" y="2084"/>
                  </a:lnTo>
                  <a:lnTo>
                    <a:pt x="3084" y="2065"/>
                  </a:lnTo>
                  <a:lnTo>
                    <a:pt x="3077" y="2047"/>
                  </a:lnTo>
                  <a:lnTo>
                    <a:pt x="3067" y="2033"/>
                  </a:lnTo>
                  <a:lnTo>
                    <a:pt x="3058" y="2020"/>
                  </a:lnTo>
                  <a:lnTo>
                    <a:pt x="3049" y="2008"/>
                  </a:lnTo>
                  <a:lnTo>
                    <a:pt x="3039" y="1996"/>
                  </a:lnTo>
                  <a:lnTo>
                    <a:pt x="3031" y="1984"/>
                  </a:lnTo>
                  <a:lnTo>
                    <a:pt x="3023" y="1971"/>
                  </a:lnTo>
                  <a:lnTo>
                    <a:pt x="3017" y="1958"/>
                  </a:lnTo>
                  <a:lnTo>
                    <a:pt x="3014" y="1943"/>
                  </a:lnTo>
                  <a:lnTo>
                    <a:pt x="3012" y="1925"/>
                  </a:lnTo>
                  <a:lnTo>
                    <a:pt x="3014" y="1909"/>
                  </a:lnTo>
                  <a:lnTo>
                    <a:pt x="3020" y="1895"/>
                  </a:lnTo>
                  <a:lnTo>
                    <a:pt x="3029" y="1883"/>
                  </a:lnTo>
                  <a:lnTo>
                    <a:pt x="3041" y="1872"/>
                  </a:lnTo>
                  <a:lnTo>
                    <a:pt x="3055" y="1862"/>
                  </a:lnTo>
                  <a:lnTo>
                    <a:pt x="3071" y="1851"/>
                  </a:lnTo>
                  <a:lnTo>
                    <a:pt x="3087" y="1841"/>
                  </a:lnTo>
                  <a:lnTo>
                    <a:pt x="3104" y="1830"/>
                  </a:lnTo>
                  <a:lnTo>
                    <a:pt x="3120" y="1819"/>
                  </a:lnTo>
                  <a:lnTo>
                    <a:pt x="3136" y="1807"/>
                  </a:lnTo>
                  <a:lnTo>
                    <a:pt x="3150" y="1793"/>
                  </a:lnTo>
                  <a:lnTo>
                    <a:pt x="3162" y="1777"/>
                  </a:lnTo>
                  <a:lnTo>
                    <a:pt x="3171" y="1760"/>
                  </a:lnTo>
                  <a:lnTo>
                    <a:pt x="3177" y="1739"/>
                  </a:lnTo>
                  <a:lnTo>
                    <a:pt x="3179" y="1715"/>
                  </a:lnTo>
                  <a:lnTo>
                    <a:pt x="3178" y="1689"/>
                  </a:lnTo>
                  <a:lnTo>
                    <a:pt x="3174" y="1664"/>
                  </a:lnTo>
                  <a:lnTo>
                    <a:pt x="3167" y="1641"/>
                  </a:lnTo>
                  <a:lnTo>
                    <a:pt x="3157" y="1619"/>
                  </a:lnTo>
                  <a:lnTo>
                    <a:pt x="3144" y="1599"/>
                  </a:lnTo>
                  <a:lnTo>
                    <a:pt x="3126" y="1580"/>
                  </a:lnTo>
                  <a:lnTo>
                    <a:pt x="3106" y="1564"/>
                  </a:lnTo>
                  <a:lnTo>
                    <a:pt x="3082" y="1550"/>
                  </a:lnTo>
                  <a:lnTo>
                    <a:pt x="3053" y="1536"/>
                  </a:lnTo>
                  <a:lnTo>
                    <a:pt x="3021" y="1526"/>
                  </a:lnTo>
                  <a:lnTo>
                    <a:pt x="2983" y="1517"/>
                  </a:lnTo>
                  <a:lnTo>
                    <a:pt x="2943" y="1511"/>
                  </a:lnTo>
                  <a:lnTo>
                    <a:pt x="2896" y="1508"/>
                  </a:lnTo>
                  <a:lnTo>
                    <a:pt x="2845" y="1506"/>
                  </a:lnTo>
                  <a:lnTo>
                    <a:pt x="2760" y="1506"/>
                  </a:lnTo>
                  <a:lnTo>
                    <a:pt x="2679" y="1506"/>
                  </a:lnTo>
                  <a:lnTo>
                    <a:pt x="2603" y="1506"/>
                  </a:lnTo>
                  <a:lnTo>
                    <a:pt x="2533" y="1505"/>
                  </a:lnTo>
                  <a:lnTo>
                    <a:pt x="2468" y="1504"/>
                  </a:lnTo>
                  <a:lnTo>
                    <a:pt x="2408" y="1502"/>
                  </a:lnTo>
                  <a:lnTo>
                    <a:pt x="2352" y="1499"/>
                  </a:lnTo>
                  <a:lnTo>
                    <a:pt x="2302" y="1496"/>
                  </a:lnTo>
                  <a:lnTo>
                    <a:pt x="2258" y="1491"/>
                  </a:lnTo>
                  <a:lnTo>
                    <a:pt x="2217" y="1486"/>
                  </a:lnTo>
                  <a:lnTo>
                    <a:pt x="2181" y="1478"/>
                  </a:lnTo>
                  <a:lnTo>
                    <a:pt x="2152" y="1470"/>
                  </a:lnTo>
                  <a:lnTo>
                    <a:pt x="2127" y="1460"/>
                  </a:lnTo>
                  <a:lnTo>
                    <a:pt x="2106" y="1449"/>
                  </a:lnTo>
                  <a:lnTo>
                    <a:pt x="2091" y="1436"/>
                  </a:lnTo>
                  <a:lnTo>
                    <a:pt x="2082" y="1421"/>
                  </a:lnTo>
                  <a:lnTo>
                    <a:pt x="2077" y="1403"/>
                  </a:lnTo>
                  <a:lnTo>
                    <a:pt x="2077" y="1384"/>
                  </a:lnTo>
                  <a:lnTo>
                    <a:pt x="2082" y="1363"/>
                  </a:lnTo>
                  <a:lnTo>
                    <a:pt x="2091" y="1339"/>
                  </a:lnTo>
                  <a:lnTo>
                    <a:pt x="2110" y="1300"/>
                  </a:lnTo>
                  <a:lnTo>
                    <a:pt x="2131" y="1255"/>
                  </a:lnTo>
                  <a:lnTo>
                    <a:pt x="2153" y="1205"/>
                  </a:lnTo>
                  <a:lnTo>
                    <a:pt x="2174" y="1151"/>
                  </a:lnTo>
                  <a:lnTo>
                    <a:pt x="2197" y="1093"/>
                  </a:lnTo>
                  <a:lnTo>
                    <a:pt x="2219" y="1032"/>
                  </a:lnTo>
                  <a:lnTo>
                    <a:pt x="2240" y="968"/>
                  </a:lnTo>
                  <a:lnTo>
                    <a:pt x="2262" y="902"/>
                  </a:lnTo>
                  <a:lnTo>
                    <a:pt x="2280" y="834"/>
                  </a:lnTo>
                  <a:lnTo>
                    <a:pt x="2297" y="765"/>
                  </a:lnTo>
                  <a:lnTo>
                    <a:pt x="2313" y="696"/>
                  </a:lnTo>
                  <a:lnTo>
                    <a:pt x="2325" y="625"/>
                  </a:lnTo>
                  <a:lnTo>
                    <a:pt x="2335" y="556"/>
                  </a:lnTo>
                  <a:lnTo>
                    <a:pt x="2340" y="487"/>
                  </a:lnTo>
                  <a:lnTo>
                    <a:pt x="2342" y="419"/>
                  </a:lnTo>
                  <a:lnTo>
                    <a:pt x="2342" y="379"/>
                  </a:lnTo>
                  <a:lnTo>
                    <a:pt x="2339" y="343"/>
                  </a:lnTo>
                  <a:lnTo>
                    <a:pt x="2335" y="309"/>
                  </a:lnTo>
                  <a:lnTo>
                    <a:pt x="2328" y="280"/>
                  </a:lnTo>
                  <a:lnTo>
                    <a:pt x="2320" y="253"/>
                  </a:lnTo>
                  <a:lnTo>
                    <a:pt x="2307" y="231"/>
                  </a:lnTo>
                  <a:lnTo>
                    <a:pt x="2294" y="211"/>
                  </a:lnTo>
                  <a:lnTo>
                    <a:pt x="2277" y="195"/>
                  </a:lnTo>
                  <a:lnTo>
                    <a:pt x="2257" y="183"/>
                  </a:lnTo>
                  <a:lnTo>
                    <a:pt x="2233" y="175"/>
                  </a:lnTo>
                  <a:lnTo>
                    <a:pt x="2206" y="170"/>
                  </a:lnTo>
                  <a:lnTo>
                    <a:pt x="2175" y="168"/>
                  </a:lnTo>
                  <a:close/>
                  <a:moveTo>
                    <a:pt x="2175" y="0"/>
                  </a:moveTo>
                  <a:lnTo>
                    <a:pt x="2221" y="2"/>
                  </a:lnTo>
                  <a:lnTo>
                    <a:pt x="2263" y="9"/>
                  </a:lnTo>
                  <a:lnTo>
                    <a:pt x="2301" y="19"/>
                  </a:lnTo>
                  <a:lnTo>
                    <a:pt x="2336" y="34"/>
                  </a:lnTo>
                  <a:lnTo>
                    <a:pt x="2367" y="51"/>
                  </a:lnTo>
                  <a:lnTo>
                    <a:pt x="2396" y="73"/>
                  </a:lnTo>
                  <a:lnTo>
                    <a:pt x="2420" y="99"/>
                  </a:lnTo>
                  <a:lnTo>
                    <a:pt x="2443" y="127"/>
                  </a:lnTo>
                  <a:lnTo>
                    <a:pt x="2461" y="160"/>
                  </a:lnTo>
                  <a:lnTo>
                    <a:pt x="2476" y="195"/>
                  </a:lnTo>
                  <a:lnTo>
                    <a:pt x="2488" y="234"/>
                  </a:lnTo>
                  <a:lnTo>
                    <a:pt x="2497" y="275"/>
                  </a:lnTo>
                  <a:lnTo>
                    <a:pt x="2505" y="320"/>
                  </a:lnTo>
                  <a:lnTo>
                    <a:pt x="2509" y="368"/>
                  </a:lnTo>
                  <a:lnTo>
                    <a:pt x="2510" y="419"/>
                  </a:lnTo>
                  <a:lnTo>
                    <a:pt x="2503" y="536"/>
                  </a:lnTo>
                  <a:lnTo>
                    <a:pt x="2488" y="652"/>
                  </a:lnTo>
                  <a:lnTo>
                    <a:pt x="2469" y="768"/>
                  </a:lnTo>
                  <a:lnTo>
                    <a:pt x="2443" y="883"/>
                  </a:lnTo>
                  <a:lnTo>
                    <a:pt x="2410" y="997"/>
                  </a:lnTo>
                  <a:lnTo>
                    <a:pt x="2373" y="1109"/>
                  </a:lnTo>
                  <a:lnTo>
                    <a:pt x="2330" y="1217"/>
                  </a:lnTo>
                  <a:lnTo>
                    <a:pt x="2283" y="1325"/>
                  </a:lnTo>
                  <a:lnTo>
                    <a:pt x="2395" y="1333"/>
                  </a:lnTo>
                  <a:lnTo>
                    <a:pt x="2508" y="1337"/>
                  </a:lnTo>
                  <a:lnTo>
                    <a:pt x="2619" y="1339"/>
                  </a:lnTo>
                  <a:lnTo>
                    <a:pt x="2732" y="1339"/>
                  </a:lnTo>
                  <a:lnTo>
                    <a:pt x="2844" y="1339"/>
                  </a:lnTo>
                  <a:lnTo>
                    <a:pt x="2906" y="1341"/>
                  </a:lnTo>
                  <a:lnTo>
                    <a:pt x="2964" y="1346"/>
                  </a:lnTo>
                  <a:lnTo>
                    <a:pt x="3018" y="1355"/>
                  </a:lnTo>
                  <a:lnTo>
                    <a:pt x="3069" y="1367"/>
                  </a:lnTo>
                  <a:lnTo>
                    <a:pt x="3114" y="1382"/>
                  </a:lnTo>
                  <a:lnTo>
                    <a:pt x="3157" y="1401"/>
                  </a:lnTo>
                  <a:lnTo>
                    <a:pt x="3196" y="1423"/>
                  </a:lnTo>
                  <a:lnTo>
                    <a:pt x="3230" y="1448"/>
                  </a:lnTo>
                  <a:lnTo>
                    <a:pt x="3261" y="1476"/>
                  </a:lnTo>
                  <a:lnTo>
                    <a:pt x="3286" y="1509"/>
                  </a:lnTo>
                  <a:lnTo>
                    <a:pt x="3307" y="1543"/>
                  </a:lnTo>
                  <a:lnTo>
                    <a:pt x="3325" y="1582"/>
                  </a:lnTo>
                  <a:lnTo>
                    <a:pt x="3337" y="1624"/>
                  </a:lnTo>
                  <a:lnTo>
                    <a:pt x="3344" y="1667"/>
                  </a:lnTo>
                  <a:lnTo>
                    <a:pt x="3347" y="1715"/>
                  </a:lnTo>
                  <a:lnTo>
                    <a:pt x="3345" y="1752"/>
                  </a:lnTo>
                  <a:lnTo>
                    <a:pt x="3338" y="1786"/>
                  </a:lnTo>
                  <a:lnTo>
                    <a:pt x="3327" y="1820"/>
                  </a:lnTo>
                  <a:lnTo>
                    <a:pt x="3311" y="1850"/>
                  </a:lnTo>
                  <a:lnTo>
                    <a:pt x="3292" y="1880"/>
                  </a:lnTo>
                  <a:lnTo>
                    <a:pt x="3270" y="1907"/>
                  </a:lnTo>
                  <a:lnTo>
                    <a:pt x="3244" y="1932"/>
                  </a:lnTo>
                  <a:lnTo>
                    <a:pt x="3216" y="1954"/>
                  </a:lnTo>
                  <a:lnTo>
                    <a:pt x="3218" y="1958"/>
                  </a:lnTo>
                  <a:lnTo>
                    <a:pt x="3234" y="1997"/>
                  </a:lnTo>
                  <a:lnTo>
                    <a:pt x="3245" y="2034"/>
                  </a:lnTo>
                  <a:lnTo>
                    <a:pt x="3254" y="2072"/>
                  </a:lnTo>
                  <a:lnTo>
                    <a:pt x="3260" y="2109"/>
                  </a:lnTo>
                  <a:lnTo>
                    <a:pt x="3260" y="2146"/>
                  </a:lnTo>
                  <a:lnTo>
                    <a:pt x="3256" y="2183"/>
                  </a:lnTo>
                  <a:lnTo>
                    <a:pt x="3248" y="2217"/>
                  </a:lnTo>
                  <a:lnTo>
                    <a:pt x="3236" y="2251"/>
                  </a:lnTo>
                  <a:lnTo>
                    <a:pt x="3218" y="2283"/>
                  </a:lnTo>
                  <a:lnTo>
                    <a:pt x="3194" y="2315"/>
                  </a:lnTo>
                  <a:lnTo>
                    <a:pt x="3166" y="2344"/>
                  </a:lnTo>
                  <a:lnTo>
                    <a:pt x="3133" y="2373"/>
                  </a:lnTo>
                  <a:lnTo>
                    <a:pt x="3135" y="2376"/>
                  </a:lnTo>
                  <a:lnTo>
                    <a:pt x="3150" y="2414"/>
                  </a:lnTo>
                  <a:lnTo>
                    <a:pt x="3162" y="2453"/>
                  </a:lnTo>
                  <a:lnTo>
                    <a:pt x="3171" y="2490"/>
                  </a:lnTo>
                  <a:lnTo>
                    <a:pt x="3175" y="2528"/>
                  </a:lnTo>
                  <a:lnTo>
                    <a:pt x="3176" y="2565"/>
                  </a:lnTo>
                  <a:lnTo>
                    <a:pt x="3173" y="2600"/>
                  </a:lnTo>
                  <a:lnTo>
                    <a:pt x="3165" y="2636"/>
                  </a:lnTo>
                  <a:lnTo>
                    <a:pt x="3152" y="2669"/>
                  </a:lnTo>
                  <a:lnTo>
                    <a:pt x="3135" y="2702"/>
                  </a:lnTo>
                  <a:lnTo>
                    <a:pt x="3111" y="2733"/>
                  </a:lnTo>
                  <a:lnTo>
                    <a:pt x="3083" y="2763"/>
                  </a:lnTo>
                  <a:lnTo>
                    <a:pt x="3048" y="2791"/>
                  </a:lnTo>
                  <a:lnTo>
                    <a:pt x="3051" y="2794"/>
                  </a:lnTo>
                  <a:lnTo>
                    <a:pt x="3060" y="2820"/>
                  </a:lnTo>
                  <a:lnTo>
                    <a:pt x="3067" y="2840"/>
                  </a:lnTo>
                  <a:lnTo>
                    <a:pt x="3074" y="2855"/>
                  </a:lnTo>
                  <a:lnTo>
                    <a:pt x="3079" y="2868"/>
                  </a:lnTo>
                  <a:lnTo>
                    <a:pt x="3083" y="2878"/>
                  </a:lnTo>
                  <a:lnTo>
                    <a:pt x="3086" y="2886"/>
                  </a:lnTo>
                  <a:lnTo>
                    <a:pt x="3088" y="2892"/>
                  </a:lnTo>
                  <a:lnTo>
                    <a:pt x="3089" y="2898"/>
                  </a:lnTo>
                  <a:lnTo>
                    <a:pt x="3091" y="2905"/>
                  </a:lnTo>
                  <a:lnTo>
                    <a:pt x="3091" y="2912"/>
                  </a:lnTo>
                  <a:lnTo>
                    <a:pt x="3092" y="2922"/>
                  </a:lnTo>
                  <a:lnTo>
                    <a:pt x="3093" y="2934"/>
                  </a:lnTo>
                  <a:lnTo>
                    <a:pt x="3094" y="2951"/>
                  </a:lnTo>
                  <a:lnTo>
                    <a:pt x="3095" y="2970"/>
                  </a:lnTo>
                  <a:lnTo>
                    <a:pt x="3093" y="3018"/>
                  </a:lnTo>
                  <a:lnTo>
                    <a:pt x="3086" y="3064"/>
                  </a:lnTo>
                  <a:lnTo>
                    <a:pt x="3073" y="3105"/>
                  </a:lnTo>
                  <a:lnTo>
                    <a:pt x="3056" y="3145"/>
                  </a:lnTo>
                  <a:lnTo>
                    <a:pt x="3035" y="3181"/>
                  </a:lnTo>
                  <a:lnTo>
                    <a:pt x="3010" y="3215"/>
                  </a:lnTo>
                  <a:lnTo>
                    <a:pt x="2980" y="3244"/>
                  </a:lnTo>
                  <a:lnTo>
                    <a:pt x="2947" y="3271"/>
                  </a:lnTo>
                  <a:lnTo>
                    <a:pt x="2909" y="3293"/>
                  </a:lnTo>
                  <a:lnTo>
                    <a:pt x="2869" y="3312"/>
                  </a:lnTo>
                  <a:lnTo>
                    <a:pt x="2826" y="3328"/>
                  </a:lnTo>
                  <a:lnTo>
                    <a:pt x="2779" y="3338"/>
                  </a:lnTo>
                  <a:lnTo>
                    <a:pt x="2729" y="3345"/>
                  </a:lnTo>
                  <a:lnTo>
                    <a:pt x="2677" y="3347"/>
                  </a:lnTo>
                  <a:lnTo>
                    <a:pt x="2175" y="3347"/>
                  </a:lnTo>
                  <a:lnTo>
                    <a:pt x="2054" y="3345"/>
                  </a:lnTo>
                  <a:lnTo>
                    <a:pt x="1931" y="3341"/>
                  </a:lnTo>
                  <a:lnTo>
                    <a:pt x="1804" y="3334"/>
                  </a:lnTo>
                  <a:lnTo>
                    <a:pt x="1677" y="3324"/>
                  </a:lnTo>
                  <a:lnTo>
                    <a:pt x="1551" y="3310"/>
                  </a:lnTo>
                  <a:lnTo>
                    <a:pt x="1426" y="3296"/>
                  </a:lnTo>
                  <a:lnTo>
                    <a:pt x="1304" y="3279"/>
                  </a:lnTo>
                  <a:lnTo>
                    <a:pt x="1195" y="3261"/>
                  </a:lnTo>
                  <a:lnTo>
                    <a:pt x="1087" y="3240"/>
                  </a:lnTo>
                  <a:lnTo>
                    <a:pt x="1087" y="3264"/>
                  </a:lnTo>
                  <a:lnTo>
                    <a:pt x="1084" y="3286"/>
                  </a:lnTo>
                  <a:lnTo>
                    <a:pt x="1076" y="3305"/>
                  </a:lnTo>
                  <a:lnTo>
                    <a:pt x="1063" y="3323"/>
                  </a:lnTo>
                  <a:lnTo>
                    <a:pt x="1047" y="3336"/>
                  </a:lnTo>
                  <a:lnTo>
                    <a:pt x="1026" y="3344"/>
                  </a:lnTo>
                  <a:lnTo>
                    <a:pt x="1004" y="3347"/>
                  </a:lnTo>
                  <a:lnTo>
                    <a:pt x="83" y="3347"/>
                  </a:lnTo>
                  <a:lnTo>
                    <a:pt x="61" y="3344"/>
                  </a:lnTo>
                  <a:lnTo>
                    <a:pt x="42" y="3336"/>
                  </a:lnTo>
                  <a:lnTo>
                    <a:pt x="24" y="3323"/>
                  </a:lnTo>
                  <a:lnTo>
                    <a:pt x="11" y="3305"/>
                  </a:lnTo>
                  <a:lnTo>
                    <a:pt x="3" y="3286"/>
                  </a:lnTo>
                  <a:lnTo>
                    <a:pt x="0" y="3264"/>
                  </a:lnTo>
                  <a:lnTo>
                    <a:pt x="0" y="1255"/>
                  </a:lnTo>
                  <a:lnTo>
                    <a:pt x="3" y="1234"/>
                  </a:lnTo>
                  <a:lnTo>
                    <a:pt x="11" y="1213"/>
                  </a:lnTo>
                  <a:lnTo>
                    <a:pt x="24" y="1196"/>
                  </a:lnTo>
                  <a:lnTo>
                    <a:pt x="42" y="1183"/>
                  </a:lnTo>
                  <a:lnTo>
                    <a:pt x="61" y="1175"/>
                  </a:lnTo>
                  <a:lnTo>
                    <a:pt x="83" y="1172"/>
                  </a:lnTo>
                  <a:lnTo>
                    <a:pt x="1004" y="1172"/>
                  </a:lnTo>
                  <a:lnTo>
                    <a:pt x="1026" y="1175"/>
                  </a:lnTo>
                  <a:lnTo>
                    <a:pt x="1047" y="1183"/>
                  </a:lnTo>
                  <a:lnTo>
                    <a:pt x="1063" y="1196"/>
                  </a:lnTo>
                  <a:lnTo>
                    <a:pt x="1076" y="1213"/>
                  </a:lnTo>
                  <a:lnTo>
                    <a:pt x="1084" y="1234"/>
                  </a:lnTo>
                  <a:lnTo>
                    <a:pt x="1087" y="1255"/>
                  </a:lnTo>
                  <a:lnTo>
                    <a:pt x="1087" y="1270"/>
                  </a:lnTo>
                  <a:lnTo>
                    <a:pt x="1141" y="1235"/>
                  </a:lnTo>
                  <a:lnTo>
                    <a:pt x="1192" y="1196"/>
                  </a:lnTo>
                  <a:lnTo>
                    <a:pt x="1241" y="1154"/>
                  </a:lnTo>
                  <a:lnTo>
                    <a:pt x="1287" y="1111"/>
                  </a:lnTo>
                  <a:lnTo>
                    <a:pt x="1332" y="1065"/>
                  </a:lnTo>
                  <a:lnTo>
                    <a:pt x="1375" y="1017"/>
                  </a:lnTo>
                  <a:lnTo>
                    <a:pt x="1417" y="968"/>
                  </a:lnTo>
                  <a:lnTo>
                    <a:pt x="1458" y="920"/>
                  </a:lnTo>
                  <a:lnTo>
                    <a:pt x="1499" y="870"/>
                  </a:lnTo>
                  <a:lnTo>
                    <a:pt x="1539" y="820"/>
                  </a:lnTo>
                  <a:lnTo>
                    <a:pt x="1574" y="772"/>
                  </a:lnTo>
                  <a:lnTo>
                    <a:pt x="1607" y="720"/>
                  </a:lnTo>
                  <a:lnTo>
                    <a:pt x="1641" y="665"/>
                  </a:lnTo>
                  <a:lnTo>
                    <a:pt x="1650" y="648"/>
                  </a:lnTo>
                  <a:lnTo>
                    <a:pt x="1662" y="627"/>
                  </a:lnTo>
                  <a:lnTo>
                    <a:pt x="1675" y="603"/>
                  </a:lnTo>
                  <a:lnTo>
                    <a:pt x="1690" y="574"/>
                  </a:lnTo>
                  <a:lnTo>
                    <a:pt x="1705" y="544"/>
                  </a:lnTo>
                  <a:lnTo>
                    <a:pt x="1722" y="511"/>
                  </a:lnTo>
                  <a:lnTo>
                    <a:pt x="1739" y="478"/>
                  </a:lnTo>
                  <a:lnTo>
                    <a:pt x="1757" y="443"/>
                  </a:lnTo>
                  <a:lnTo>
                    <a:pt x="1774" y="409"/>
                  </a:lnTo>
                  <a:lnTo>
                    <a:pt x="1791" y="374"/>
                  </a:lnTo>
                  <a:lnTo>
                    <a:pt x="1809" y="341"/>
                  </a:lnTo>
                  <a:lnTo>
                    <a:pt x="1825" y="310"/>
                  </a:lnTo>
                  <a:lnTo>
                    <a:pt x="1840" y="282"/>
                  </a:lnTo>
                  <a:lnTo>
                    <a:pt x="1854" y="255"/>
                  </a:lnTo>
                  <a:lnTo>
                    <a:pt x="1867" y="233"/>
                  </a:lnTo>
                  <a:lnTo>
                    <a:pt x="1877" y="213"/>
                  </a:lnTo>
                  <a:lnTo>
                    <a:pt x="1885" y="200"/>
                  </a:lnTo>
                  <a:lnTo>
                    <a:pt x="1908" y="164"/>
                  </a:lnTo>
                  <a:lnTo>
                    <a:pt x="1933" y="131"/>
                  </a:lnTo>
                  <a:lnTo>
                    <a:pt x="1958" y="102"/>
                  </a:lnTo>
                  <a:lnTo>
                    <a:pt x="1984" y="75"/>
                  </a:lnTo>
                  <a:lnTo>
                    <a:pt x="2012" y="53"/>
                  </a:lnTo>
                  <a:lnTo>
                    <a:pt x="2041" y="35"/>
                  </a:lnTo>
                  <a:lnTo>
                    <a:pt x="2072" y="19"/>
                  </a:lnTo>
                  <a:lnTo>
                    <a:pt x="2104" y="9"/>
                  </a:lnTo>
                  <a:lnTo>
                    <a:pt x="2139" y="3"/>
                  </a:lnTo>
                  <a:lnTo>
                    <a:pt x="2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14723B59-C8C4-4F24-AADD-6841C819ED98}"/>
              </a:ext>
            </a:extLst>
          </p:cNvPr>
          <p:cNvGrpSpPr>
            <a:grpSpLocks/>
          </p:cNvGrpSpPr>
          <p:nvPr/>
        </p:nvGrpSpPr>
        <p:grpSpPr bwMode="gray">
          <a:xfrm>
            <a:off x="5308514" y="4988910"/>
            <a:ext cx="396000" cy="396000"/>
            <a:chOff x="10306594" y="5486751"/>
            <a:chExt cx="396000" cy="396000"/>
          </a:xfrm>
        </p:grpSpPr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id="{66FDA7D0-D777-4083-8486-D08E4108E2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06594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DD711EF7-79DA-4736-AF52-77EFC92E38F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0476040" y="5575489"/>
              <a:ext cx="57110" cy="218525"/>
              <a:chOff x="10481439" y="5582689"/>
              <a:chExt cx="57110" cy="218525"/>
            </a:xfrm>
            <a:solidFill>
              <a:schemeClr val="bg1"/>
            </a:solidFill>
          </p:grpSpPr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7079FCBB-2CC1-4C5D-BE02-2A6382913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4953" y="5582689"/>
                <a:ext cx="50081" cy="144795"/>
              </a:xfrm>
              <a:custGeom>
                <a:avLst/>
                <a:gdLst>
                  <a:gd name="T0" fmla="*/ 0 w 456"/>
                  <a:gd name="T1" fmla="*/ 0 h 1298"/>
                  <a:gd name="T2" fmla="*/ 456 w 456"/>
                  <a:gd name="T3" fmla="*/ 0 h 1298"/>
                  <a:gd name="T4" fmla="*/ 393 w 456"/>
                  <a:gd name="T5" fmla="*/ 1298 h 1298"/>
                  <a:gd name="T6" fmla="*/ 65 w 456"/>
                  <a:gd name="T7" fmla="*/ 1298 h 1298"/>
                  <a:gd name="T8" fmla="*/ 0 w 456"/>
                  <a:gd name="T9" fmla="*/ 0 h 1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" h="1298">
                    <a:moveTo>
                      <a:pt x="0" y="0"/>
                    </a:moveTo>
                    <a:lnTo>
                      <a:pt x="456" y="0"/>
                    </a:lnTo>
                    <a:lnTo>
                      <a:pt x="393" y="1298"/>
                    </a:lnTo>
                    <a:lnTo>
                      <a:pt x="65" y="12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1C263118-AD48-4B85-86D9-C591B47A5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81439" y="5743473"/>
                <a:ext cx="57110" cy="57741"/>
              </a:xfrm>
              <a:custGeom>
                <a:avLst/>
                <a:gdLst>
                  <a:gd name="T0" fmla="*/ 258 w 514"/>
                  <a:gd name="T1" fmla="*/ 0 h 521"/>
                  <a:gd name="T2" fmla="*/ 299 w 514"/>
                  <a:gd name="T3" fmla="*/ 3 h 521"/>
                  <a:gd name="T4" fmla="*/ 336 w 514"/>
                  <a:gd name="T5" fmla="*/ 10 h 521"/>
                  <a:gd name="T6" fmla="*/ 370 w 514"/>
                  <a:gd name="T7" fmla="*/ 23 h 521"/>
                  <a:gd name="T8" fmla="*/ 402 w 514"/>
                  <a:gd name="T9" fmla="*/ 40 h 521"/>
                  <a:gd name="T10" fmla="*/ 430 w 514"/>
                  <a:gd name="T11" fmla="*/ 61 h 521"/>
                  <a:gd name="T12" fmla="*/ 453 w 514"/>
                  <a:gd name="T13" fmla="*/ 87 h 521"/>
                  <a:gd name="T14" fmla="*/ 475 w 514"/>
                  <a:gd name="T15" fmla="*/ 116 h 521"/>
                  <a:gd name="T16" fmla="*/ 490 w 514"/>
                  <a:gd name="T17" fmla="*/ 147 h 521"/>
                  <a:gd name="T18" fmla="*/ 503 w 514"/>
                  <a:gd name="T19" fmla="*/ 183 h 521"/>
                  <a:gd name="T20" fmla="*/ 511 w 514"/>
                  <a:gd name="T21" fmla="*/ 220 h 521"/>
                  <a:gd name="T22" fmla="*/ 514 w 514"/>
                  <a:gd name="T23" fmla="*/ 261 h 521"/>
                  <a:gd name="T24" fmla="*/ 512 w 514"/>
                  <a:gd name="T25" fmla="*/ 300 h 521"/>
                  <a:gd name="T26" fmla="*/ 504 w 514"/>
                  <a:gd name="T27" fmla="*/ 337 h 521"/>
                  <a:gd name="T28" fmla="*/ 493 w 514"/>
                  <a:gd name="T29" fmla="*/ 373 h 521"/>
                  <a:gd name="T30" fmla="*/ 476 w 514"/>
                  <a:gd name="T31" fmla="*/ 405 h 521"/>
                  <a:gd name="T32" fmla="*/ 456 w 514"/>
                  <a:gd name="T33" fmla="*/ 434 h 521"/>
                  <a:gd name="T34" fmla="*/ 432 w 514"/>
                  <a:gd name="T35" fmla="*/ 460 h 521"/>
                  <a:gd name="T36" fmla="*/ 404 w 514"/>
                  <a:gd name="T37" fmla="*/ 481 h 521"/>
                  <a:gd name="T38" fmla="*/ 373 w 514"/>
                  <a:gd name="T39" fmla="*/ 498 h 521"/>
                  <a:gd name="T40" fmla="*/ 338 w 514"/>
                  <a:gd name="T41" fmla="*/ 511 h 521"/>
                  <a:gd name="T42" fmla="*/ 300 w 514"/>
                  <a:gd name="T43" fmla="*/ 519 h 521"/>
                  <a:gd name="T44" fmla="*/ 258 w 514"/>
                  <a:gd name="T45" fmla="*/ 521 h 521"/>
                  <a:gd name="T46" fmla="*/ 218 w 514"/>
                  <a:gd name="T47" fmla="*/ 519 h 521"/>
                  <a:gd name="T48" fmla="*/ 180 w 514"/>
                  <a:gd name="T49" fmla="*/ 511 h 521"/>
                  <a:gd name="T50" fmla="*/ 144 w 514"/>
                  <a:gd name="T51" fmla="*/ 498 h 521"/>
                  <a:gd name="T52" fmla="*/ 112 w 514"/>
                  <a:gd name="T53" fmla="*/ 481 h 521"/>
                  <a:gd name="T54" fmla="*/ 84 w 514"/>
                  <a:gd name="T55" fmla="*/ 460 h 521"/>
                  <a:gd name="T56" fmla="*/ 59 w 514"/>
                  <a:gd name="T57" fmla="*/ 434 h 521"/>
                  <a:gd name="T58" fmla="*/ 38 w 514"/>
                  <a:gd name="T59" fmla="*/ 405 h 521"/>
                  <a:gd name="T60" fmla="*/ 22 w 514"/>
                  <a:gd name="T61" fmla="*/ 373 h 521"/>
                  <a:gd name="T62" fmla="*/ 10 w 514"/>
                  <a:gd name="T63" fmla="*/ 337 h 521"/>
                  <a:gd name="T64" fmla="*/ 2 w 514"/>
                  <a:gd name="T65" fmla="*/ 300 h 521"/>
                  <a:gd name="T66" fmla="*/ 0 w 514"/>
                  <a:gd name="T67" fmla="*/ 261 h 521"/>
                  <a:gd name="T68" fmla="*/ 2 w 514"/>
                  <a:gd name="T69" fmla="*/ 220 h 521"/>
                  <a:gd name="T70" fmla="*/ 10 w 514"/>
                  <a:gd name="T71" fmla="*/ 183 h 521"/>
                  <a:gd name="T72" fmla="*/ 22 w 514"/>
                  <a:gd name="T73" fmla="*/ 147 h 521"/>
                  <a:gd name="T74" fmla="*/ 39 w 514"/>
                  <a:gd name="T75" fmla="*/ 116 h 521"/>
                  <a:gd name="T76" fmla="*/ 61 w 514"/>
                  <a:gd name="T77" fmla="*/ 87 h 521"/>
                  <a:gd name="T78" fmla="*/ 85 w 514"/>
                  <a:gd name="T79" fmla="*/ 61 h 521"/>
                  <a:gd name="T80" fmla="*/ 113 w 514"/>
                  <a:gd name="T81" fmla="*/ 40 h 521"/>
                  <a:gd name="T82" fmla="*/ 146 w 514"/>
                  <a:gd name="T83" fmla="*/ 23 h 521"/>
                  <a:gd name="T84" fmla="*/ 181 w 514"/>
                  <a:gd name="T85" fmla="*/ 10 h 521"/>
                  <a:gd name="T86" fmla="*/ 218 w 514"/>
                  <a:gd name="T87" fmla="*/ 3 h 521"/>
                  <a:gd name="T88" fmla="*/ 258 w 514"/>
                  <a:gd name="T89" fmla="*/ 0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4" h="521">
                    <a:moveTo>
                      <a:pt x="258" y="0"/>
                    </a:moveTo>
                    <a:lnTo>
                      <a:pt x="299" y="3"/>
                    </a:lnTo>
                    <a:lnTo>
                      <a:pt x="336" y="10"/>
                    </a:lnTo>
                    <a:lnTo>
                      <a:pt x="370" y="23"/>
                    </a:lnTo>
                    <a:lnTo>
                      <a:pt x="402" y="40"/>
                    </a:lnTo>
                    <a:lnTo>
                      <a:pt x="430" y="61"/>
                    </a:lnTo>
                    <a:lnTo>
                      <a:pt x="453" y="87"/>
                    </a:lnTo>
                    <a:lnTo>
                      <a:pt x="475" y="116"/>
                    </a:lnTo>
                    <a:lnTo>
                      <a:pt x="490" y="147"/>
                    </a:lnTo>
                    <a:lnTo>
                      <a:pt x="503" y="183"/>
                    </a:lnTo>
                    <a:lnTo>
                      <a:pt x="511" y="220"/>
                    </a:lnTo>
                    <a:lnTo>
                      <a:pt x="514" y="261"/>
                    </a:lnTo>
                    <a:lnTo>
                      <a:pt x="512" y="300"/>
                    </a:lnTo>
                    <a:lnTo>
                      <a:pt x="504" y="337"/>
                    </a:lnTo>
                    <a:lnTo>
                      <a:pt x="493" y="373"/>
                    </a:lnTo>
                    <a:lnTo>
                      <a:pt x="476" y="405"/>
                    </a:lnTo>
                    <a:lnTo>
                      <a:pt x="456" y="434"/>
                    </a:lnTo>
                    <a:lnTo>
                      <a:pt x="432" y="460"/>
                    </a:lnTo>
                    <a:lnTo>
                      <a:pt x="404" y="481"/>
                    </a:lnTo>
                    <a:lnTo>
                      <a:pt x="373" y="498"/>
                    </a:lnTo>
                    <a:lnTo>
                      <a:pt x="338" y="511"/>
                    </a:lnTo>
                    <a:lnTo>
                      <a:pt x="300" y="519"/>
                    </a:lnTo>
                    <a:lnTo>
                      <a:pt x="258" y="521"/>
                    </a:lnTo>
                    <a:lnTo>
                      <a:pt x="218" y="519"/>
                    </a:lnTo>
                    <a:lnTo>
                      <a:pt x="180" y="511"/>
                    </a:lnTo>
                    <a:lnTo>
                      <a:pt x="144" y="498"/>
                    </a:lnTo>
                    <a:lnTo>
                      <a:pt x="112" y="481"/>
                    </a:lnTo>
                    <a:lnTo>
                      <a:pt x="84" y="460"/>
                    </a:lnTo>
                    <a:lnTo>
                      <a:pt x="59" y="434"/>
                    </a:lnTo>
                    <a:lnTo>
                      <a:pt x="38" y="405"/>
                    </a:lnTo>
                    <a:lnTo>
                      <a:pt x="22" y="373"/>
                    </a:lnTo>
                    <a:lnTo>
                      <a:pt x="10" y="337"/>
                    </a:lnTo>
                    <a:lnTo>
                      <a:pt x="2" y="300"/>
                    </a:lnTo>
                    <a:lnTo>
                      <a:pt x="0" y="261"/>
                    </a:lnTo>
                    <a:lnTo>
                      <a:pt x="2" y="220"/>
                    </a:lnTo>
                    <a:lnTo>
                      <a:pt x="10" y="183"/>
                    </a:lnTo>
                    <a:lnTo>
                      <a:pt x="22" y="147"/>
                    </a:lnTo>
                    <a:lnTo>
                      <a:pt x="39" y="116"/>
                    </a:lnTo>
                    <a:lnTo>
                      <a:pt x="61" y="87"/>
                    </a:lnTo>
                    <a:lnTo>
                      <a:pt x="85" y="61"/>
                    </a:lnTo>
                    <a:lnTo>
                      <a:pt x="113" y="40"/>
                    </a:lnTo>
                    <a:lnTo>
                      <a:pt x="146" y="23"/>
                    </a:lnTo>
                    <a:lnTo>
                      <a:pt x="181" y="10"/>
                    </a:lnTo>
                    <a:lnTo>
                      <a:pt x="218" y="3"/>
                    </a:lnTo>
                    <a:lnTo>
                      <a:pt x="2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1BC95896-0C3A-40E1-9FD2-56C658DFBA2C}"/>
              </a:ext>
            </a:extLst>
          </p:cNvPr>
          <p:cNvGrpSpPr>
            <a:grpSpLocks/>
          </p:cNvGrpSpPr>
          <p:nvPr/>
        </p:nvGrpSpPr>
        <p:grpSpPr bwMode="gray">
          <a:xfrm>
            <a:off x="5308909" y="5546662"/>
            <a:ext cx="396000" cy="396000"/>
            <a:chOff x="10887835" y="5486751"/>
            <a:chExt cx="396000" cy="396000"/>
          </a:xfrm>
        </p:grpSpPr>
        <p:sp>
          <p:nvSpPr>
            <p:cNvPr id="145" name="Freeform 104">
              <a:extLst>
                <a:ext uri="{FF2B5EF4-FFF2-40B4-BE49-F238E27FC236}">
                  <a16:creationId xmlns:a16="http://schemas.microsoft.com/office/drawing/2014/main" id="{EF654BCE-24D3-4BBB-926C-D0168A8AB4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87835" y="5486751"/>
              <a:ext cx="396000" cy="3960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44" name="Group 266">
              <a:extLst>
                <a:ext uri="{FF2B5EF4-FFF2-40B4-BE49-F238E27FC236}">
                  <a16:creationId xmlns:a16="http://schemas.microsoft.com/office/drawing/2014/main" id="{50665108-431B-47E5-B4A7-1F74D286821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1022305" y="5589653"/>
              <a:ext cx="127060" cy="190195"/>
              <a:chOff x="8129588" y="2579688"/>
              <a:chExt cx="255588" cy="382587"/>
            </a:xfrm>
            <a:solidFill>
              <a:schemeClr val="bg1"/>
            </a:solidFill>
          </p:grpSpPr>
          <p:sp>
            <p:nvSpPr>
              <p:cNvPr id="146" name="Rectangle 97">
                <a:extLst>
                  <a:ext uri="{FF2B5EF4-FFF2-40B4-BE49-F238E27FC236}">
                    <a16:creationId xmlns:a16="http://schemas.microsoft.com/office/drawing/2014/main" id="{3C8203BF-F8DF-4009-9377-69D60DDDF9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224838" y="2898775"/>
                <a:ext cx="63500" cy="63500"/>
              </a:xfrm>
              <a:prstGeom prst="rect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7" name="Freeform 99">
                <a:extLst>
                  <a:ext uri="{FF2B5EF4-FFF2-40B4-BE49-F238E27FC236}">
                    <a16:creationId xmlns:a16="http://schemas.microsoft.com/office/drawing/2014/main" id="{9DE507F9-08E1-47FC-ABB0-C2B51113F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29588" y="2579688"/>
                <a:ext cx="255588" cy="287338"/>
              </a:xfrm>
              <a:custGeom>
                <a:avLst/>
                <a:gdLst>
                  <a:gd name="T0" fmla="*/ 811 w 1448"/>
                  <a:gd name="T1" fmla="*/ 6 h 1632"/>
                  <a:gd name="T2" fmla="*/ 934 w 1448"/>
                  <a:gd name="T3" fmla="*/ 31 h 1632"/>
                  <a:gd name="T4" fmla="*/ 1048 w 1448"/>
                  <a:gd name="T5" fmla="*/ 77 h 1632"/>
                  <a:gd name="T6" fmla="*/ 1154 w 1448"/>
                  <a:gd name="T7" fmla="*/ 141 h 1632"/>
                  <a:gd name="T8" fmla="*/ 1247 w 1448"/>
                  <a:gd name="T9" fmla="*/ 224 h 1632"/>
                  <a:gd name="T10" fmla="*/ 1325 w 1448"/>
                  <a:gd name="T11" fmla="*/ 321 h 1632"/>
                  <a:gd name="T12" fmla="*/ 1387 w 1448"/>
                  <a:gd name="T13" fmla="*/ 432 h 1632"/>
                  <a:gd name="T14" fmla="*/ 1429 w 1448"/>
                  <a:gd name="T15" fmla="*/ 556 h 1632"/>
                  <a:gd name="T16" fmla="*/ 1447 w 1448"/>
                  <a:gd name="T17" fmla="*/ 683 h 1632"/>
                  <a:gd name="T18" fmla="*/ 1444 w 1448"/>
                  <a:gd name="T19" fmla="*/ 809 h 1632"/>
                  <a:gd name="T20" fmla="*/ 1419 w 1448"/>
                  <a:gd name="T21" fmla="*/ 930 h 1632"/>
                  <a:gd name="T22" fmla="*/ 1375 w 1448"/>
                  <a:gd name="T23" fmla="*/ 1044 h 1632"/>
                  <a:gd name="T24" fmla="*/ 1311 w 1448"/>
                  <a:gd name="T25" fmla="*/ 1148 h 1632"/>
                  <a:gd name="T26" fmla="*/ 1231 w 1448"/>
                  <a:gd name="T27" fmla="*/ 1242 h 1632"/>
                  <a:gd name="T28" fmla="*/ 1137 w 1448"/>
                  <a:gd name="T29" fmla="*/ 1320 h 1632"/>
                  <a:gd name="T30" fmla="*/ 1026 w 1448"/>
                  <a:gd name="T31" fmla="*/ 1383 h 1632"/>
                  <a:gd name="T32" fmla="*/ 905 w 1448"/>
                  <a:gd name="T33" fmla="*/ 1426 h 1632"/>
                  <a:gd name="T34" fmla="*/ 543 w 1448"/>
                  <a:gd name="T35" fmla="*/ 1632 h 1632"/>
                  <a:gd name="T36" fmla="*/ 547 w 1448"/>
                  <a:gd name="T37" fmla="*/ 1218 h 1632"/>
                  <a:gd name="T38" fmla="*/ 571 w 1448"/>
                  <a:gd name="T39" fmla="*/ 1160 h 1632"/>
                  <a:gd name="T40" fmla="*/ 614 w 1448"/>
                  <a:gd name="T41" fmla="*/ 1116 h 1632"/>
                  <a:gd name="T42" fmla="*/ 671 w 1448"/>
                  <a:gd name="T43" fmla="*/ 1092 h 1632"/>
                  <a:gd name="T44" fmla="*/ 754 w 1448"/>
                  <a:gd name="T45" fmla="*/ 1088 h 1632"/>
                  <a:gd name="T46" fmla="*/ 848 w 1448"/>
                  <a:gd name="T47" fmla="*/ 1067 h 1632"/>
                  <a:gd name="T48" fmla="*/ 931 w 1448"/>
                  <a:gd name="T49" fmla="*/ 1023 h 1632"/>
                  <a:gd name="T50" fmla="*/ 1001 w 1448"/>
                  <a:gd name="T51" fmla="*/ 960 h 1632"/>
                  <a:gd name="T52" fmla="*/ 1054 w 1448"/>
                  <a:gd name="T53" fmla="*/ 882 h 1632"/>
                  <a:gd name="T54" fmla="*/ 1086 w 1448"/>
                  <a:gd name="T55" fmla="*/ 789 h 1632"/>
                  <a:gd name="T56" fmla="*/ 1081 w 1448"/>
                  <a:gd name="T57" fmla="*/ 692 h 1632"/>
                  <a:gd name="T58" fmla="*/ 1052 w 1448"/>
                  <a:gd name="T59" fmla="*/ 602 h 1632"/>
                  <a:gd name="T60" fmla="*/ 1002 w 1448"/>
                  <a:gd name="T61" fmla="*/ 524 h 1632"/>
                  <a:gd name="T62" fmla="*/ 934 w 1448"/>
                  <a:gd name="T63" fmla="*/ 461 h 1632"/>
                  <a:gd name="T64" fmla="*/ 850 w 1448"/>
                  <a:gd name="T65" fmla="*/ 418 h 1632"/>
                  <a:gd name="T66" fmla="*/ 755 w 1448"/>
                  <a:gd name="T67" fmla="*/ 397 h 1632"/>
                  <a:gd name="T68" fmla="*/ 657 w 1448"/>
                  <a:gd name="T69" fmla="*/ 401 h 1632"/>
                  <a:gd name="T70" fmla="*/ 568 w 1448"/>
                  <a:gd name="T71" fmla="*/ 430 h 1632"/>
                  <a:gd name="T72" fmla="*/ 489 w 1448"/>
                  <a:gd name="T73" fmla="*/ 481 h 1632"/>
                  <a:gd name="T74" fmla="*/ 427 w 1448"/>
                  <a:gd name="T75" fmla="*/ 549 h 1632"/>
                  <a:gd name="T76" fmla="*/ 384 w 1448"/>
                  <a:gd name="T77" fmla="*/ 633 h 1632"/>
                  <a:gd name="T78" fmla="*/ 361 w 1448"/>
                  <a:gd name="T79" fmla="*/ 727 h 1632"/>
                  <a:gd name="T80" fmla="*/ 2 w 1448"/>
                  <a:gd name="T81" fmla="*/ 661 h 1632"/>
                  <a:gd name="T82" fmla="*/ 25 w 1448"/>
                  <a:gd name="T83" fmla="*/ 532 h 1632"/>
                  <a:gd name="T84" fmla="*/ 70 w 1448"/>
                  <a:gd name="T85" fmla="*/ 412 h 1632"/>
                  <a:gd name="T86" fmla="*/ 135 w 1448"/>
                  <a:gd name="T87" fmla="*/ 302 h 1632"/>
                  <a:gd name="T88" fmla="*/ 218 w 1448"/>
                  <a:gd name="T89" fmla="*/ 206 h 1632"/>
                  <a:gd name="T90" fmla="*/ 317 w 1448"/>
                  <a:gd name="T91" fmla="*/ 126 h 1632"/>
                  <a:gd name="T92" fmla="*/ 430 w 1448"/>
                  <a:gd name="T93" fmla="*/ 63 h 1632"/>
                  <a:gd name="T94" fmla="*/ 556 w 1448"/>
                  <a:gd name="T95" fmla="*/ 20 h 1632"/>
                  <a:gd name="T96" fmla="*/ 685 w 1448"/>
                  <a:gd name="T97" fmla="*/ 1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8" h="1632">
                    <a:moveTo>
                      <a:pt x="748" y="0"/>
                    </a:moveTo>
                    <a:lnTo>
                      <a:pt x="811" y="6"/>
                    </a:lnTo>
                    <a:lnTo>
                      <a:pt x="873" y="16"/>
                    </a:lnTo>
                    <a:lnTo>
                      <a:pt x="934" y="31"/>
                    </a:lnTo>
                    <a:lnTo>
                      <a:pt x="992" y="52"/>
                    </a:lnTo>
                    <a:lnTo>
                      <a:pt x="1048" y="77"/>
                    </a:lnTo>
                    <a:lnTo>
                      <a:pt x="1102" y="107"/>
                    </a:lnTo>
                    <a:lnTo>
                      <a:pt x="1154" y="141"/>
                    </a:lnTo>
                    <a:lnTo>
                      <a:pt x="1202" y="181"/>
                    </a:lnTo>
                    <a:lnTo>
                      <a:pt x="1247" y="224"/>
                    </a:lnTo>
                    <a:lnTo>
                      <a:pt x="1288" y="270"/>
                    </a:lnTo>
                    <a:lnTo>
                      <a:pt x="1325" y="321"/>
                    </a:lnTo>
                    <a:lnTo>
                      <a:pt x="1358" y="375"/>
                    </a:lnTo>
                    <a:lnTo>
                      <a:pt x="1387" y="432"/>
                    </a:lnTo>
                    <a:lnTo>
                      <a:pt x="1410" y="493"/>
                    </a:lnTo>
                    <a:lnTo>
                      <a:pt x="1429" y="556"/>
                    </a:lnTo>
                    <a:lnTo>
                      <a:pt x="1441" y="619"/>
                    </a:lnTo>
                    <a:lnTo>
                      <a:pt x="1447" y="683"/>
                    </a:lnTo>
                    <a:lnTo>
                      <a:pt x="1448" y="746"/>
                    </a:lnTo>
                    <a:lnTo>
                      <a:pt x="1444" y="809"/>
                    </a:lnTo>
                    <a:lnTo>
                      <a:pt x="1434" y="871"/>
                    </a:lnTo>
                    <a:lnTo>
                      <a:pt x="1419" y="930"/>
                    </a:lnTo>
                    <a:lnTo>
                      <a:pt x="1399" y="989"/>
                    </a:lnTo>
                    <a:lnTo>
                      <a:pt x="1375" y="1044"/>
                    </a:lnTo>
                    <a:lnTo>
                      <a:pt x="1345" y="1098"/>
                    </a:lnTo>
                    <a:lnTo>
                      <a:pt x="1311" y="1148"/>
                    </a:lnTo>
                    <a:lnTo>
                      <a:pt x="1273" y="1197"/>
                    </a:lnTo>
                    <a:lnTo>
                      <a:pt x="1231" y="1242"/>
                    </a:lnTo>
                    <a:lnTo>
                      <a:pt x="1185" y="1283"/>
                    </a:lnTo>
                    <a:lnTo>
                      <a:pt x="1137" y="1320"/>
                    </a:lnTo>
                    <a:lnTo>
                      <a:pt x="1084" y="1353"/>
                    </a:lnTo>
                    <a:lnTo>
                      <a:pt x="1026" y="1383"/>
                    </a:lnTo>
                    <a:lnTo>
                      <a:pt x="968" y="1406"/>
                    </a:lnTo>
                    <a:lnTo>
                      <a:pt x="905" y="1426"/>
                    </a:lnTo>
                    <a:lnTo>
                      <a:pt x="905" y="1632"/>
                    </a:lnTo>
                    <a:lnTo>
                      <a:pt x="543" y="1632"/>
                    </a:lnTo>
                    <a:lnTo>
                      <a:pt x="543" y="1251"/>
                    </a:lnTo>
                    <a:lnTo>
                      <a:pt x="547" y="1218"/>
                    </a:lnTo>
                    <a:lnTo>
                      <a:pt x="556" y="1188"/>
                    </a:lnTo>
                    <a:lnTo>
                      <a:pt x="571" y="1160"/>
                    </a:lnTo>
                    <a:lnTo>
                      <a:pt x="590" y="1136"/>
                    </a:lnTo>
                    <a:lnTo>
                      <a:pt x="614" y="1116"/>
                    </a:lnTo>
                    <a:lnTo>
                      <a:pt x="642" y="1102"/>
                    </a:lnTo>
                    <a:lnTo>
                      <a:pt x="671" y="1092"/>
                    </a:lnTo>
                    <a:lnTo>
                      <a:pt x="704" y="1089"/>
                    </a:lnTo>
                    <a:lnTo>
                      <a:pt x="754" y="1088"/>
                    </a:lnTo>
                    <a:lnTo>
                      <a:pt x="801" y="1080"/>
                    </a:lnTo>
                    <a:lnTo>
                      <a:pt x="848" y="1067"/>
                    </a:lnTo>
                    <a:lnTo>
                      <a:pt x="891" y="1047"/>
                    </a:lnTo>
                    <a:lnTo>
                      <a:pt x="931" y="1023"/>
                    </a:lnTo>
                    <a:lnTo>
                      <a:pt x="968" y="994"/>
                    </a:lnTo>
                    <a:lnTo>
                      <a:pt x="1001" y="960"/>
                    </a:lnTo>
                    <a:lnTo>
                      <a:pt x="1030" y="922"/>
                    </a:lnTo>
                    <a:lnTo>
                      <a:pt x="1054" y="882"/>
                    </a:lnTo>
                    <a:lnTo>
                      <a:pt x="1073" y="836"/>
                    </a:lnTo>
                    <a:lnTo>
                      <a:pt x="1086" y="789"/>
                    </a:lnTo>
                    <a:lnTo>
                      <a:pt x="1087" y="740"/>
                    </a:lnTo>
                    <a:lnTo>
                      <a:pt x="1081" y="692"/>
                    </a:lnTo>
                    <a:lnTo>
                      <a:pt x="1069" y="646"/>
                    </a:lnTo>
                    <a:lnTo>
                      <a:pt x="1052" y="602"/>
                    </a:lnTo>
                    <a:lnTo>
                      <a:pt x="1030" y="561"/>
                    </a:lnTo>
                    <a:lnTo>
                      <a:pt x="1002" y="524"/>
                    </a:lnTo>
                    <a:lnTo>
                      <a:pt x="970" y="491"/>
                    </a:lnTo>
                    <a:lnTo>
                      <a:pt x="934" y="461"/>
                    </a:lnTo>
                    <a:lnTo>
                      <a:pt x="893" y="437"/>
                    </a:lnTo>
                    <a:lnTo>
                      <a:pt x="850" y="418"/>
                    </a:lnTo>
                    <a:lnTo>
                      <a:pt x="804" y="403"/>
                    </a:lnTo>
                    <a:lnTo>
                      <a:pt x="755" y="397"/>
                    </a:lnTo>
                    <a:lnTo>
                      <a:pt x="705" y="396"/>
                    </a:lnTo>
                    <a:lnTo>
                      <a:pt x="657" y="401"/>
                    </a:lnTo>
                    <a:lnTo>
                      <a:pt x="612" y="412"/>
                    </a:lnTo>
                    <a:lnTo>
                      <a:pt x="568" y="430"/>
                    </a:lnTo>
                    <a:lnTo>
                      <a:pt x="527" y="453"/>
                    </a:lnTo>
                    <a:lnTo>
                      <a:pt x="489" y="481"/>
                    </a:lnTo>
                    <a:lnTo>
                      <a:pt x="456" y="513"/>
                    </a:lnTo>
                    <a:lnTo>
                      <a:pt x="427" y="549"/>
                    </a:lnTo>
                    <a:lnTo>
                      <a:pt x="402" y="589"/>
                    </a:lnTo>
                    <a:lnTo>
                      <a:pt x="384" y="633"/>
                    </a:lnTo>
                    <a:lnTo>
                      <a:pt x="369" y="679"/>
                    </a:lnTo>
                    <a:lnTo>
                      <a:pt x="361" y="727"/>
                    </a:lnTo>
                    <a:lnTo>
                      <a:pt x="0" y="727"/>
                    </a:lnTo>
                    <a:lnTo>
                      <a:pt x="2" y="661"/>
                    </a:lnTo>
                    <a:lnTo>
                      <a:pt x="11" y="595"/>
                    </a:lnTo>
                    <a:lnTo>
                      <a:pt x="25" y="532"/>
                    </a:lnTo>
                    <a:lnTo>
                      <a:pt x="45" y="471"/>
                    </a:lnTo>
                    <a:lnTo>
                      <a:pt x="70" y="412"/>
                    </a:lnTo>
                    <a:lnTo>
                      <a:pt x="100" y="356"/>
                    </a:lnTo>
                    <a:lnTo>
                      <a:pt x="135" y="302"/>
                    </a:lnTo>
                    <a:lnTo>
                      <a:pt x="174" y="253"/>
                    </a:lnTo>
                    <a:lnTo>
                      <a:pt x="218" y="206"/>
                    </a:lnTo>
                    <a:lnTo>
                      <a:pt x="266" y="163"/>
                    </a:lnTo>
                    <a:lnTo>
                      <a:pt x="317" y="126"/>
                    </a:lnTo>
                    <a:lnTo>
                      <a:pt x="371" y="92"/>
                    </a:lnTo>
                    <a:lnTo>
                      <a:pt x="430" y="63"/>
                    </a:lnTo>
                    <a:lnTo>
                      <a:pt x="492" y="39"/>
                    </a:lnTo>
                    <a:lnTo>
                      <a:pt x="556" y="20"/>
                    </a:lnTo>
                    <a:lnTo>
                      <a:pt x="621" y="8"/>
                    </a:lnTo>
                    <a:lnTo>
                      <a:pt x="685" y="1"/>
                    </a:lnTo>
                    <a:lnTo>
                      <a:pt x="7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gray" r:id="rId7">
            <p14:nvContentPartPr>
              <p14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14:cNvPr>
              <p14:cNvContentPartPr/>
              <p14:nvPr/>
            </p14:nvContentPartPr>
            <p14:xfrm>
              <a:off x="3032773" y="3118642"/>
              <a:ext cx="763011" cy="338788"/>
            </p14:xfrm>
          </p:contentPart>
        </mc:Choice>
        <mc:Fallback xmlns="">
          <p:pic>
            <p:nvPicPr>
              <p:cNvPr id="148" name="Ink 6167">
                <a:extLst>
                  <a:ext uri="{FF2B5EF4-FFF2-40B4-BE49-F238E27FC236}">
                    <a16:creationId xmlns:a16="http://schemas.microsoft.com/office/drawing/2014/main" id="{0C571280-F795-4087-871F-C7AD065C0B9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020170" y="3106041"/>
                <a:ext cx="788217" cy="363990"/>
              </a:xfrm>
              <a:prstGeom prst="rect">
                <a:avLst/>
              </a:prstGeom>
            </p:spPr>
          </p:pic>
        </mc:Fallback>
      </mc:AlternateContent>
      <p:sp>
        <p:nvSpPr>
          <p:cNvPr id="149" name="Freeform 120">
            <a:extLst>
              <a:ext uri="{FF2B5EF4-FFF2-40B4-BE49-F238E27FC236}">
                <a16:creationId xmlns:a16="http://schemas.microsoft.com/office/drawing/2014/main" id="{1CFD1689-381E-47C4-9FCD-892FBB4E2B13}"/>
              </a:ext>
            </a:extLst>
          </p:cNvPr>
          <p:cNvSpPr>
            <a:spLocks noEditPoints="1"/>
          </p:cNvSpPr>
          <p:nvPr/>
        </p:nvSpPr>
        <p:spPr bwMode="gray">
          <a:xfrm>
            <a:off x="4129651" y="3074770"/>
            <a:ext cx="628441" cy="460754"/>
          </a:xfrm>
          <a:custGeom>
            <a:avLst/>
            <a:gdLst>
              <a:gd name="T0" fmla="*/ 168 w 3357"/>
              <a:gd name="T1" fmla="*/ 168 h 3238"/>
              <a:gd name="T2" fmla="*/ 168 w 3357"/>
              <a:gd name="T3" fmla="*/ 2467 h 3238"/>
              <a:gd name="T4" fmla="*/ 1211 w 3357"/>
              <a:gd name="T5" fmla="*/ 2467 h 3238"/>
              <a:gd name="T6" fmla="*/ 1230 w 3357"/>
              <a:gd name="T7" fmla="*/ 2469 h 3238"/>
              <a:gd name="T8" fmla="*/ 1248 w 3357"/>
              <a:gd name="T9" fmla="*/ 2476 h 3238"/>
              <a:gd name="T10" fmla="*/ 1265 w 3357"/>
              <a:gd name="T11" fmla="*/ 2486 h 3238"/>
              <a:gd name="T12" fmla="*/ 1278 w 3357"/>
              <a:gd name="T13" fmla="*/ 2501 h 3238"/>
              <a:gd name="T14" fmla="*/ 1668 w 3357"/>
              <a:gd name="T15" fmla="*/ 3018 h 3238"/>
              <a:gd name="T16" fmla="*/ 2086 w 3357"/>
              <a:gd name="T17" fmla="*/ 2499 h 3238"/>
              <a:gd name="T18" fmla="*/ 2099 w 3357"/>
              <a:gd name="T19" fmla="*/ 2485 h 3238"/>
              <a:gd name="T20" fmla="*/ 2115 w 3357"/>
              <a:gd name="T21" fmla="*/ 2475 h 3238"/>
              <a:gd name="T22" fmla="*/ 2132 w 3357"/>
              <a:gd name="T23" fmla="*/ 2469 h 3238"/>
              <a:gd name="T24" fmla="*/ 2151 w 3357"/>
              <a:gd name="T25" fmla="*/ 2467 h 3238"/>
              <a:gd name="T26" fmla="*/ 3188 w 3357"/>
              <a:gd name="T27" fmla="*/ 2467 h 3238"/>
              <a:gd name="T28" fmla="*/ 3188 w 3357"/>
              <a:gd name="T29" fmla="*/ 168 h 3238"/>
              <a:gd name="T30" fmla="*/ 168 w 3357"/>
              <a:gd name="T31" fmla="*/ 168 h 3238"/>
              <a:gd name="T32" fmla="*/ 85 w 3357"/>
              <a:gd name="T33" fmla="*/ 0 h 3238"/>
              <a:gd name="T34" fmla="*/ 3272 w 3357"/>
              <a:gd name="T35" fmla="*/ 0 h 3238"/>
              <a:gd name="T36" fmla="*/ 3295 w 3357"/>
              <a:gd name="T37" fmla="*/ 3 h 3238"/>
              <a:gd name="T38" fmla="*/ 3315 w 3357"/>
              <a:gd name="T39" fmla="*/ 11 h 3238"/>
              <a:gd name="T40" fmla="*/ 3331 w 3357"/>
              <a:gd name="T41" fmla="*/ 24 h 3238"/>
              <a:gd name="T42" fmla="*/ 3345 w 3357"/>
              <a:gd name="T43" fmla="*/ 42 h 3238"/>
              <a:gd name="T44" fmla="*/ 3354 w 3357"/>
              <a:gd name="T45" fmla="*/ 62 h 3238"/>
              <a:gd name="T46" fmla="*/ 3357 w 3357"/>
              <a:gd name="T47" fmla="*/ 85 h 3238"/>
              <a:gd name="T48" fmla="*/ 3357 w 3357"/>
              <a:gd name="T49" fmla="*/ 2551 h 3238"/>
              <a:gd name="T50" fmla="*/ 3354 w 3357"/>
              <a:gd name="T51" fmla="*/ 2573 h 3238"/>
              <a:gd name="T52" fmla="*/ 3345 w 3357"/>
              <a:gd name="T53" fmla="*/ 2593 h 3238"/>
              <a:gd name="T54" fmla="*/ 3331 w 3357"/>
              <a:gd name="T55" fmla="*/ 2611 h 3238"/>
              <a:gd name="T56" fmla="*/ 3315 w 3357"/>
              <a:gd name="T57" fmla="*/ 2624 h 3238"/>
              <a:gd name="T58" fmla="*/ 3295 w 3357"/>
              <a:gd name="T59" fmla="*/ 2632 h 3238"/>
              <a:gd name="T60" fmla="*/ 3272 w 3357"/>
              <a:gd name="T61" fmla="*/ 2635 h 3238"/>
              <a:gd name="T62" fmla="*/ 2191 w 3357"/>
              <a:gd name="T63" fmla="*/ 2635 h 3238"/>
              <a:gd name="T64" fmla="*/ 1731 w 3357"/>
              <a:gd name="T65" fmla="*/ 3206 h 3238"/>
              <a:gd name="T66" fmla="*/ 1718 w 3357"/>
              <a:gd name="T67" fmla="*/ 3220 h 3238"/>
              <a:gd name="T68" fmla="*/ 1701 w 3357"/>
              <a:gd name="T69" fmla="*/ 3230 h 3238"/>
              <a:gd name="T70" fmla="*/ 1684 w 3357"/>
              <a:gd name="T71" fmla="*/ 3236 h 3238"/>
              <a:gd name="T72" fmla="*/ 1666 w 3357"/>
              <a:gd name="T73" fmla="*/ 3238 h 3238"/>
              <a:gd name="T74" fmla="*/ 1665 w 3357"/>
              <a:gd name="T75" fmla="*/ 3238 h 3238"/>
              <a:gd name="T76" fmla="*/ 1645 w 3357"/>
              <a:gd name="T77" fmla="*/ 3235 h 3238"/>
              <a:gd name="T78" fmla="*/ 1627 w 3357"/>
              <a:gd name="T79" fmla="*/ 3229 h 3238"/>
              <a:gd name="T80" fmla="*/ 1612 w 3357"/>
              <a:gd name="T81" fmla="*/ 3217 h 3238"/>
              <a:gd name="T82" fmla="*/ 1599 w 3357"/>
              <a:gd name="T83" fmla="*/ 3204 h 3238"/>
              <a:gd name="T84" fmla="*/ 1169 w 3357"/>
              <a:gd name="T85" fmla="*/ 2635 h 3238"/>
              <a:gd name="T86" fmla="*/ 85 w 3357"/>
              <a:gd name="T87" fmla="*/ 2635 h 3238"/>
              <a:gd name="T88" fmla="*/ 62 w 3357"/>
              <a:gd name="T89" fmla="*/ 2632 h 3238"/>
              <a:gd name="T90" fmla="*/ 42 w 3357"/>
              <a:gd name="T91" fmla="*/ 2624 h 3238"/>
              <a:gd name="T92" fmla="*/ 24 w 3357"/>
              <a:gd name="T93" fmla="*/ 2611 h 3238"/>
              <a:gd name="T94" fmla="*/ 11 w 3357"/>
              <a:gd name="T95" fmla="*/ 2593 h 3238"/>
              <a:gd name="T96" fmla="*/ 3 w 3357"/>
              <a:gd name="T97" fmla="*/ 2573 h 3238"/>
              <a:gd name="T98" fmla="*/ 0 w 3357"/>
              <a:gd name="T99" fmla="*/ 2551 h 3238"/>
              <a:gd name="T100" fmla="*/ 0 w 3357"/>
              <a:gd name="T101" fmla="*/ 85 h 3238"/>
              <a:gd name="T102" fmla="*/ 3 w 3357"/>
              <a:gd name="T103" fmla="*/ 62 h 3238"/>
              <a:gd name="T104" fmla="*/ 11 w 3357"/>
              <a:gd name="T105" fmla="*/ 42 h 3238"/>
              <a:gd name="T106" fmla="*/ 24 w 3357"/>
              <a:gd name="T107" fmla="*/ 24 h 3238"/>
              <a:gd name="T108" fmla="*/ 42 w 3357"/>
              <a:gd name="T109" fmla="*/ 11 h 3238"/>
              <a:gd name="T110" fmla="*/ 62 w 3357"/>
              <a:gd name="T111" fmla="*/ 3 h 3238"/>
              <a:gd name="T112" fmla="*/ 85 w 3357"/>
              <a:gd name="T113" fmla="*/ 0 h 3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3238">
                <a:moveTo>
                  <a:pt x="168" y="168"/>
                </a:moveTo>
                <a:lnTo>
                  <a:pt x="168" y="2467"/>
                </a:lnTo>
                <a:lnTo>
                  <a:pt x="1211" y="2467"/>
                </a:lnTo>
                <a:lnTo>
                  <a:pt x="1230" y="2469"/>
                </a:lnTo>
                <a:lnTo>
                  <a:pt x="1248" y="2476"/>
                </a:lnTo>
                <a:lnTo>
                  <a:pt x="1265" y="2486"/>
                </a:lnTo>
                <a:lnTo>
                  <a:pt x="1278" y="2501"/>
                </a:lnTo>
                <a:lnTo>
                  <a:pt x="1668" y="3018"/>
                </a:lnTo>
                <a:lnTo>
                  <a:pt x="2086" y="2499"/>
                </a:lnTo>
                <a:lnTo>
                  <a:pt x="2099" y="2485"/>
                </a:lnTo>
                <a:lnTo>
                  <a:pt x="2115" y="2475"/>
                </a:lnTo>
                <a:lnTo>
                  <a:pt x="2132" y="2469"/>
                </a:lnTo>
                <a:lnTo>
                  <a:pt x="2151" y="2467"/>
                </a:lnTo>
                <a:lnTo>
                  <a:pt x="3188" y="2467"/>
                </a:lnTo>
                <a:lnTo>
                  <a:pt x="3188" y="168"/>
                </a:lnTo>
                <a:lnTo>
                  <a:pt x="168" y="168"/>
                </a:lnTo>
                <a:close/>
                <a:moveTo>
                  <a:pt x="85" y="0"/>
                </a:moveTo>
                <a:lnTo>
                  <a:pt x="3272" y="0"/>
                </a:lnTo>
                <a:lnTo>
                  <a:pt x="3295" y="3"/>
                </a:lnTo>
                <a:lnTo>
                  <a:pt x="3315" y="11"/>
                </a:lnTo>
                <a:lnTo>
                  <a:pt x="3331" y="24"/>
                </a:lnTo>
                <a:lnTo>
                  <a:pt x="3345" y="42"/>
                </a:lnTo>
                <a:lnTo>
                  <a:pt x="3354" y="62"/>
                </a:lnTo>
                <a:lnTo>
                  <a:pt x="3357" y="85"/>
                </a:lnTo>
                <a:lnTo>
                  <a:pt x="3357" y="2551"/>
                </a:lnTo>
                <a:lnTo>
                  <a:pt x="3354" y="2573"/>
                </a:lnTo>
                <a:lnTo>
                  <a:pt x="3345" y="2593"/>
                </a:lnTo>
                <a:lnTo>
                  <a:pt x="3331" y="2611"/>
                </a:lnTo>
                <a:lnTo>
                  <a:pt x="3315" y="2624"/>
                </a:lnTo>
                <a:lnTo>
                  <a:pt x="3295" y="2632"/>
                </a:lnTo>
                <a:lnTo>
                  <a:pt x="3272" y="2635"/>
                </a:lnTo>
                <a:lnTo>
                  <a:pt x="2191" y="2635"/>
                </a:lnTo>
                <a:lnTo>
                  <a:pt x="1731" y="3206"/>
                </a:lnTo>
                <a:lnTo>
                  <a:pt x="1718" y="3220"/>
                </a:lnTo>
                <a:lnTo>
                  <a:pt x="1701" y="3230"/>
                </a:lnTo>
                <a:lnTo>
                  <a:pt x="1684" y="3236"/>
                </a:lnTo>
                <a:lnTo>
                  <a:pt x="1666" y="3238"/>
                </a:lnTo>
                <a:lnTo>
                  <a:pt x="1665" y="3238"/>
                </a:lnTo>
                <a:lnTo>
                  <a:pt x="1645" y="3235"/>
                </a:lnTo>
                <a:lnTo>
                  <a:pt x="1627" y="3229"/>
                </a:lnTo>
                <a:lnTo>
                  <a:pt x="1612" y="3217"/>
                </a:lnTo>
                <a:lnTo>
                  <a:pt x="1599" y="3204"/>
                </a:lnTo>
                <a:lnTo>
                  <a:pt x="1169" y="2635"/>
                </a:lnTo>
                <a:lnTo>
                  <a:pt x="85" y="2635"/>
                </a:lnTo>
                <a:lnTo>
                  <a:pt x="62" y="2632"/>
                </a:lnTo>
                <a:lnTo>
                  <a:pt x="42" y="2624"/>
                </a:lnTo>
                <a:lnTo>
                  <a:pt x="24" y="2611"/>
                </a:lnTo>
                <a:lnTo>
                  <a:pt x="11" y="2593"/>
                </a:lnTo>
                <a:lnTo>
                  <a:pt x="3" y="2573"/>
                </a:lnTo>
                <a:lnTo>
                  <a:pt x="0" y="2551"/>
                </a:lnTo>
                <a:lnTo>
                  <a:pt x="0" y="85"/>
                </a:lnTo>
                <a:lnTo>
                  <a:pt x="3" y="62"/>
                </a:lnTo>
                <a:lnTo>
                  <a:pt x="11" y="42"/>
                </a:lnTo>
                <a:lnTo>
                  <a:pt x="24" y="24"/>
                </a:lnTo>
                <a:lnTo>
                  <a:pt x="42" y="11"/>
                </a:lnTo>
                <a:lnTo>
                  <a:pt x="62" y="3"/>
                </a:lnTo>
                <a:lnTo>
                  <a:pt x="85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1" name="Freeform 129">
            <a:extLst>
              <a:ext uri="{FF2B5EF4-FFF2-40B4-BE49-F238E27FC236}">
                <a16:creationId xmlns:a16="http://schemas.microsoft.com/office/drawing/2014/main" id="{098DEF57-51F7-4A3D-9FD4-69A6CEF01FDC}"/>
              </a:ext>
            </a:extLst>
          </p:cNvPr>
          <p:cNvSpPr>
            <a:spLocks noEditPoints="1"/>
          </p:cNvSpPr>
          <p:nvPr/>
        </p:nvSpPr>
        <p:spPr bwMode="gray">
          <a:xfrm>
            <a:off x="5053459" y="3029641"/>
            <a:ext cx="545713" cy="482443"/>
          </a:xfrm>
          <a:custGeom>
            <a:avLst/>
            <a:gdLst>
              <a:gd name="T0" fmla="*/ 1395 w 3379"/>
              <a:gd name="T1" fmla="*/ 194 h 2987"/>
              <a:gd name="T2" fmla="*/ 1034 w 3379"/>
              <a:gd name="T3" fmla="*/ 299 h 2987"/>
              <a:gd name="T4" fmla="*/ 718 w 3379"/>
              <a:gd name="T5" fmla="*/ 475 h 2987"/>
              <a:gd name="T6" fmla="*/ 463 w 3379"/>
              <a:gd name="T7" fmla="*/ 712 h 2987"/>
              <a:gd name="T8" fmla="*/ 280 w 3379"/>
              <a:gd name="T9" fmla="*/ 998 h 2987"/>
              <a:gd name="T10" fmla="*/ 182 w 3379"/>
              <a:gd name="T11" fmla="*/ 1321 h 2987"/>
              <a:gd name="T12" fmla="*/ 182 w 3379"/>
              <a:gd name="T13" fmla="*/ 1666 h 2987"/>
              <a:gd name="T14" fmla="*/ 280 w 3379"/>
              <a:gd name="T15" fmla="*/ 1990 h 2987"/>
              <a:gd name="T16" fmla="*/ 463 w 3379"/>
              <a:gd name="T17" fmla="*/ 2275 h 2987"/>
              <a:gd name="T18" fmla="*/ 718 w 3379"/>
              <a:gd name="T19" fmla="*/ 2512 h 2987"/>
              <a:gd name="T20" fmla="*/ 1034 w 3379"/>
              <a:gd name="T21" fmla="*/ 2688 h 2987"/>
              <a:gd name="T22" fmla="*/ 1395 w 3379"/>
              <a:gd name="T23" fmla="*/ 2793 h 2987"/>
              <a:gd name="T24" fmla="*/ 1788 w 3379"/>
              <a:gd name="T25" fmla="*/ 2815 h 2987"/>
              <a:gd name="T26" fmla="*/ 2169 w 3379"/>
              <a:gd name="T27" fmla="*/ 2751 h 2987"/>
              <a:gd name="T28" fmla="*/ 2520 w 3379"/>
              <a:gd name="T29" fmla="*/ 2603 h 2987"/>
              <a:gd name="T30" fmla="*/ 2577 w 3379"/>
              <a:gd name="T31" fmla="*/ 2593 h 2987"/>
              <a:gd name="T32" fmla="*/ 2722 w 3379"/>
              <a:gd name="T33" fmla="*/ 2661 h 2987"/>
              <a:gd name="T34" fmla="*/ 2989 w 3379"/>
              <a:gd name="T35" fmla="*/ 2713 h 2987"/>
              <a:gd name="T36" fmla="*/ 2944 w 3379"/>
              <a:gd name="T37" fmla="*/ 2576 h 2987"/>
              <a:gd name="T38" fmla="*/ 2854 w 3379"/>
              <a:gd name="T39" fmla="*/ 2390 h 2987"/>
              <a:gd name="T40" fmla="*/ 2876 w 3379"/>
              <a:gd name="T41" fmla="*/ 2322 h 2987"/>
              <a:gd name="T42" fmla="*/ 3073 w 3379"/>
              <a:gd name="T43" fmla="*/ 2045 h 2987"/>
              <a:gd name="T44" fmla="*/ 3185 w 3379"/>
              <a:gd name="T45" fmla="*/ 1737 h 2987"/>
              <a:gd name="T46" fmla="*/ 3207 w 3379"/>
              <a:gd name="T47" fmla="*/ 1406 h 2987"/>
              <a:gd name="T48" fmla="*/ 3133 w 3379"/>
              <a:gd name="T49" fmla="*/ 1076 h 2987"/>
              <a:gd name="T50" fmla="*/ 2970 w 3379"/>
              <a:gd name="T51" fmla="*/ 780 h 2987"/>
              <a:gd name="T52" fmla="*/ 2731 w 3379"/>
              <a:gd name="T53" fmla="*/ 529 h 2987"/>
              <a:gd name="T54" fmla="*/ 2429 w 3379"/>
              <a:gd name="T55" fmla="*/ 336 h 2987"/>
              <a:gd name="T56" fmla="*/ 2078 w 3379"/>
              <a:gd name="T57" fmla="*/ 213 h 2987"/>
              <a:gd name="T58" fmla="*/ 1689 w 3379"/>
              <a:gd name="T59" fmla="*/ 169 h 2987"/>
              <a:gd name="T60" fmla="*/ 2004 w 3379"/>
              <a:gd name="T61" fmla="*/ 26 h 2987"/>
              <a:gd name="T62" fmla="*/ 2392 w 3379"/>
              <a:gd name="T63" fmla="*/ 135 h 2987"/>
              <a:gd name="T64" fmla="*/ 2735 w 3379"/>
              <a:gd name="T65" fmla="*/ 321 h 2987"/>
              <a:gd name="T66" fmla="*/ 3016 w 3379"/>
              <a:gd name="T67" fmla="*/ 570 h 2987"/>
              <a:gd name="T68" fmla="*/ 3225 w 3379"/>
              <a:gd name="T69" fmla="*/ 872 h 2987"/>
              <a:gd name="T70" fmla="*/ 3349 w 3379"/>
              <a:gd name="T71" fmla="*/ 1215 h 2987"/>
              <a:gd name="T72" fmla="*/ 3376 w 3379"/>
              <a:gd name="T73" fmla="*/ 1582 h 2987"/>
              <a:gd name="T74" fmla="*/ 3305 w 3379"/>
              <a:gd name="T75" fmla="*/ 1928 h 2987"/>
              <a:gd name="T76" fmla="*/ 3146 w 3379"/>
              <a:gd name="T77" fmla="*/ 2249 h 2987"/>
              <a:gd name="T78" fmla="*/ 3089 w 3379"/>
              <a:gd name="T79" fmla="*/ 2490 h 2987"/>
              <a:gd name="T80" fmla="*/ 3239 w 3379"/>
              <a:gd name="T81" fmla="*/ 2636 h 2987"/>
              <a:gd name="T82" fmla="*/ 3295 w 3379"/>
              <a:gd name="T83" fmla="*/ 2720 h 2987"/>
              <a:gd name="T84" fmla="*/ 3273 w 3379"/>
              <a:gd name="T85" fmla="*/ 2820 h 2987"/>
              <a:gd name="T86" fmla="*/ 3187 w 3379"/>
              <a:gd name="T87" fmla="*/ 2871 h 2987"/>
              <a:gd name="T88" fmla="*/ 2883 w 3379"/>
              <a:gd name="T89" fmla="*/ 2873 h 2987"/>
              <a:gd name="T90" fmla="*/ 2621 w 3379"/>
              <a:gd name="T91" fmla="*/ 2802 h 2987"/>
              <a:gd name="T92" fmla="*/ 2287 w 3379"/>
              <a:gd name="T93" fmla="*/ 2890 h 2987"/>
              <a:gd name="T94" fmla="*/ 1894 w 3379"/>
              <a:gd name="T95" fmla="*/ 2977 h 2987"/>
              <a:gd name="T96" fmla="*/ 1478 w 3379"/>
              <a:gd name="T97" fmla="*/ 2975 h 2987"/>
              <a:gd name="T98" fmla="*/ 1080 w 3379"/>
              <a:gd name="T99" fmla="*/ 2886 h 2987"/>
              <a:gd name="T100" fmla="*/ 725 w 3379"/>
              <a:gd name="T101" fmla="*/ 2719 h 2987"/>
              <a:gd name="T102" fmla="*/ 427 w 3379"/>
              <a:gd name="T103" fmla="*/ 2485 h 2987"/>
              <a:gd name="T104" fmla="*/ 199 w 3379"/>
              <a:gd name="T105" fmla="*/ 2195 h 2987"/>
              <a:gd name="T106" fmla="*/ 51 w 3379"/>
              <a:gd name="T107" fmla="*/ 1861 h 2987"/>
              <a:gd name="T108" fmla="*/ 0 w 3379"/>
              <a:gd name="T109" fmla="*/ 1493 h 2987"/>
              <a:gd name="T110" fmla="*/ 51 w 3379"/>
              <a:gd name="T111" fmla="*/ 1126 h 2987"/>
              <a:gd name="T112" fmla="*/ 198 w 3379"/>
              <a:gd name="T113" fmla="*/ 792 h 2987"/>
              <a:gd name="T114" fmla="*/ 427 w 3379"/>
              <a:gd name="T115" fmla="*/ 503 h 2987"/>
              <a:gd name="T116" fmla="*/ 724 w 3379"/>
              <a:gd name="T117" fmla="*/ 268 h 2987"/>
              <a:gd name="T118" fmla="*/ 1079 w 3379"/>
              <a:gd name="T119" fmla="*/ 101 h 2987"/>
              <a:gd name="T120" fmla="*/ 1477 w 3379"/>
              <a:gd name="T121" fmla="*/ 11 h 2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79" h="2987">
                <a:moveTo>
                  <a:pt x="1689" y="169"/>
                </a:moveTo>
                <a:lnTo>
                  <a:pt x="1590" y="172"/>
                </a:lnTo>
                <a:lnTo>
                  <a:pt x="1492" y="181"/>
                </a:lnTo>
                <a:lnTo>
                  <a:pt x="1395" y="194"/>
                </a:lnTo>
                <a:lnTo>
                  <a:pt x="1301" y="213"/>
                </a:lnTo>
                <a:lnTo>
                  <a:pt x="1210" y="237"/>
                </a:lnTo>
                <a:lnTo>
                  <a:pt x="1121" y="266"/>
                </a:lnTo>
                <a:lnTo>
                  <a:pt x="1034" y="299"/>
                </a:lnTo>
                <a:lnTo>
                  <a:pt x="950" y="336"/>
                </a:lnTo>
                <a:lnTo>
                  <a:pt x="870" y="378"/>
                </a:lnTo>
                <a:lnTo>
                  <a:pt x="792" y="426"/>
                </a:lnTo>
                <a:lnTo>
                  <a:pt x="718" y="475"/>
                </a:lnTo>
                <a:lnTo>
                  <a:pt x="649" y="529"/>
                </a:lnTo>
                <a:lnTo>
                  <a:pt x="583" y="587"/>
                </a:lnTo>
                <a:lnTo>
                  <a:pt x="520" y="648"/>
                </a:lnTo>
                <a:lnTo>
                  <a:pt x="463" y="712"/>
                </a:lnTo>
                <a:lnTo>
                  <a:pt x="410" y="780"/>
                </a:lnTo>
                <a:lnTo>
                  <a:pt x="362" y="849"/>
                </a:lnTo>
                <a:lnTo>
                  <a:pt x="318" y="922"/>
                </a:lnTo>
                <a:lnTo>
                  <a:pt x="280" y="998"/>
                </a:lnTo>
                <a:lnTo>
                  <a:pt x="247" y="1076"/>
                </a:lnTo>
                <a:lnTo>
                  <a:pt x="219" y="1155"/>
                </a:lnTo>
                <a:lnTo>
                  <a:pt x="198" y="1237"/>
                </a:lnTo>
                <a:lnTo>
                  <a:pt x="182" y="1321"/>
                </a:lnTo>
                <a:lnTo>
                  <a:pt x="172" y="1406"/>
                </a:lnTo>
                <a:lnTo>
                  <a:pt x="169" y="1493"/>
                </a:lnTo>
                <a:lnTo>
                  <a:pt x="172" y="1581"/>
                </a:lnTo>
                <a:lnTo>
                  <a:pt x="182" y="1666"/>
                </a:lnTo>
                <a:lnTo>
                  <a:pt x="198" y="1750"/>
                </a:lnTo>
                <a:lnTo>
                  <a:pt x="219" y="1832"/>
                </a:lnTo>
                <a:lnTo>
                  <a:pt x="247" y="1912"/>
                </a:lnTo>
                <a:lnTo>
                  <a:pt x="280" y="1990"/>
                </a:lnTo>
                <a:lnTo>
                  <a:pt x="318" y="2065"/>
                </a:lnTo>
                <a:lnTo>
                  <a:pt x="362" y="2138"/>
                </a:lnTo>
                <a:lnTo>
                  <a:pt x="410" y="2208"/>
                </a:lnTo>
                <a:lnTo>
                  <a:pt x="463" y="2275"/>
                </a:lnTo>
                <a:lnTo>
                  <a:pt x="520" y="2340"/>
                </a:lnTo>
                <a:lnTo>
                  <a:pt x="583" y="2400"/>
                </a:lnTo>
                <a:lnTo>
                  <a:pt x="649" y="2458"/>
                </a:lnTo>
                <a:lnTo>
                  <a:pt x="718" y="2512"/>
                </a:lnTo>
                <a:lnTo>
                  <a:pt x="792" y="2562"/>
                </a:lnTo>
                <a:lnTo>
                  <a:pt x="870" y="2608"/>
                </a:lnTo>
                <a:lnTo>
                  <a:pt x="950" y="2650"/>
                </a:lnTo>
                <a:lnTo>
                  <a:pt x="1034" y="2688"/>
                </a:lnTo>
                <a:lnTo>
                  <a:pt x="1121" y="2722"/>
                </a:lnTo>
                <a:lnTo>
                  <a:pt x="1210" y="2751"/>
                </a:lnTo>
                <a:lnTo>
                  <a:pt x="1301" y="2774"/>
                </a:lnTo>
                <a:lnTo>
                  <a:pt x="1395" y="2793"/>
                </a:lnTo>
                <a:lnTo>
                  <a:pt x="1492" y="2807"/>
                </a:lnTo>
                <a:lnTo>
                  <a:pt x="1590" y="2815"/>
                </a:lnTo>
                <a:lnTo>
                  <a:pt x="1689" y="2819"/>
                </a:lnTo>
                <a:lnTo>
                  <a:pt x="1788" y="2815"/>
                </a:lnTo>
                <a:lnTo>
                  <a:pt x="1885" y="2807"/>
                </a:lnTo>
                <a:lnTo>
                  <a:pt x="1981" y="2794"/>
                </a:lnTo>
                <a:lnTo>
                  <a:pt x="2076" y="2774"/>
                </a:lnTo>
                <a:lnTo>
                  <a:pt x="2169" y="2751"/>
                </a:lnTo>
                <a:lnTo>
                  <a:pt x="2260" y="2721"/>
                </a:lnTo>
                <a:lnTo>
                  <a:pt x="2349" y="2687"/>
                </a:lnTo>
                <a:lnTo>
                  <a:pt x="2436" y="2647"/>
                </a:lnTo>
                <a:lnTo>
                  <a:pt x="2520" y="2603"/>
                </a:lnTo>
                <a:lnTo>
                  <a:pt x="2534" y="2597"/>
                </a:lnTo>
                <a:lnTo>
                  <a:pt x="2547" y="2593"/>
                </a:lnTo>
                <a:lnTo>
                  <a:pt x="2562" y="2592"/>
                </a:lnTo>
                <a:lnTo>
                  <a:pt x="2577" y="2593"/>
                </a:lnTo>
                <a:lnTo>
                  <a:pt x="2592" y="2597"/>
                </a:lnTo>
                <a:lnTo>
                  <a:pt x="2605" y="2603"/>
                </a:lnTo>
                <a:lnTo>
                  <a:pt x="2663" y="2635"/>
                </a:lnTo>
                <a:lnTo>
                  <a:pt x="2722" y="2661"/>
                </a:lnTo>
                <a:lnTo>
                  <a:pt x="2786" y="2681"/>
                </a:lnTo>
                <a:lnTo>
                  <a:pt x="2851" y="2697"/>
                </a:lnTo>
                <a:lnTo>
                  <a:pt x="2919" y="2708"/>
                </a:lnTo>
                <a:lnTo>
                  <a:pt x="2989" y="2713"/>
                </a:lnTo>
                <a:lnTo>
                  <a:pt x="3061" y="2713"/>
                </a:lnTo>
                <a:lnTo>
                  <a:pt x="3018" y="2671"/>
                </a:lnTo>
                <a:lnTo>
                  <a:pt x="2979" y="2626"/>
                </a:lnTo>
                <a:lnTo>
                  <a:pt x="2944" y="2576"/>
                </a:lnTo>
                <a:lnTo>
                  <a:pt x="2912" y="2524"/>
                </a:lnTo>
                <a:lnTo>
                  <a:pt x="2883" y="2468"/>
                </a:lnTo>
                <a:lnTo>
                  <a:pt x="2858" y="2408"/>
                </a:lnTo>
                <a:lnTo>
                  <a:pt x="2854" y="2390"/>
                </a:lnTo>
                <a:lnTo>
                  <a:pt x="2853" y="2371"/>
                </a:lnTo>
                <a:lnTo>
                  <a:pt x="2857" y="2354"/>
                </a:lnTo>
                <a:lnTo>
                  <a:pt x="2865" y="2336"/>
                </a:lnTo>
                <a:lnTo>
                  <a:pt x="2876" y="2322"/>
                </a:lnTo>
                <a:lnTo>
                  <a:pt x="2933" y="2255"/>
                </a:lnTo>
                <a:lnTo>
                  <a:pt x="2985" y="2188"/>
                </a:lnTo>
                <a:lnTo>
                  <a:pt x="3032" y="2117"/>
                </a:lnTo>
                <a:lnTo>
                  <a:pt x="3073" y="2045"/>
                </a:lnTo>
                <a:lnTo>
                  <a:pt x="3109" y="1970"/>
                </a:lnTo>
                <a:lnTo>
                  <a:pt x="3140" y="1894"/>
                </a:lnTo>
                <a:lnTo>
                  <a:pt x="3165" y="1817"/>
                </a:lnTo>
                <a:lnTo>
                  <a:pt x="3185" y="1737"/>
                </a:lnTo>
                <a:lnTo>
                  <a:pt x="3199" y="1657"/>
                </a:lnTo>
                <a:lnTo>
                  <a:pt x="3208" y="1576"/>
                </a:lnTo>
                <a:lnTo>
                  <a:pt x="3211" y="1493"/>
                </a:lnTo>
                <a:lnTo>
                  <a:pt x="3207" y="1406"/>
                </a:lnTo>
                <a:lnTo>
                  <a:pt x="3198" y="1321"/>
                </a:lnTo>
                <a:lnTo>
                  <a:pt x="3182" y="1237"/>
                </a:lnTo>
                <a:lnTo>
                  <a:pt x="3161" y="1155"/>
                </a:lnTo>
                <a:lnTo>
                  <a:pt x="3133" y="1076"/>
                </a:lnTo>
                <a:lnTo>
                  <a:pt x="3100" y="998"/>
                </a:lnTo>
                <a:lnTo>
                  <a:pt x="3061" y="922"/>
                </a:lnTo>
                <a:lnTo>
                  <a:pt x="3018" y="849"/>
                </a:lnTo>
                <a:lnTo>
                  <a:pt x="2970" y="780"/>
                </a:lnTo>
                <a:lnTo>
                  <a:pt x="2917" y="712"/>
                </a:lnTo>
                <a:lnTo>
                  <a:pt x="2860" y="648"/>
                </a:lnTo>
                <a:lnTo>
                  <a:pt x="2797" y="587"/>
                </a:lnTo>
                <a:lnTo>
                  <a:pt x="2731" y="529"/>
                </a:lnTo>
                <a:lnTo>
                  <a:pt x="2661" y="475"/>
                </a:lnTo>
                <a:lnTo>
                  <a:pt x="2587" y="426"/>
                </a:lnTo>
                <a:lnTo>
                  <a:pt x="2510" y="378"/>
                </a:lnTo>
                <a:lnTo>
                  <a:pt x="2429" y="336"/>
                </a:lnTo>
                <a:lnTo>
                  <a:pt x="2346" y="299"/>
                </a:lnTo>
                <a:lnTo>
                  <a:pt x="2259" y="266"/>
                </a:lnTo>
                <a:lnTo>
                  <a:pt x="2170" y="237"/>
                </a:lnTo>
                <a:lnTo>
                  <a:pt x="2078" y="213"/>
                </a:lnTo>
                <a:lnTo>
                  <a:pt x="1984" y="194"/>
                </a:lnTo>
                <a:lnTo>
                  <a:pt x="1888" y="181"/>
                </a:lnTo>
                <a:lnTo>
                  <a:pt x="1790" y="172"/>
                </a:lnTo>
                <a:lnTo>
                  <a:pt x="1689" y="169"/>
                </a:lnTo>
                <a:close/>
                <a:moveTo>
                  <a:pt x="1689" y="0"/>
                </a:moveTo>
                <a:lnTo>
                  <a:pt x="1796" y="3"/>
                </a:lnTo>
                <a:lnTo>
                  <a:pt x="1901" y="11"/>
                </a:lnTo>
                <a:lnTo>
                  <a:pt x="2004" y="26"/>
                </a:lnTo>
                <a:lnTo>
                  <a:pt x="2104" y="46"/>
                </a:lnTo>
                <a:lnTo>
                  <a:pt x="2203" y="71"/>
                </a:lnTo>
                <a:lnTo>
                  <a:pt x="2299" y="101"/>
                </a:lnTo>
                <a:lnTo>
                  <a:pt x="2392" y="135"/>
                </a:lnTo>
                <a:lnTo>
                  <a:pt x="2482" y="175"/>
                </a:lnTo>
                <a:lnTo>
                  <a:pt x="2570" y="219"/>
                </a:lnTo>
                <a:lnTo>
                  <a:pt x="2654" y="268"/>
                </a:lnTo>
                <a:lnTo>
                  <a:pt x="2735" y="321"/>
                </a:lnTo>
                <a:lnTo>
                  <a:pt x="2810" y="377"/>
                </a:lnTo>
                <a:lnTo>
                  <a:pt x="2883" y="438"/>
                </a:lnTo>
                <a:lnTo>
                  <a:pt x="2952" y="503"/>
                </a:lnTo>
                <a:lnTo>
                  <a:pt x="3016" y="570"/>
                </a:lnTo>
                <a:lnTo>
                  <a:pt x="3076" y="641"/>
                </a:lnTo>
                <a:lnTo>
                  <a:pt x="3131" y="715"/>
                </a:lnTo>
                <a:lnTo>
                  <a:pt x="3180" y="792"/>
                </a:lnTo>
                <a:lnTo>
                  <a:pt x="3225" y="872"/>
                </a:lnTo>
                <a:lnTo>
                  <a:pt x="3265" y="954"/>
                </a:lnTo>
                <a:lnTo>
                  <a:pt x="3299" y="1039"/>
                </a:lnTo>
                <a:lnTo>
                  <a:pt x="3328" y="1126"/>
                </a:lnTo>
                <a:lnTo>
                  <a:pt x="3349" y="1215"/>
                </a:lnTo>
                <a:lnTo>
                  <a:pt x="3366" y="1307"/>
                </a:lnTo>
                <a:lnTo>
                  <a:pt x="3376" y="1399"/>
                </a:lnTo>
                <a:lnTo>
                  <a:pt x="3379" y="1493"/>
                </a:lnTo>
                <a:lnTo>
                  <a:pt x="3376" y="1582"/>
                </a:lnTo>
                <a:lnTo>
                  <a:pt x="3367" y="1670"/>
                </a:lnTo>
                <a:lnTo>
                  <a:pt x="3352" y="1757"/>
                </a:lnTo>
                <a:lnTo>
                  <a:pt x="3332" y="1843"/>
                </a:lnTo>
                <a:lnTo>
                  <a:pt x="3305" y="1928"/>
                </a:lnTo>
                <a:lnTo>
                  <a:pt x="3274" y="2011"/>
                </a:lnTo>
                <a:lnTo>
                  <a:pt x="3237" y="2092"/>
                </a:lnTo>
                <a:lnTo>
                  <a:pt x="3195" y="2172"/>
                </a:lnTo>
                <a:lnTo>
                  <a:pt x="3146" y="2249"/>
                </a:lnTo>
                <a:lnTo>
                  <a:pt x="3094" y="2324"/>
                </a:lnTo>
                <a:lnTo>
                  <a:pt x="3036" y="2396"/>
                </a:lnTo>
                <a:lnTo>
                  <a:pt x="3061" y="2445"/>
                </a:lnTo>
                <a:lnTo>
                  <a:pt x="3089" y="2490"/>
                </a:lnTo>
                <a:lnTo>
                  <a:pt x="3122" y="2532"/>
                </a:lnTo>
                <a:lnTo>
                  <a:pt x="3157" y="2570"/>
                </a:lnTo>
                <a:lnTo>
                  <a:pt x="3196" y="2605"/>
                </a:lnTo>
                <a:lnTo>
                  <a:pt x="3239" y="2636"/>
                </a:lnTo>
                <a:lnTo>
                  <a:pt x="3259" y="2653"/>
                </a:lnTo>
                <a:lnTo>
                  <a:pt x="3275" y="2673"/>
                </a:lnTo>
                <a:lnTo>
                  <a:pt x="3288" y="2695"/>
                </a:lnTo>
                <a:lnTo>
                  <a:pt x="3295" y="2720"/>
                </a:lnTo>
                <a:lnTo>
                  <a:pt x="3297" y="2747"/>
                </a:lnTo>
                <a:lnTo>
                  <a:pt x="3294" y="2772"/>
                </a:lnTo>
                <a:lnTo>
                  <a:pt x="3286" y="2798"/>
                </a:lnTo>
                <a:lnTo>
                  <a:pt x="3273" y="2820"/>
                </a:lnTo>
                <a:lnTo>
                  <a:pt x="3256" y="2838"/>
                </a:lnTo>
                <a:lnTo>
                  <a:pt x="3236" y="2853"/>
                </a:lnTo>
                <a:lnTo>
                  <a:pt x="3213" y="2865"/>
                </a:lnTo>
                <a:lnTo>
                  <a:pt x="3187" y="2871"/>
                </a:lnTo>
                <a:lnTo>
                  <a:pt x="3106" y="2879"/>
                </a:lnTo>
                <a:lnTo>
                  <a:pt x="3025" y="2882"/>
                </a:lnTo>
                <a:lnTo>
                  <a:pt x="2954" y="2880"/>
                </a:lnTo>
                <a:lnTo>
                  <a:pt x="2883" y="2873"/>
                </a:lnTo>
                <a:lnTo>
                  <a:pt x="2814" y="2862"/>
                </a:lnTo>
                <a:lnTo>
                  <a:pt x="2748" y="2846"/>
                </a:lnTo>
                <a:lnTo>
                  <a:pt x="2683" y="2826"/>
                </a:lnTo>
                <a:lnTo>
                  <a:pt x="2621" y="2802"/>
                </a:lnTo>
                <a:lnTo>
                  <a:pt x="2561" y="2772"/>
                </a:lnTo>
                <a:lnTo>
                  <a:pt x="2472" y="2818"/>
                </a:lnTo>
                <a:lnTo>
                  <a:pt x="2381" y="2857"/>
                </a:lnTo>
                <a:lnTo>
                  <a:pt x="2287" y="2890"/>
                </a:lnTo>
                <a:lnTo>
                  <a:pt x="2192" y="2920"/>
                </a:lnTo>
                <a:lnTo>
                  <a:pt x="2093" y="2944"/>
                </a:lnTo>
                <a:lnTo>
                  <a:pt x="1995" y="2962"/>
                </a:lnTo>
                <a:lnTo>
                  <a:pt x="1894" y="2977"/>
                </a:lnTo>
                <a:lnTo>
                  <a:pt x="1792" y="2985"/>
                </a:lnTo>
                <a:lnTo>
                  <a:pt x="1689" y="2987"/>
                </a:lnTo>
                <a:lnTo>
                  <a:pt x="1583" y="2984"/>
                </a:lnTo>
                <a:lnTo>
                  <a:pt x="1478" y="2975"/>
                </a:lnTo>
                <a:lnTo>
                  <a:pt x="1375" y="2961"/>
                </a:lnTo>
                <a:lnTo>
                  <a:pt x="1275" y="2942"/>
                </a:lnTo>
                <a:lnTo>
                  <a:pt x="1176" y="2916"/>
                </a:lnTo>
                <a:lnTo>
                  <a:pt x="1080" y="2886"/>
                </a:lnTo>
                <a:lnTo>
                  <a:pt x="987" y="2851"/>
                </a:lnTo>
                <a:lnTo>
                  <a:pt x="896" y="2811"/>
                </a:lnTo>
                <a:lnTo>
                  <a:pt x="809" y="2767"/>
                </a:lnTo>
                <a:lnTo>
                  <a:pt x="725" y="2719"/>
                </a:lnTo>
                <a:lnTo>
                  <a:pt x="644" y="2667"/>
                </a:lnTo>
                <a:lnTo>
                  <a:pt x="569" y="2609"/>
                </a:lnTo>
                <a:lnTo>
                  <a:pt x="496" y="2549"/>
                </a:lnTo>
                <a:lnTo>
                  <a:pt x="427" y="2485"/>
                </a:lnTo>
                <a:lnTo>
                  <a:pt x="363" y="2418"/>
                </a:lnTo>
                <a:lnTo>
                  <a:pt x="303" y="2346"/>
                </a:lnTo>
                <a:lnTo>
                  <a:pt x="248" y="2272"/>
                </a:lnTo>
                <a:lnTo>
                  <a:pt x="199" y="2195"/>
                </a:lnTo>
                <a:lnTo>
                  <a:pt x="154" y="2115"/>
                </a:lnTo>
                <a:lnTo>
                  <a:pt x="114" y="2033"/>
                </a:lnTo>
                <a:lnTo>
                  <a:pt x="80" y="1948"/>
                </a:lnTo>
                <a:lnTo>
                  <a:pt x="51" y="1861"/>
                </a:lnTo>
                <a:lnTo>
                  <a:pt x="30" y="1771"/>
                </a:lnTo>
                <a:lnTo>
                  <a:pt x="13" y="1681"/>
                </a:lnTo>
                <a:lnTo>
                  <a:pt x="3" y="1588"/>
                </a:lnTo>
                <a:lnTo>
                  <a:pt x="0" y="1493"/>
                </a:lnTo>
                <a:lnTo>
                  <a:pt x="3" y="1399"/>
                </a:lnTo>
                <a:lnTo>
                  <a:pt x="13" y="1307"/>
                </a:lnTo>
                <a:lnTo>
                  <a:pt x="30" y="1215"/>
                </a:lnTo>
                <a:lnTo>
                  <a:pt x="51" y="1126"/>
                </a:lnTo>
                <a:lnTo>
                  <a:pt x="80" y="1039"/>
                </a:lnTo>
                <a:lnTo>
                  <a:pt x="114" y="954"/>
                </a:lnTo>
                <a:lnTo>
                  <a:pt x="154" y="872"/>
                </a:lnTo>
                <a:lnTo>
                  <a:pt x="198" y="792"/>
                </a:lnTo>
                <a:lnTo>
                  <a:pt x="248" y="715"/>
                </a:lnTo>
                <a:lnTo>
                  <a:pt x="303" y="641"/>
                </a:lnTo>
                <a:lnTo>
                  <a:pt x="363" y="570"/>
                </a:lnTo>
                <a:lnTo>
                  <a:pt x="427" y="503"/>
                </a:lnTo>
                <a:lnTo>
                  <a:pt x="495" y="438"/>
                </a:lnTo>
                <a:lnTo>
                  <a:pt x="568" y="377"/>
                </a:lnTo>
                <a:lnTo>
                  <a:pt x="644" y="321"/>
                </a:lnTo>
                <a:lnTo>
                  <a:pt x="724" y="268"/>
                </a:lnTo>
                <a:lnTo>
                  <a:pt x="808" y="219"/>
                </a:lnTo>
                <a:lnTo>
                  <a:pt x="895" y="175"/>
                </a:lnTo>
                <a:lnTo>
                  <a:pt x="986" y="135"/>
                </a:lnTo>
                <a:lnTo>
                  <a:pt x="1079" y="101"/>
                </a:lnTo>
                <a:lnTo>
                  <a:pt x="1175" y="71"/>
                </a:lnTo>
                <a:lnTo>
                  <a:pt x="1274" y="46"/>
                </a:lnTo>
                <a:lnTo>
                  <a:pt x="1375" y="26"/>
                </a:lnTo>
                <a:lnTo>
                  <a:pt x="1477" y="11"/>
                </a:lnTo>
                <a:lnTo>
                  <a:pt x="1583" y="3"/>
                </a:lnTo>
                <a:lnTo>
                  <a:pt x="1689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2" name="Rounded Rectangle 337">
            <a:extLst>
              <a:ext uri="{FF2B5EF4-FFF2-40B4-BE49-F238E27FC236}">
                <a16:creationId xmlns:a16="http://schemas.microsoft.com/office/drawing/2014/main" id="{B35C4448-88CC-425A-B94F-35DBBE736CDC}"/>
              </a:ext>
            </a:extLst>
          </p:cNvPr>
          <p:cNvSpPr>
            <a:spLocks/>
          </p:cNvSpPr>
          <p:nvPr/>
        </p:nvSpPr>
        <p:spPr bwMode="gray">
          <a:xfrm>
            <a:off x="2965411" y="4003683"/>
            <a:ext cx="883435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BACK-UP</a:t>
            </a:r>
          </a:p>
        </p:txBody>
      </p:sp>
      <p:sp>
        <p:nvSpPr>
          <p:cNvPr id="153" name="Rounded Rectangle 338">
            <a:extLst>
              <a:ext uri="{FF2B5EF4-FFF2-40B4-BE49-F238E27FC236}">
                <a16:creationId xmlns:a16="http://schemas.microsoft.com/office/drawing/2014/main" id="{104909C0-9B96-4054-B275-2F243B04D7C3}"/>
              </a:ext>
            </a:extLst>
          </p:cNvPr>
          <p:cNvSpPr>
            <a:spLocks/>
          </p:cNvSpPr>
          <p:nvPr/>
        </p:nvSpPr>
        <p:spPr bwMode="gray">
          <a:xfrm>
            <a:off x="3952414" y="4003683"/>
            <a:ext cx="1108653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EEP DIVE</a:t>
            </a:r>
          </a:p>
        </p:txBody>
      </p:sp>
      <p:sp>
        <p:nvSpPr>
          <p:cNvPr id="154" name="Rounded Rectangle 339">
            <a:extLst>
              <a:ext uri="{FF2B5EF4-FFF2-40B4-BE49-F238E27FC236}">
                <a16:creationId xmlns:a16="http://schemas.microsoft.com/office/drawing/2014/main" id="{08399510-7CC0-4A9D-9FEE-24AE4A2D916B}"/>
              </a:ext>
            </a:extLst>
          </p:cNvPr>
          <p:cNvSpPr>
            <a:spLocks/>
          </p:cNvSpPr>
          <p:nvPr/>
        </p:nvSpPr>
        <p:spPr bwMode="gray">
          <a:xfrm>
            <a:off x="5164634" y="4003683"/>
            <a:ext cx="1524384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FOR DISCUSSION</a:t>
            </a:r>
          </a:p>
        </p:txBody>
      </p:sp>
      <p:sp>
        <p:nvSpPr>
          <p:cNvPr id="155" name="Rounded Rectangle 340">
            <a:extLst>
              <a:ext uri="{FF2B5EF4-FFF2-40B4-BE49-F238E27FC236}">
                <a16:creationId xmlns:a16="http://schemas.microsoft.com/office/drawing/2014/main" id="{DC7D037D-96EE-48A9-891E-A45EE14A3210}"/>
              </a:ext>
            </a:extLst>
          </p:cNvPr>
          <p:cNvSpPr>
            <a:spLocks/>
          </p:cNvSpPr>
          <p:nvPr/>
        </p:nvSpPr>
        <p:spPr bwMode="gray">
          <a:xfrm>
            <a:off x="6792586" y="4003683"/>
            <a:ext cx="1335836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ERSTER STAND</a:t>
            </a:r>
          </a:p>
        </p:txBody>
      </p:sp>
      <p:sp>
        <p:nvSpPr>
          <p:cNvPr id="156" name="Text Box 119">
            <a:extLst>
              <a:ext uri="{FF2B5EF4-FFF2-40B4-BE49-F238E27FC236}">
                <a16:creationId xmlns:a16="http://schemas.microsoft.com/office/drawing/2014/main" id="{B294EAD9-5788-4D53-AEBF-EFBFA9C715E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5411" y="2458008"/>
            <a:ext cx="4550032" cy="21422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ts val="1600"/>
              </a:lnSpc>
            </a:pPr>
            <a:r>
              <a:rPr lang="de-DE" sz="2000" dirty="0">
                <a:sym typeface="Symbol" pitchFamily="18" charset="2"/>
              </a:rPr>
              <a:t>£              </a:t>
            </a:r>
            <a:r>
              <a:rPr lang="de-DE" sz="2000" dirty="0"/>
              <a:t>≙ </a:t>
            </a:r>
            <a:r>
              <a:rPr lang="de-DE" sz="2000" dirty="0">
                <a:sym typeface="Wingdings" pitchFamily="2" charset="2"/>
              </a:rPr>
              <a:t>  </a:t>
            </a:r>
            <a:r>
              <a:rPr lang="de-DE" sz="2000" dirty="0">
                <a:sym typeface="Symbol" pitchFamily="18" charset="2"/>
              </a:rPr>
              <a:t> </a:t>
            </a:r>
            <a:r>
              <a:rPr lang="de-DE" sz="2000" dirty="0">
                <a:sym typeface="Wingdings 3"/>
              </a:rPr>
              <a:t></a:t>
            </a:r>
            <a:r>
              <a:rPr lang="de-DE" sz="2000" dirty="0">
                <a:sym typeface="Wingdings" pitchFamily="2" charset="2"/>
              </a:rPr>
              <a:t>  </a:t>
            </a:r>
            <a:r>
              <a:rPr lang="de-DE" sz="2000" dirty="0">
                <a:sym typeface="Symbol" pitchFamily="18" charset="2"/>
              </a:rPr>
              <a:t> </a:t>
            </a:r>
            <a:r>
              <a:rPr lang="de-DE" sz="2000" dirty="0">
                <a:sym typeface="Wingdings 2"/>
              </a:rPr>
              <a:t> </a:t>
            </a:r>
            <a:r>
              <a:rPr lang="de-DE" sz="2000" dirty="0">
                <a:sym typeface="Symbol" pitchFamily="18" charset="2"/>
              </a:rPr>
              <a:t>  ×</a:t>
            </a:r>
          </a:p>
        </p:txBody>
      </p:sp>
      <p:sp>
        <p:nvSpPr>
          <p:cNvPr id="157" name="Rectangle 5">
            <a:extLst>
              <a:ext uri="{FF2B5EF4-FFF2-40B4-BE49-F238E27FC236}">
                <a16:creationId xmlns:a16="http://schemas.microsoft.com/office/drawing/2014/main" id="{E1D9356E-B6FC-4B7D-96D0-A032016C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11" y="2020435"/>
            <a:ext cx="50838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e-DE" altLang="de-DE" dirty="0">
                <a:latin typeface="+mj-lt"/>
              </a:rPr>
              <a:t>Häufige Sonderzeichen (siehe auch Schrift: Ω) </a:t>
            </a:r>
          </a:p>
        </p:txBody>
      </p:sp>
      <p:sp>
        <p:nvSpPr>
          <p:cNvPr id="158" name="Rounded Rectangle 344">
            <a:extLst>
              <a:ext uri="{FF2B5EF4-FFF2-40B4-BE49-F238E27FC236}">
                <a16:creationId xmlns:a16="http://schemas.microsoft.com/office/drawing/2014/main" id="{10E8F717-23CA-4E06-B48A-7086CAC33251}"/>
              </a:ext>
            </a:extLst>
          </p:cNvPr>
          <p:cNvSpPr/>
          <p:nvPr/>
        </p:nvSpPr>
        <p:spPr bwMode="gray">
          <a:xfrm>
            <a:off x="6792584" y="3558992"/>
            <a:ext cx="1335837" cy="267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/>
            <a:r>
              <a:rPr lang="de-DE" sz="1200" dirty="0">
                <a:latin typeface="+mj-lt"/>
              </a:rPr>
              <a:t>DUMMY</a:t>
            </a:r>
          </a:p>
        </p:txBody>
      </p:sp>
      <p:sp>
        <p:nvSpPr>
          <p:cNvPr id="165" name="Oval 354">
            <a:extLst>
              <a:ext uri="{FF2B5EF4-FFF2-40B4-BE49-F238E27FC236}">
                <a16:creationId xmlns:a16="http://schemas.microsoft.com/office/drawing/2014/main" id="{1D235CBC-FB74-49BE-82B2-7623ACD02586}"/>
              </a:ext>
            </a:extLst>
          </p:cNvPr>
          <p:cNvSpPr>
            <a:spLocks/>
          </p:cNvSpPr>
          <p:nvPr/>
        </p:nvSpPr>
        <p:spPr bwMode="gray">
          <a:xfrm>
            <a:off x="5894243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166" name="Oval 355">
            <a:extLst>
              <a:ext uri="{FF2B5EF4-FFF2-40B4-BE49-F238E27FC236}">
                <a16:creationId xmlns:a16="http://schemas.microsoft.com/office/drawing/2014/main" id="{CADBF4AC-8207-456D-A09C-9EE28EDE51BD}"/>
              </a:ext>
            </a:extLst>
          </p:cNvPr>
          <p:cNvSpPr>
            <a:spLocks/>
          </p:cNvSpPr>
          <p:nvPr/>
        </p:nvSpPr>
        <p:spPr bwMode="gray">
          <a:xfrm>
            <a:off x="6477757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2</a:t>
            </a:r>
          </a:p>
        </p:txBody>
      </p:sp>
      <p:sp>
        <p:nvSpPr>
          <p:cNvPr id="167" name="Oval 356">
            <a:extLst>
              <a:ext uri="{FF2B5EF4-FFF2-40B4-BE49-F238E27FC236}">
                <a16:creationId xmlns:a16="http://schemas.microsoft.com/office/drawing/2014/main" id="{70EA25E7-63CA-4C0C-A8A8-698A9A7F9895}"/>
              </a:ext>
            </a:extLst>
          </p:cNvPr>
          <p:cNvSpPr>
            <a:spLocks/>
          </p:cNvSpPr>
          <p:nvPr/>
        </p:nvSpPr>
        <p:spPr bwMode="gray">
          <a:xfrm>
            <a:off x="7061271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3</a:t>
            </a:r>
          </a:p>
        </p:txBody>
      </p:sp>
      <p:sp>
        <p:nvSpPr>
          <p:cNvPr id="168" name="Oval 357">
            <a:extLst>
              <a:ext uri="{FF2B5EF4-FFF2-40B4-BE49-F238E27FC236}">
                <a16:creationId xmlns:a16="http://schemas.microsoft.com/office/drawing/2014/main" id="{BC66B075-CA7F-4D7D-A8EC-29F6CA3F3966}"/>
              </a:ext>
            </a:extLst>
          </p:cNvPr>
          <p:cNvSpPr>
            <a:spLocks/>
          </p:cNvSpPr>
          <p:nvPr/>
        </p:nvSpPr>
        <p:spPr bwMode="gray">
          <a:xfrm>
            <a:off x="7644785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4</a:t>
            </a:r>
          </a:p>
        </p:txBody>
      </p:sp>
      <p:sp>
        <p:nvSpPr>
          <p:cNvPr id="169" name="Oval 358">
            <a:extLst>
              <a:ext uri="{FF2B5EF4-FFF2-40B4-BE49-F238E27FC236}">
                <a16:creationId xmlns:a16="http://schemas.microsoft.com/office/drawing/2014/main" id="{96C102E5-8E7A-43F9-AF91-0B26A5D34E57}"/>
              </a:ext>
            </a:extLst>
          </p:cNvPr>
          <p:cNvSpPr>
            <a:spLocks/>
          </p:cNvSpPr>
          <p:nvPr/>
        </p:nvSpPr>
        <p:spPr bwMode="gray">
          <a:xfrm>
            <a:off x="8228299" y="4985153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5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2DFF04-AA0F-4DF5-A3AD-1FE19FB69B5D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3276641"/>
            <a:ext cx="558000" cy="550800"/>
            <a:chOff x="629659" y="3276641"/>
            <a:chExt cx="558000" cy="550800"/>
          </a:xfrm>
        </p:grpSpPr>
        <p:sp>
          <p:nvSpPr>
            <p:cNvPr id="119" name="Freeform 70">
              <a:extLst>
                <a:ext uri="{FF2B5EF4-FFF2-40B4-BE49-F238E27FC236}">
                  <a16:creationId xmlns:a16="http://schemas.microsoft.com/office/drawing/2014/main" id="{20AECAEF-B78F-478C-8AEE-8B35A18243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3276641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0" name="Freeform 87">
              <a:extLst>
                <a:ext uri="{FF2B5EF4-FFF2-40B4-BE49-F238E27FC236}">
                  <a16:creationId xmlns:a16="http://schemas.microsoft.com/office/drawing/2014/main" id="{BA5496B6-6BA1-48DC-9E37-4D7EAD4059E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906" y="3497778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0D1919B-BBA9-4099-BAB0-0D80D7D6426C}"/>
              </a:ext>
            </a:extLst>
          </p:cNvPr>
          <p:cNvGrpSpPr>
            <a:grpSpLocks/>
          </p:cNvGrpSpPr>
          <p:nvPr/>
        </p:nvGrpSpPr>
        <p:grpSpPr bwMode="gray">
          <a:xfrm>
            <a:off x="623887" y="4003683"/>
            <a:ext cx="558000" cy="550800"/>
            <a:chOff x="629659" y="4003683"/>
            <a:chExt cx="558000" cy="550800"/>
          </a:xfrm>
        </p:grpSpPr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236C307E-8834-4E72-940E-23E9BC0074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F20FA81C-8BFE-4364-9EE2-44706DBE9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6E8943F7-9B2D-4451-8C24-496664D1EE32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4003683"/>
            <a:ext cx="558000" cy="550800"/>
            <a:chOff x="629659" y="4003683"/>
            <a:chExt cx="558000" cy="550800"/>
          </a:xfrm>
        </p:grpSpPr>
        <p:sp>
          <p:nvSpPr>
            <p:cNvPr id="199" name="Freeform 70">
              <a:extLst>
                <a:ext uri="{FF2B5EF4-FFF2-40B4-BE49-F238E27FC236}">
                  <a16:creationId xmlns:a16="http://schemas.microsoft.com/office/drawing/2014/main" id="{7E642232-2BB2-4696-9930-29F9472F36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659" y="4003683"/>
              <a:ext cx="558000" cy="550800"/>
            </a:xfrm>
            <a:prstGeom prst="rect">
              <a:avLst/>
            </a:pr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0" name="Freeform 80">
              <a:extLst>
                <a:ext uri="{FF2B5EF4-FFF2-40B4-BE49-F238E27FC236}">
                  <a16:creationId xmlns:a16="http://schemas.microsoft.com/office/drawing/2014/main" id="{0299271B-65FA-4C89-9947-C13805BFE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938" y="4153389"/>
              <a:ext cx="123847" cy="257039"/>
            </a:xfrm>
            <a:custGeom>
              <a:avLst/>
              <a:gdLst>
                <a:gd name="T0" fmla="*/ 273 w 633"/>
                <a:gd name="T1" fmla="*/ 0 h 1317"/>
                <a:gd name="T2" fmla="*/ 306 w 633"/>
                <a:gd name="T3" fmla="*/ 14 h 1317"/>
                <a:gd name="T4" fmla="*/ 329 w 633"/>
                <a:gd name="T5" fmla="*/ 42 h 1317"/>
                <a:gd name="T6" fmla="*/ 333 w 633"/>
                <a:gd name="T7" fmla="*/ 78 h 1317"/>
                <a:gd name="T8" fmla="*/ 174 w 633"/>
                <a:gd name="T9" fmla="*/ 460 h 1317"/>
                <a:gd name="T10" fmla="*/ 584 w 633"/>
                <a:gd name="T11" fmla="*/ 473 h 1317"/>
                <a:gd name="T12" fmla="*/ 614 w 633"/>
                <a:gd name="T13" fmla="*/ 492 h 1317"/>
                <a:gd name="T14" fmla="*/ 631 w 633"/>
                <a:gd name="T15" fmla="*/ 523 h 1317"/>
                <a:gd name="T16" fmla="*/ 630 w 633"/>
                <a:gd name="T17" fmla="*/ 560 h 1317"/>
                <a:gd name="T18" fmla="*/ 281 w 633"/>
                <a:gd name="T19" fmla="*/ 1124 h 1317"/>
                <a:gd name="T20" fmla="*/ 376 w 633"/>
                <a:gd name="T21" fmla="*/ 1097 h 1317"/>
                <a:gd name="T22" fmla="*/ 411 w 633"/>
                <a:gd name="T23" fmla="*/ 1106 h 1317"/>
                <a:gd name="T24" fmla="*/ 437 w 633"/>
                <a:gd name="T25" fmla="*/ 1130 h 1317"/>
                <a:gd name="T26" fmla="*/ 448 w 633"/>
                <a:gd name="T27" fmla="*/ 1166 h 1317"/>
                <a:gd name="T28" fmla="*/ 439 w 633"/>
                <a:gd name="T29" fmla="*/ 1201 h 1317"/>
                <a:gd name="T30" fmla="*/ 415 w 633"/>
                <a:gd name="T31" fmla="*/ 1227 h 1317"/>
                <a:gd name="T32" fmla="*/ 141 w 633"/>
                <a:gd name="T33" fmla="*/ 1313 h 1317"/>
                <a:gd name="T34" fmla="*/ 107 w 633"/>
                <a:gd name="T35" fmla="*/ 1315 h 1317"/>
                <a:gd name="T36" fmla="*/ 81 w 633"/>
                <a:gd name="T37" fmla="*/ 1305 h 1317"/>
                <a:gd name="T38" fmla="*/ 60 w 633"/>
                <a:gd name="T39" fmla="*/ 1282 h 1317"/>
                <a:gd name="T40" fmla="*/ 50 w 633"/>
                <a:gd name="T41" fmla="*/ 1252 h 1317"/>
                <a:gd name="T42" fmla="*/ 28 w 633"/>
                <a:gd name="T43" fmla="*/ 966 h 1317"/>
                <a:gd name="T44" fmla="*/ 44 w 633"/>
                <a:gd name="T45" fmla="*/ 933 h 1317"/>
                <a:gd name="T46" fmla="*/ 73 w 633"/>
                <a:gd name="T47" fmla="*/ 913 h 1317"/>
                <a:gd name="T48" fmla="*/ 110 w 633"/>
                <a:gd name="T49" fmla="*/ 910 h 1317"/>
                <a:gd name="T50" fmla="*/ 142 w 633"/>
                <a:gd name="T51" fmla="*/ 925 h 1317"/>
                <a:gd name="T52" fmla="*/ 163 w 633"/>
                <a:gd name="T53" fmla="*/ 954 h 1317"/>
                <a:gd name="T54" fmla="*/ 172 w 633"/>
                <a:gd name="T55" fmla="*/ 1034 h 1317"/>
                <a:gd name="T56" fmla="*/ 68 w 633"/>
                <a:gd name="T57" fmla="*/ 597 h 1317"/>
                <a:gd name="T58" fmla="*/ 35 w 633"/>
                <a:gd name="T59" fmla="*/ 588 h 1317"/>
                <a:gd name="T60" fmla="*/ 11 w 633"/>
                <a:gd name="T61" fmla="*/ 565 h 1317"/>
                <a:gd name="T62" fmla="*/ 0 w 633"/>
                <a:gd name="T63" fmla="*/ 533 h 1317"/>
                <a:gd name="T64" fmla="*/ 5 w 633"/>
                <a:gd name="T65" fmla="*/ 500 h 1317"/>
                <a:gd name="T66" fmla="*/ 208 w 633"/>
                <a:gd name="T67" fmla="*/ 25 h 1317"/>
                <a:gd name="T68" fmla="*/ 237 w 633"/>
                <a:gd name="T69" fmla="*/ 4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3" h="1317">
                  <a:moveTo>
                    <a:pt x="255" y="0"/>
                  </a:moveTo>
                  <a:lnTo>
                    <a:pt x="273" y="0"/>
                  </a:lnTo>
                  <a:lnTo>
                    <a:pt x="291" y="4"/>
                  </a:lnTo>
                  <a:lnTo>
                    <a:pt x="306" y="14"/>
                  </a:lnTo>
                  <a:lnTo>
                    <a:pt x="319" y="27"/>
                  </a:lnTo>
                  <a:lnTo>
                    <a:pt x="329" y="42"/>
                  </a:lnTo>
                  <a:lnTo>
                    <a:pt x="333" y="60"/>
                  </a:lnTo>
                  <a:lnTo>
                    <a:pt x="333" y="78"/>
                  </a:lnTo>
                  <a:lnTo>
                    <a:pt x="327" y="96"/>
                  </a:lnTo>
                  <a:lnTo>
                    <a:pt x="174" y="460"/>
                  </a:lnTo>
                  <a:lnTo>
                    <a:pt x="565" y="470"/>
                  </a:lnTo>
                  <a:lnTo>
                    <a:pt x="584" y="473"/>
                  </a:lnTo>
                  <a:lnTo>
                    <a:pt x="600" y="480"/>
                  </a:lnTo>
                  <a:lnTo>
                    <a:pt x="614" y="492"/>
                  </a:lnTo>
                  <a:lnTo>
                    <a:pt x="625" y="507"/>
                  </a:lnTo>
                  <a:lnTo>
                    <a:pt x="631" y="523"/>
                  </a:lnTo>
                  <a:lnTo>
                    <a:pt x="633" y="542"/>
                  </a:lnTo>
                  <a:lnTo>
                    <a:pt x="630" y="560"/>
                  </a:lnTo>
                  <a:lnTo>
                    <a:pt x="623" y="576"/>
                  </a:lnTo>
                  <a:lnTo>
                    <a:pt x="281" y="1124"/>
                  </a:lnTo>
                  <a:lnTo>
                    <a:pt x="357" y="1101"/>
                  </a:lnTo>
                  <a:lnTo>
                    <a:pt x="376" y="1097"/>
                  </a:lnTo>
                  <a:lnTo>
                    <a:pt x="394" y="1100"/>
                  </a:lnTo>
                  <a:lnTo>
                    <a:pt x="411" y="1106"/>
                  </a:lnTo>
                  <a:lnTo>
                    <a:pt x="426" y="1116"/>
                  </a:lnTo>
                  <a:lnTo>
                    <a:pt x="437" y="1130"/>
                  </a:lnTo>
                  <a:lnTo>
                    <a:pt x="445" y="1147"/>
                  </a:lnTo>
                  <a:lnTo>
                    <a:pt x="448" y="1166"/>
                  </a:lnTo>
                  <a:lnTo>
                    <a:pt x="446" y="1184"/>
                  </a:lnTo>
                  <a:lnTo>
                    <a:pt x="439" y="1201"/>
                  </a:lnTo>
                  <a:lnTo>
                    <a:pt x="430" y="1215"/>
                  </a:lnTo>
                  <a:lnTo>
                    <a:pt x="415" y="1227"/>
                  </a:lnTo>
                  <a:lnTo>
                    <a:pt x="398" y="1234"/>
                  </a:lnTo>
                  <a:lnTo>
                    <a:pt x="141" y="1313"/>
                  </a:lnTo>
                  <a:lnTo>
                    <a:pt x="121" y="1317"/>
                  </a:lnTo>
                  <a:lnTo>
                    <a:pt x="107" y="1315"/>
                  </a:lnTo>
                  <a:lnTo>
                    <a:pt x="93" y="1311"/>
                  </a:lnTo>
                  <a:lnTo>
                    <a:pt x="81" y="1305"/>
                  </a:lnTo>
                  <a:lnTo>
                    <a:pt x="69" y="1294"/>
                  </a:lnTo>
                  <a:lnTo>
                    <a:pt x="60" y="1282"/>
                  </a:lnTo>
                  <a:lnTo>
                    <a:pt x="53" y="1268"/>
                  </a:lnTo>
                  <a:lnTo>
                    <a:pt x="50" y="1252"/>
                  </a:lnTo>
                  <a:lnTo>
                    <a:pt x="28" y="985"/>
                  </a:lnTo>
                  <a:lnTo>
                    <a:pt x="28" y="966"/>
                  </a:lnTo>
                  <a:lnTo>
                    <a:pt x="34" y="949"/>
                  </a:lnTo>
                  <a:lnTo>
                    <a:pt x="44" y="933"/>
                  </a:lnTo>
                  <a:lnTo>
                    <a:pt x="56" y="922"/>
                  </a:lnTo>
                  <a:lnTo>
                    <a:pt x="73" y="913"/>
                  </a:lnTo>
                  <a:lnTo>
                    <a:pt x="91" y="909"/>
                  </a:lnTo>
                  <a:lnTo>
                    <a:pt x="110" y="910"/>
                  </a:lnTo>
                  <a:lnTo>
                    <a:pt x="127" y="915"/>
                  </a:lnTo>
                  <a:lnTo>
                    <a:pt x="142" y="925"/>
                  </a:lnTo>
                  <a:lnTo>
                    <a:pt x="155" y="938"/>
                  </a:lnTo>
                  <a:lnTo>
                    <a:pt x="163" y="954"/>
                  </a:lnTo>
                  <a:lnTo>
                    <a:pt x="167" y="972"/>
                  </a:lnTo>
                  <a:lnTo>
                    <a:pt x="172" y="1034"/>
                  </a:lnTo>
                  <a:lnTo>
                    <a:pt x="439" y="607"/>
                  </a:lnTo>
                  <a:lnTo>
                    <a:pt x="68" y="597"/>
                  </a:lnTo>
                  <a:lnTo>
                    <a:pt x="51" y="594"/>
                  </a:lnTo>
                  <a:lnTo>
                    <a:pt x="35" y="588"/>
                  </a:lnTo>
                  <a:lnTo>
                    <a:pt x="22" y="578"/>
                  </a:lnTo>
                  <a:lnTo>
                    <a:pt x="11" y="565"/>
                  </a:lnTo>
                  <a:lnTo>
                    <a:pt x="4" y="550"/>
                  </a:lnTo>
                  <a:lnTo>
                    <a:pt x="0" y="533"/>
                  </a:lnTo>
                  <a:lnTo>
                    <a:pt x="1" y="516"/>
                  </a:lnTo>
                  <a:lnTo>
                    <a:pt x="5" y="500"/>
                  </a:lnTo>
                  <a:lnTo>
                    <a:pt x="199" y="41"/>
                  </a:lnTo>
                  <a:lnTo>
                    <a:pt x="208" y="25"/>
                  </a:lnTo>
                  <a:lnTo>
                    <a:pt x="222" y="13"/>
                  </a:lnTo>
                  <a:lnTo>
                    <a:pt x="237" y="4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B90518-ACBF-4F39-B8F0-50DA6D6034E5}"/>
              </a:ext>
            </a:extLst>
          </p:cNvPr>
          <p:cNvGrpSpPr>
            <a:grpSpLocks/>
          </p:cNvGrpSpPr>
          <p:nvPr/>
        </p:nvGrpSpPr>
        <p:grpSpPr bwMode="gray">
          <a:xfrm>
            <a:off x="1407731" y="3276641"/>
            <a:ext cx="558000" cy="550800"/>
            <a:chOff x="1407731" y="3276641"/>
            <a:chExt cx="558000" cy="550800"/>
          </a:xfrm>
        </p:grpSpPr>
        <p:sp>
          <p:nvSpPr>
            <p:cNvPr id="195" name="Freeform 70">
              <a:extLst>
                <a:ext uri="{FF2B5EF4-FFF2-40B4-BE49-F238E27FC236}">
                  <a16:creationId xmlns:a16="http://schemas.microsoft.com/office/drawing/2014/main" id="{FA67E9EB-6099-4216-B243-A657FA74B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3276641"/>
              <a:ext cx="558000" cy="550800"/>
            </a:xfrm>
            <a:prstGeom prst="rect">
              <a:avLst/>
            </a:prstGeom>
            <a:solidFill>
              <a:srgbClr val="FFC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2" name="Freeform 87">
              <a:extLst>
                <a:ext uri="{FF2B5EF4-FFF2-40B4-BE49-F238E27FC236}">
                  <a16:creationId xmlns:a16="http://schemas.microsoft.com/office/drawing/2014/main" id="{88C1B444-FD00-445B-BF08-07AB72D0C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4251" y="3503244"/>
              <a:ext cx="304960" cy="97593"/>
            </a:xfrm>
            <a:custGeom>
              <a:avLst/>
              <a:gdLst>
                <a:gd name="T0" fmla="*/ 641 w 2064"/>
                <a:gd name="T1" fmla="*/ 3 h 507"/>
                <a:gd name="T2" fmla="*/ 776 w 2064"/>
                <a:gd name="T3" fmla="*/ 23 h 507"/>
                <a:gd name="T4" fmla="*/ 908 w 2064"/>
                <a:gd name="T5" fmla="*/ 62 h 507"/>
                <a:gd name="T6" fmla="*/ 1035 w 2064"/>
                <a:gd name="T7" fmla="*/ 122 h 507"/>
                <a:gd name="T8" fmla="*/ 1096 w 2064"/>
                <a:gd name="T9" fmla="*/ 159 h 507"/>
                <a:gd name="T10" fmla="*/ 1202 w 2064"/>
                <a:gd name="T11" fmla="*/ 218 h 507"/>
                <a:gd name="T12" fmla="*/ 1315 w 2064"/>
                <a:gd name="T13" fmla="*/ 256 h 507"/>
                <a:gd name="T14" fmla="*/ 1432 w 2064"/>
                <a:gd name="T15" fmla="*/ 276 h 507"/>
                <a:gd name="T16" fmla="*/ 1550 w 2064"/>
                <a:gd name="T17" fmla="*/ 276 h 507"/>
                <a:gd name="T18" fmla="*/ 1666 w 2064"/>
                <a:gd name="T19" fmla="*/ 256 h 507"/>
                <a:gd name="T20" fmla="*/ 1779 w 2064"/>
                <a:gd name="T21" fmla="*/ 218 h 507"/>
                <a:gd name="T22" fmla="*/ 1885 w 2064"/>
                <a:gd name="T23" fmla="*/ 159 h 507"/>
                <a:gd name="T24" fmla="*/ 1927 w 2064"/>
                <a:gd name="T25" fmla="*/ 142 h 507"/>
                <a:gd name="T26" fmla="*/ 1976 w 2064"/>
                <a:gd name="T27" fmla="*/ 142 h 507"/>
                <a:gd name="T28" fmla="*/ 2021 w 2064"/>
                <a:gd name="T29" fmla="*/ 164 h 507"/>
                <a:gd name="T30" fmla="*/ 2053 w 2064"/>
                <a:gd name="T31" fmla="*/ 204 h 507"/>
                <a:gd name="T32" fmla="*/ 2064 w 2064"/>
                <a:gd name="T33" fmla="*/ 254 h 507"/>
                <a:gd name="T34" fmla="*/ 2055 w 2064"/>
                <a:gd name="T35" fmla="*/ 299 h 507"/>
                <a:gd name="T36" fmla="*/ 2030 w 2064"/>
                <a:gd name="T37" fmla="*/ 336 h 507"/>
                <a:gd name="T38" fmla="*/ 2013 w 2064"/>
                <a:gd name="T39" fmla="*/ 350 h 507"/>
                <a:gd name="T40" fmla="*/ 1891 w 2064"/>
                <a:gd name="T41" fmla="*/ 419 h 507"/>
                <a:gd name="T42" fmla="*/ 1761 w 2064"/>
                <a:gd name="T43" fmla="*/ 468 h 507"/>
                <a:gd name="T44" fmla="*/ 1627 w 2064"/>
                <a:gd name="T45" fmla="*/ 498 h 507"/>
                <a:gd name="T46" fmla="*/ 1491 w 2064"/>
                <a:gd name="T47" fmla="*/ 507 h 507"/>
                <a:gd name="T48" fmla="*/ 1355 w 2064"/>
                <a:gd name="T49" fmla="*/ 498 h 507"/>
                <a:gd name="T50" fmla="*/ 1221 w 2064"/>
                <a:gd name="T51" fmla="*/ 468 h 507"/>
                <a:gd name="T52" fmla="*/ 1091 w 2064"/>
                <a:gd name="T53" fmla="*/ 419 h 507"/>
                <a:gd name="T54" fmla="*/ 968 w 2064"/>
                <a:gd name="T55" fmla="*/ 350 h 507"/>
                <a:gd name="T56" fmla="*/ 862 w 2064"/>
                <a:gd name="T57" fmla="*/ 291 h 507"/>
                <a:gd name="T58" fmla="*/ 749 w 2064"/>
                <a:gd name="T59" fmla="*/ 252 h 507"/>
                <a:gd name="T60" fmla="*/ 632 w 2064"/>
                <a:gd name="T61" fmla="*/ 233 h 507"/>
                <a:gd name="T62" fmla="*/ 514 w 2064"/>
                <a:gd name="T63" fmla="*/ 233 h 507"/>
                <a:gd name="T64" fmla="*/ 398 w 2064"/>
                <a:gd name="T65" fmla="*/ 252 h 507"/>
                <a:gd name="T66" fmla="*/ 285 w 2064"/>
                <a:gd name="T67" fmla="*/ 291 h 507"/>
                <a:gd name="T68" fmla="*/ 179 w 2064"/>
                <a:gd name="T69" fmla="*/ 350 h 507"/>
                <a:gd name="T70" fmla="*/ 137 w 2064"/>
                <a:gd name="T71" fmla="*/ 367 h 507"/>
                <a:gd name="T72" fmla="*/ 88 w 2064"/>
                <a:gd name="T73" fmla="*/ 366 h 507"/>
                <a:gd name="T74" fmla="*/ 43 w 2064"/>
                <a:gd name="T75" fmla="*/ 343 h 507"/>
                <a:gd name="T76" fmla="*/ 11 w 2064"/>
                <a:gd name="T77" fmla="*/ 305 h 507"/>
                <a:gd name="T78" fmla="*/ 0 w 2064"/>
                <a:gd name="T79" fmla="*/ 254 h 507"/>
                <a:gd name="T80" fmla="*/ 9 w 2064"/>
                <a:gd name="T81" fmla="*/ 209 h 507"/>
                <a:gd name="T82" fmla="*/ 34 w 2064"/>
                <a:gd name="T83" fmla="*/ 173 h 507"/>
                <a:gd name="T84" fmla="*/ 51 w 2064"/>
                <a:gd name="T85" fmla="*/ 159 h 507"/>
                <a:gd name="T86" fmla="*/ 173 w 2064"/>
                <a:gd name="T87" fmla="*/ 90 h 507"/>
                <a:gd name="T88" fmla="*/ 303 w 2064"/>
                <a:gd name="T89" fmla="*/ 40 h 507"/>
                <a:gd name="T90" fmla="*/ 437 w 2064"/>
                <a:gd name="T91" fmla="*/ 11 h 507"/>
                <a:gd name="T92" fmla="*/ 573 w 2064"/>
                <a:gd name="T93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4" h="507">
                  <a:moveTo>
                    <a:pt x="573" y="0"/>
                  </a:moveTo>
                  <a:lnTo>
                    <a:pt x="641" y="3"/>
                  </a:lnTo>
                  <a:lnTo>
                    <a:pt x="709" y="11"/>
                  </a:lnTo>
                  <a:lnTo>
                    <a:pt x="776" y="23"/>
                  </a:lnTo>
                  <a:lnTo>
                    <a:pt x="843" y="40"/>
                  </a:lnTo>
                  <a:lnTo>
                    <a:pt x="908" y="62"/>
                  </a:lnTo>
                  <a:lnTo>
                    <a:pt x="972" y="90"/>
                  </a:lnTo>
                  <a:lnTo>
                    <a:pt x="1035" y="122"/>
                  </a:lnTo>
                  <a:lnTo>
                    <a:pt x="1096" y="159"/>
                  </a:lnTo>
                  <a:lnTo>
                    <a:pt x="1096" y="159"/>
                  </a:lnTo>
                  <a:lnTo>
                    <a:pt x="1148" y="190"/>
                  </a:lnTo>
                  <a:lnTo>
                    <a:pt x="1202" y="218"/>
                  </a:lnTo>
                  <a:lnTo>
                    <a:pt x="1258" y="239"/>
                  </a:lnTo>
                  <a:lnTo>
                    <a:pt x="1315" y="256"/>
                  </a:lnTo>
                  <a:lnTo>
                    <a:pt x="1373" y="269"/>
                  </a:lnTo>
                  <a:lnTo>
                    <a:pt x="1432" y="276"/>
                  </a:lnTo>
                  <a:lnTo>
                    <a:pt x="1491" y="278"/>
                  </a:lnTo>
                  <a:lnTo>
                    <a:pt x="1550" y="276"/>
                  </a:lnTo>
                  <a:lnTo>
                    <a:pt x="1608" y="269"/>
                  </a:lnTo>
                  <a:lnTo>
                    <a:pt x="1666" y="256"/>
                  </a:lnTo>
                  <a:lnTo>
                    <a:pt x="1723" y="239"/>
                  </a:lnTo>
                  <a:lnTo>
                    <a:pt x="1779" y="218"/>
                  </a:lnTo>
                  <a:lnTo>
                    <a:pt x="1833" y="190"/>
                  </a:lnTo>
                  <a:lnTo>
                    <a:pt x="1885" y="159"/>
                  </a:lnTo>
                  <a:lnTo>
                    <a:pt x="1906" y="148"/>
                  </a:lnTo>
                  <a:lnTo>
                    <a:pt x="1927" y="142"/>
                  </a:lnTo>
                  <a:lnTo>
                    <a:pt x="1949" y="140"/>
                  </a:lnTo>
                  <a:lnTo>
                    <a:pt x="1976" y="142"/>
                  </a:lnTo>
                  <a:lnTo>
                    <a:pt x="1999" y="152"/>
                  </a:lnTo>
                  <a:lnTo>
                    <a:pt x="2021" y="164"/>
                  </a:lnTo>
                  <a:lnTo>
                    <a:pt x="2039" y="182"/>
                  </a:lnTo>
                  <a:lnTo>
                    <a:pt x="2053" y="204"/>
                  </a:lnTo>
                  <a:lnTo>
                    <a:pt x="2061" y="228"/>
                  </a:lnTo>
                  <a:lnTo>
                    <a:pt x="2064" y="254"/>
                  </a:lnTo>
                  <a:lnTo>
                    <a:pt x="2061" y="277"/>
                  </a:lnTo>
                  <a:lnTo>
                    <a:pt x="2055" y="299"/>
                  </a:lnTo>
                  <a:lnTo>
                    <a:pt x="2044" y="319"/>
                  </a:lnTo>
                  <a:lnTo>
                    <a:pt x="2030" y="336"/>
                  </a:lnTo>
                  <a:lnTo>
                    <a:pt x="2013" y="350"/>
                  </a:lnTo>
                  <a:lnTo>
                    <a:pt x="2013" y="350"/>
                  </a:lnTo>
                  <a:lnTo>
                    <a:pt x="1953" y="387"/>
                  </a:lnTo>
                  <a:lnTo>
                    <a:pt x="1891" y="419"/>
                  </a:lnTo>
                  <a:lnTo>
                    <a:pt x="1826" y="446"/>
                  </a:lnTo>
                  <a:lnTo>
                    <a:pt x="1761" y="468"/>
                  </a:lnTo>
                  <a:lnTo>
                    <a:pt x="1695" y="485"/>
                  </a:lnTo>
                  <a:lnTo>
                    <a:pt x="1627" y="498"/>
                  </a:lnTo>
                  <a:lnTo>
                    <a:pt x="1559" y="505"/>
                  </a:lnTo>
                  <a:lnTo>
                    <a:pt x="1491" y="507"/>
                  </a:lnTo>
                  <a:lnTo>
                    <a:pt x="1422" y="505"/>
                  </a:lnTo>
                  <a:lnTo>
                    <a:pt x="1355" y="498"/>
                  </a:lnTo>
                  <a:lnTo>
                    <a:pt x="1287" y="485"/>
                  </a:lnTo>
                  <a:lnTo>
                    <a:pt x="1221" y="468"/>
                  </a:lnTo>
                  <a:lnTo>
                    <a:pt x="1156" y="446"/>
                  </a:lnTo>
                  <a:lnTo>
                    <a:pt x="1091" y="419"/>
                  </a:lnTo>
                  <a:lnTo>
                    <a:pt x="1029" y="387"/>
                  </a:lnTo>
                  <a:lnTo>
                    <a:pt x="968" y="350"/>
                  </a:lnTo>
                  <a:lnTo>
                    <a:pt x="916" y="318"/>
                  </a:lnTo>
                  <a:lnTo>
                    <a:pt x="862" y="291"/>
                  </a:lnTo>
                  <a:lnTo>
                    <a:pt x="806" y="269"/>
                  </a:lnTo>
                  <a:lnTo>
                    <a:pt x="749" y="252"/>
                  </a:lnTo>
                  <a:lnTo>
                    <a:pt x="691" y="240"/>
                  </a:lnTo>
                  <a:lnTo>
                    <a:pt x="632" y="233"/>
                  </a:lnTo>
                  <a:lnTo>
                    <a:pt x="573" y="230"/>
                  </a:lnTo>
                  <a:lnTo>
                    <a:pt x="514" y="233"/>
                  </a:lnTo>
                  <a:lnTo>
                    <a:pt x="456" y="240"/>
                  </a:lnTo>
                  <a:lnTo>
                    <a:pt x="398" y="252"/>
                  </a:lnTo>
                  <a:lnTo>
                    <a:pt x="341" y="269"/>
                  </a:lnTo>
                  <a:lnTo>
                    <a:pt x="285" y="291"/>
                  </a:lnTo>
                  <a:lnTo>
                    <a:pt x="231" y="318"/>
                  </a:lnTo>
                  <a:lnTo>
                    <a:pt x="179" y="350"/>
                  </a:lnTo>
                  <a:lnTo>
                    <a:pt x="158" y="360"/>
                  </a:lnTo>
                  <a:lnTo>
                    <a:pt x="137" y="367"/>
                  </a:lnTo>
                  <a:lnTo>
                    <a:pt x="115" y="369"/>
                  </a:lnTo>
                  <a:lnTo>
                    <a:pt x="88" y="366"/>
                  </a:lnTo>
                  <a:lnTo>
                    <a:pt x="65" y="357"/>
                  </a:lnTo>
                  <a:lnTo>
                    <a:pt x="43" y="343"/>
                  </a:lnTo>
                  <a:lnTo>
                    <a:pt x="25" y="326"/>
                  </a:lnTo>
                  <a:lnTo>
                    <a:pt x="11" y="305"/>
                  </a:lnTo>
                  <a:lnTo>
                    <a:pt x="3" y="280"/>
                  </a:lnTo>
                  <a:lnTo>
                    <a:pt x="0" y="254"/>
                  </a:lnTo>
                  <a:lnTo>
                    <a:pt x="3" y="230"/>
                  </a:lnTo>
                  <a:lnTo>
                    <a:pt x="9" y="209"/>
                  </a:lnTo>
                  <a:lnTo>
                    <a:pt x="20" y="190"/>
                  </a:lnTo>
                  <a:lnTo>
                    <a:pt x="34" y="173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111" y="122"/>
                  </a:lnTo>
                  <a:lnTo>
                    <a:pt x="173" y="90"/>
                  </a:lnTo>
                  <a:lnTo>
                    <a:pt x="238" y="62"/>
                  </a:lnTo>
                  <a:lnTo>
                    <a:pt x="303" y="40"/>
                  </a:lnTo>
                  <a:lnTo>
                    <a:pt x="369" y="23"/>
                  </a:lnTo>
                  <a:lnTo>
                    <a:pt x="437" y="11"/>
                  </a:lnTo>
                  <a:lnTo>
                    <a:pt x="505" y="3"/>
                  </a:lnTo>
                  <a:lnTo>
                    <a:pt x="57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C3C5BFD-38B3-4C9A-AB00-C322A3C4E922}"/>
              </a:ext>
            </a:extLst>
          </p:cNvPr>
          <p:cNvGrpSpPr/>
          <p:nvPr/>
        </p:nvGrpSpPr>
        <p:grpSpPr bwMode="gray">
          <a:xfrm>
            <a:off x="623887" y="1812214"/>
            <a:ext cx="558000" cy="550800"/>
            <a:chOff x="623887" y="1812214"/>
            <a:chExt cx="558000" cy="550800"/>
          </a:xfrm>
        </p:grpSpPr>
        <p:sp>
          <p:nvSpPr>
            <p:cNvPr id="175" name="Freeform 70">
              <a:extLst>
                <a:ext uri="{FF2B5EF4-FFF2-40B4-BE49-F238E27FC236}">
                  <a16:creationId xmlns:a16="http://schemas.microsoft.com/office/drawing/2014/main" id="{324E4975-A792-480F-A62F-EFBB8E429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1812214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947FD43-E6D6-46C0-A6B0-00654C5ED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738748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77034571-6756-495C-8138-7063E7FF745E}"/>
              </a:ext>
            </a:extLst>
          </p:cNvPr>
          <p:cNvGrpSpPr/>
          <p:nvPr/>
        </p:nvGrpSpPr>
        <p:grpSpPr bwMode="gray">
          <a:xfrm>
            <a:off x="1407731" y="1812214"/>
            <a:ext cx="558000" cy="550800"/>
            <a:chOff x="1407731" y="1812214"/>
            <a:chExt cx="558000" cy="550800"/>
          </a:xfrm>
        </p:grpSpPr>
        <p:sp>
          <p:nvSpPr>
            <p:cNvPr id="186" name="Freeform 70">
              <a:extLst>
                <a:ext uri="{FF2B5EF4-FFF2-40B4-BE49-F238E27FC236}">
                  <a16:creationId xmlns:a16="http://schemas.microsoft.com/office/drawing/2014/main" id="{82C8425A-1150-4781-A3F8-37AEBD90D4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1812214"/>
              <a:ext cx="558000" cy="550800"/>
            </a:xfrm>
            <a:prstGeom prst="rect">
              <a:avLst/>
            </a:prstGeom>
            <a:solidFill>
              <a:srgbClr val="92D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93429088-C288-419B-A4C9-DAEEA00C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1529255" y="1973314"/>
              <a:ext cx="314325" cy="228600"/>
            </a:xfrm>
            <a:prstGeom prst="rect">
              <a:avLst/>
            </a:prstGeom>
          </p:spPr>
        </p:pic>
      </p:grp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E30E3A15-4D80-4733-942B-F3ECD65886E5}"/>
              </a:ext>
            </a:extLst>
          </p:cNvPr>
          <p:cNvGrpSpPr/>
          <p:nvPr/>
        </p:nvGrpSpPr>
        <p:grpSpPr bwMode="gray">
          <a:xfrm>
            <a:off x="623887" y="2539256"/>
            <a:ext cx="558000" cy="550800"/>
            <a:chOff x="623887" y="2539256"/>
            <a:chExt cx="558000" cy="550800"/>
          </a:xfrm>
        </p:grpSpPr>
        <p:sp>
          <p:nvSpPr>
            <p:cNvPr id="178" name="Freeform 70">
              <a:extLst>
                <a:ext uri="{FF2B5EF4-FFF2-40B4-BE49-F238E27FC236}">
                  <a16:creationId xmlns:a16="http://schemas.microsoft.com/office/drawing/2014/main" id="{40382DD0-DB88-443B-B508-F258C337B4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887" y="2539256"/>
              <a:ext cx="558000" cy="5508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E0646ED-30D1-40D4-B760-707BBB6C2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776374" y="2686379"/>
              <a:ext cx="257175" cy="257175"/>
            </a:xfrm>
            <a:prstGeom prst="rect">
              <a:avLst/>
            </a:prstGeom>
          </p:spPr>
        </p:pic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AC8C6A78-2DA1-458F-A7CC-91BB592592CF}"/>
              </a:ext>
            </a:extLst>
          </p:cNvPr>
          <p:cNvGrpSpPr/>
          <p:nvPr/>
        </p:nvGrpSpPr>
        <p:grpSpPr bwMode="gray">
          <a:xfrm>
            <a:off x="1407731" y="2539256"/>
            <a:ext cx="558000" cy="550800"/>
            <a:chOff x="1407731" y="2539256"/>
            <a:chExt cx="558000" cy="550800"/>
          </a:xfrm>
        </p:grpSpPr>
        <p:sp>
          <p:nvSpPr>
            <p:cNvPr id="181" name="Freeform 70">
              <a:extLst>
                <a:ext uri="{FF2B5EF4-FFF2-40B4-BE49-F238E27FC236}">
                  <a16:creationId xmlns:a16="http://schemas.microsoft.com/office/drawing/2014/main" id="{F3354759-F266-437B-BBB2-1F5F4575FD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7731" y="2539256"/>
              <a:ext cx="558000" cy="550800"/>
            </a:xfrm>
            <a:prstGeom prst="rect">
              <a:avLst/>
            </a:prstGeom>
            <a:solidFill>
              <a:srgbClr val="FF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pic>
          <p:nvPicPr>
            <p:cNvPr id="215" name="Grafik 214">
              <a:extLst>
                <a:ext uri="{FF2B5EF4-FFF2-40B4-BE49-F238E27FC236}">
                  <a16:creationId xmlns:a16="http://schemas.microsoft.com/office/drawing/2014/main" id="{F9BC1276-EEE6-4CF8-A98E-8D9124BA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 bwMode="gray">
            <a:xfrm>
              <a:off x="1557345" y="2686379"/>
              <a:ext cx="257175" cy="257175"/>
            </a:xfrm>
            <a:prstGeom prst="rect">
              <a:avLst/>
            </a:prstGeom>
          </p:spPr>
        </p:pic>
      </p:grpSp>
      <p:sp>
        <p:nvSpPr>
          <p:cNvPr id="143" name="Oval 354">
            <a:extLst>
              <a:ext uri="{FF2B5EF4-FFF2-40B4-BE49-F238E27FC236}">
                <a16:creationId xmlns:a16="http://schemas.microsoft.com/office/drawing/2014/main" id="{B8E56A18-7173-4B4D-9F15-8C6D38322807}"/>
              </a:ext>
            </a:extLst>
          </p:cNvPr>
          <p:cNvSpPr>
            <a:spLocks/>
          </p:cNvSpPr>
          <p:nvPr/>
        </p:nvSpPr>
        <p:spPr bwMode="gray">
          <a:xfrm>
            <a:off x="147349" y="666161"/>
            <a:ext cx="403514" cy="40351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latin typeface="+mj-lt"/>
              </a:rPr>
              <a:t>1</a:t>
            </a:r>
          </a:p>
        </p:txBody>
      </p:sp>
      <p:sp>
        <p:nvSpPr>
          <p:cNvPr id="233" name="Textfeld 232">
            <a:extLst>
              <a:ext uri="{FF2B5EF4-FFF2-40B4-BE49-F238E27FC236}">
                <a16:creationId xmlns:a16="http://schemas.microsoft.com/office/drawing/2014/main" id="{B1501E98-B125-480B-92CC-0F1CB25A7A33}"/>
              </a:ext>
            </a:extLst>
          </p:cNvPr>
          <p:cNvSpPr txBox="1"/>
          <p:nvPr/>
        </p:nvSpPr>
        <p:spPr bwMode="gray">
          <a:xfrm>
            <a:off x="623888" y="288099"/>
            <a:ext cx="5853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dirty="0">
                <a:latin typeface="+mj-lt"/>
              </a:rPr>
              <a:t>Durchführerposition</a:t>
            </a:r>
            <a:r>
              <a:rPr lang="de-DE" sz="1400" dirty="0"/>
              <a:t> bei Bedarf kopieren und auf den entsprechenden Seiten einsetzen</a:t>
            </a:r>
          </a:p>
        </p:txBody>
      </p:sp>
      <p:sp>
        <p:nvSpPr>
          <p:cNvPr id="236" name="Freihandform: Form 235">
            <a:extLst>
              <a:ext uri="{FF2B5EF4-FFF2-40B4-BE49-F238E27FC236}">
                <a16:creationId xmlns:a16="http://schemas.microsoft.com/office/drawing/2014/main" id="{80BE9D1C-DDD5-47DA-BBE7-033DAA2CEAB9}"/>
              </a:ext>
            </a:extLst>
          </p:cNvPr>
          <p:cNvSpPr/>
          <p:nvPr/>
        </p:nvSpPr>
        <p:spPr bwMode="gray">
          <a:xfrm>
            <a:off x="348961" y="395287"/>
            <a:ext cx="201902" cy="234873"/>
          </a:xfrm>
          <a:custGeom>
            <a:avLst/>
            <a:gdLst>
              <a:gd name="connsiteX0" fmla="*/ 342900 w 342900"/>
              <a:gd name="connsiteY0" fmla="*/ 0 h 295275"/>
              <a:gd name="connsiteX1" fmla="*/ 0 w 342900"/>
              <a:gd name="connsiteY1" fmla="*/ 0 h 295275"/>
              <a:gd name="connsiteX2" fmla="*/ 0 w 342900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95275">
                <a:moveTo>
                  <a:pt x="342900" y="0"/>
                </a:moveTo>
                <a:lnTo>
                  <a:pt x="0" y="0"/>
                </a:lnTo>
                <a:lnTo>
                  <a:pt x="0" y="295275"/>
                </a:lnTo>
              </a:path>
            </a:pathLst>
          </a:custGeom>
          <a:noFill/>
          <a:ln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8A20FC6B-CFC2-4CE2-B9DA-B539182FA6D4}"/>
              </a:ext>
            </a:extLst>
          </p:cNvPr>
          <p:cNvGrpSpPr>
            <a:grpSpLocks/>
          </p:cNvGrpSpPr>
          <p:nvPr/>
        </p:nvGrpSpPr>
        <p:grpSpPr bwMode="gray">
          <a:xfrm>
            <a:off x="2965411" y="4988910"/>
            <a:ext cx="396000" cy="396000"/>
            <a:chOff x="2965411" y="4988910"/>
            <a:chExt cx="396000" cy="396000"/>
          </a:xfrm>
        </p:grpSpPr>
        <p:sp>
          <p:nvSpPr>
            <p:cNvPr id="160" name="Freeform 8">
              <a:extLst>
                <a:ext uri="{FF2B5EF4-FFF2-40B4-BE49-F238E27FC236}">
                  <a16:creationId xmlns:a16="http://schemas.microsoft.com/office/drawing/2014/main" id="{7F43079C-92E3-483E-AC0C-90489F26EF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65411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AA2741DD-D39A-4EB4-B116-51C307736039}"/>
                </a:ext>
              </a:extLst>
            </p:cNvPr>
            <p:cNvGrpSpPr>
              <a:grpSpLocks/>
            </p:cNvGrpSpPr>
            <p:nvPr/>
          </p:nvGrpSpPr>
          <p:grpSpPr bwMode="gray">
            <a:xfrm rot="2700000">
              <a:off x="3086440" y="511016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62" name="Freeform 6">
                <a:extLst>
                  <a:ext uri="{FF2B5EF4-FFF2-40B4-BE49-F238E27FC236}">
                    <a16:creationId xmlns:a16="http://schemas.microsoft.com/office/drawing/2014/main" id="{BE89C2FB-6741-4D1E-83CC-9D8A5385AA9C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3" name="Freeform 7">
                <a:extLst>
                  <a:ext uri="{FF2B5EF4-FFF2-40B4-BE49-F238E27FC236}">
                    <a16:creationId xmlns:a16="http://schemas.microsoft.com/office/drawing/2014/main" id="{49843992-7F05-4E80-9C86-EA19892B20A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79904F27-B10A-4CB6-B23C-31B2036DEA2A}"/>
              </a:ext>
            </a:extLst>
          </p:cNvPr>
          <p:cNvGrpSpPr>
            <a:grpSpLocks/>
          </p:cNvGrpSpPr>
          <p:nvPr/>
        </p:nvGrpSpPr>
        <p:grpSpPr bwMode="gray">
          <a:xfrm>
            <a:off x="3550015" y="4988910"/>
            <a:ext cx="396000" cy="396000"/>
            <a:chOff x="3550015" y="4988910"/>
            <a:chExt cx="396000" cy="396000"/>
          </a:xfrm>
        </p:grpSpPr>
        <p:sp>
          <p:nvSpPr>
            <p:cNvPr id="180" name="Freeform 8">
              <a:extLst>
                <a:ext uri="{FF2B5EF4-FFF2-40B4-BE49-F238E27FC236}">
                  <a16:creationId xmlns:a16="http://schemas.microsoft.com/office/drawing/2014/main" id="{47E40F60-F97D-4A4D-BB8F-3F335B25E0A3}"/>
                </a:ext>
              </a:extLst>
            </p:cNvPr>
            <p:cNvSpPr>
              <a:spLocks noEditPoints="1"/>
            </p:cNvSpPr>
            <p:nvPr/>
          </p:nvSpPr>
          <p:spPr bwMode="gray">
            <a:xfrm rot="16200000">
              <a:off x="3550015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2" name="Gruppieren 181">
              <a:extLst>
                <a:ext uri="{FF2B5EF4-FFF2-40B4-BE49-F238E27FC236}">
                  <a16:creationId xmlns:a16="http://schemas.microsoft.com/office/drawing/2014/main" id="{7DCDE62C-A7A5-4A40-AAAE-B91DEFD45AF5}"/>
                </a:ext>
              </a:extLst>
            </p:cNvPr>
            <p:cNvGrpSpPr>
              <a:grpSpLocks/>
            </p:cNvGrpSpPr>
            <p:nvPr/>
          </p:nvGrpSpPr>
          <p:grpSpPr bwMode="gray">
            <a:xfrm rot="18900000">
              <a:off x="3628177" y="5114923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3" name="Freeform 6">
                <a:extLst>
                  <a:ext uri="{FF2B5EF4-FFF2-40B4-BE49-F238E27FC236}">
                    <a16:creationId xmlns:a16="http://schemas.microsoft.com/office/drawing/2014/main" id="{2891228F-5281-4AB5-BA91-8B94265AF066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4" name="Freeform 7">
                <a:extLst>
                  <a:ext uri="{FF2B5EF4-FFF2-40B4-BE49-F238E27FC236}">
                    <a16:creationId xmlns:a16="http://schemas.microsoft.com/office/drawing/2014/main" id="{036BDD73-2CD1-4D67-87B1-FA07FEC536F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3" name="Gruppieren 242">
            <a:extLst>
              <a:ext uri="{FF2B5EF4-FFF2-40B4-BE49-F238E27FC236}">
                <a16:creationId xmlns:a16="http://schemas.microsoft.com/office/drawing/2014/main" id="{1FF57E9D-9EB7-42E5-9E25-67F7169330B4}"/>
              </a:ext>
            </a:extLst>
          </p:cNvPr>
          <p:cNvGrpSpPr>
            <a:grpSpLocks/>
          </p:cNvGrpSpPr>
          <p:nvPr/>
        </p:nvGrpSpPr>
        <p:grpSpPr bwMode="gray">
          <a:xfrm>
            <a:off x="4134619" y="4988910"/>
            <a:ext cx="396000" cy="396000"/>
            <a:chOff x="4134619" y="4988910"/>
            <a:chExt cx="396000" cy="396000"/>
          </a:xfrm>
        </p:grpSpPr>
        <p:sp>
          <p:nvSpPr>
            <p:cNvPr id="187" name="Freeform 8">
              <a:extLst>
                <a:ext uri="{FF2B5EF4-FFF2-40B4-BE49-F238E27FC236}">
                  <a16:creationId xmlns:a16="http://schemas.microsoft.com/office/drawing/2014/main" id="{051D3902-8782-44F0-9765-C16F8213F96F}"/>
                </a:ext>
              </a:extLst>
            </p:cNvPr>
            <p:cNvSpPr>
              <a:spLocks noEditPoints="1"/>
            </p:cNvSpPr>
            <p:nvPr/>
          </p:nvSpPr>
          <p:spPr bwMode="gray">
            <a:xfrm rot="10800000">
              <a:off x="4134619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88" name="Gruppieren 187">
              <a:extLst>
                <a:ext uri="{FF2B5EF4-FFF2-40B4-BE49-F238E27FC236}">
                  <a16:creationId xmlns:a16="http://schemas.microsoft.com/office/drawing/2014/main" id="{AAF90AE4-0916-4E81-AE2B-0625A5843243}"/>
                </a:ext>
              </a:extLst>
            </p:cNvPr>
            <p:cNvGrpSpPr>
              <a:grpSpLocks/>
            </p:cNvGrpSpPr>
            <p:nvPr/>
          </p:nvGrpSpPr>
          <p:grpSpPr bwMode="gray">
            <a:xfrm rot="13500000">
              <a:off x="4217544" y="5157790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89" name="Freeform 6">
                <a:extLst>
                  <a:ext uri="{FF2B5EF4-FFF2-40B4-BE49-F238E27FC236}">
                    <a16:creationId xmlns:a16="http://schemas.microsoft.com/office/drawing/2014/main" id="{D7F0A2CB-BF86-40A4-8A1A-B6822DE80D6D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0" name="Freeform 7">
                <a:extLst>
                  <a:ext uri="{FF2B5EF4-FFF2-40B4-BE49-F238E27FC236}">
                    <a16:creationId xmlns:a16="http://schemas.microsoft.com/office/drawing/2014/main" id="{75988098-4E56-46C4-A32D-5FC77BB11A4B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6E5A1761-F33C-45FF-9CCA-B5C7F1745C2D}"/>
              </a:ext>
            </a:extLst>
          </p:cNvPr>
          <p:cNvGrpSpPr>
            <a:grpSpLocks/>
          </p:cNvGrpSpPr>
          <p:nvPr/>
        </p:nvGrpSpPr>
        <p:grpSpPr bwMode="gray">
          <a:xfrm>
            <a:off x="4719223" y="4988910"/>
            <a:ext cx="396000" cy="396000"/>
            <a:chOff x="4719223" y="4988910"/>
            <a:chExt cx="396000" cy="396000"/>
          </a:xfrm>
        </p:grpSpPr>
        <p:sp>
          <p:nvSpPr>
            <p:cNvPr id="192" name="Freeform 8">
              <a:extLst>
                <a:ext uri="{FF2B5EF4-FFF2-40B4-BE49-F238E27FC236}">
                  <a16:creationId xmlns:a16="http://schemas.microsoft.com/office/drawing/2014/main" id="{193D8F0F-9D54-400F-8CC7-2255A5F5FF7C}"/>
                </a:ext>
              </a:extLst>
            </p:cNvPr>
            <p:cNvSpPr>
              <a:spLocks noEditPoints="1"/>
            </p:cNvSpPr>
            <p:nvPr/>
          </p:nvSpPr>
          <p:spPr bwMode="gray">
            <a:xfrm rot="5400000">
              <a:off x="4719223" y="4988910"/>
              <a:ext cx="396000" cy="396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12E3D567-5C46-4F1F-815D-EF762198EA2E}"/>
                </a:ext>
              </a:extLst>
            </p:cNvPr>
            <p:cNvGrpSpPr>
              <a:grpSpLocks/>
            </p:cNvGrpSpPr>
            <p:nvPr/>
          </p:nvGrpSpPr>
          <p:grpSpPr bwMode="gray">
            <a:xfrm rot="8100000">
              <a:off x="4845015" y="5153027"/>
              <a:ext cx="192046" cy="105870"/>
              <a:chOff x="2521828" y="5150938"/>
              <a:chExt cx="123826" cy="68263"/>
            </a:xfrm>
            <a:solidFill>
              <a:schemeClr val="bg1"/>
            </a:solidFill>
          </p:grpSpPr>
          <p:sp>
            <p:nvSpPr>
              <p:cNvPr id="194" name="Freeform 6">
                <a:extLst>
                  <a:ext uri="{FF2B5EF4-FFF2-40B4-BE49-F238E27FC236}">
                    <a16:creationId xmlns:a16="http://schemas.microsoft.com/office/drawing/2014/main" id="{FF8A3B60-1FE1-47E5-A998-16505AC2A582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78185" y="5150145"/>
                <a:ext cx="66675" cy="68263"/>
              </a:xfrm>
              <a:custGeom>
                <a:avLst/>
                <a:gdLst>
                  <a:gd name="T0" fmla="*/ 496 w 549"/>
                  <a:gd name="T1" fmla="*/ 0 h 553"/>
                  <a:gd name="T2" fmla="*/ 510 w 549"/>
                  <a:gd name="T3" fmla="*/ 0 h 553"/>
                  <a:gd name="T4" fmla="*/ 524 w 549"/>
                  <a:gd name="T5" fmla="*/ 4 h 553"/>
                  <a:gd name="T6" fmla="*/ 536 w 549"/>
                  <a:gd name="T7" fmla="*/ 13 h 553"/>
                  <a:gd name="T8" fmla="*/ 544 w 549"/>
                  <a:gd name="T9" fmla="*/ 25 h 553"/>
                  <a:gd name="T10" fmla="*/ 549 w 549"/>
                  <a:gd name="T11" fmla="*/ 39 h 553"/>
                  <a:gd name="T12" fmla="*/ 549 w 549"/>
                  <a:gd name="T13" fmla="*/ 53 h 553"/>
                  <a:gd name="T14" fmla="*/ 544 w 549"/>
                  <a:gd name="T15" fmla="*/ 66 h 553"/>
                  <a:gd name="T16" fmla="*/ 536 w 549"/>
                  <a:gd name="T17" fmla="*/ 79 h 553"/>
                  <a:gd name="T18" fmla="*/ 78 w 549"/>
                  <a:gd name="T19" fmla="*/ 539 h 553"/>
                  <a:gd name="T20" fmla="*/ 68 w 549"/>
                  <a:gd name="T21" fmla="*/ 547 h 553"/>
                  <a:gd name="T22" fmla="*/ 56 w 549"/>
                  <a:gd name="T23" fmla="*/ 552 h 553"/>
                  <a:gd name="T24" fmla="*/ 45 w 549"/>
                  <a:gd name="T25" fmla="*/ 553 h 553"/>
                  <a:gd name="T26" fmla="*/ 34 w 549"/>
                  <a:gd name="T27" fmla="*/ 552 h 553"/>
                  <a:gd name="T28" fmla="*/ 22 w 549"/>
                  <a:gd name="T29" fmla="*/ 547 h 553"/>
                  <a:gd name="T30" fmla="*/ 13 w 549"/>
                  <a:gd name="T31" fmla="*/ 539 h 553"/>
                  <a:gd name="T32" fmla="*/ 4 w 549"/>
                  <a:gd name="T33" fmla="*/ 527 h 553"/>
                  <a:gd name="T34" fmla="*/ 0 w 549"/>
                  <a:gd name="T35" fmla="*/ 513 h 553"/>
                  <a:gd name="T36" fmla="*/ 0 w 549"/>
                  <a:gd name="T37" fmla="*/ 499 h 553"/>
                  <a:gd name="T38" fmla="*/ 4 w 549"/>
                  <a:gd name="T39" fmla="*/ 485 h 553"/>
                  <a:gd name="T40" fmla="*/ 13 w 549"/>
                  <a:gd name="T41" fmla="*/ 473 h 553"/>
                  <a:gd name="T42" fmla="*/ 470 w 549"/>
                  <a:gd name="T43" fmla="*/ 13 h 553"/>
                  <a:gd name="T44" fmla="*/ 482 w 549"/>
                  <a:gd name="T45" fmla="*/ 4 h 553"/>
                  <a:gd name="T46" fmla="*/ 496 w 549"/>
                  <a:gd name="T47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553">
                    <a:moveTo>
                      <a:pt x="496" y="0"/>
                    </a:moveTo>
                    <a:lnTo>
                      <a:pt x="510" y="0"/>
                    </a:lnTo>
                    <a:lnTo>
                      <a:pt x="524" y="4"/>
                    </a:lnTo>
                    <a:lnTo>
                      <a:pt x="536" y="13"/>
                    </a:lnTo>
                    <a:lnTo>
                      <a:pt x="544" y="25"/>
                    </a:lnTo>
                    <a:lnTo>
                      <a:pt x="549" y="39"/>
                    </a:lnTo>
                    <a:lnTo>
                      <a:pt x="549" y="53"/>
                    </a:lnTo>
                    <a:lnTo>
                      <a:pt x="544" y="66"/>
                    </a:lnTo>
                    <a:lnTo>
                      <a:pt x="536" y="79"/>
                    </a:lnTo>
                    <a:lnTo>
                      <a:pt x="78" y="539"/>
                    </a:lnTo>
                    <a:lnTo>
                      <a:pt x="68" y="547"/>
                    </a:lnTo>
                    <a:lnTo>
                      <a:pt x="56" y="552"/>
                    </a:lnTo>
                    <a:lnTo>
                      <a:pt x="45" y="553"/>
                    </a:lnTo>
                    <a:lnTo>
                      <a:pt x="34" y="552"/>
                    </a:lnTo>
                    <a:lnTo>
                      <a:pt x="22" y="547"/>
                    </a:lnTo>
                    <a:lnTo>
                      <a:pt x="13" y="539"/>
                    </a:lnTo>
                    <a:lnTo>
                      <a:pt x="4" y="527"/>
                    </a:lnTo>
                    <a:lnTo>
                      <a:pt x="0" y="513"/>
                    </a:lnTo>
                    <a:lnTo>
                      <a:pt x="0" y="499"/>
                    </a:lnTo>
                    <a:lnTo>
                      <a:pt x="4" y="485"/>
                    </a:lnTo>
                    <a:lnTo>
                      <a:pt x="13" y="473"/>
                    </a:lnTo>
                    <a:lnTo>
                      <a:pt x="470" y="13"/>
                    </a:lnTo>
                    <a:lnTo>
                      <a:pt x="482" y="4"/>
                    </a:lnTo>
                    <a:lnTo>
                      <a:pt x="496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6" name="Freeform 7">
                <a:extLst>
                  <a:ext uri="{FF2B5EF4-FFF2-40B4-BE49-F238E27FC236}">
                    <a16:creationId xmlns:a16="http://schemas.microsoft.com/office/drawing/2014/main" id="{B8E5E33F-59D9-4AC7-A368-8FD4C5DA96D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2521034" y="5151732"/>
                <a:ext cx="68263" cy="66675"/>
              </a:xfrm>
              <a:custGeom>
                <a:avLst/>
                <a:gdLst>
                  <a:gd name="T0" fmla="*/ 39 w 554"/>
                  <a:gd name="T1" fmla="*/ 0 h 557"/>
                  <a:gd name="T2" fmla="*/ 53 w 554"/>
                  <a:gd name="T3" fmla="*/ 0 h 557"/>
                  <a:gd name="T4" fmla="*/ 67 w 554"/>
                  <a:gd name="T5" fmla="*/ 4 h 557"/>
                  <a:gd name="T6" fmla="*/ 78 w 554"/>
                  <a:gd name="T7" fmla="*/ 13 h 557"/>
                  <a:gd name="T8" fmla="*/ 540 w 554"/>
                  <a:gd name="T9" fmla="*/ 478 h 557"/>
                  <a:gd name="T10" fmla="*/ 549 w 554"/>
                  <a:gd name="T11" fmla="*/ 490 h 557"/>
                  <a:gd name="T12" fmla="*/ 554 w 554"/>
                  <a:gd name="T13" fmla="*/ 503 h 557"/>
                  <a:gd name="T14" fmla="*/ 554 w 554"/>
                  <a:gd name="T15" fmla="*/ 518 h 557"/>
                  <a:gd name="T16" fmla="*/ 549 w 554"/>
                  <a:gd name="T17" fmla="*/ 531 h 557"/>
                  <a:gd name="T18" fmla="*/ 540 w 554"/>
                  <a:gd name="T19" fmla="*/ 544 h 557"/>
                  <a:gd name="T20" fmla="*/ 531 w 554"/>
                  <a:gd name="T21" fmla="*/ 551 h 557"/>
                  <a:gd name="T22" fmla="*/ 519 w 554"/>
                  <a:gd name="T23" fmla="*/ 556 h 557"/>
                  <a:gd name="T24" fmla="*/ 508 w 554"/>
                  <a:gd name="T25" fmla="*/ 557 h 557"/>
                  <a:gd name="T26" fmla="*/ 497 w 554"/>
                  <a:gd name="T27" fmla="*/ 556 h 557"/>
                  <a:gd name="T28" fmla="*/ 485 w 554"/>
                  <a:gd name="T29" fmla="*/ 551 h 557"/>
                  <a:gd name="T30" fmla="*/ 475 w 554"/>
                  <a:gd name="T31" fmla="*/ 544 h 557"/>
                  <a:gd name="T32" fmla="*/ 13 w 554"/>
                  <a:gd name="T33" fmla="*/ 79 h 557"/>
                  <a:gd name="T34" fmla="*/ 5 w 554"/>
                  <a:gd name="T35" fmla="*/ 66 h 557"/>
                  <a:gd name="T36" fmla="*/ 0 w 554"/>
                  <a:gd name="T37" fmla="*/ 53 h 557"/>
                  <a:gd name="T38" fmla="*/ 0 w 554"/>
                  <a:gd name="T39" fmla="*/ 39 h 557"/>
                  <a:gd name="T40" fmla="*/ 5 w 554"/>
                  <a:gd name="T41" fmla="*/ 25 h 557"/>
                  <a:gd name="T42" fmla="*/ 13 w 554"/>
                  <a:gd name="T43" fmla="*/ 13 h 557"/>
                  <a:gd name="T44" fmla="*/ 25 w 554"/>
                  <a:gd name="T45" fmla="*/ 4 h 557"/>
                  <a:gd name="T46" fmla="*/ 39 w 554"/>
                  <a:gd name="T47" fmla="*/ 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4" h="557">
                    <a:moveTo>
                      <a:pt x="39" y="0"/>
                    </a:moveTo>
                    <a:lnTo>
                      <a:pt x="53" y="0"/>
                    </a:lnTo>
                    <a:lnTo>
                      <a:pt x="67" y="4"/>
                    </a:lnTo>
                    <a:lnTo>
                      <a:pt x="78" y="13"/>
                    </a:lnTo>
                    <a:lnTo>
                      <a:pt x="540" y="478"/>
                    </a:lnTo>
                    <a:lnTo>
                      <a:pt x="549" y="490"/>
                    </a:lnTo>
                    <a:lnTo>
                      <a:pt x="554" y="503"/>
                    </a:lnTo>
                    <a:lnTo>
                      <a:pt x="554" y="518"/>
                    </a:lnTo>
                    <a:lnTo>
                      <a:pt x="549" y="531"/>
                    </a:lnTo>
                    <a:lnTo>
                      <a:pt x="540" y="544"/>
                    </a:lnTo>
                    <a:lnTo>
                      <a:pt x="531" y="551"/>
                    </a:lnTo>
                    <a:lnTo>
                      <a:pt x="519" y="556"/>
                    </a:lnTo>
                    <a:lnTo>
                      <a:pt x="508" y="557"/>
                    </a:lnTo>
                    <a:lnTo>
                      <a:pt x="497" y="556"/>
                    </a:lnTo>
                    <a:lnTo>
                      <a:pt x="485" y="551"/>
                    </a:lnTo>
                    <a:lnTo>
                      <a:pt x="475" y="544"/>
                    </a:lnTo>
                    <a:lnTo>
                      <a:pt x="13" y="79"/>
                    </a:lnTo>
                    <a:lnTo>
                      <a:pt x="5" y="66"/>
                    </a:lnTo>
                    <a:lnTo>
                      <a:pt x="0" y="53"/>
                    </a:lnTo>
                    <a:lnTo>
                      <a:pt x="0" y="39"/>
                    </a:lnTo>
                    <a:lnTo>
                      <a:pt x="5" y="25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FFDDEDD-E7EB-492C-8446-C0630CC766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806558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E1E4013-F63C-4406-AB7E-91007D7B5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52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E1E4013-F63C-4406-AB7E-91007D7B5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12D9ED-8929-4689-A027-E75055C3844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1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8E4FD39-CC75-4B19-A864-44E6A80D3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Gener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4F6F7-0B0F-4C5F-8A84-5387B7F71E8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4249EBD-0C5B-4D79-A30F-B472A159A1D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8B505-0014-43C8-962F-E169EFFB30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8</a:t>
            </a:fld>
            <a:endParaRPr lang="de-DE" dirty="0"/>
          </a:p>
        </p:txBody>
      </p:sp>
      <p:sp>
        <p:nvSpPr>
          <p:cNvPr id="23" name="Shape 2525">
            <a:extLst>
              <a:ext uri="{FF2B5EF4-FFF2-40B4-BE49-F238E27FC236}">
                <a16:creationId xmlns:a16="http://schemas.microsoft.com/office/drawing/2014/main" id="{CAC925DC-9E5B-4C2A-A7A1-7544CAF7AF72}"/>
              </a:ext>
            </a:extLst>
          </p:cNvPr>
          <p:cNvSpPr/>
          <p:nvPr/>
        </p:nvSpPr>
        <p:spPr bwMode="gray">
          <a:xfrm>
            <a:off x="637821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526">
            <a:extLst>
              <a:ext uri="{FF2B5EF4-FFF2-40B4-BE49-F238E27FC236}">
                <a16:creationId xmlns:a16="http://schemas.microsoft.com/office/drawing/2014/main" id="{A075599E-671F-473D-A8AA-758B010E76CE}"/>
              </a:ext>
            </a:extLst>
          </p:cNvPr>
          <p:cNvSpPr/>
          <p:nvPr/>
        </p:nvSpPr>
        <p:spPr bwMode="gray">
          <a:xfrm>
            <a:off x="1189845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527">
            <a:extLst>
              <a:ext uri="{FF2B5EF4-FFF2-40B4-BE49-F238E27FC236}">
                <a16:creationId xmlns:a16="http://schemas.microsoft.com/office/drawing/2014/main" id="{21C5C0A3-9853-4B27-8F22-EE97F2056610}"/>
              </a:ext>
            </a:extLst>
          </p:cNvPr>
          <p:cNvSpPr/>
          <p:nvPr/>
        </p:nvSpPr>
        <p:spPr bwMode="gray">
          <a:xfrm>
            <a:off x="1741870" y="175904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4236" y="10309"/>
                </a:moveTo>
                <a:lnTo>
                  <a:pt x="12694" y="10309"/>
                </a:lnTo>
                <a:cubicBezTo>
                  <a:pt x="12516" y="9622"/>
                  <a:pt x="11979" y="9084"/>
                  <a:pt x="11291" y="8906"/>
                </a:cubicBezTo>
                <a:lnTo>
                  <a:pt x="11291" y="5400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0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4236" y="11291"/>
                </a:lnTo>
                <a:cubicBezTo>
                  <a:pt x="14507" y="11291"/>
                  <a:pt x="14727" y="11072"/>
                  <a:pt x="14727" y="10800"/>
                </a:cubicBezTo>
                <a:cubicBezTo>
                  <a:pt x="14727" y="10529"/>
                  <a:pt x="14507" y="10309"/>
                  <a:pt x="14236" y="103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8655"/>
                </a:moveTo>
                <a:cubicBezTo>
                  <a:pt x="6462" y="18655"/>
                  <a:pt x="2945" y="15138"/>
                  <a:pt x="2945" y="10800"/>
                </a:cubicBezTo>
                <a:cubicBezTo>
                  <a:pt x="2945" y="6462"/>
                  <a:pt x="6462" y="2945"/>
                  <a:pt x="10800" y="2945"/>
                </a:cubicBezTo>
                <a:cubicBezTo>
                  <a:pt x="15138" y="2945"/>
                  <a:pt x="18655" y="6462"/>
                  <a:pt x="18655" y="10800"/>
                </a:cubicBezTo>
                <a:cubicBezTo>
                  <a:pt x="18655" y="15138"/>
                  <a:pt x="15138" y="18655"/>
                  <a:pt x="10800" y="18655"/>
                </a:cubicBezTo>
                <a:moveTo>
                  <a:pt x="10800" y="1964"/>
                </a:moveTo>
                <a:cubicBezTo>
                  <a:pt x="5920" y="1964"/>
                  <a:pt x="1964" y="5920"/>
                  <a:pt x="1964" y="10800"/>
                </a:cubicBezTo>
                <a:cubicBezTo>
                  <a:pt x="1964" y="15680"/>
                  <a:pt x="5920" y="19636"/>
                  <a:pt x="10800" y="19636"/>
                </a:cubicBezTo>
                <a:cubicBezTo>
                  <a:pt x="15680" y="19636"/>
                  <a:pt x="19636" y="15680"/>
                  <a:pt x="19636" y="10800"/>
                </a:cubicBezTo>
                <a:cubicBezTo>
                  <a:pt x="19636" y="5920"/>
                  <a:pt x="15680" y="1964"/>
                  <a:pt x="10800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528">
            <a:extLst>
              <a:ext uri="{FF2B5EF4-FFF2-40B4-BE49-F238E27FC236}">
                <a16:creationId xmlns:a16="http://schemas.microsoft.com/office/drawing/2014/main" id="{BB86391D-2A7D-4136-BB4E-7B50690FA33A}"/>
              </a:ext>
            </a:extLst>
          </p:cNvPr>
          <p:cNvSpPr/>
          <p:nvPr/>
        </p:nvSpPr>
        <p:spPr bwMode="gray">
          <a:xfrm>
            <a:off x="2333325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529">
            <a:extLst>
              <a:ext uri="{FF2B5EF4-FFF2-40B4-BE49-F238E27FC236}">
                <a16:creationId xmlns:a16="http://schemas.microsoft.com/office/drawing/2014/main" id="{79418B8A-5BDE-4250-938B-E43D6981194C}"/>
              </a:ext>
            </a:extLst>
          </p:cNvPr>
          <p:cNvSpPr/>
          <p:nvPr/>
        </p:nvSpPr>
        <p:spPr bwMode="gray">
          <a:xfrm>
            <a:off x="2885349" y="1759045"/>
            <a:ext cx="21029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75" y="15573"/>
                </a:moveTo>
                <a:lnTo>
                  <a:pt x="11475" y="16200"/>
                </a:lnTo>
                <a:cubicBezTo>
                  <a:pt x="11475" y="16471"/>
                  <a:pt x="11172" y="16691"/>
                  <a:pt x="10800" y="16691"/>
                </a:cubicBezTo>
                <a:cubicBezTo>
                  <a:pt x="10428" y="16691"/>
                  <a:pt x="10125" y="16471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5"/>
                  <a:pt x="10055" y="13745"/>
                  <a:pt x="10800" y="13745"/>
                </a:cubicBezTo>
                <a:cubicBezTo>
                  <a:pt x="11545" y="13745"/>
                  <a:pt x="12150" y="14185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6"/>
                  <a:pt x="8798" y="16034"/>
                </a:cubicBezTo>
                <a:cubicBezTo>
                  <a:pt x="8789" y="16089"/>
                  <a:pt x="8775" y="16143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3"/>
                  <a:pt x="12810" y="16089"/>
                  <a:pt x="12802" y="16034"/>
                </a:cubicBezTo>
                <a:cubicBezTo>
                  <a:pt x="13231" y="15687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  <a:moveTo>
                  <a:pt x="20250" y="19636"/>
                </a:moveTo>
                <a:cubicBezTo>
                  <a:pt x="20250" y="20179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9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cubicBezTo>
                  <a:pt x="2700" y="6162"/>
                  <a:pt x="3003" y="6382"/>
                  <a:pt x="3375" y="6382"/>
                </a:cubicBezTo>
                <a:cubicBezTo>
                  <a:pt x="3747" y="6382"/>
                  <a:pt x="4050" y="6162"/>
                  <a:pt x="4050" y="5891"/>
                </a:cubicBez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530">
            <a:extLst>
              <a:ext uri="{FF2B5EF4-FFF2-40B4-BE49-F238E27FC236}">
                <a16:creationId xmlns:a16="http://schemas.microsoft.com/office/drawing/2014/main" id="{FD20D594-1EF3-4649-87AB-925F4625B408}"/>
              </a:ext>
            </a:extLst>
          </p:cNvPr>
          <p:cNvSpPr/>
          <p:nvPr/>
        </p:nvSpPr>
        <p:spPr bwMode="gray">
          <a:xfrm>
            <a:off x="3424230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531">
            <a:extLst>
              <a:ext uri="{FF2B5EF4-FFF2-40B4-BE49-F238E27FC236}">
                <a16:creationId xmlns:a16="http://schemas.microsoft.com/office/drawing/2014/main" id="{D1B1607E-87A0-4CDE-B9A0-700642C97AE9}"/>
              </a:ext>
            </a:extLst>
          </p:cNvPr>
          <p:cNvSpPr/>
          <p:nvPr/>
        </p:nvSpPr>
        <p:spPr bwMode="gray">
          <a:xfrm>
            <a:off x="3976254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7200" y="20618"/>
                </a:lnTo>
                <a:lnTo>
                  <a:pt x="72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6000" y="20618"/>
                </a:moveTo>
                <a:lnTo>
                  <a:pt x="3600" y="20618"/>
                </a:lnTo>
                <a:cubicBezTo>
                  <a:pt x="2937" y="20618"/>
                  <a:pt x="2400" y="20179"/>
                  <a:pt x="2400" y="19636"/>
                </a:cubicBezTo>
                <a:lnTo>
                  <a:pt x="2400" y="18655"/>
                </a:lnTo>
                <a:lnTo>
                  <a:pt x="3000" y="18655"/>
                </a:lnTo>
                <a:cubicBezTo>
                  <a:pt x="3332" y="18655"/>
                  <a:pt x="3600" y="18435"/>
                  <a:pt x="3600" y="18164"/>
                </a:cubicBezTo>
                <a:cubicBezTo>
                  <a:pt x="3600" y="17893"/>
                  <a:pt x="3332" y="17673"/>
                  <a:pt x="3000" y="17673"/>
                </a:cubicBezTo>
                <a:lnTo>
                  <a:pt x="2400" y="17673"/>
                </a:lnTo>
                <a:lnTo>
                  <a:pt x="2400" y="15709"/>
                </a:lnTo>
                <a:lnTo>
                  <a:pt x="3000" y="15709"/>
                </a:lnTo>
                <a:cubicBezTo>
                  <a:pt x="3332" y="15709"/>
                  <a:pt x="3600" y="15490"/>
                  <a:pt x="3600" y="15218"/>
                </a:cubicBezTo>
                <a:cubicBezTo>
                  <a:pt x="3600" y="14947"/>
                  <a:pt x="3332" y="14727"/>
                  <a:pt x="3000" y="14727"/>
                </a:cubicBezTo>
                <a:lnTo>
                  <a:pt x="2400" y="14727"/>
                </a:lnTo>
                <a:lnTo>
                  <a:pt x="2400" y="12764"/>
                </a:lnTo>
                <a:lnTo>
                  <a:pt x="3000" y="12764"/>
                </a:lnTo>
                <a:cubicBezTo>
                  <a:pt x="3332" y="12764"/>
                  <a:pt x="3600" y="12544"/>
                  <a:pt x="3600" y="12273"/>
                </a:cubicBezTo>
                <a:cubicBezTo>
                  <a:pt x="3600" y="12002"/>
                  <a:pt x="3332" y="11782"/>
                  <a:pt x="3000" y="11782"/>
                </a:cubicBezTo>
                <a:lnTo>
                  <a:pt x="2400" y="11782"/>
                </a:lnTo>
                <a:lnTo>
                  <a:pt x="2400" y="9818"/>
                </a:lnTo>
                <a:lnTo>
                  <a:pt x="3000" y="9818"/>
                </a:lnTo>
                <a:cubicBezTo>
                  <a:pt x="3332" y="9818"/>
                  <a:pt x="3600" y="9599"/>
                  <a:pt x="3600" y="9327"/>
                </a:cubicBezTo>
                <a:cubicBezTo>
                  <a:pt x="3600" y="9056"/>
                  <a:pt x="3332" y="8836"/>
                  <a:pt x="3000" y="8836"/>
                </a:cubicBezTo>
                <a:lnTo>
                  <a:pt x="2400" y="8836"/>
                </a:lnTo>
                <a:lnTo>
                  <a:pt x="2400" y="6873"/>
                </a:lnTo>
                <a:lnTo>
                  <a:pt x="3000" y="6873"/>
                </a:lnTo>
                <a:cubicBezTo>
                  <a:pt x="3332" y="6873"/>
                  <a:pt x="3600" y="6653"/>
                  <a:pt x="3600" y="6382"/>
                </a:cubicBezTo>
                <a:cubicBezTo>
                  <a:pt x="3600" y="6111"/>
                  <a:pt x="3332" y="5891"/>
                  <a:pt x="3000" y="5891"/>
                </a:cubicBezTo>
                <a:lnTo>
                  <a:pt x="2400" y="5891"/>
                </a:lnTo>
                <a:lnTo>
                  <a:pt x="2400" y="3927"/>
                </a:lnTo>
                <a:lnTo>
                  <a:pt x="3000" y="3927"/>
                </a:lnTo>
                <a:cubicBezTo>
                  <a:pt x="3332" y="3927"/>
                  <a:pt x="3600" y="3708"/>
                  <a:pt x="3600" y="3436"/>
                </a:cubicBezTo>
                <a:cubicBezTo>
                  <a:pt x="3600" y="3166"/>
                  <a:pt x="3332" y="2945"/>
                  <a:pt x="3000" y="2945"/>
                </a:cubicBezTo>
                <a:lnTo>
                  <a:pt x="2400" y="2945"/>
                </a:lnTo>
                <a:lnTo>
                  <a:pt x="2400" y="1964"/>
                </a:lnTo>
                <a:cubicBezTo>
                  <a:pt x="2400" y="1422"/>
                  <a:pt x="2937" y="982"/>
                  <a:pt x="3600" y="982"/>
                </a:cubicBezTo>
                <a:lnTo>
                  <a:pt x="6000" y="982"/>
                </a:lnTo>
                <a:cubicBezTo>
                  <a:pt x="6000" y="982"/>
                  <a:pt x="6000" y="20618"/>
                  <a:pt x="6000" y="20618"/>
                </a:cubicBezTo>
                <a:close/>
                <a:moveTo>
                  <a:pt x="19200" y="0"/>
                </a:moveTo>
                <a:lnTo>
                  <a:pt x="3600" y="0"/>
                </a:lnTo>
                <a:cubicBezTo>
                  <a:pt x="2275" y="0"/>
                  <a:pt x="1200" y="879"/>
                  <a:pt x="1200" y="1964"/>
                </a:cubicBezTo>
                <a:lnTo>
                  <a:pt x="1200" y="2945"/>
                </a:lnTo>
                <a:lnTo>
                  <a:pt x="600" y="2945"/>
                </a:lnTo>
                <a:cubicBezTo>
                  <a:pt x="268" y="2945"/>
                  <a:pt x="0" y="3166"/>
                  <a:pt x="0" y="3436"/>
                </a:cubicBezTo>
                <a:cubicBezTo>
                  <a:pt x="0" y="3708"/>
                  <a:pt x="268" y="3927"/>
                  <a:pt x="600" y="3927"/>
                </a:cubicBezTo>
                <a:lnTo>
                  <a:pt x="1200" y="3927"/>
                </a:lnTo>
                <a:lnTo>
                  <a:pt x="1200" y="5891"/>
                </a:lnTo>
                <a:lnTo>
                  <a:pt x="600" y="5891"/>
                </a:lnTo>
                <a:cubicBezTo>
                  <a:pt x="268" y="5891"/>
                  <a:pt x="0" y="6111"/>
                  <a:pt x="0" y="6382"/>
                </a:cubicBezTo>
                <a:cubicBezTo>
                  <a:pt x="0" y="6653"/>
                  <a:pt x="268" y="6873"/>
                  <a:pt x="600" y="6873"/>
                </a:cubicBezTo>
                <a:lnTo>
                  <a:pt x="1200" y="6873"/>
                </a:lnTo>
                <a:lnTo>
                  <a:pt x="1200" y="8836"/>
                </a:lnTo>
                <a:lnTo>
                  <a:pt x="600" y="8836"/>
                </a:lnTo>
                <a:cubicBezTo>
                  <a:pt x="268" y="8836"/>
                  <a:pt x="0" y="9056"/>
                  <a:pt x="0" y="9327"/>
                </a:cubicBezTo>
                <a:cubicBezTo>
                  <a:pt x="0" y="9599"/>
                  <a:pt x="268" y="9818"/>
                  <a:pt x="600" y="9818"/>
                </a:cubicBezTo>
                <a:lnTo>
                  <a:pt x="1200" y="9818"/>
                </a:lnTo>
                <a:lnTo>
                  <a:pt x="1200" y="11782"/>
                </a:lnTo>
                <a:lnTo>
                  <a:pt x="600" y="11782"/>
                </a:lnTo>
                <a:cubicBezTo>
                  <a:pt x="268" y="11782"/>
                  <a:pt x="0" y="12002"/>
                  <a:pt x="0" y="12273"/>
                </a:cubicBezTo>
                <a:cubicBezTo>
                  <a:pt x="0" y="12544"/>
                  <a:pt x="268" y="12764"/>
                  <a:pt x="600" y="12764"/>
                </a:cubicBezTo>
                <a:lnTo>
                  <a:pt x="1200" y="12764"/>
                </a:lnTo>
                <a:lnTo>
                  <a:pt x="1200" y="14727"/>
                </a:lnTo>
                <a:lnTo>
                  <a:pt x="600" y="14727"/>
                </a:lnTo>
                <a:cubicBezTo>
                  <a:pt x="268" y="14727"/>
                  <a:pt x="0" y="14947"/>
                  <a:pt x="0" y="15218"/>
                </a:cubicBezTo>
                <a:cubicBezTo>
                  <a:pt x="0" y="15490"/>
                  <a:pt x="268" y="15709"/>
                  <a:pt x="600" y="15709"/>
                </a:cubicBezTo>
                <a:lnTo>
                  <a:pt x="1200" y="15709"/>
                </a:lnTo>
                <a:lnTo>
                  <a:pt x="1200" y="17673"/>
                </a:lnTo>
                <a:lnTo>
                  <a:pt x="600" y="17673"/>
                </a:lnTo>
                <a:cubicBezTo>
                  <a:pt x="268" y="17673"/>
                  <a:pt x="0" y="17893"/>
                  <a:pt x="0" y="18164"/>
                </a:cubicBezTo>
                <a:cubicBezTo>
                  <a:pt x="0" y="18435"/>
                  <a:pt x="268" y="18655"/>
                  <a:pt x="600" y="18655"/>
                </a:cubicBezTo>
                <a:lnTo>
                  <a:pt x="1200" y="18655"/>
                </a:lnTo>
                <a:lnTo>
                  <a:pt x="1200" y="19636"/>
                </a:lnTo>
                <a:cubicBezTo>
                  <a:pt x="1200" y="20721"/>
                  <a:pt x="2275" y="21600"/>
                  <a:pt x="36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532">
            <a:extLst>
              <a:ext uri="{FF2B5EF4-FFF2-40B4-BE49-F238E27FC236}">
                <a16:creationId xmlns:a16="http://schemas.microsoft.com/office/drawing/2014/main" id="{BBF011F4-DDA9-425B-9A6E-CAEB5D748E89}"/>
              </a:ext>
            </a:extLst>
          </p:cNvPr>
          <p:cNvSpPr/>
          <p:nvPr/>
        </p:nvSpPr>
        <p:spPr bwMode="gray">
          <a:xfrm>
            <a:off x="4528279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3"/>
                  <a:pt x="14400" y="6873"/>
                </a:cubicBezTo>
                <a:lnTo>
                  <a:pt x="20400" y="6873"/>
                </a:lnTo>
                <a:cubicBezTo>
                  <a:pt x="20400" y="6873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4800" y="8836"/>
                </a:moveTo>
                <a:cubicBezTo>
                  <a:pt x="4800" y="9108"/>
                  <a:pt x="5068" y="9327"/>
                  <a:pt x="5400" y="9327"/>
                </a:cubicBezTo>
                <a:lnTo>
                  <a:pt x="16200" y="9327"/>
                </a:lnTo>
                <a:cubicBezTo>
                  <a:pt x="16532" y="9327"/>
                  <a:pt x="16800" y="9108"/>
                  <a:pt x="16800" y="8836"/>
                </a:cubicBezTo>
                <a:cubicBezTo>
                  <a:pt x="16800" y="8566"/>
                  <a:pt x="16532" y="8345"/>
                  <a:pt x="16200" y="8345"/>
                </a:cubicBezTo>
                <a:lnTo>
                  <a:pt x="5400" y="8345"/>
                </a:lnTo>
                <a:cubicBezTo>
                  <a:pt x="5068" y="8345"/>
                  <a:pt x="4800" y="8566"/>
                  <a:pt x="4800" y="8836"/>
                </a:cubicBezTo>
                <a:moveTo>
                  <a:pt x="16200" y="12273"/>
                </a:moveTo>
                <a:lnTo>
                  <a:pt x="5400" y="12273"/>
                </a:lnTo>
                <a:cubicBezTo>
                  <a:pt x="5068" y="12273"/>
                  <a:pt x="4800" y="12493"/>
                  <a:pt x="4800" y="12764"/>
                </a:cubicBezTo>
                <a:cubicBezTo>
                  <a:pt x="4800" y="13035"/>
                  <a:pt x="5068" y="13255"/>
                  <a:pt x="5400" y="13255"/>
                </a:cubicBezTo>
                <a:lnTo>
                  <a:pt x="16200" y="13255"/>
                </a:lnTo>
                <a:cubicBezTo>
                  <a:pt x="16532" y="13255"/>
                  <a:pt x="16800" y="13035"/>
                  <a:pt x="16800" y="12764"/>
                </a:cubicBezTo>
                <a:cubicBezTo>
                  <a:pt x="16800" y="12493"/>
                  <a:pt x="16532" y="12273"/>
                  <a:pt x="16200" y="12273"/>
                </a:cubicBezTo>
                <a:moveTo>
                  <a:pt x="5400" y="5400"/>
                </a:moveTo>
                <a:lnTo>
                  <a:pt x="8400" y="5400"/>
                </a:lnTo>
                <a:cubicBezTo>
                  <a:pt x="8732" y="5400"/>
                  <a:pt x="9000" y="5181"/>
                  <a:pt x="9000" y="4909"/>
                </a:cubicBezTo>
                <a:cubicBezTo>
                  <a:pt x="9000" y="4638"/>
                  <a:pt x="8732" y="4418"/>
                  <a:pt x="8400" y="4418"/>
                </a:cubicBezTo>
                <a:lnTo>
                  <a:pt x="5400" y="4418"/>
                </a:lnTo>
                <a:cubicBezTo>
                  <a:pt x="5068" y="4418"/>
                  <a:pt x="4800" y="4638"/>
                  <a:pt x="4800" y="4909"/>
                </a:cubicBezTo>
                <a:cubicBezTo>
                  <a:pt x="4800" y="5181"/>
                  <a:pt x="5068" y="5400"/>
                  <a:pt x="5400" y="5400"/>
                </a:cubicBezTo>
                <a:moveTo>
                  <a:pt x="12600" y="16200"/>
                </a:moveTo>
                <a:lnTo>
                  <a:pt x="5400" y="16200"/>
                </a:lnTo>
                <a:cubicBezTo>
                  <a:pt x="5068" y="16200"/>
                  <a:pt x="4800" y="16420"/>
                  <a:pt x="4800" y="16691"/>
                </a:cubicBezTo>
                <a:cubicBezTo>
                  <a:pt x="4800" y="16962"/>
                  <a:pt x="5068" y="17182"/>
                  <a:pt x="5400" y="17182"/>
                </a:cubicBezTo>
                <a:lnTo>
                  <a:pt x="12600" y="17182"/>
                </a:lnTo>
                <a:cubicBezTo>
                  <a:pt x="12932" y="17182"/>
                  <a:pt x="13200" y="16962"/>
                  <a:pt x="13200" y="16691"/>
                </a:cubicBezTo>
                <a:cubicBezTo>
                  <a:pt x="13200" y="16420"/>
                  <a:pt x="12932" y="16200"/>
                  <a:pt x="12600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533">
            <a:extLst>
              <a:ext uri="{FF2B5EF4-FFF2-40B4-BE49-F238E27FC236}">
                <a16:creationId xmlns:a16="http://schemas.microsoft.com/office/drawing/2014/main" id="{F66D491B-EEE3-42AA-A6F3-B804C3A8F3D9}"/>
              </a:ext>
            </a:extLst>
          </p:cNvPr>
          <p:cNvSpPr/>
          <p:nvPr/>
        </p:nvSpPr>
        <p:spPr bwMode="gray">
          <a:xfrm>
            <a:off x="5080303" y="175904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7"/>
                </a:lnTo>
                <a:lnTo>
                  <a:pt x="13929" y="8836"/>
                </a:lnTo>
                <a:cubicBezTo>
                  <a:pt x="13929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9"/>
                  <a:pt x="13862" y="20618"/>
                  <a:pt x="13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6873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3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1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9" y="3927"/>
                </a:lnTo>
                <a:cubicBezTo>
                  <a:pt x="19929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8" y="3927"/>
                  <a:pt x="6600" y="3927"/>
                </a:cubicBezTo>
                <a:cubicBezTo>
                  <a:pt x="6932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8" y="15709"/>
                  <a:pt x="16800" y="15929"/>
                  <a:pt x="16800" y="16200"/>
                </a:cubicBezTo>
                <a:cubicBezTo>
                  <a:pt x="16800" y="16472"/>
                  <a:pt x="17068" y="16691"/>
                  <a:pt x="17400" y="16691"/>
                </a:cubicBezTo>
                <a:lnTo>
                  <a:pt x="19200" y="16691"/>
                </a:lnTo>
                <a:cubicBezTo>
                  <a:pt x="20525" y="16691"/>
                  <a:pt x="21600" y="15812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  <a:moveTo>
                  <a:pt x="3600" y="12273"/>
                </a:moveTo>
                <a:cubicBezTo>
                  <a:pt x="3600" y="12544"/>
                  <a:pt x="3868" y="12764"/>
                  <a:pt x="4200" y="12764"/>
                </a:cubicBezTo>
                <a:lnTo>
                  <a:pt x="11400" y="12764"/>
                </a:lnTo>
                <a:cubicBezTo>
                  <a:pt x="11732" y="12764"/>
                  <a:pt x="12000" y="12544"/>
                  <a:pt x="12000" y="12273"/>
                </a:cubicBezTo>
                <a:cubicBezTo>
                  <a:pt x="12000" y="12002"/>
                  <a:pt x="11732" y="11782"/>
                  <a:pt x="11400" y="11782"/>
                </a:cubicBezTo>
                <a:lnTo>
                  <a:pt x="4200" y="11782"/>
                </a:lnTo>
                <a:cubicBezTo>
                  <a:pt x="3868" y="11782"/>
                  <a:pt x="3600" y="12002"/>
                  <a:pt x="3600" y="12273"/>
                </a:cubicBezTo>
                <a:moveTo>
                  <a:pt x="4200" y="9818"/>
                </a:moveTo>
                <a:lnTo>
                  <a:pt x="6600" y="9818"/>
                </a:lnTo>
                <a:cubicBezTo>
                  <a:pt x="6932" y="9818"/>
                  <a:pt x="7200" y="9599"/>
                  <a:pt x="7200" y="9327"/>
                </a:cubicBezTo>
                <a:cubicBezTo>
                  <a:pt x="7200" y="9056"/>
                  <a:pt x="6932" y="8836"/>
                  <a:pt x="6600" y="8836"/>
                </a:cubicBezTo>
                <a:lnTo>
                  <a:pt x="4200" y="8836"/>
                </a:lnTo>
                <a:cubicBezTo>
                  <a:pt x="3868" y="8836"/>
                  <a:pt x="3600" y="9056"/>
                  <a:pt x="3600" y="9327"/>
                </a:cubicBezTo>
                <a:cubicBezTo>
                  <a:pt x="3600" y="9599"/>
                  <a:pt x="3868" y="9818"/>
                  <a:pt x="4200" y="9818"/>
                </a:cubicBezTo>
                <a:moveTo>
                  <a:pt x="9000" y="17673"/>
                </a:moveTo>
                <a:lnTo>
                  <a:pt x="4200" y="17673"/>
                </a:lnTo>
                <a:cubicBezTo>
                  <a:pt x="3868" y="17673"/>
                  <a:pt x="3600" y="17893"/>
                  <a:pt x="3600" y="18164"/>
                </a:cubicBezTo>
                <a:cubicBezTo>
                  <a:pt x="3600" y="18435"/>
                  <a:pt x="3868" y="18655"/>
                  <a:pt x="4200" y="18655"/>
                </a:cubicBezTo>
                <a:lnTo>
                  <a:pt x="9000" y="18655"/>
                </a:lnTo>
                <a:cubicBezTo>
                  <a:pt x="9332" y="18655"/>
                  <a:pt x="9600" y="18435"/>
                  <a:pt x="9600" y="18164"/>
                </a:cubicBezTo>
                <a:cubicBezTo>
                  <a:pt x="9600" y="17893"/>
                  <a:pt x="9332" y="17673"/>
                  <a:pt x="9000" y="17673"/>
                </a:cubicBezTo>
                <a:moveTo>
                  <a:pt x="11400" y="14727"/>
                </a:moveTo>
                <a:lnTo>
                  <a:pt x="4200" y="14727"/>
                </a:lnTo>
                <a:cubicBezTo>
                  <a:pt x="3868" y="14727"/>
                  <a:pt x="3600" y="14947"/>
                  <a:pt x="3600" y="15218"/>
                </a:cubicBezTo>
                <a:cubicBezTo>
                  <a:pt x="3600" y="15490"/>
                  <a:pt x="3868" y="15709"/>
                  <a:pt x="4200" y="15709"/>
                </a:cubicBezTo>
                <a:lnTo>
                  <a:pt x="11400" y="15709"/>
                </a:lnTo>
                <a:cubicBezTo>
                  <a:pt x="11732" y="15709"/>
                  <a:pt x="12000" y="15490"/>
                  <a:pt x="12000" y="15218"/>
                </a:cubicBezTo>
                <a:cubicBezTo>
                  <a:pt x="12000" y="14947"/>
                  <a:pt x="11732" y="14727"/>
                  <a:pt x="11400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534">
            <a:extLst>
              <a:ext uri="{FF2B5EF4-FFF2-40B4-BE49-F238E27FC236}">
                <a16:creationId xmlns:a16="http://schemas.microsoft.com/office/drawing/2014/main" id="{89425B49-02C3-4581-B1AB-F95E9B2FB189}"/>
              </a:ext>
            </a:extLst>
          </p:cNvPr>
          <p:cNvSpPr/>
          <p:nvPr/>
        </p:nvSpPr>
        <p:spPr bwMode="gray">
          <a:xfrm>
            <a:off x="5632327" y="1759045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535">
            <a:extLst>
              <a:ext uri="{FF2B5EF4-FFF2-40B4-BE49-F238E27FC236}">
                <a16:creationId xmlns:a16="http://schemas.microsoft.com/office/drawing/2014/main" id="{1EA3E1EC-2EDA-489A-A9A7-A0216F07EE83}"/>
              </a:ext>
            </a:extLst>
          </p:cNvPr>
          <p:cNvSpPr/>
          <p:nvPr/>
        </p:nvSpPr>
        <p:spPr bwMode="gray">
          <a:xfrm>
            <a:off x="664108" y="2311069"/>
            <a:ext cx="236582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836"/>
                </a:moveTo>
                <a:lnTo>
                  <a:pt x="10800" y="5966"/>
                </a:lnTo>
                <a:lnTo>
                  <a:pt x="13928" y="8836"/>
                </a:lnTo>
                <a:cubicBezTo>
                  <a:pt x="13928" y="8836"/>
                  <a:pt x="10800" y="8836"/>
                  <a:pt x="10800" y="8836"/>
                </a:cubicBezTo>
                <a:close/>
                <a:moveTo>
                  <a:pt x="14400" y="19636"/>
                </a:moveTo>
                <a:cubicBezTo>
                  <a:pt x="14400" y="20178"/>
                  <a:pt x="13862" y="20617"/>
                  <a:pt x="13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6872"/>
                </a:lnTo>
                <a:cubicBezTo>
                  <a:pt x="1200" y="6331"/>
                  <a:pt x="1738" y="5891"/>
                  <a:pt x="2400" y="5891"/>
                </a:cubicBezTo>
                <a:lnTo>
                  <a:pt x="9600" y="5891"/>
                </a:lnTo>
                <a:lnTo>
                  <a:pt x="9600" y="8836"/>
                </a:lnTo>
                <a:cubicBezTo>
                  <a:pt x="9600" y="9378"/>
                  <a:pt x="10138" y="9818"/>
                  <a:pt x="10800" y="9818"/>
                </a:cubicBezTo>
                <a:lnTo>
                  <a:pt x="14400" y="9818"/>
                </a:lnTo>
                <a:cubicBezTo>
                  <a:pt x="14400" y="9818"/>
                  <a:pt x="14400" y="19636"/>
                  <a:pt x="14400" y="19636"/>
                </a:cubicBezTo>
                <a:close/>
                <a:moveTo>
                  <a:pt x="2400" y="4909"/>
                </a:moveTo>
                <a:cubicBezTo>
                  <a:pt x="1075" y="4909"/>
                  <a:pt x="0" y="5788"/>
                  <a:pt x="0" y="6872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3200" y="21600"/>
                </a:lnTo>
                <a:cubicBezTo>
                  <a:pt x="14525" y="21600"/>
                  <a:pt x="15600" y="20720"/>
                  <a:pt x="15600" y="19636"/>
                </a:cubicBezTo>
                <a:lnTo>
                  <a:pt x="15600" y="8836"/>
                </a:lnTo>
                <a:lnTo>
                  <a:pt x="11400" y="4909"/>
                </a:lnTo>
                <a:cubicBezTo>
                  <a:pt x="11400" y="4909"/>
                  <a:pt x="2400" y="4909"/>
                  <a:pt x="2400" y="4909"/>
                </a:cubicBezTo>
                <a:close/>
                <a:moveTo>
                  <a:pt x="16800" y="3927"/>
                </a:moveTo>
                <a:lnTo>
                  <a:pt x="16800" y="1058"/>
                </a:lnTo>
                <a:lnTo>
                  <a:pt x="19928" y="3927"/>
                </a:lnTo>
                <a:cubicBezTo>
                  <a:pt x="19928" y="3927"/>
                  <a:pt x="16800" y="3927"/>
                  <a:pt x="16800" y="3927"/>
                </a:cubicBezTo>
                <a:close/>
                <a:moveTo>
                  <a:pt x="17400" y="0"/>
                </a:moveTo>
                <a:lnTo>
                  <a:pt x="8400" y="0"/>
                </a:lnTo>
                <a:cubicBezTo>
                  <a:pt x="7075" y="0"/>
                  <a:pt x="6000" y="879"/>
                  <a:pt x="6000" y="1964"/>
                </a:cubicBezTo>
                <a:lnTo>
                  <a:pt x="6000" y="3436"/>
                </a:lnTo>
                <a:cubicBezTo>
                  <a:pt x="6000" y="3708"/>
                  <a:pt x="6269" y="3927"/>
                  <a:pt x="6600" y="3927"/>
                </a:cubicBezTo>
                <a:cubicBezTo>
                  <a:pt x="6931" y="3927"/>
                  <a:pt x="7200" y="3708"/>
                  <a:pt x="7200" y="3436"/>
                </a:cubicBezTo>
                <a:lnTo>
                  <a:pt x="7200" y="1964"/>
                </a:lnTo>
                <a:cubicBezTo>
                  <a:pt x="7200" y="1422"/>
                  <a:pt x="7738" y="982"/>
                  <a:pt x="8400" y="982"/>
                </a:cubicBezTo>
                <a:lnTo>
                  <a:pt x="15600" y="982"/>
                </a:lnTo>
                <a:lnTo>
                  <a:pt x="15600" y="3927"/>
                </a:lnTo>
                <a:cubicBezTo>
                  <a:pt x="15600" y="4469"/>
                  <a:pt x="16138" y="4909"/>
                  <a:pt x="16800" y="4909"/>
                </a:cubicBezTo>
                <a:lnTo>
                  <a:pt x="20400" y="4909"/>
                </a:lnTo>
                <a:lnTo>
                  <a:pt x="20400" y="14727"/>
                </a:lnTo>
                <a:cubicBezTo>
                  <a:pt x="20400" y="15269"/>
                  <a:pt x="19862" y="15709"/>
                  <a:pt x="19200" y="15709"/>
                </a:cubicBezTo>
                <a:lnTo>
                  <a:pt x="17400" y="15709"/>
                </a:lnTo>
                <a:cubicBezTo>
                  <a:pt x="17069" y="15709"/>
                  <a:pt x="16800" y="15929"/>
                  <a:pt x="16800" y="16199"/>
                </a:cubicBezTo>
                <a:cubicBezTo>
                  <a:pt x="16800" y="16471"/>
                  <a:pt x="17069" y="16690"/>
                  <a:pt x="17400" y="16690"/>
                </a:cubicBezTo>
                <a:lnTo>
                  <a:pt x="19200" y="16690"/>
                </a:lnTo>
                <a:cubicBezTo>
                  <a:pt x="20525" y="16690"/>
                  <a:pt x="21600" y="15811"/>
                  <a:pt x="21600" y="14727"/>
                </a:cubicBezTo>
                <a:lnTo>
                  <a:pt x="21600" y="3927"/>
                </a:lnTo>
                <a:cubicBezTo>
                  <a:pt x="21600" y="3927"/>
                  <a:pt x="17400" y="0"/>
                  <a:pt x="17400" y="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536">
            <a:extLst>
              <a:ext uri="{FF2B5EF4-FFF2-40B4-BE49-F238E27FC236}">
                <a16:creationId xmlns:a16="http://schemas.microsoft.com/office/drawing/2014/main" id="{9DE4E98D-48A3-452C-94FE-9471C7E9FA33}"/>
              </a:ext>
            </a:extLst>
          </p:cNvPr>
          <p:cNvSpPr/>
          <p:nvPr/>
        </p:nvSpPr>
        <p:spPr bwMode="gray">
          <a:xfrm>
            <a:off x="1189845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18" y="11782"/>
                </a:moveTo>
                <a:lnTo>
                  <a:pt x="14236" y="11782"/>
                </a:lnTo>
                <a:cubicBezTo>
                  <a:pt x="14507" y="11782"/>
                  <a:pt x="14727" y="11562"/>
                  <a:pt x="14727" y="11291"/>
                </a:cubicBezTo>
                <a:cubicBezTo>
                  <a:pt x="14727" y="11020"/>
                  <a:pt x="14507" y="10800"/>
                  <a:pt x="14236" y="10800"/>
                </a:cubicBezTo>
                <a:lnTo>
                  <a:pt x="4418" y="10800"/>
                </a:lnTo>
                <a:cubicBezTo>
                  <a:pt x="4147" y="10800"/>
                  <a:pt x="3927" y="11020"/>
                  <a:pt x="3927" y="11291"/>
                </a:cubicBezTo>
                <a:cubicBezTo>
                  <a:pt x="3927" y="11562"/>
                  <a:pt x="4147" y="11782"/>
                  <a:pt x="4418" y="11782"/>
                </a:cubicBezTo>
                <a:moveTo>
                  <a:pt x="20618" y="20618"/>
                </a:moveTo>
                <a:lnTo>
                  <a:pt x="5891" y="20618"/>
                </a:lnTo>
                <a:lnTo>
                  <a:pt x="5891" y="16200"/>
                </a:lnTo>
                <a:cubicBezTo>
                  <a:pt x="5891" y="15929"/>
                  <a:pt x="5671" y="15709"/>
                  <a:pt x="5400" y="15709"/>
                </a:cubicBezTo>
                <a:lnTo>
                  <a:pt x="982" y="15709"/>
                </a:lnTo>
                <a:lnTo>
                  <a:pt x="982" y="982"/>
                </a:lnTo>
                <a:lnTo>
                  <a:pt x="20618" y="982"/>
                </a:lnTo>
                <a:cubicBezTo>
                  <a:pt x="20618" y="982"/>
                  <a:pt x="20618" y="20618"/>
                  <a:pt x="20618" y="20618"/>
                </a:cubicBezTo>
                <a:close/>
                <a:moveTo>
                  <a:pt x="4909" y="20127"/>
                </a:moveTo>
                <a:lnTo>
                  <a:pt x="1473" y="16691"/>
                </a:lnTo>
                <a:lnTo>
                  <a:pt x="4909" y="16691"/>
                </a:lnTo>
                <a:cubicBezTo>
                  <a:pt x="4909" y="16691"/>
                  <a:pt x="4909" y="20127"/>
                  <a:pt x="4909" y="20127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lnTo>
                  <a:pt x="4909" y="21600"/>
                </a:lnTo>
                <a:lnTo>
                  <a:pt x="20618" y="21600"/>
                </a:lnTo>
                <a:cubicBezTo>
                  <a:pt x="21160" y="21600"/>
                  <a:pt x="21600" y="21161"/>
                  <a:pt x="21600" y="20618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4418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4418" y="7855"/>
                </a:lnTo>
                <a:cubicBezTo>
                  <a:pt x="4147" y="7855"/>
                  <a:pt x="3927" y="8075"/>
                  <a:pt x="3927" y="8345"/>
                </a:cubicBezTo>
                <a:cubicBezTo>
                  <a:pt x="3927" y="8617"/>
                  <a:pt x="4147" y="8836"/>
                  <a:pt x="4418" y="8836"/>
                </a:cubicBezTo>
                <a:moveTo>
                  <a:pt x="4418" y="5891"/>
                </a:moveTo>
                <a:lnTo>
                  <a:pt x="10309" y="5891"/>
                </a:lnTo>
                <a:cubicBezTo>
                  <a:pt x="10580" y="5891"/>
                  <a:pt x="10800" y="5672"/>
                  <a:pt x="10800" y="5400"/>
                </a:cubicBezTo>
                <a:cubicBezTo>
                  <a:pt x="10800" y="5129"/>
                  <a:pt x="10580" y="4909"/>
                  <a:pt x="10309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cubicBezTo>
                  <a:pt x="3927" y="5672"/>
                  <a:pt x="4147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537">
            <a:extLst>
              <a:ext uri="{FF2B5EF4-FFF2-40B4-BE49-F238E27FC236}">
                <a16:creationId xmlns:a16="http://schemas.microsoft.com/office/drawing/2014/main" id="{CAE19F22-CAB4-4770-88D0-758CB0BC4B6E}"/>
              </a:ext>
            </a:extLst>
          </p:cNvPr>
          <p:cNvSpPr/>
          <p:nvPr/>
        </p:nvSpPr>
        <p:spPr bwMode="gray">
          <a:xfrm>
            <a:off x="1768157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3600" y="13745"/>
                </a:lnTo>
                <a:cubicBezTo>
                  <a:pt x="3269" y="13745"/>
                  <a:pt x="3000" y="13966"/>
                  <a:pt x="3000" y="14236"/>
                </a:cubicBezTo>
                <a:cubicBezTo>
                  <a:pt x="3000" y="14508"/>
                  <a:pt x="3269" y="14727"/>
                  <a:pt x="3600" y="14727"/>
                </a:cubicBezTo>
                <a:lnTo>
                  <a:pt x="14400" y="14727"/>
                </a:lnTo>
                <a:cubicBezTo>
                  <a:pt x="14731" y="14727"/>
                  <a:pt x="15000" y="14508"/>
                  <a:pt x="15000" y="14236"/>
                </a:cubicBezTo>
                <a:cubicBezTo>
                  <a:pt x="15000" y="13966"/>
                  <a:pt x="14731" y="13745"/>
                  <a:pt x="14400" y="13745"/>
                </a:cubicBezTo>
                <a:moveTo>
                  <a:pt x="3000" y="11291"/>
                </a:moveTo>
                <a:cubicBezTo>
                  <a:pt x="3000" y="11562"/>
                  <a:pt x="3269" y="11782"/>
                  <a:pt x="3600" y="11782"/>
                </a:cubicBezTo>
                <a:lnTo>
                  <a:pt x="18000" y="11782"/>
                </a:lnTo>
                <a:cubicBezTo>
                  <a:pt x="18331" y="11782"/>
                  <a:pt x="18600" y="11562"/>
                  <a:pt x="18600" y="11291"/>
                </a:cubicBezTo>
                <a:cubicBezTo>
                  <a:pt x="18600" y="11020"/>
                  <a:pt x="18331" y="10800"/>
                  <a:pt x="18000" y="10800"/>
                </a:cubicBezTo>
                <a:lnTo>
                  <a:pt x="3600" y="10800"/>
                </a:lnTo>
                <a:cubicBezTo>
                  <a:pt x="3269" y="10800"/>
                  <a:pt x="3000" y="11020"/>
                  <a:pt x="3000" y="11291"/>
                </a:cubicBezTo>
                <a:moveTo>
                  <a:pt x="20400" y="20618"/>
                </a:moveTo>
                <a:lnTo>
                  <a:pt x="6600" y="20618"/>
                </a:lnTo>
                <a:lnTo>
                  <a:pt x="1200" y="16200"/>
                </a:lnTo>
                <a:lnTo>
                  <a:pt x="1200" y="2945"/>
                </a:lnTo>
                <a:lnTo>
                  <a:pt x="4200" y="2945"/>
                </a:lnTo>
                <a:lnTo>
                  <a:pt x="4200" y="4418"/>
                </a:lnTo>
                <a:cubicBezTo>
                  <a:pt x="4200" y="4690"/>
                  <a:pt x="4469" y="4909"/>
                  <a:pt x="4800" y="4909"/>
                </a:cubicBezTo>
                <a:cubicBezTo>
                  <a:pt x="5131" y="4909"/>
                  <a:pt x="5400" y="4690"/>
                  <a:pt x="5400" y="4418"/>
                </a:cubicBezTo>
                <a:lnTo>
                  <a:pt x="5400" y="2945"/>
                </a:lnTo>
                <a:lnTo>
                  <a:pt x="6600" y="2945"/>
                </a:lnTo>
                <a:lnTo>
                  <a:pt x="6600" y="4418"/>
                </a:lnTo>
                <a:cubicBezTo>
                  <a:pt x="6600" y="4690"/>
                  <a:pt x="6869" y="4909"/>
                  <a:pt x="7200" y="4909"/>
                </a:cubicBezTo>
                <a:cubicBezTo>
                  <a:pt x="7531" y="4909"/>
                  <a:pt x="7800" y="4690"/>
                  <a:pt x="7800" y="4418"/>
                </a:cubicBezTo>
                <a:lnTo>
                  <a:pt x="7800" y="2945"/>
                </a:lnTo>
                <a:lnTo>
                  <a:pt x="9000" y="2945"/>
                </a:lnTo>
                <a:lnTo>
                  <a:pt x="9000" y="4418"/>
                </a:lnTo>
                <a:cubicBezTo>
                  <a:pt x="9000" y="4690"/>
                  <a:pt x="9269" y="4909"/>
                  <a:pt x="9600" y="4909"/>
                </a:cubicBezTo>
                <a:cubicBezTo>
                  <a:pt x="9931" y="4909"/>
                  <a:pt x="10200" y="4690"/>
                  <a:pt x="10200" y="4418"/>
                </a:cubicBezTo>
                <a:lnTo>
                  <a:pt x="10200" y="2945"/>
                </a:lnTo>
                <a:lnTo>
                  <a:pt x="11400" y="2945"/>
                </a:lnTo>
                <a:lnTo>
                  <a:pt x="11400" y="4418"/>
                </a:lnTo>
                <a:cubicBezTo>
                  <a:pt x="11400" y="4690"/>
                  <a:pt x="11669" y="4909"/>
                  <a:pt x="12000" y="4909"/>
                </a:cubicBezTo>
                <a:cubicBezTo>
                  <a:pt x="12331" y="4909"/>
                  <a:pt x="12600" y="4690"/>
                  <a:pt x="12600" y="4418"/>
                </a:cubicBezTo>
                <a:lnTo>
                  <a:pt x="12600" y="2945"/>
                </a:lnTo>
                <a:lnTo>
                  <a:pt x="13800" y="2945"/>
                </a:lnTo>
                <a:lnTo>
                  <a:pt x="13800" y="4418"/>
                </a:lnTo>
                <a:cubicBezTo>
                  <a:pt x="13800" y="4690"/>
                  <a:pt x="14069" y="4909"/>
                  <a:pt x="14400" y="4909"/>
                </a:cubicBezTo>
                <a:cubicBezTo>
                  <a:pt x="14731" y="4909"/>
                  <a:pt x="15000" y="4690"/>
                  <a:pt x="15000" y="4418"/>
                </a:cubicBezTo>
                <a:lnTo>
                  <a:pt x="15000" y="2945"/>
                </a:lnTo>
                <a:lnTo>
                  <a:pt x="16200" y="2945"/>
                </a:lnTo>
                <a:lnTo>
                  <a:pt x="16200" y="4418"/>
                </a:lnTo>
                <a:cubicBezTo>
                  <a:pt x="16200" y="4690"/>
                  <a:pt x="16469" y="4909"/>
                  <a:pt x="16800" y="4909"/>
                </a:cubicBezTo>
                <a:cubicBezTo>
                  <a:pt x="17131" y="4909"/>
                  <a:pt x="17400" y="4690"/>
                  <a:pt x="17400" y="4418"/>
                </a:cubicBezTo>
                <a:lnTo>
                  <a:pt x="17400" y="2945"/>
                </a:lnTo>
                <a:lnTo>
                  <a:pt x="20400" y="2945"/>
                </a:lnTo>
                <a:cubicBezTo>
                  <a:pt x="20400" y="2945"/>
                  <a:pt x="20400" y="20618"/>
                  <a:pt x="20400" y="20618"/>
                </a:cubicBezTo>
                <a:close/>
                <a:moveTo>
                  <a:pt x="1200" y="20618"/>
                </a:moveTo>
                <a:lnTo>
                  <a:pt x="1200" y="17673"/>
                </a:lnTo>
                <a:lnTo>
                  <a:pt x="4800" y="20618"/>
                </a:lnTo>
                <a:cubicBezTo>
                  <a:pt x="4800" y="20618"/>
                  <a:pt x="1200" y="20618"/>
                  <a:pt x="1200" y="20618"/>
                </a:cubicBezTo>
                <a:close/>
                <a:moveTo>
                  <a:pt x="20400" y="1964"/>
                </a:moveTo>
                <a:lnTo>
                  <a:pt x="17400" y="1964"/>
                </a:lnTo>
                <a:lnTo>
                  <a:pt x="17400" y="491"/>
                </a:lnTo>
                <a:cubicBezTo>
                  <a:pt x="17400" y="220"/>
                  <a:pt x="17131" y="0"/>
                  <a:pt x="16800" y="0"/>
                </a:cubicBezTo>
                <a:cubicBezTo>
                  <a:pt x="16469" y="0"/>
                  <a:pt x="16200" y="220"/>
                  <a:pt x="16200" y="491"/>
                </a:cubicBezTo>
                <a:lnTo>
                  <a:pt x="16200" y="1964"/>
                </a:lnTo>
                <a:lnTo>
                  <a:pt x="15000" y="1964"/>
                </a:lnTo>
                <a:lnTo>
                  <a:pt x="15000" y="491"/>
                </a:lnTo>
                <a:cubicBezTo>
                  <a:pt x="15000" y="220"/>
                  <a:pt x="14731" y="0"/>
                  <a:pt x="14400" y="0"/>
                </a:cubicBezTo>
                <a:cubicBezTo>
                  <a:pt x="14069" y="0"/>
                  <a:pt x="13800" y="220"/>
                  <a:pt x="13800" y="491"/>
                </a:cubicBezTo>
                <a:lnTo>
                  <a:pt x="13800" y="1964"/>
                </a:lnTo>
                <a:lnTo>
                  <a:pt x="12600" y="1964"/>
                </a:lnTo>
                <a:lnTo>
                  <a:pt x="12600" y="491"/>
                </a:lnTo>
                <a:cubicBezTo>
                  <a:pt x="12600" y="220"/>
                  <a:pt x="12331" y="0"/>
                  <a:pt x="12000" y="0"/>
                </a:cubicBezTo>
                <a:cubicBezTo>
                  <a:pt x="11669" y="0"/>
                  <a:pt x="11400" y="220"/>
                  <a:pt x="11400" y="491"/>
                </a:cubicBezTo>
                <a:lnTo>
                  <a:pt x="11400" y="1964"/>
                </a:lnTo>
                <a:lnTo>
                  <a:pt x="10200" y="1964"/>
                </a:lnTo>
                <a:lnTo>
                  <a:pt x="10200" y="491"/>
                </a:lnTo>
                <a:cubicBezTo>
                  <a:pt x="10200" y="220"/>
                  <a:pt x="9931" y="0"/>
                  <a:pt x="9600" y="0"/>
                </a:cubicBezTo>
                <a:cubicBezTo>
                  <a:pt x="9269" y="0"/>
                  <a:pt x="9000" y="220"/>
                  <a:pt x="9000" y="491"/>
                </a:cubicBezTo>
                <a:lnTo>
                  <a:pt x="9000" y="1964"/>
                </a:lnTo>
                <a:lnTo>
                  <a:pt x="7800" y="1964"/>
                </a:lnTo>
                <a:lnTo>
                  <a:pt x="7800" y="491"/>
                </a:lnTo>
                <a:cubicBezTo>
                  <a:pt x="7800" y="220"/>
                  <a:pt x="7531" y="0"/>
                  <a:pt x="7200" y="0"/>
                </a:cubicBezTo>
                <a:cubicBezTo>
                  <a:pt x="6869" y="0"/>
                  <a:pt x="6600" y="220"/>
                  <a:pt x="6600" y="491"/>
                </a:cubicBezTo>
                <a:lnTo>
                  <a:pt x="6600" y="1964"/>
                </a:lnTo>
                <a:lnTo>
                  <a:pt x="5400" y="1964"/>
                </a:lnTo>
                <a:lnTo>
                  <a:pt x="5400" y="491"/>
                </a:lnTo>
                <a:cubicBezTo>
                  <a:pt x="5400" y="220"/>
                  <a:pt x="5131" y="0"/>
                  <a:pt x="4800" y="0"/>
                </a:cubicBezTo>
                <a:cubicBezTo>
                  <a:pt x="4469" y="0"/>
                  <a:pt x="4200" y="220"/>
                  <a:pt x="4200" y="491"/>
                </a:cubicBezTo>
                <a:lnTo>
                  <a:pt x="4200" y="1964"/>
                </a:lnTo>
                <a:lnTo>
                  <a:pt x="1200" y="1964"/>
                </a:lnTo>
                <a:cubicBezTo>
                  <a:pt x="538" y="1964"/>
                  <a:pt x="0" y="2404"/>
                  <a:pt x="0" y="2945"/>
                </a:cubicBezTo>
                <a:lnTo>
                  <a:pt x="0" y="20618"/>
                </a:lnTo>
                <a:cubicBezTo>
                  <a:pt x="0" y="21161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1"/>
                  <a:pt x="21600" y="20618"/>
                </a:cubicBezTo>
                <a:lnTo>
                  <a:pt x="21600" y="2945"/>
                </a:lnTo>
                <a:cubicBezTo>
                  <a:pt x="21600" y="2404"/>
                  <a:pt x="21062" y="1964"/>
                  <a:pt x="20400" y="1964"/>
                </a:cubicBezTo>
                <a:moveTo>
                  <a:pt x="3600" y="8836"/>
                </a:moveTo>
                <a:lnTo>
                  <a:pt x="10800" y="8836"/>
                </a:lnTo>
                <a:cubicBezTo>
                  <a:pt x="11131" y="8836"/>
                  <a:pt x="11400" y="8617"/>
                  <a:pt x="11400" y="8345"/>
                </a:cubicBezTo>
                <a:cubicBezTo>
                  <a:pt x="11400" y="8075"/>
                  <a:pt x="11131" y="7855"/>
                  <a:pt x="10800" y="7855"/>
                </a:cubicBezTo>
                <a:lnTo>
                  <a:pt x="3600" y="7855"/>
                </a:lnTo>
                <a:cubicBezTo>
                  <a:pt x="3269" y="7855"/>
                  <a:pt x="3000" y="8075"/>
                  <a:pt x="3000" y="8345"/>
                </a:cubicBezTo>
                <a:cubicBezTo>
                  <a:pt x="3000" y="8617"/>
                  <a:pt x="3269" y="8836"/>
                  <a:pt x="3600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538">
            <a:extLst>
              <a:ext uri="{FF2B5EF4-FFF2-40B4-BE49-F238E27FC236}">
                <a16:creationId xmlns:a16="http://schemas.microsoft.com/office/drawing/2014/main" id="{35D02FD5-FB0E-4517-89AB-DCCA10515D8F}"/>
              </a:ext>
            </a:extLst>
          </p:cNvPr>
          <p:cNvSpPr/>
          <p:nvPr/>
        </p:nvSpPr>
        <p:spPr bwMode="gray">
          <a:xfrm>
            <a:off x="2320181" y="2311069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539">
            <a:extLst>
              <a:ext uri="{FF2B5EF4-FFF2-40B4-BE49-F238E27FC236}">
                <a16:creationId xmlns:a16="http://schemas.microsoft.com/office/drawing/2014/main" id="{C84A2DBA-9701-419B-AEDC-6ACE85B1BBCA}"/>
              </a:ext>
            </a:extLst>
          </p:cNvPr>
          <p:cNvSpPr/>
          <p:nvPr/>
        </p:nvSpPr>
        <p:spPr bwMode="gray">
          <a:xfrm>
            <a:off x="2845919" y="2357071"/>
            <a:ext cx="289156" cy="197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540">
            <a:extLst>
              <a:ext uri="{FF2B5EF4-FFF2-40B4-BE49-F238E27FC236}">
                <a16:creationId xmlns:a16="http://schemas.microsoft.com/office/drawing/2014/main" id="{25CD4E2F-2260-4C8A-8649-DC9E32A8398E}"/>
              </a:ext>
            </a:extLst>
          </p:cNvPr>
          <p:cNvSpPr/>
          <p:nvPr/>
        </p:nvSpPr>
        <p:spPr bwMode="gray">
          <a:xfrm>
            <a:off x="3397943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541">
            <a:extLst>
              <a:ext uri="{FF2B5EF4-FFF2-40B4-BE49-F238E27FC236}">
                <a16:creationId xmlns:a16="http://schemas.microsoft.com/office/drawing/2014/main" id="{1868CD55-F28F-4564-B10D-7C6704BFA15A}"/>
              </a:ext>
            </a:extLst>
          </p:cNvPr>
          <p:cNvSpPr/>
          <p:nvPr/>
        </p:nvSpPr>
        <p:spPr bwMode="gray">
          <a:xfrm>
            <a:off x="3976254" y="2337356"/>
            <a:ext cx="236582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48" y="10800"/>
                </a:moveTo>
                <a:lnTo>
                  <a:pt x="21424" y="1024"/>
                </a:lnTo>
                <a:cubicBezTo>
                  <a:pt x="21533" y="916"/>
                  <a:pt x="21600" y="766"/>
                  <a:pt x="21600" y="600"/>
                </a:cubicBezTo>
                <a:cubicBezTo>
                  <a:pt x="21600" y="269"/>
                  <a:pt x="21332" y="0"/>
                  <a:pt x="21000" y="0"/>
                </a:cubicBezTo>
                <a:cubicBezTo>
                  <a:pt x="20835" y="0"/>
                  <a:pt x="20685" y="67"/>
                  <a:pt x="20576" y="176"/>
                </a:cubicBezTo>
                <a:lnTo>
                  <a:pt x="10800" y="9952"/>
                </a:lnTo>
                <a:lnTo>
                  <a:pt x="1024" y="176"/>
                </a:lnTo>
                <a:cubicBezTo>
                  <a:pt x="916" y="67"/>
                  <a:pt x="766" y="0"/>
                  <a:pt x="600" y="0"/>
                </a:cubicBezTo>
                <a:cubicBezTo>
                  <a:pt x="268" y="0"/>
                  <a:pt x="0" y="269"/>
                  <a:pt x="0" y="600"/>
                </a:cubicBezTo>
                <a:cubicBezTo>
                  <a:pt x="0" y="766"/>
                  <a:pt x="67" y="916"/>
                  <a:pt x="176" y="1025"/>
                </a:cubicBezTo>
                <a:lnTo>
                  <a:pt x="9952" y="10800"/>
                </a:lnTo>
                <a:lnTo>
                  <a:pt x="176" y="20576"/>
                </a:lnTo>
                <a:cubicBezTo>
                  <a:pt x="67" y="20684"/>
                  <a:pt x="0" y="20834"/>
                  <a:pt x="0" y="21000"/>
                </a:cubicBezTo>
                <a:cubicBezTo>
                  <a:pt x="0" y="21332"/>
                  <a:pt x="268" y="21600"/>
                  <a:pt x="600" y="21600"/>
                </a:cubicBezTo>
                <a:cubicBezTo>
                  <a:pt x="766" y="21600"/>
                  <a:pt x="916" y="21533"/>
                  <a:pt x="1024" y="21424"/>
                </a:cubicBezTo>
                <a:lnTo>
                  <a:pt x="10800" y="11648"/>
                </a:lnTo>
                <a:lnTo>
                  <a:pt x="20576" y="21424"/>
                </a:lnTo>
                <a:cubicBezTo>
                  <a:pt x="20685" y="21533"/>
                  <a:pt x="20835" y="21600"/>
                  <a:pt x="21000" y="21600"/>
                </a:cubicBezTo>
                <a:cubicBezTo>
                  <a:pt x="21332" y="21600"/>
                  <a:pt x="21600" y="21332"/>
                  <a:pt x="21600" y="21000"/>
                </a:cubicBezTo>
                <a:cubicBezTo>
                  <a:pt x="21600" y="20834"/>
                  <a:pt x="21533" y="20684"/>
                  <a:pt x="21424" y="20576"/>
                </a:cubicBezTo>
                <a:cubicBezTo>
                  <a:pt x="21424" y="20576"/>
                  <a:pt x="11648" y="10800"/>
                  <a:pt x="11648" y="108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542">
            <a:extLst>
              <a:ext uri="{FF2B5EF4-FFF2-40B4-BE49-F238E27FC236}">
                <a16:creationId xmlns:a16="http://schemas.microsoft.com/office/drawing/2014/main" id="{049EC78E-E0D0-4970-8AA2-A267FC16797B}"/>
              </a:ext>
            </a:extLst>
          </p:cNvPr>
          <p:cNvSpPr/>
          <p:nvPr/>
        </p:nvSpPr>
        <p:spPr bwMode="gray">
          <a:xfrm>
            <a:off x="4501992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10309"/>
                </a:moveTo>
                <a:lnTo>
                  <a:pt x="4909" y="10309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10309"/>
                  <a:pt x="16691" y="10309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11291"/>
                </a:lnTo>
                <a:lnTo>
                  <a:pt x="16691" y="11291"/>
                </a:lnTo>
                <a:cubicBezTo>
                  <a:pt x="16691" y="11291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1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543">
            <a:extLst>
              <a:ext uri="{FF2B5EF4-FFF2-40B4-BE49-F238E27FC236}">
                <a16:creationId xmlns:a16="http://schemas.microsoft.com/office/drawing/2014/main" id="{1ABC89CB-55CC-4F66-A7A0-A06AFCBF2829}"/>
              </a:ext>
            </a:extLst>
          </p:cNvPr>
          <p:cNvSpPr/>
          <p:nvPr/>
        </p:nvSpPr>
        <p:spPr bwMode="gray">
          <a:xfrm>
            <a:off x="5054016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8655"/>
                </a:moveTo>
                <a:lnTo>
                  <a:pt x="14727" y="18655"/>
                </a:lnTo>
                <a:lnTo>
                  <a:pt x="14727" y="19636"/>
                </a:lnTo>
                <a:lnTo>
                  <a:pt x="15709" y="19636"/>
                </a:lnTo>
                <a:cubicBezTo>
                  <a:pt x="15709" y="19636"/>
                  <a:pt x="15709" y="18655"/>
                  <a:pt x="15709" y="18655"/>
                </a:cubicBezTo>
                <a:close/>
                <a:moveTo>
                  <a:pt x="15709" y="14727"/>
                </a:moveTo>
                <a:lnTo>
                  <a:pt x="14727" y="14727"/>
                </a:lnTo>
                <a:lnTo>
                  <a:pt x="14727" y="15709"/>
                </a:lnTo>
                <a:lnTo>
                  <a:pt x="15709" y="15709"/>
                </a:lnTo>
                <a:cubicBezTo>
                  <a:pt x="15709" y="15709"/>
                  <a:pt x="15709" y="14727"/>
                  <a:pt x="15709" y="14727"/>
                </a:cubicBezTo>
                <a:close/>
                <a:moveTo>
                  <a:pt x="14727" y="10800"/>
                </a:moveTo>
                <a:lnTo>
                  <a:pt x="15709" y="10800"/>
                </a:lnTo>
                <a:lnTo>
                  <a:pt x="15709" y="9818"/>
                </a:lnTo>
                <a:lnTo>
                  <a:pt x="14727" y="9818"/>
                </a:lnTo>
                <a:cubicBezTo>
                  <a:pt x="14727" y="9818"/>
                  <a:pt x="14727" y="10800"/>
                  <a:pt x="14727" y="10800"/>
                </a:cubicBezTo>
                <a:close/>
                <a:moveTo>
                  <a:pt x="15709" y="16691"/>
                </a:moveTo>
                <a:lnTo>
                  <a:pt x="14727" y="16691"/>
                </a:lnTo>
                <a:lnTo>
                  <a:pt x="14727" y="17673"/>
                </a:lnTo>
                <a:lnTo>
                  <a:pt x="15709" y="17673"/>
                </a:lnTo>
                <a:cubicBezTo>
                  <a:pt x="15709" y="17673"/>
                  <a:pt x="15709" y="16691"/>
                  <a:pt x="15709" y="16691"/>
                </a:cubicBezTo>
                <a:close/>
                <a:moveTo>
                  <a:pt x="14727" y="8836"/>
                </a:moveTo>
                <a:lnTo>
                  <a:pt x="15709" y="8836"/>
                </a:lnTo>
                <a:lnTo>
                  <a:pt x="15709" y="7855"/>
                </a:lnTo>
                <a:lnTo>
                  <a:pt x="14727" y="7855"/>
                </a:lnTo>
                <a:cubicBezTo>
                  <a:pt x="14727" y="7855"/>
                  <a:pt x="14727" y="8836"/>
                  <a:pt x="14727" y="8836"/>
                </a:cubicBezTo>
                <a:close/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1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7" y="6873"/>
                </a:moveTo>
                <a:lnTo>
                  <a:pt x="15709" y="6873"/>
                </a:lnTo>
                <a:lnTo>
                  <a:pt x="15709" y="5891"/>
                </a:lnTo>
                <a:lnTo>
                  <a:pt x="14727" y="5891"/>
                </a:lnTo>
                <a:cubicBezTo>
                  <a:pt x="14727" y="5891"/>
                  <a:pt x="14727" y="6873"/>
                  <a:pt x="14727" y="6873"/>
                </a:cubicBezTo>
                <a:close/>
                <a:moveTo>
                  <a:pt x="16691" y="12273"/>
                </a:moveTo>
                <a:lnTo>
                  <a:pt x="13745" y="12273"/>
                </a:lnTo>
                <a:lnTo>
                  <a:pt x="13745" y="4909"/>
                </a:ln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2273"/>
                  <a:pt x="16691" y="12273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3745" y="20618"/>
                </a:lnTo>
                <a:lnTo>
                  <a:pt x="13745" y="13255"/>
                </a:lnTo>
                <a:lnTo>
                  <a:pt x="16691" y="13255"/>
                </a:lnTo>
                <a:cubicBezTo>
                  <a:pt x="16691" y="13255"/>
                  <a:pt x="16691" y="19636"/>
                  <a:pt x="16691" y="19636"/>
                </a:cubicBezTo>
                <a:close/>
                <a:moveTo>
                  <a:pt x="12764" y="12273"/>
                </a:moveTo>
                <a:lnTo>
                  <a:pt x="4909" y="12273"/>
                </a:lnTo>
                <a:lnTo>
                  <a:pt x="4909" y="4909"/>
                </a:lnTo>
                <a:lnTo>
                  <a:pt x="12764" y="4909"/>
                </a:lnTo>
                <a:cubicBezTo>
                  <a:pt x="12764" y="4909"/>
                  <a:pt x="12764" y="12273"/>
                  <a:pt x="12764" y="12273"/>
                </a:cubicBezTo>
                <a:close/>
                <a:moveTo>
                  <a:pt x="12764" y="20618"/>
                </a:moveTo>
                <a:lnTo>
                  <a:pt x="4909" y="20618"/>
                </a:lnTo>
                <a:lnTo>
                  <a:pt x="4909" y="13255"/>
                </a:lnTo>
                <a:lnTo>
                  <a:pt x="12764" y="13255"/>
                </a:lnTo>
                <a:cubicBezTo>
                  <a:pt x="12764" y="13255"/>
                  <a:pt x="12764" y="20618"/>
                  <a:pt x="12764" y="20618"/>
                </a:cubicBezTo>
                <a:close/>
                <a:moveTo>
                  <a:pt x="3927" y="12273"/>
                </a:moveTo>
                <a:lnTo>
                  <a:pt x="982" y="12273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3927" y="4909"/>
                </a:lnTo>
                <a:cubicBezTo>
                  <a:pt x="3927" y="4909"/>
                  <a:pt x="3927" y="12273"/>
                  <a:pt x="3927" y="12273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3255"/>
                </a:lnTo>
                <a:lnTo>
                  <a:pt x="3927" y="13255"/>
                </a:lnTo>
                <a:cubicBezTo>
                  <a:pt x="3927" y="13255"/>
                  <a:pt x="3927" y="20618"/>
                  <a:pt x="3927" y="20618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1964" y="10800"/>
                </a:moveTo>
                <a:lnTo>
                  <a:pt x="2945" y="10800"/>
                </a:lnTo>
                <a:lnTo>
                  <a:pt x="2945" y="9818"/>
                </a:lnTo>
                <a:lnTo>
                  <a:pt x="1964" y="9818"/>
                </a:lnTo>
                <a:cubicBezTo>
                  <a:pt x="1964" y="9818"/>
                  <a:pt x="1964" y="10800"/>
                  <a:pt x="1964" y="10800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544">
            <a:extLst>
              <a:ext uri="{FF2B5EF4-FFF2-40B4-BE49-F238E27FC236}">
                <a16:creationId xmlns:a16="http://schemas.microsoft.com/office/drawing/2014/main" id="{BB52D2CC-E8B2-44D2-BC75-688B070EA85D}"/>
              </a:ext>
            </a:extLst>
          </p:cNvPr>
          <p:cNvSpPr/>
          <p:nvPr/>
        </p:nvSpPr>
        <p:spPr bwMode="gray">
          <a:xfrm>
            <a:off x="5606041" y="231106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8255"/>
                </a:moveTo>
                <a:lnTo>
                  <a:pt x="12837" y="10800"/>
                </a:lnTo>
                <a:lnTo>
                  <a:pt x="8836" y="13345"/>
                </a:lnTo>
                <a:cubicBezTo>
                  <a:pt x="8836" y="13345"/>
                  <a:pt x="8836" y="8255"/>
                  <a:pt x="8836" y="8255"/>
                </a:cubicBezTo>
                <a:close/>
                <a:moveTo>
                  <a:pt x="8345" y="14727"/>
                </a:moveTo>
                <a:cubicBezTo>
                  <a:pt x="8461" y="14727"/>
                  <a:pt x="8564" y="14681"/>
                  <a:pt x="8647" y="14614"/>
                </a:cubicBezTo>
                <a:lnTo>
                  <a:pt x="8652" y="14620"/>
                </a:lnTo>
                <a:lnTo>
                  <a:pt x="14052" y="11184"/>
                </a:lnTo>
                <a:lnTo>
                  <a:pt x="14047" y="11178"/>
                </a:lnTo>
                <a:cubicBezTo>
                  <a:pt x="14160" y="11088"/>
                  <a:pt x="14236" y="10955"/>
                  <a:pt x="14236" y="10800"/>
                </a:cubicBezTo>
                <a:cubicBezTo>
                  <a:pt x="14236" y="10645"/>
                  <a:pt x="14160" y="10512"/>
                  <a:pt x="14047" y="10422"/>
                </a:cubicBezTo>
                <a:lnTo>
                  <a:pt x="14052" y="10417"/>
                </a:lnTo>
                <a:lnTo>
                  <a:pt x="8652" y="6980"/>
                </a:lnTo>
                <a:lnTo>
                  <a:pt x="8647" y="6986"/>
                </a:lnTo>
                <a:cubicBezTo>
                  <a:pt x="8564" y="6919"/>
                  <a:pt x="8461" y="6873"/>
                  <a:pt x="8345" y="6873"/>
                </a:cubicBezTo>
                <a:cubicBezTo>
                  <a:pt x="8074" y="6873"/>
                  <a:pt x="7855" y="7093"/>
                  <a:pt x="7855" y="7364"/>
                </a:cubicBezTo>
                <a:lnTo>
                  <a:pt x="7855" y="14236"/>
                </a:lnTo>
                <a:cubicBezTo>
                  <a:pt x="7855" y="14507"/>
                  <a:pt x="8074" y="14727"/>
                  <a:pt x="8345" y="14727"/>
                </a:cubicBezTo>
                <a:moveTo>
                  <a:pt x="19636" y="18655"/>
                </a:moveTo>
                <a:lnTo>
                  <a:pt x="18655" y="18655"/>
                </a:lnTo>
                <a:lnTo>
                  <a:pt x="18655" y="19636"/>
                </a:lnTo>
                <a:lnTo>
                  <a:pt x="19636" y="19636"/>
                </a:lnTo>
                <a:cubicBezTo>
                  <a:pt x="19636" y="19636"/>
                  <a:pt x="19636" y="18655"/>
                  <a:pt x="19636" y="18655"/>
                </a:cubicBezTo>
                <a:close/>
                <a:moveTo>
                  <a:pt x="19636" y="14727"/>
                </a:moveTo>
                <a:lnTo>
                  <a:pt x="18655" y="14727"/>
                </a:lnTo>
                <a:lnTo>
                  <a:pt x="18655" y="15709"/>
                </a:lnTo>
                <a:lnTo>
                  <a:pt x="19636" y="15709"/>
                </a:lnTo>
                <a:cubicBezTo>
                  <a:pt x="19636" y="15709"/>
                  <a:pt x="19636" y="14727"/>
                  <a:pt x="19636" y="14727"/>
                </a:cubicBezTo>
                <a:close/>
                <a:moveTo>
                  <a:pt x="19636" y="12764"/>
                </a:moveTo>
                <a:lnTo>
                  <a:pt x="18655" y="12764"/>
                </a:lnTo>
                <a:lnTo>
                  <a:pt x="18655" y="13745"/>
                </a:lnTo>
                <a:lnTo>
                  <a:pt x="19636" y="13745"/>
                </a:lnTo>
                <a:cubicBezTo>
                  <a:pt x="19636" y="13745"/>
                  <a:pt x="19636" y="12764"/>
                  <a:pt x="19636" y="12764"/>
                </a:cubicBezTo>
                <a:close/>
                <a:moveTo>
                  <a:pt x="19636" y="16691"/>
                </a:moveTo>
                <a:lnTo>
                  <a:pt x="18655" y="16691"/>
                </a:lnTo>
                <a:lnTo>
                  <a:pt x="18655" y="17673"/>
                </a:lnTo>
                <a:lnTo>
                  <a:pt x="19636" y="17673"/>
                </a:lnTo>
                <a:cubicBezTo>
                  <a:pt x="19636" y="17673"/>
                  <a:pt x="19636" y="16691"/>
                  <a:pt x="19636" y="16691"/>
                </a:cubicBezTo>
                <a:close/>
                <a:moveTo>
                  <a:pt x="18655" y="2945"/>
                </a:moveTo>
                <a:lnTo>
                  <a:pt x="19636" y="2945"/>
                </a:lnTo>
                <a:lnTo>
                  <a:pt x="19636" y="1964"/>
                </a:lnTo>
                <a:lnTo>
                  <a:pt x="18655" y="1964"/>
                </a:lnTo>
                <a:cubicBezTo>
                  <a:pt x="18655" y="1964"/>
                  <a:pt x="18655" y="2945"/>
                  <a:pt x="18655" y="2945"/>
                </a:cubicBezTo>
                <a:close/>
                <a:moveTo>
                  <a:pt x="20618" y="10309"/>
                </a:moveTo>
                <a:lnTo>
                  <a:pt x="17673" y="10309"/>
                </a:lnTo>
                <a:lnTo>
                  <a:pt x="17673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10309"/>
                  <a:pt x="20618" y="10309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lnTo>
                  <a:pt x="17673" y="11291"/>
                </a:lnTo>
                <a:lnTo>
                  <a:pt x="20618" y="11291"/>
                </a:lnTo>
                <a:cubicBezTo>
                  <a:pt x="20618" y="11291"/>
                  <a:pt x="20618" y="19636"/>
                  <a:pt x="20618" y="19636"/>
                </a:cubicBezTo>
                <a:close/>
                <a:moveTo>
                  <a:pt x="16691" y="20618"/>
                </a:moveTo>
                <a:lnTo>
                  <a:pt x="4909" y="20618"/>
                </a:lnTo>
                <a:lnTo>
                  <a:pt x="4909" y="982"/>
                </a:lnTo>
                <a:lnTo>
                  <a:pt x="16691" y="982"/>
                </a:lnTo>
                <a:cubicBezTo>
                  <a:pt x="16691" y="982"/>
                  <a:pt x="16691" y="20618"/>
                  <a:pt x="16691" y="20618"/>
                </a:cubicBezTo>
                <a:close/>
                <a:moveTo>
                  <a:pt x="3927" y="10309"/>
                </a:moveTo>
                <a:lnTo>
                  <a:pt x="982" y="10309"/>
                </a:ln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3927" y="982"/>
                </a:lnTo>
                <a:cubicBezTo>
                  <a:pt x="3927" y="982"/>
                  <a:pt x="3927" y="10309"/>
                  <a:pt x="3927" y="10309"/>
                </a:cubicBezTo>
                <a:close/>
                <a:moveTo>
                  <a:pt x="3927" y="20618"/>
                </a:move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1291"/>
                </a:lnTo>
                <a:lnTo>
                  <a:pt x="3927" y="11291"/>
                </a:lnTo>
                <a:cubicBezTo>
                  <a:pt x="3927" y="11291"/>
                  <a:pt x="3927" y="20618"/>
                  <a:pt x="3927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655" y="8836"/>
                </a:moveTo>
                <a:lnTo>
                  <a:pt x="19636" y="8836"/>
                </a:lnTo>
                <a:lnTo>
                  <a:pt x="19636" y="7855"/>
                </a:lnTo>
                <a:lnTo>
                  <a:pt x="18655" y="7855"/>
                </a:lnTo>
                <a:cubicBezTo>
                  <a:pt x="18655" y="7855"/>
                  <a:pt x="18655" y="8836"/>
                  <a:pt x="18655" y="8836"/>
                </a:cubicBezTo>
                <a:close/>
                <a:moveTo>
                  <a:pt x="18655" y="6873"/>
                </a:moveTo>
                <a:lnTo>
                  <a:pt x="19636" y="6873"/>
                </a:lnTo>
                <a:lnTo>
                  <a:pt x="19636" y="5891"/>
                </a:lnTo>
                <a:lnTo>
                  <a:pt x="18655" y="5891"/>
                </a:lnTo>
                <a:cubicBezTo>
                  <a:pt x="18655" y="5891"/>
                  <a:pt x="18655" y="6873"/>
                  <a:pt x="18655" y="6873"/>
                </a:cubicBezTo>
                <a:close/>
                <a:moveTo>
                  <a:pt x="18655" y="4909"/>
                </a:moveTo>
                <a:lnTo>
                  <a:pt x="19636" y="4909"/>
                </a:lnTo>
                <a:lnTo>
                  <a:pt x="19636" y="3927"/>
                </a:lnTo>
                <a:lnTo>
                  <a:pt x="18655" y="3927"/>
                </a:lnTo>
                <a:cubicBezTo>
                  <a:pt x="18655" y="3927"/>
                  <a:pt x="18655" y="4909"/>
                  <a:pt x="18655" y="4909"/>
                </a:cubicBezTo>
                <a:close/>
                <a:moveTo>
                  <a:pt x="1964" y="2945"/>
                </a:moveTo>
                <a:lnTo>
                  <a:pt x="2945" y="2945"/>
                </a:lnTo>
                <a:lnTo>
                  <a:pt x="2945" y="1964"/>
                </a:lnTo>
                <a:lnTo>
                  <a:pt x="1964" y="1964"/>
                </a:lnTo>
                <a:cubicBezTo>
                  <a:pt x="1964" y="1964"/>
                  <a:pt x="1964" y="2945"/>
                  <a:pt x="1964" y="2945"/>
                </a:cubicBezTo>
                <a:close/>
                <a:moveTo>
                  <a:pt x="1964" y="8836"/>
                </a:moveTo>
                <a:lnTo>
                  <a:pt x="2945" y="8836"/>
                </a:lnTo>
                <a:lnTo>
                  <a:pt x="2945" y="7855"/>
                </a:lnTo>
                <a:lnTo>
                  <a:pt x="1964" y="7855"/>
                </a:lnTo>
                <a:cubicBezTo>
                  <a:pt x="1964" y="7855"/>
                  <a:pt x="1964" y="8836"/>
                  <a:pt x="1964" y="8836"/>
                </a:cubicBezTo>
                <a:close/>
                <a:moveTo>
                  <a:pt x="2945" y="16691"/>
                </a:moveTo>
                <a:lnTo>
                  <a:pt x="1964" y="16691"/>
                </a:lnTo>
                <a:lnTo>
                  <a:pt x="1964" y="17673"/>
                </a:lnTo>
                <a:lnTo>
                  <a:pt x="2945" y="17673"/>
                </a:lnTo>
                <a:cubicBezTo>
                  <a:pt x="2945" y="17673"/>
                  <a:pt x="2945" y="16691"/>
                  <a:pt x="2945" y="16691"/>
                </a:cubicBezTo>
                <a:close/>
                <a:moveTo>
                  <a:pt x="2945" y="12764"/>
                </a:moveTo>
                <a:lnTo>
                  <a:pt x="1964" y="12764"/>
                </a:lnTo>
                <a:lnTo>
                  <a:pt x="1964" y="13745"/>
                </a:lnTo>
                <a:lnTo>
                  <a:pt x="2945" y="13745"/>
                </a:lnTo>
                <a:cubicBezTo>
                  <a:pt x="2945" y="13745"/>
                  <a:pt x="2945" y="12764"/>
                  <a:pt x="2945" y="12764"/>
                </a:cubicBezTo>
                <a:close/>
                <a:moveTo>
                  <a:pt x="2945" y="14727"/>
                </a:moveTo>
                <a:lnTo>
                  <a:pt x="1964" y="14727"/>
                </a:lnTo>
                <a:lnTo>
                  <a:pt x="1964" y="15709"/>
                </a:lnTo>
                <a:lnTo>
                  <a:pt x="2945" y="15709"/>
                </a:lnTo>
                <a:cubicBezTo>
                  <a:pt x="2945" y="15709"/>
                  <a:pt x="2945" y="14727"/>
                  <a:pt x="2945" y="14727"/>
                </a:cubicBezTo>
                <a:close/>
                <a:moveTo>
                  <a:pt x="2945" y="18655"/>
                </a:moveTo>
                <a:lnTo>
                  <a:pt x="1964" y="18655"/>
                </a:lnTo>
                <a:lnTo>
                  <a:pt x="1964" y="19636"/>
                </a:lnTo>
                <a:lnTo>
                  <a:pt x="2945" y="19636"/>
                </a:lnTo>
                <a:cubicBezTo>
                  <a:pt x="2945" y="19636"/>
                  <a:pt x="2945" y="18655"/>
                  <a:pt x="2945" y="18655"/>
                </a:cubicBezTo>
                <a:close/>
                <a:moveTo>
                  <a:pt x="1964" y="6873"/>
                </a:moveTo>
                <a:lnTo>
                  <a:pt x="2945" y="6873"/>
                </a:lnTo>
                <a:lnTo>
                  <a:pt x="2945" y="5891"/>
                </a:lnTo>
                <a:lnTo>
                  <a:pt x="1964" y="5891"/>
                </a:lnTo>
                <a:cubicBezTo>
                  <a:pt x="1964" y="5891"/>
                  <a:pt x="1964" y="6873"/>
                  <a:pt x="1964" y="6873"/>
                </a:cubicBezTo>
                <a:close/>
                <a:moveTo>
                  <a:pt x="1964" y="4909"/>
                </a:moveTo>
                <a:lnTo>
                  <a:pt x="2945" y="4909"/>
                </a:lnTo>
                <a:lnTo>
                  <a:pt x="2945" y="3927"/>
                </a:lnTo>
                <a:lnTo>
                  <a:pt x="1964" y="3927"/>
                </a:lnTo>
                <a:cubicBezTo>
                  <a:pt x="1964" y="3927"/>
                  <a:pt x="1964" y="4909"/>
                  <a:pt x="1964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545">
            <a:extLst>
              <a:ext uri="{FF2B5EF4-FFF2-40B4-BE49-F238E27FC236}">
                <a16:creationId xmlns:a16="http://schemas.microsoft.com/office/drawing/2014/main" id="{E3254CD4-D841-4C08-9722-A8C52DDDE2D7}"/>
              </a:ext>
            </a:extLst>
          </p:cNvPr>
          <p:cNvSpPr/>
          <p:nvPr/>
        </p:nvSpPr>
        <p:spPr bwMode="gray">
          <a:xfrm>
            <a:off x="637821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9"/>
                </a:moveTo>
                <a:cubicBezTo>
                  <a:pt x="5377" y="20619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3336" y="982"/>
                  <a:pt x="15638" y="1950"/>
                  <a:pt x="17377" y="3529"/>
                </a:cubicBezTo>
                <a:lnTo>
                  <a:pt x="10453" y="10453"/>
                </a:lnTo>
                <a:cubicBezTo>
                  <a:pt x="10364" y="10542"/>
                  <a:pt x="10309" y="10665"/>
                  <a:pt x="10309" y="10800"/>
                </a:cubicBezTo>
                <a:cubicBezTo>
                  <a:pt x="10309" y="11072"/>
                  <a:pt x="10529" y="11291"/>
                  <a:pt x="10800" y="11291"/>
                </a:cubicBezTo>
                <a:lnTo>
                  <a:pt x="20594" y="11291"/>
                </a:lnTo>
                <a:cubicBezTo>
                  <a:pt x="20336" y="16484"/>
                  <a:pt x="16057" y="20619"/>
                  <a:pt x="10800" y="20619"/>
                </a:cubicBezTo>
                <a:moveTo>
                  <a:pt x="20594" y="10309"/>
                </a:moveTo>
                <a:lnTo>
                  <a:pt x="11985" y="10309"/>
                </a:lnTo>
                <a:lnTo>
                  <a:pt x="18071" y="4223"/>
                </a:lnTo>
                <a:cubicBezTo>
                  <a:pt x="19541" y="5852"/>
                  <a:pt x="20477" y="7971"/>
                  <a:pt x="20594" y="10309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546">
            <a:extLst>
              <a:ext uri="{FF2B5EF4-FFF2-40B4-BE49-F238E27FC236}">
                <a16:creationId xmlns:a16="http://schemas.microsoft.com/office/drawing/2014/main" id="{95884FB8-C84B-4B0D-A609-3C32E98E73BD}"/>
              </a:ext>
            </a:extLst>
          </p:cNvPr>
          <p:cNvSpPr/>
          <p:nvPr/>
        </p:nvSpPr>
        <p:spPr bwMode="gray">
          <a:xfrm>
            <a:off x="1189845" y="2889381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547">
            <a:extLst>
              <a:ext uri="{FF2B5EF4-FFF2-40B4-BE49-F238E27FC236}">
                <a16:creationId xmlns:a16="http://schemas.microsoft.com/office/drawing/2014/main" id="{267DD2CC-BEA2-45E5-84AB-174D546BBDCE}"/>
              </a:ext>
            </a:extLst>
          </p:cNvPr>
          <p:cNvSpPr/>
          <p:nvPr/>
        </p:nvSpPr>
        <p:spPr bwMode="gray">
          <a:xfrm>
            <a:off x="1741870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548">
            <a:extLst>
              <a:ext uri="{FF2B5EF4-FFF2-40B4-BE49-F238E27FC236}">
                <a16:creationId xmlns:a16="http://schemas.microsoft.com/office/drawing/2014/main" id="{5E1DBD35-FCCE-44D0-B238-1B08B1A9A1EB}"/>
              </a:ext>
            </a:extLst>
          </p:cNvPr>
          <p:cNvSpPr/>
          <p:nvPr/>
        </p:nvSpPr>
        <p:spPr bwMode="gray">
          <a:xfrm>
            <a:off x="2293894" y="2974813"/>
            <a:ext cx="289156" cy="65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7280"/>
                </a:moveTo>
                <a:cubicBezTo>
                  <a:pt x="18332" y="17280"/>
                  <a:pt x="17673" y="14380"/>
                  <a:pt x="17673" y="10800"/>
                </a:cubicBezTo>
                <a:cubicBezTo>
                  <a:pt x="17673" y="7224"/>
                  <a:pt x="18332" y="4320"/>
                  <a:pt x="19145" y="4320"/>
                </a:cubicBezTo>
                <a:cubicBezTo>
                  <a:pt x="19959" y="4320"/>
                  <a:pt x="20618" y="7224"/>
                  <a:pt x="20618" y="10800"/>
                </a:cubicBezTo>
                <a:cubicBezTo>
                  <a:pt x="20618" y="14380"/>
                  <a:pt x="19959" y="17280"/>
                  <a:pt x="19145" y="17280"/>
                </a:cubicBezTo>
                <a:moveTo>
                  <a:pt x="19145" y="0"/>
                </a:moveTo>
                <a:cubicBezTo>
                  <a:pt x="17790" y="0"/>
                  <a:pt x="16691" y="4837"/>
                  <a:pt x="16691" y="10800"/>
                </a:cubicBezTo>
                <a:cubicBezTo>
                  <a:pt x="16691" y="16766"/>
                  <a:pt x="17790" y="21600"/>
                  <a:pt x="19145" y="21600"/>
                </a:cubicBezTo>
                <a:cubicBezTo>
                  <a:pt x="20501" y="21600"/>
                  <a:pt x="21600" y="16766"/>
                  <a:pt x="21600" y="10800"/>
                </a:cubicBezTo>
                <a:cubicBezTo>
                  <a:pt x="21600" y="4837"/>
                  <a:pt x="20501" y="0"/>
                  <a:pt x="19145" y="0"/>
                </a:cubicBezTo>
                <a:moveTo>
                  <a:pt x="10800" y="17280"/>
                </a:moveTo>
                <a:cubicBezTo>
                  <a:pt x="9986" y="17280"/>
                  <a:pt x="9327" y="14380"/>
                  <a:pt x="9327" y="10800"/>
                </a:cubicBezTo>
                <a:cubicBezTo>
                  <a:pt x="9327" y="7224"/>
                  <a:pt x="9986" y="4320"/>
                  <a:pt x="10800" y="4320"/>
                </a:cubicBezTo>
                <a:cubicBezTo>
                  <a:pt x="11614" y="4320"/>
                  <a:pt x="12273" y="7224"/>
                  <a:pt x="12273" y="10800"/>
                </a:cubicBezTo>
                <a:cubicBezTo>
                  <a:pt x="12273" y="14380"/>
                  <a:pt x="11614" y="17280"/>
                  <a:pt x="10800" y="17280"/>
                </a:cubicBezTo>
                <a:moveTo>
                  <a:pt x="10800" y="0"/>
                </a:moveTo>
                <a:cubicBezTo>
                  <a:pt x="9444" y="0"/>
                  <a:pt x="8345" y="4837"/>
                  <a:pt x="8345" y="10800"/>
                </a:cubicBezTo>
                <a:cubicBezTo>
                  <a:pt x="8345" y="16766"/>
                  <a:pt x="9444" y="21600"/>
                  <a:pt x="10800" y="21600"/>
                </a:cubicBezTo>
                <a:cubicBezTo>
                  <a:pt x="12156" y="21600"/>
                  <a:pt x="13255" y="16766"/>
                  <a:pt x="13255" y="10800"/>
                </a:cubicBezTo>
                <a:cubicBezTo>
                  <a:pt x="13255" y="4837"/>
                  <a:pt x="12156" y="0"/>
                  <a:pt x="10800" y="0"/>
                </a:cubicBezTo>
                <a:moveTo>
                  <a:pt x="2455" y="17280"/>
                </a:moveTo>
                <a:cubicBezTo>
                  <a:pt x="1641" y="17280"/>
                  <a:pt x="982" y="14380"/>
                  <a:pt x="982" y="10800"/>
                </a:cubicBezTo>
                <a:cubicBezTo>
                  <a:pt x="982" y="7224"/>
                  <a:pt x="1641" y="4320"/>
                  <a:pt x="2455" y="4320"/>
                </a:cubicBezTo>
                <a:cubicBezTo>
                  <a:pt x="3268" y="4320"/>
                  <a:pt x="3927" y="7224"/>
                  <a:pt x="3927" y="10800"/>
                </a:cubicBezTo>
                <a:cubicBezTo>
                  <a:pt x="3927" y="14380"/>
                  <a:pt x="3268" y="17280"/>
                  <a:pt x="2455" y="17280"/>
                </a:cubicBezTo>
                <a:moveTo>
                  <a:pt x="2455" y="0"/>
                </a:moveTo>
                <a:cubicBezTo>
                  <a:pt x="1099" y="0"/>
                  <a:pt x="0" y="4837"/>
                  <a:pt x="0" y="10800"/>
                </a:cubicBezTo>
                <a:cubicBezTo>
                  <a:pt x="0" y="16766"/>
                  <a:pt x="1099" y="21600"/>
                  <a:pt x="2455" y="21600"/>
                </a:cubicBezTo>
                <a:cubicBezTo>
                  <a:pt x="3811" y="21600"/>
                  <a:pt x="4909" y="16766"/>
                  <a:pt x="4909" y="10800"/>
                </a:cubicBezTo>
                <a:cubicBezTo>
                  <a:pt x="4909" y="4837"/>
                  <a:pt x="3811" y="0"/>
                  <a:pt x="2455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549">
            <a:extLst>
              <a:ext uri="{FF2B5EF4-FFF2-40B4-BE49-F238E27FC236}">
                <a16:creationId xmlns:a16="http://schemas.microsoft.com/office/drawing/2014/main" id="{9D010FFC-ABB1-4BA0-B95A-351E55C75F63}"/>
              </a:ext>
            </a:extLst>
          </p:cNvPr>
          <p:cNvSpPr/>
          <p:nvPr/>
        </p:nvSpPr>
        <p:spPr bwMode="gray">
          <a:xfrm>
            <a:off x="2845919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0800" y="11291"/>
                </a:moveTo>
                <a:cubicBezTo>
                  <a:pt x="10529" y="11291"/>
                  <a:pt x="10309" y="11072"/>
                  <a:pt x="10309" y="10800"/>
                </a:cubicBezTo>
                <a:cubicBezTo>
                  <a:pt x="10309" y="10529"/>
                  <a:pt x="10529" y="10309"/>
                  <a:pt x="10800" y="10309"/>
                </a:cubicBezTo>
                <a:cubicBezTo>
                  <a:pt x="11071" y="10309"/>
                  <a:pt x="11291" y="10529"/>
                  <a:pt x="11291" y="10800"/>
                </a:cubicBezTo>
                <a:cubicBezTo>
                  <a:pt x="11291" y="11072"/>
                  <a:pt x="11071" y="11291"/>
                  <a:pt x="10800" y="11291"/>
                </a:cubicBezTo>
                <a:moveTo>
                  <a:pt x="10800" y="9327"/>
                </a:moveTo>
                <a:cubicBezTo>
                  <a:pt x="9986" y="9327"/>
                  <a:pt x="9327" y="9987"/>
                  <a:pt x="9327" y="10800"/>
                </a:cubicBezTo>
                <a:cubicBezTo>
                  <a:pt x="9327" y="11614"/>
                  <a:pt x="9986" y="12273"/>
                  <a:pt x="10800" y="12273"/>
                </a:cubicBezTo>
                <a:cubicBezTo>
                  <a:pt x="11614" y="12273"/>
                  <a:pt x="12273" y="11614"/>
                  <a:pt x="12273" y="10800"/>
                </a:cubicBezTo>
                <a:cubicBezTo>
                  <a:pt x="12273" y="9987"/>
                  <a:pt x="11614" y="9327"/>
                  <a:pt x="10800" y="9327"/>
                </a:cubicBezTo>
                <a:moveTo>
                  <a:pt x="5400" y="11291"/>
                </a:moveTo>
                <a:cubicBezTo>
                  <a:pt x="5129" y="11291"/>
                  <a:pt x="4909" y="11072"/>
                  <a:pt x="4909" y="10800"/>
                </a:cubicBezTo>
                <a:cubicBezTo>
                  <a:pt x="4909" y="10529"/>
                  <a:pt x="5129" y="10309"/>
                  <a:pt x="5400" y="10309"/>
                </a:cubicBezTo>
                <a:cubicBezTo>
                  <a:pt x="5671" y="10309"/>
                  <a:pt x="5891" y="10529"/>
                  <a:pt x="5891" y="10800"/>
                </a:cubicBezTo>
                <a:cubicBezTo>
                  <a:pt x="5891" y="11072"/>
                  <a:pt x="5671" y="11291"/>
                  <a:pt x="5400" y="11291"/>
                </a:cubicBezTo>
                <a:moveTo>
                  <a:pt x="5400" y="9327"/>
                </a:moveTo>
                <a:cubicBezTo>
                  <a:pt x="4586" y="9327"/>
                  <a:pt x="3927" y="9987"/>
                  <a:pt x="3927" y="10800"/>
                </a:cubicBezTo>
                <a:cubicBezTo>
                  <a:pt x="3927" y="11614"/>
                  <a:pt x="4586" y="12273"/>
                  <a:pt x="5400" y="12273"/>
                </a:cubicBezTo>
                <a:cubicBezTo>
                  <a:pt x="6214" y="12273"/>
                  <a:pt x="6873" y="11614"/>
                  <a:pt x="6873" y="10800"/>
                </a:cubicBezTo>
                <a:cubicBezTo>
                  <a:pt x="6873" y="9987"/>
                  <a:pt x="6214" y="9327"/>
                  <a:pt x="5400" y="9327"/>
                </a:cubicBezTo>
                <a:moveTo>
                  <a:pt x="16200" y="11291"/>
                </a:moveTo>
                <a:cubicBezTo>
                  <a:pt x="15929" y="11291"/>
                  <a:pt x="15709" y="11072"/>
                  <a:pt x="15709" y="10800"/>
                </a:cubicBezTo>
                <a:cubicBezTo>
                  <a:pt x="15709" y="10529"/>
                  <a:pt x="15929" y="10309"/>
                  <a:pt x="16200" y="10309"/>
                </a:cubicBezTo>
                <a:cubicBezTo>
                  <a:pt x="16471" y="10309"/>
                  <a:pt x="16691" y="10529"/>
                  <a:pt x="16691" y="10800"/>
                </a:cubicBezTo>
                <a:cubicBezTo>
                  <a:pt x="16691" y="11072"/>
                  <a:pt x="16471" y="11291"/>
                  <a:pt x="16200" y="11291"/>
                </a:cubicBezTo>
                <a:moveTo>
                  <a:pt x="16200" y="9327"/>
                </a:moveTo>
                <a:cubicBezTo>
                  <a:pt x="15386" y="9327"/>
                  <a:pt x="14727" y="9987"/>
                  <a:pt x="14727" y="10800"/>
                </a:cubicBezTo>
                <a:cubicBezTo>
                  <a:pt x="14727" y="11614"/>
                  <a:pt x="15386" y="12273"/>
                  <a:pt x="16200" y="12273"/>
                </a:cubicBezTo>
                <a:cubicBezTo>
                  <a:pt x="17014" y="12273"/>
                  <a:pt x="17673" y="11614"/>
                  <a:pt x="17673" y="10800"/>
                </a:cubicBezTo>
                <a:cubicBezTo>
                  <a:pt x="17673" y="9987"/>
                  <a:pt x="17014" y="9327"/>
                  <a:pt x="16200" y="93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550">
            <a:extLst>
              <a:ext uri="{FF2B5EF4-FFF2-40B4-BE49-F238E27FC236}">
                <a16:creationId xmlns:a16="http://schemas.microsoft.com/office/drawing/2014/main" id="{97CA35D4-1A1D-4414-9693-A8FECD5D779E}"/>
              </a:ext>
            </a:extLst>
          </p:cNvPr>
          <p:cNvSpPr/>
          <p:nvPr/>
        </p:nvSpPr>
        <p:spPr bwMode="gray">
          <a:xfrm>
            <a:off x="3397943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7364"/>
                </a:moveTo>
                <a:cubicBezTo>
                  <a:pt x="20838" y="7364"/>
                  <a:pt x="20618" y="7584"/>
                  <a:pt x="20618" y="7855"/>
                </a:cubicBezTo>
                <a:lnTo>
                  <a:pt x="20618" y="18655"/>
                </a:lnTo>
                <a:cubicBezTo>
                  <a:pt x="20618" y="19739"/>
                  <a:pt x="19739" y="20618"/>
                  <a:pt x="18655" y="20618"/>
                </a:cubicBez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2945"/>
                </a:lnTo>
                <a:cubicBezTo>
                  <a:pt x="982" y="1861"/>
                  <a:pt x="1861" y="982"/>
                  <a:pt x="2945" y="982"/>
                </a:cubicBezTo>
                <a:lnTo>
                  <a:pt x="13745" y="982"/>
                </a:lnTo>
                <a:cubicBezTo>
                  <a:pt x="14017" y="982"/>
                  <a:pt x="14236" y="762"/>
                  <a:pt x="14236" y="491"/>
                </a:cubicBezTo>
                <a:cubicBezTo>
                  <a:pt x="14236" y="220"/>
                  <a:pt x="14017" y="0"/>
                  <a:pt x="13745" y="0"/>
                </a:cubicBezTo>
                <a:lnTo>
                  <a:pt x="2945" y="0"/>
                </a:lnTo>
                <a:cubicBezTo>
                  <a:pt x="1318" y="0"/>
                  <a:pt x="0" y="1319"/>
                  <a:pt x="0" y="2945"/>
                </a:cubicBezTo>
                <a:lnTo>
                  <a:pt x="0" y="18655"/>
                </a:lnTo>
                <a:cubicBezTo>
                  <a:pt x="0" y="20282"/>
                  <a:pt x="1318" y="21600"/>
                  <a:pt x="2945" y="21600"/>
                </a:cubicBezTo>
                <a:lnTo>
                  <a:pt x="18655" y="21600"/>
                </a:lnTo>
                <a:cubicBezTo>
                  <a:pt x="20282" y="21600"/>
                  <a:pt x="21600" y="20282"/>
                  <a:pt x="21600" y="18655"/>
                </a:cubicBezTo>
                <a:lnTo>
                  <a:pt x="21600" y="7855"/>
                </a:lnTo>
                <a:cubicBezTo>
                  <a:pt x="21600" y="7584"/>
                  <a:pt x="21380" y="7364"/>
                  <a:pt x="21109" y="7364"/>
                </a:cubicBezTo>
                <a:moveTo>
                  <a:pt x="7006" y="12764"/>
                </a:moveTo>
                <a:lnTo>
                  <a:pt x="8836" y="12764"/>
                </a:lnTo>
                <a:lnTo>
                  <a:pt x="8836" y="14594"/>
                </a:lnTo>
                <a:lnTo>
                  <a:pt x="6627" y="14973"/>
                </a:lnTo>
                <a:cubicBezTo>
                  <a:pt x="6627" y="14973"/>
                  <a:pt x="7006" y="12764"/>
                  <a:pt x="7006" y="12764"/>
                </a:cubicBezTo>
                <a:close/>
                <a:moveTo>
                  <a:pt x="16775" y="2742"/>
                </a:moveTo>
                <a:lnTo>
                  <a:pt x="18858" y="4825"/>
                </a:lnTo>
                <a:lnTo>
                  <a:pt x="9818" y="13865"/>
                </a:lnTo>
                <a:lnTo>
                  <a:pt x="9818" y="11782"/>
                </a:lnTo>
                <a:lnTo>
                  <a:pt x="7736" y="11782"/>
                </a:lnTo>
                <a:cubicBezTo>
                  <a:pt x="7736" y="11782"/>
                  <a:pt x="16775" y="2742"/>
                  <a:pt x="16775" y="2742"/>
                </a:cubicBezTo>
                <a:close/>
                <a:moveTo>
                  <a:pt x="18104" y="1414"/>
                </a:moveTo>
                <a:cubicBezTo>
                  <a:pt x="18371" y="1147"/>
                  <a:pt x="18739" y="982"/>
                  <a:pt x="19145" y="982"/>
                </a:cubicBezTo>
                <a:cubicBezTo>
                  <a:pt x="19959" y="982"/>
                  <a:pt x="20618" y="1642"/>
                  <a:pt x="20618" y="2455"/>
                </a:cubicBezTo>
                <a:cubicBezTo>
                  <a:pt x="20618" y="2861"/>
                  <a:pt x="20453" y="3230"/>
                  <a:pt x="20187" y="3496"/>
                </a:cubicBezTo>
                <a:lnTo>
                  <a:pt x="19552" y="4131"/>
                </a:lnTo>
                <a:lnTo>
                  <a:pt x="17469" y="2048"/>
                </a:lnTo>
                <a:cubicBezTo>
                  <a:pt x="17469" y="2048"/>
                  <a:pt x="18104" y="1414"/>
                  <a:pt x="18104" y="1414"/>
                </a:cubicBezTo>
                <a:close/>
                <a:moveTo>
                  <a:pt x="5400" y="16200"/>
                </a:moveTo>
                <a:lnTo>
                  <a:pt x="9590" y="15481"/>
                </a:lnTo>
                <a:lnTo>
                  <a:pt x="20881" y="4190"/>
                </a:lnTo>
                <a:cubicBezTo>
                  <a:pt x="21325" y="3746"/>
                  <a:pt x="21600" y="3133"/>
                  <a:pt x="21600" y="2455"/>
                </a:cubicBezTo>
                <a:cubicBezTo>
                  <a:pt x="21600" y="1099"/>
                  <a:pt x="20501" y="0"/>
                  <a:pt x="19145" y="0"/>
                </a:cubicBezTo>
                <a:cubicBezTo>
                  <a:pt x="18468" y="0"/>
                  <a:pt x="17854" y="275"/>
                  <a:pt x="17410" y="719"/>
                </a:cubicBezTo>
                <a:lnTo>
                  <a:pt x="6119" y="12010"/>
                </a:lnTo>
                <a:cubicBezTo>
                  <a:pt x="6119" y="12010"/>
                  <a:pt x="5400" y="16200"/>
                  <a:pt x="5400" y="1620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551">
            <a:extLst>
              <a:ext uri="{FF2B5EF4-FFF2-40B4-BE49-F238E27FC236}">
                <a16:creationId xmlns:a16="http://schemas.microsoft.com/office/drawing/2014/main" id="{2DD8A9E9-9C0A-4E5F-AEE8-1EB496637A1F}"/>
              </a:ext>
            </a:extLst>
          </p:cNvPr>
          <p:cNvSpPr/>
          <p:nvPr/>
        </p:nvSpPr>
        <p:spPr bwMode="gray">
          <a:xfrm>
            <a:off x="3949967" y="286309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755" y="6010"/>
                </a:moveTo>
                <a:lnTo>
                  <a:pt x="18630" y="7136"/>
                </a:lnTo>
                <a:lnTo>
                  <a:pt x="14465" y="2970"/>
                </a:lnTo>
                <a:lnTo>
                  <a:pt x="15590" y="1845"/>
                </a:lnTo>
                <a:cubicBezTo>
                  <a:pt x="15590" y="1845"/>
                  <a:pt x="16391" y="982"/>
                  <a:pt x="17673" y="982"/>
                </a:cubicBezTo>
                <a:cubicBezTo>
                  <a:pt x="19300" y="982"/>
                  <a:pt x="20618" y="2300"/>
                  <a:pt x="20618" y="3927"/>
                </a:cubicBezTo>
                <a:cubicBezTo>
                  <a:pt x="20618" y="4741"/>
                  <a:pt x="20288" y="5477"/>
                  <a:pt x="19755" y="6010"/>
                </a:cubicBezTo>
                <a:moveTo>
                  <a:pt x="7364" y="18402"/>
                </a:moveTo>
                <a:lnTo>
                  <a:pt x="7364" y="14727"/>
                </a:lnTo>
                <a:cubicBezTo>
                  <a:pt x="7364" y="14456"/>
                  <a:pt x="7144" y="14236"/>
                  <a:pt x="6873" y="14236"/>
                </a:cubicBezTo>
                <a:lnTo>
                  <a:pt x="3198" y="14236"/>
                </a:lnTo>
                <a:lnTo>
                  <a:pt x="13770" y="3665"/>
                </a:lnTo>
                <a:lnTo>
                  <a:pt x="17935" y="7830"/>
                </a:lnTo>
                <a:cubicBezTo>
                  <a:pt x="17935" y="7830"/>
                  <a:pt x="7364" y="18402"/>
                  <a:pt x="7364" y="18402"/>
                </a:cubicBezTo>
                <a:close/>
                <a:moveTo>
                  <a:pt x="6382" y="19042"/>
                </a:moveTo>
                <a:lnTo>
                  <a:pt x="2945" y="19845"/>
                </a:lnTo>
                <a:lnTo>
                  <a:pt x="2945" y="18655"/>
                </a:lnTo>
                <a:lnTo>
                  <a:pt x="1755" y="18655"/>
                </a:lnTo>
                <a:lnTo>
                  <a:pt x="2558" y="15218"/>
                </a:lnTo>
                <a:lnTo>
                  <a:pt x="6382" y="15218"/>
                </a:lnTo>
                <a:cubicBezTo>
                  <a:pt x="6382" y="15218"/>
                  <a:pt x="6382" y="19042"/>
                  <a:pt x="6382" y="19042"/>
                </a:cubicBezTo>
                <a:close/>
                <a:moveTo>
                  <a:pt x="17673" y="0"/>
                </a:moveTo>
                <a:cubicBezTo>
                  <a:pt x="16588" y="0"/>
                  <a:pt x="15606" y="439"/>
                  <a:pt x="14896" y="1151"/>
                </a:cubicBezTo>
                <a:lnTo>
                  <a:pt x="1641" y="14405"/>
                </a:lnTo>
                <a:lnTo>
                  <a:pt x="0" y="21600"/>
                </a:lnTo>
                <a:lnTo>
                  <a:pt x="7195" y="19959"/>
                </a:lnTo>
                <a:lnTo>
                  <a:pt x="20449" y="6704"/>
                </a:lnTo>
                <a:cubicBezTo>
                  <a:pt x="21160" y="5994"/>
                  <a:pt x="21600" y="5012"/>
                  <a:pt x="21600" y="3927"/>
                </a:cubicBezTo>
                <a:cubicBezTo>
                  <a:pt x="21600" y="1758"/>
                  <a:pt x="19842" y="0"/>
                  <a:pt x="17673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552">
            <a:extLst>
              <a:ext uri="{FF2B5EF4-FFF2-40B4-BE49-F238E27FC236}">
                <a16:creationId xmlns:a16="http://schemas.microsoft.com/office/drawing/2014/main" id="{62F917FB-3C2A-45A1-9F22-8D620F6CDFD5}"/>
              </a:ext>
            </a:extLst>
          </p:cNvPr>
          <p:cNvSpPr/>
          <p:nvPr/>
        </p:nvSpPr>
        <p:spPr bwMode="gray">
          <a:xfrm>
            <a:off x="4501992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553">
            <a:extLst>
              <a:ext uri="{FF2B5EF4-FFF2-40B4-BE49-F238E27FC236}">
                <a16:creationId xmlns:a16="http://schemas.microsoft.com/office/drawing/2014/main" id="{6505A2DE-7DBE-4C9C-AD66-1703BFFEB11A}"/>
              </a:ext>
            </a:extLst>
          </p:cNvPr>
          <p:cNvSpPr/>
          <p:nvPr/>
        </p:nvSpPr>
        <p:spPr bwMode="gray">
          <a:xfrm>
            <a:off x="5054016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8100"/>
                </a:moveTo>
                <a:cubicBezTo>
                  <a:pt x="14896" y="8100"/>
                  <a:pt x="14236" y="8826"/>
                  <a:pt x="14236" y="9720"/>
                </a:cubicBezTo>
                <a:cubicBezTo>
                  <a:pt x="14236" y="10615"/>
                  <a:pt x="14896" y="11340"/>
                  <a:pt x="15709" y="11340"/>
                </a:cubicBezTo>
                <a:cubicBezTo>
                  <a:pt x="16522" y="11340"/>
                  <a:pt x="17182" y="10615"/>
                  <a:pt x="17182" y="9720"/>
                </a:cubicBezTo>
                <a:cubicBezTo>
                  <a:pt x="17182" y="8826"/>
                  <a:pt x="16522" y="8100"/>
                  <a:pt x="15709" y="8100"/>
                </a:cubicBezTo>
                <a:moveTo>
                  <a:pt x="10800" y="18360"/>
                </a:moveTo>
                <a:cubicBezTo>
                  <a:pt x="9864" y="18360"/>
                  <a:pt x="8922" y="18237"/>
                  <a:pt x="7998" y="17995"/>
                </a:cubicBezTo>
                <a:cubicBezTo>
                  <a:pt x="7923" y="17975"/>
                  <a:pt x="7846" y="17965"/>
                  <a:pt x="7770" y="17965"/>
                </a:cubicBezTo>
                <a:cubicBezTo>
                  <a:pt x="7646" y="17965"/>
                  <a:pt x="7522" y="17991"/>
                  <a:pt x="7406" y="18043"/>
                </a:cubicBezTo>
                <a:lnTo>
                  <a:pt x="3352" y="19826"/>
                </a:lnTo>
                <a:lnTo>
                  <a:pt x="4013" y="16735"/>
                </a:lnTo>
                <a:cubicBezTo>
                  <a:pt x="4098" y="16339"/>
                  <a:pt x="3972" y="15924"/>
                  <a:pt x="3689" y="15662"/>
                </a:cubicBezTo>
                <a:cubicBezTo>
                  <a:pt x="1944" y="14045"/>
                  <a:pt x="982" y="11934"/>
                  <a:pt x="982" y="9720"/>
                </a:cubicBezTo>
                <a:cubicBezTo>
                  <a:pt x="982" y="4956"/>
                  <a:pt x="5387" y="1080"/>
                  <a:pt x="10800" y="1080"/>
                </a:cubicBezTo>
                <a:cubicBezTo>
                  <a:pt x="16214" y="1080"/>
                  <a:pt x="20618" y="4956"/>
                  <a:pt x="20618" y="9720"/>
                </a:cubicBezTo>
                <a:cubicBezTo>
                  <a:pt x="20618" y="14484"/>
                  <a:pt x="16214" y="18360"/>
                  <a:pt x="10800" y="18360"/>
                </a:cubicBezTo>
                <a:moveTo>
                  <a:pt x="10800" y="0"/>
                </a:moveTo>
                <a:cubicBezTo>
                  <a:pt x="4835" y="0"/>
                  <a:pt x="0" y="4352"/>
                  <a:pt x="0" y="9720"/>
                </a:cubicBezTo>
                <a:cubicBezTo>
                  <a:pt x="0" y="12353"/>
                  <a:pt x="1168" y="14738"/>
                  <a:pt x="3057" y="16488"/>
                </a:cubicBezTo>
                <a:lnTo>
                  <a:pt x="1964" y="21600"/>
                </a:lnTo>
                <a:lnTo>
                  <a:pt x="7770" y="19046"/>
                </a:lnTo>
                <a:cubicBezTo>
                  <a:pt x="8732" y="19298"/>
                  <a:pt x="9747" y="19440"/>
                  <a:pt x="10800" y="19440"/>
                </a:cubicBezTo>
                <a:cubicBezTo>
                  <a:pt x="16765" y="19440"/>
                  <a:pt x="21600" y="15089"/>
                  <a:pt x="21600" y="9720"/>
                </a:cubicBezTo>
                <a:cubicBezTo>
                  <a:pt x="21600" y="4352"/>
                  <a:pt x="16765" y="0"/>
                  <a:pt x="10800" y="0"/>
                </a:cubicBezTo>
                <a:moveTo>
                  <a:pt x="10800" y="8100"/>
                </a:moveTo>
                <a:cubicBezTo>
                  <a:pt x="9987" y="8100"/>
                  <a:pt x="9327" y="8826"/>
                  <a:pt x="9327" y="9720"/>
                </a:cubicBezTo>
                <a:cubicBezTo>
                  <a:pt x="9327" y="10615"/>
                  <a:pt x="9987" y="11340"/>
                  <a:pt x="10800" y="11340"/>
                </a:cubicBezTo>
                <a:cubicBezTo>
                  <a:pt x="11613" y="11340"/>
                  <a:pt x="12273" y="10615"/>
                  <a:pt x="12273" y="9720"/>
                </a:cubicBezTo>
                <a:cubicBezTo>
                  <a:pt x="12273" y="8826"/>
                  <a:pt x="11613" y="8100"/>
                  <a:pt x="10800" y="8100"/>
                </a:cubicBezTo>
                <a:moveTo>
                  <a:pt x="5891" y="8100"/>
                </a:moveTo>
                <a:cubicBezTo>
                  <a:pt x="5078" y="8100"/>
                  <a:pt x="4418" y="8826"/>
                  <a:pt x="4418" y="9720"/>
                </a:cubicBezTo>
                <a:cubicBezTo>
                  <a:pt x="4418" y="10615"/>
                  <a:pt x="5078" y="11340"/>
                  <a:pt x="5891" y="11340"/>
                </a:cubicBezTo>
                <a:cubicBezTo>
                  <a:pt x="6704" y="11340"/>
                  <a:pt x="7364" y="10615"/>
                  <a:pt x="7364" y="9720"/>
                </a:cubicBezTo>
                <a:cubicBezTo>
                  <a:pt x="7364" y="8826"/>
                  <a:pt x="6704" y="8100"/>
                  <a:pt x="5891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554">
            <a:extLst>
              <a:ext uri="{FF2B5EF4-FFF2-40B4-BE49-F238E27FC236}">
                <a16:creationId xmlns:a16="http://schemas.microsoft.com/office/drawing/2014/main" id="{29413626-57DF-4F6B-9E87-93AFB67D66CB}"/>
              </a:ext>
            </a:extLst>
          </p:cNvPr>
          <p:cNvSpPr/>
          <p:nvPr/>
        </p:nvSpPr>
        <p:spPr bwMode="gray">
          <a:xfrm>
            <a:off x="5606041" y="287623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555">
            <a:extLst>
              <a:ext uri="{FF2B5EF4-FFF2-40B4-BE49-F238E27FC236}">
                <a16:creationId xmlns:a16="http://schemas.microsoft.com/office/drawing/2014/main" id="{DEE72A6E-E44A-489C-BEFC-4D0378F79372}"/>
              </a:ext>
            </a:extLst>
          </p:cNvPr>
          <p:cNvSpPr/>
          <p:nvPr/>
        </p:nvSpPr>
        <p:spPr bwMode="gray">
          <a:xfrm>
            <a:off x="63782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35"/>
                  <a:pt x="19650" y="15637"/>
                  <a:pt x="18073" y="1737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8266"/>
                  <a:pt x="1950" y="5963"/>
                  <a:pt x="3527" y="4221"/>
                </a:cubicBezTo>
                <a:lnTo>
                  <a:pt x="17379" y="18073"/>
                </a:lnTo>
                <a:cubicBezTo>
                  <a:pt x="15637" y="19650"/>
                  <a:pt x="13334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556">
            <a:extLst>
              <a:ext uri="{FF2B5EF4-FFF2-40B4-BE49-F238E27FC236}">
                <a16:creationId xmlns:a16="http://schemas.microsoft.com/office/drawing/2014/main" id="{EA0FBE83-8CAF-457C-AF26-065456C5E9A5}"/>
              </a:ext>
            </a:extLst>
          </p:cNvPr>
          <p:cNvSpPr/>
          <p:nvPr/>
        </p:nvSpPr>
        <p:spPr bwMode="gray">
          <a:xfrm>
            <a:off x="1189845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874" y="5396"/>
                </a:moveTo>
                <a:cubicBezTo>
                  <a:pt x="11493" y="5396"/>
                  <a:pt x="11166" y="5519"/>
                  <a:pt x="10894" y="5766"/>
                </a:cubicBezTo>
                <a:cubicBezTo>
                  <a:pt x="10621" y="6013"/>
                  <a:pt x="10484" y="6310"/>
                  <a:pt x="10484" y="6658"/>
                </a:cubicBezTo>
                <a:cubicBezTo>
                  <a:pt x="10484" y="7005"/>
                  <a:pt x="10621" y="7301"/>
                  <a:pt x="10894" y="7545"/>
                </a:cubicBezTo>
                <a:cubicBezTo>
                  <a:pt x="11166" y="7790"/>
                  <a:pt x="11493" y="7912"/>
                  <a:pt x="11874" y="7912"/>
                </a:cubicBezTo>
                <a:cubicBezTo>
                  <a:pt x="12255" y="7912"/>
                  <a:pt x="12581" y="7790"/>
                  <a:pt x="12852" y="7545"/>
                </a:cubicBezTo>
                <a:cubicBezTo>
                  <a:pt x="13122" y="7301"/>
                  <a:pt x="13257" y="7005"/>
                  <a:pt x="13257" y="6658"/>
                </a:cubicBezTo>
                <a:cubicBezTo>
                  <a:pt x="13257" y="6310"/>
                  <a:pt x="13122" y="6013"/>
                  <a:pt x="12852" y="5766"/>
                </a:cubicBezTo>
                <a:cubicBezTo>
                  <a:pt x="12581" y="5519"/>
                  <a:pt x="12255" y="5396"/>
                  <a:pt x="11874" y="5396"/>
                </a:cubicBezTo>
                <a:moveTo>
                  <a:pt x="12242" y="15228"/>
                </a:moveTo>
                <a:cubicBezTo>
                  <a:pt x="11942" y="15228"/>
                  <a:pt x="11730" y="15180"/>
                  <a:pt x="11608" y="15083"/>
                </a:cubicBezTo>
                <a:cubicBezTo>
                  <a:pt x="11486" y="14987"/>
                  <a:pt x="11425" y="14807"/>
                  <a:pt x="11425" y="14542"/>
                </a:cubicBezTo>
                <a:cubicBezTo>
                  <a:pt x="11425" y="14436"/>
                  <a:pt x="11444" y="14281"/>
                  <a:pt x="11482" y="14076"/>
                </a:cubicBezTo>
                <a:cubicBezTo>
                  <a:pt x="11519" y="13870"/>
                  <a:pt x="11562" y="13687"/>
                  <a:pt x="11609" y="13527"/>
                </a:cubicBezTo>
                <a:lnTo>
                  <a:pt x="12189" y="11532"/>
                </a:lnTo>
                <a:cubicBezTo>
                  <a:pt x="12246" y="11349"/>
                  <a:pt x="12284" y="11148"/>
                  <a:pt x="12306" y="10929"/>
                </a:cubicBezTo>
                <a:cubicBezTo>
                  <a:pt x="12327" y="10709"/>
                  <a:pt x="12337" y="10557"/>
                  <a:pt x="12337" y="10469"/>
                </a:cubicBezTo>
                <a:cubicBezTo>
                  <a:pt x="12337" y="10049"/>
                  <a:pt x="12185" y="9707"/>
                  <a:pt x="11882" y="9444"/>
                </a:cubicBezTo>
                <a:cubicBezTo>
                  <a:pt x="11578" y="9182"/>
                  <a:pt x="11146" y="9050"/>
                  <a:pt x="10586" y="9050"/>
                </a:cubicBezTo>
                <a:cubicBezTo>
                  <a:pt x="10275" y="9050"/>
                  <a:pt x="9945" y="9104"/>
                  <a:pt x="9597" y="9211"/>
                </a:cubicBezTo>
                <a:cubicBezTo>
                  <a:pt x="9248" y="9319"/>
                  <a:pt x="8884" y="9448"/>
                  <a:pt x="8502" y="9599"/>
                </a:cubicBezTo>
                <a:lnTo>
                  <a:pt x="8347" y="10216"/>
                </a:lnTo>
                <a:cubicBezTo>
                  <a:pt x="8460" y="10175"/>
                  <a:pt x="8595" y="10131"/>
                  <a:pt x="8753" y="10085"/>
                </a:cubicBezTo>
                <a:cubicBezTo>
                  <a:pt x="8911" y="10040"/>
                  <a:pt x="9066" y="10017"/>
                  <a:pt x="9217" y="10017"/>
                </a:cubicBezTo>
                <a:cubicBezTo>
                  <a:pt x="9524" y="10017"/>
                  <a:pt x="9731" y="10068"/>
                  <a:pt x="9839" y="10168"/>
                </a:cubicBezTo>
                <a:cubicBezTo>
                  <a:pt x="9948" y="10269"/>
                  <a:pt x="10002" y="10447"/>
                  <a:pt x="10002" y="10703"/>
                </a:cubicBezTo>
                <a:cubicBezTo>
                  <a:pt x="10002" y="10844"/>
                  <a:pt x="9985" y="11001"/>
                  <a:pt x="9949" y="11172"/>
                </a:cubicBezTo>
                <a:cubicBezTo>
                  <a:pt x="9914" y="11343"/>
                  <a:pt x="9870" y="11526"/>
                  <a:pt x="9818" y="11717"/>
                </a:cubicBezTo>
                <a:lnTo>
                  <a:pt x="9235" y="13719"/>
                </a:lnTo>
                <a:cubicBezTo>
                  <a:pt x="9184" y="13929"/>
                  <a:pt x="9146" y="14118"/>
                  <a:pt x="9123" y="14285"/>
                </a:cubicBezTo>
                <a:cubicBezTo>
                  <a:pt x="9100" y="14451"/>
                  <a:pt x="9088" y="14615"/>
                  <a:pt x="9088" y="14775"/>
                </a:cubicBezTo>
                <a:cubicBezTo>
                  <a:pt x="9088" y="15186"/>
                  <a:pt x="9244" y="15526"/>
                  <a:pt x="9556" y="15793"/>
                </a:cubicBezTo>
                <a:cubicBezTo>
                  <a:pt x="9869" y="16060"/>
                  <a:pt x="10308" y="16194"/>
                  <a:pt x="10872" y="16194"/>
                </a:cubicBezTo>
                <a:cubicBezTo>
                  <a:pt x="11239" y="16194"/>
                  <a:pt x="11561" y="16147"/>
                  <a:pt x="11839" y="16053"/>
                </a:cubicBezTo>
                <a:cubicBezTo>
                  <a:pt x="12117" y="15960"/>
                  <a:pt x="12488" y="15824"/>
                  <a:pt x="12954" y="15645"/>
                </a:cubicBezTo>
                <a:lnTo>
                  <a:pt x="13109" y="15028"/>
                </a:lnTo>
                <a:cubicBezTo>
                  <a:pt x="13029" y="15065"/>
                  <a:pt x="12900" y="15107"/>
                  <a:pt x="12721" y="15155"/>
                </a:cubicBezTo>
                <a:cubicBezTo>
                  <a:pt x="12543" y="15204"/>
                  <a:pt x="12383" y="15228"/>
                  <a:pt x="12242" y="152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557">
            <a:extLst>
              <a:ext uri="{FF2B5EF4-FFF2-40B4-BE49-F238E27FC236}">
                <a16:creationId xmlns:a16="http://schemas.microsoft.com/office/drawing/2014/main" id="{B4111293-50B7-482C-B230-8DF7540E8185}"/>
              </a:ext>
            </a:extLst>
          </p:cNvPr>
          <p:cNvSpPr/>
          <p:nvPr/>
        </p:nvSpPr>
        <p:spPr bwMode="gray">
          <a:xfrm>
            <a:off x="1741870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91" y="6559"/>
                </a:moveTo>
                <a:cubicBezTo>
                  <a:pt x="12727" y="6341"/>
                  <a:pt x="12420" y="6172"/>
                  <a:pt x="12078" y="6058"/>
                </a:cubicBezTo>
                <a:cubicBezTo>
                  <a:pt x="11737" y="5946"/>
                  <a:pt x="11367" y="5889"/>
                  <a:pt x="10978" y="5889"/>
                </a:cubicBezTo>
                <a:cubicBezTo>
                  <a:pt x="10477" y="5889"/>
                  <a:pt x="10025" y="5967"/>
                  <a:pt x="9633" y="6120"/>
                </a:cubicBezTo>
                <a:cubicBezTo>
                  <a:pt x="9239" y="6275"/>
                  <a:pt x="8900" y="6494"/>
                  <a:pt x="8623" y="6771"/>
                </a:cubicBezTo>
                <a:cubicBezTo>
                  <a:pt x="8346" y="7049"/>
                  <a:pt x="8133" y="7392"/>
                  <a:pt x="7992" y="7788"/>
                </a:cubicBezTo>
                <a:cubicBezTo>
                  <a:pt x="7853" y="8180"/>
                  <a:pt x="7782" y="8620"/>
                  <a:pt x="7782" y="9096"/>
                </a:cubicBezTo>
                <a:lnTo>
                  <a:pt x="7782" y="9217"/>
                </a:lnTo>
                <a:lnTo>
                  <a:pt x="8880" y="9217"/>
                </a:lnTo>
                <a:lnTo>
                  <a:pt x="8877" y="9093"/>
                </a:lnTo>
                <a:cubicBezTo>
                  <a:pt x="8868" y="8767"/>
                  <a:pt x="8908" y="8461"/>
                  <a:pt x="8993" y="8187"/>
                </a:cubicBezTo>
                <a:cubicBezTo>
                  <a:pt x="9079" y="7914"/>
                  <a:pt x="9207" y="7675"/>
                  <a:pt x="9377" y="7473"/>
                </a:cubicBezTo>
                <a:cubicBezTo>
                  <a:pt x="9545" y="7274"/>
                  <a:pt x="9762" y="7115"/>
                  <a:pt x="10024" y="7000"/>
                </a:cubicBezTo>
                <a:cubicBezTo>
                  <a:pt x="10287" y="6884"/>
                  <a:pt x="10594" y="6827"/>
                  <a:pt x="10937" y="6827"/>
                </a:cubicBezTo>
                <a:cubicBezTo>
                  <a:pt x="11182" y="6827"/>
                  <a:pt x="11418" y="6868"/>
                  <a:pt x="11639" y="6950"/>
                </a:cubicBezTo>
                <a:cubicBezTo>
                  <a:pt x="11858" y="7032"/>
                  <a:pt x="12053" y="7146"/>
                  <a:pt x="12218" y="7289"/>
                </a:cubicBezTo>
                <a:cubicBezTo>
                  <a:pt x="12381" y="7431"/>
                  <a:pt x="12512" y="7605"/>
                  <a:pt x="12609" y="7808"/>
                </a:cubicBezTo>
                <a:cubicBezTo>
                  <a:pt x="12704" y="8011"/>
                  <a:pt x="12752" y="8236"/>
                  <a:pt x="12752" y="8478"/>
                </a:cubicBezTo>
                <a:cubicBezTo>
                  <a:pt x="12752" y="8797"/>
                  <a:pt x="12674" y="9089"/>
                  <a:pt x="12519" y="9350"/>
                </a:cubicBezTo>
                <a:cubicBezTo>
                  <a:pt x="12359" y="9618"/>
                  <a:pt x="12154" y="9865"/>
                  <a:pt x="11913" y="10082"/>
                </a:cubicBezTo>
                <a:cubicBezTo>
                  <a:pt x="11624" y="10337"/>
                  <a:pt x="11374" y="10568"/>
                  <a:pt x="11170" y="10771"/>
                </a:cubicBezTo>
                <a:cubicBezTo>
                  <a:pt x="10959" y="10979"/>
                  <a:pt x="10789" y="11200"/>
                  <a:pt x="10662" y="11428"/>
                </a:cubicBezTo>
                <a:cubicBezTo>
                  <a:pt x="10534" y="11657"/>
                  <a:pt x="10441" y="11916"/>
                  <a:pt x="10385" y="12199"/>
                </a:cubicBezTo>
                <a:cubicBezTo>
                  <a:pt x="10329" y="12478"/>
                  <a:pt x="10305" y="12827"/>
                  <a:pt x="10315" y="13237"/>
                </a:cubicBezTo>
                <a:lnTo>
                  <a:pt x="10318" y="13355"/>
                </a:lnTo>
                <a:lnTo>
                  <a:pt x="11407" y="13355"/>
                </a:lnTo>
                <a:lnTo>
                  <a:pt x="11410" y="13237"/>
                </a:lnTo>
                <a:cubicBezTo>
                  <a:pt x="11418" y="12838"/>
                  <a:pt x="11436" y="12531"/>
                  <a:pt x="11463" y="12322"/>
                </a:cubicBezTo>
                <a:cubicBezTo>
                  <a:pt x="11488" y="12125"/>
                  <a:pt x="11538" y="11956"/>
                  <a:pt x="11611" y="11821"/>
                </a:cubicBezTo>
                <a:cubicBezTo>
                  <a:pt x="11687" y="11684"/>
                  <a:pt x="11803" y="11541"/>
                  <a:pt x="11959" y="11399"/>
                </a:cubicBezTo>
                <a:cubicBezTo>
                  <a:pt x="12127" y="11245"/>
                  <a:pt x="12351" y="11031"/>
                  <a:pt x="12630" y="10762"/>
                </a:cubicBezTo>
                <a:cubicBezTo>
                  <a:pt x="12979" y="10441"/>
                  <a:pt x="13270" y="10102"/>
                  <a:pt x="13495" y="9753"/>
                </a:cubicBezTo>
                <a:cubicBezTo>
                  <a:pt x="13729" y="9393"/>
                  <a:pt x="13847" y="8952"/>
                  <a:pt x="13847" y="8439"/>
                </a:cubicBezTo>
                <a:cubicBezTo>
                  <a:pt x="13847" y="8038"/>
                  <a:pt x="13770" y="7675"/>
                  <a:pt x="13618" y="7362"/>
                </a:cubicBezTo>
                <a:cubicBezTo>
                  <a:pt x="13467" y="7050"/>
                  <a:pt x="13256" y="6780"/>
                  <a:pt x="12991" y="6559"/>
                </a:cubicBezTo>
                <a:moveTo>
                  <a:pt x="10179" y="15706"/>
                </a:moveTo>
                <a:lnTo>
                  <a:pt x="11558" y="15706"/>
                </a:lnTo>
                <a:lnTo>
                  <a:pt x="11558" y="14072"/>
                </a:lnTo>
                <a:lnTo>
                  <a:pt x="10179" y="14072"/>
                </a:lnTo>
                <a:cubicBezTo>
                  <a:pt x="10179" y="14072"/>
                  <a:pt x="10179" y="15706"/>
                  <a:pt x="10179" y="15706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558">
            <a:extLst>
              <a:ext uri="{FF2B5EF4-FFF2-40B4-BE49-F238E27FC236}">
                <a16:creationId xmlns:a16="http://schemas.microsoft.com/office/drawing/2014/main" id="{F626135D-61BE-47D8-BEA3-BDE746504401}"/>
              </a:ext>
            </a:extLst>
          </p:cNvPr>
          <p:cNvSpPr/>
          <p:nvPr/>
        </p:nvSpPr>
        <p:spPr bwMode="gray">
          <a:xfrm>
            <a:off x="2293894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559">
            <a:extLst>
              <a:ext uri="{FF2B5EF4-FFF2-40B4-BE49-F238E27FC236}">
                <a16:creationId xmlns:a16="http://schemas.microsoft.com/office/drawing/2014/main" id="{CB2B2249-523B-48C5-919D-6D03D4C40EB7}"/>
              </a:ext>
            </a:extLst>
          </p:cNvPr>
          <p:cNvSpPr/>
          <p:nvPr/>
        </p:nvSpPr>
        <p:spPr bwMode="gray">
          <a:xfrm>
            <a:off x="2845919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0"/>
                  <a:pt x="982" y="16800"/>
                </a:cubicBezTo>
                <a:lnTo>
                  <a:pt x="2455" y="16800"/>
                </a:lnTo>
                <a:cubicBezTo>
                  <a:pt x="2725" y="16800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20618" y="20400"/>
                </a:move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560">
            <a:extLst>
              <a:ext uri="{FF2B5EF4-FFF2-40B4-BE49-F238E27FC236}">
                <a16:creationId xmlns:a16="http://schemas.microsoft.com/office/drawing/2014/main" id="{8656C234-2714-40D9-84B0-B38B9CF2F475}"/>
              </a:ext>
            </a:extLst>
          </p:cNvPr>
          <p:cNvSpPr/>
          <p:nvPr/>
        </p:nvSpPr>
        <p:spPr bwMode="gray">
          <a:xfrm>
            <a:off x="3397943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13745"/>
                </a:moveTo>
                <a:cubicBezTo>
                  <a:pt x="2726" y="13745"/>
                  <a:pt x="2945" y="13526"/>
                  <a:pt x="2945" y="13255"/>
                </a:cubicBezTo>
                <a:cubicBezTo>
                  <a:pt x="2945" y="12984"/>
                  <a:pt x="2726" y="12764"/>
                  <a:pt x="2455" y="12764"/>
                </a:cubicBezTo>
                <a:lnTo>
                  <a:pt x="982" y="12764"/>
                </a:lnTo>
                <a:lnTo>
                  <a:pt x="982" y="982"/>
                </a:lnTo>
                <a:lnTo>
                  <a:pt x="16691" y="982"/>
                </a:lnTo>
                <a:lnTo>
                  <a:pt x="16691" y="2455"/>
                </a:lnTo>
                <a:cubicBezTo>
                  <a:pt x="16691" y="2726"/>
                  <a:pt x="16910" y="2945"/>
                  <a:pt x="17182" y="2945"/>
                </a:cubicBezTo>
                <a:cubicBezTo>
                  <a:pt x="17453" y="2945"/>
                  <a:pt x="17673" y="2726"/>
                  <a:pt x="17673" y="2455"/>
                </a:cubicBezTo>
                <a:lnTo>
                  <a:pt x="17673" y="982"/>
                </a:lnTo>
                <a:cubicBezTo>
                  <a:pt x="17673" y="440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lnTo>
                  <a:pt x="0" y="16691"/>
                </a:lnTo>
                <a:cubicBezTo>
                  <a:pt x="0" y="17233"/>
                  <a:pt x="440" y="17673"/>
                  <a:pt x="982" y="17673"/>
                </a:cubicBezTo>
                <a:lnTo>
                  <a:pt x="2455" y="17673"/>
                </a:lnTo>
                <a:cubicBezTo>
                  <a:pt x="2726" y="17673"/>
                  <a:pt x="2945" y="17453"/>
                  <a:pt x="2945" y="17182"/>
                </a:cubicBezTo>
                <a:cubicBezTo>
                  <a:pt x="2945" y="16911"/>
                  <a:pt x="2726" y="16691"/>
                  <a:pt x="2455" y="16691"/>
                </a:cubicBezTo>
                <a:lnTo>
                  <a:pt x="982" y="16691"/>
                </a:lnTo>
                <a:lnTo>
                  <a:pt x="982" y="13745"/>
                </a:lnTo>
                <a:cubicBezTo>
                  <a:pt x="982" y="13745"/>
                  <a:pt x="2455" y="13745"/>
                  <a:pt x="2455" y="13745"/>
                </a:cubicBezTo>
                <a:close/>
                <a:moveTo>
                  <a:pt x="20618" y="16691"/>
                </a:moveTo>
                <a:lnTo>
                  <a:pt x="4909" y="16691"/>
                </a:lnTo>
                <a:lnTo>
                  <a:pt x="4909" y="4909"/>
                </a:lnTo>
                <a:lnTo>
                  <a:pt x="20618" y="4909"/>
                </a:lnTo>
                <a:cubicBezTo>
                  <a:pt x="20618" y="4909"/>
                  <a:pt x="20618" y="16691"/>
                  <a:pt x="20618" y="16691"/>
                </a:cubicBezTo>
                <a:close/>
                <a:moveTo>
                  <a:pt x="20618" y="20618"/>
                </a:moveTo>
                <a:lnTo>
                  <a:pt x="4909" y="20618"/>
                </a:lnTo>
                <a:lnTo>
                  <a:pt x="4909" y="17673"/>
                </a:lnTo>
                <a:lnTo>
                  <a:pt x="20618" y="17673"/>
                </a:lnTo>
                <a:cubicBezTo>
                  <a:pt x="20618" y="17673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4909" y="3927"/>
                </a:lnTo>
                <a:cubicBezTo>
                  <a:pt x="4367" y="3927"/>
                  <a:pt x="3927" y="4367"/>
                  <a:pt x="3927" y="4909"/>
                </a:cubicBezTo>
                <a:lnTo>
                  <a:pt x="3927" y="20618"/>
                </a:lnTo>
                <a:cubicBezTo>
                  <a:pt x="3927" y="21160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561">
            <a:extLst>
              <a:ext uri="{FF2B5EF4-FFF2-40B4-BE49-F238E27FC236}">
                <a16:creationId xmlns:a16="http://schemas.microsoft.com/office/drawing/2014/main" id="{71B7824A-6316-4B42-B21D-ED20EB37612B}"/>
              </a:ext>
            </a:extLst>
          </p:cNvPr>
          <p:cNvSpPr/>
          <p:nvPr/>
        </p:nvSpPr>
        <p:spPr bwMode="gray">
          <a:xfrm>
            <a:off x="3949967" y="3441405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455" y="3600"/>
                </a:moveTo>
                <a:lnTo>
                  <a:pt x="19145" y="3600"/>
                </a:lnTo>
                <a:cubicBezTo>
                  <a:pt x="19417" y="3600"/>
                  <a:pt x="19636" y="3332"/>
                  <a:pt x="19636" y="3000"/>
                </a:cubicBezTo>
                <a:cubicBezTo>
                  <a:pt x="19636" y="2669"/>
                  <a:pt x="19417" y="2400"/>
                  <a:pt x="19145" y="2400"/>
                </a:cubicBezTo>
                <a:lnTo>
                  <a:pt x="2455" y="2400"/>
                </a:lnTo>
                <a:cubicBezTo>
                  <a:pt x="2183" y="2400"/>
                  <a:pt x="1964" y="2669"/>
                  <a:pt x="1964" y="3000"/>
                </a:cubicBezTo>
                <a:cubicBezTo>
                  <a:pt x="1964" y="3332"/>
                  <a:pt x="2183" y="3600"/>
                  <a:pt x="2455" y="3600"/>
                </a:cubicBezTo>
                <a:moveTo>
                  <a:pt x="20618" y="20400"/>
                </a:moveTo>
                <a:lnTo>
                  <a:pt x="982" y="20400"/>
                </a:lnTo>
                <a:lnTo>
                  <a:pt x="982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982" y="4800"/>
                </a:lnTo>
                <a:cubicBezTo>
                  <a:pt x="439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4418" y="1200"/>
                </a:moveTo>
                <a:lnTo>
                  <a:pt x="17182" y="1200"/>
                </a:lnTo>
                <a:cubicBezTo>
                  <a:pt x="17453" y="1200"/>
                  <a:pt x="17673" y="932"/>
                  <a:pt x="17673" y="600"/>
                </a:cubicBezTo>
                <a:cubicBezTo>
                  <a:pt x="17673" y="269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269"/>
                  <a:pt x="3927" y="600"/>
                </a:cubicBezTo>
                <a:cubicBezTo>
                  <a:pt x="3927" y="932"/>
                  <a:pt x="4147" y="1200"/>
                  <a:pt x="4418" y="1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562">
            <a:extLst>
              <a:ext uri="{FF2B5EF4-FFF2-40B4-BE49-F238E27FC236}">
                <a16:creationId xmlns:a16="http://schemas.microsoft.com/office/drawing/2014/main" id="{74033AC1-348B-4B3D-B756-5A18B3EA7CE3}"/>
              </a:ext>
            </a:extLst>
          </p:cNvPr>
          <p:cNvSpPr/>
          <p:nvPr/>
        </p:nvSpPr>
        <p:spPr bwMode="gray">
          <a:xfrm>
            <a:off x="4501992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1" y="20619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294" y="17673"/>
                </a:moveTo>
                <a:lnTo>
                  <a:pt x="8376" y="10732"/>
                </a:lnTo>
                <a:lnTo>
                  <a:pt x="10838" y="14425"/>
                </a:lnTo>
                <a:cubicBezTo>
                  <a:pt x="10862" y="14484"/>
                  <a:pt x="10898" y="14536"/>
                  <a:pt x="10942" y="14581"/>
                </a:cubicBezTo>
                <a:lnTo>
                  <a:pt x="10944" y="14583"/>
                </a:lnTo>
                <a:cubicBezTo>
                  <a:pt x="11033" y="14673"/>
                  <a:pt x="11155" y="14727"/>
                  <a:pt x="11291" y="14727"/>
                </a:cubicBezTo>
                <a:cubicBezTo>
                  <a:pt x="11427" y="14727"/>
                  <a:pt x="11549" y="14673"/>
                  <a:pt x="11638" y="14583"/>
                </a:cubicBezTo>
                <a:lnTo>
                  <a:pt x="13686" y="12536"/>
                </a:lnTo>
                <a:lnTo>
                  <a:pt x="17242" y="17673"/>
                </a:lnTo>
                <a:cubicBezTo>
                  <a:pt x="17242" y="17673"/>
                  <a:pt x="4294" y="17673"/>
                  <a:pt x="4294" y="17673"/>
                </a:cubicBezTo>
                <a:close/>
                <a:moveTo>
                  <a:pt x="18620" y="17982"/>
                </a:moveTo>
                <a:lnTo>
                  <a:pt x="18617" y="17978"/>
                </a:lnTo>
                <a:cubicBezTo>
                  <a:pt x="18590" y="17913"/>
                  <a:pt x="18551" y="17858"/>
                  <a:pt x="18501" y="17810"/>
                </a:cubicBezTo>
                <a:lnTo>
                  <a:pt x="14201" y="11600"/>
                </a:lnTo>
                <a:lnTo>
                  <a:pt x="14200" y="11601"/>
                </a:lnTo>
                <a:cubicBezTo>
                  <a:pt x="14127" y="11420"/>
                  <a:pt x="13952" y="11291"/>
                  <a:pt x="13745" y="11291"/>
                </a:cubicBezTo>
                <a:cubicBezTo>
                  <a:pt x="13610" y="11291"/>
                  <a:pt x="13488" y="11346"/>
                  <a:pt x="13398" y="11435"/>
                </a:cubicBezTo>
                <a:lnTo>
                  <a:pt x="11360" y="13473"/>
                </a:lnTo>
                <a:lnTo>
                  <a:pt x="8798" y="9630"/>
                </a:lnTo>
                <a:cubicBezTo>
                  <a:pt x="8724" y="9453"/>
                  <a:pt x="8550" y="9327"/>
                  <a:pt x="8345" y="9327"/>
                </a:cubicBezTo>
                <a:cubicBezTo>
                  <a:pt x="8175" y="9327"/>
                  <a:pt x="8033" y="9420"/>
                  <a:pt x="7945" y="9551"/>
                </a:cubicBezTo>
                <a:lnTo>
                  <a:pt x="7937" y="9546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8164" y="18655"/>
                </a:lnTo>
                <a:cubicBezTo>
                  <a:pt x="18435" y="18655"/>
                  <a:pt x="18655" y="18435"/>
                  <a:pt x="18655" y="18164"/>
                </a:cubicBezTo>
                <a:cubicBezTo>
                  <a:pt x="18655" y="18099"/>
                  <a:pt x="18640" y="18039"/>
                  <a:pt x="18618" y="17983"/>
                </a:cubicBezTo>
                <a:cubicBezTo>
                  <a:pt x="18618" y="17983"/>
                  <a:pt x="18620" y="17982"/>
                  <a:pt x="18620" y="17982"/>
                </a:cubicBezTo>
                <a:close/>
                <a:moveTo>
                  <a:pt x="5400" y="3927"/>
                </a:moveTo>
                <a:cubicBezTo>
                  <a:pt x="6213" y="3927"/>
                  <a:pt x="6873" y="4587"/>
                  <a:pt x="6873" y="5400"/>
                </a:cubicBezTo>
                <a:cubicBezTo>
                  <a:pt x="6873" y="6214"/>
                  <a:pt x="6213" y="6873"/>
                  <a:pt x="5400" y="6873"/>
                </a:cubicBezTo>
                <a:cubicBezTo>
                  <a:pt x="4587" y="6873"/>
                  <a:pt x="3927" y="6214"/>
                  <a:pt x="3927" y="5400"/>
                </a:cubicBezTo>
                <a:cubicBezTo>
                  <a:pt x="3927" y="4587"/>
                  <a:pt x="4587" y="3927"/>
                  <a:pt x="5400" y="3927"/>
                </a:cubicBezTo>
                <a:moveTo>
                  <a:pt x="5400" y="7855"/>
                </a:moveTo>
                <a:cubicBezTo>
                  <a:pt x="6756" y="7855"/>
                  <a:pt x="7855" y="6756"/>
                  <a:pt x="7855" y="5400"/>
                </a:cubicBezTo>
                <a:cubicBezTo>
                  <a:pt x="7855" y="4045"/>
                  <a:pt x="6756" y="2945"/>
                  <a:pt x="5400" y="2945"/>
                </a:cubicBezTo>
                <a:cubicBezTo>
                  <a:pt x="4044" y="2945"/>
                  <a:pt x="2945" y="4045"/>
                  <a:pt x="2945" y="5400"/>
                </a:cubicBezTo>
                <a:cubicBezTo>
                  <a:pt x="2945" y="6756"/>
                  <a:pt x="4044" y="7855"/>
                  <a:pt x="5400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563">
            <a:extLst>
              <a:ext uri="{FF2B5EF4-FFF2-40B4-BE49-F238E27FC236}">
                <a16:creationId xmlns:a16="http://schemas.microsoft.com/office/drawing/2014/main" id="{F05D605A-B094-4922-A374-038B413AB95C}"/>
              </a:ext>
            </a:extLst>
          </p:cNvPr>
          <p:cNvSpPr/>
          <p:nvPr/>
        </p:nvSpPr>
        <p:spPr bwMode="gray">
          <a:xfrm>
            <a:off x="5054016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90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4" y="16691"/>
                  <a:pt x="18655" y="16911"/>
                  <a:pt x="18655" y="17182"/>
                </a:cubicBezTo>
                <a:cubicBezTo>
                  <a:pt x="18655" y="17453"/>
                  <a:pt x="18874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4354" y="17673"/>
                </a:moveTo>
                <a:lnTo>
                  <a:pt x="7369" y="13149"/>
                </a:lnTo>
                <a:lnTo>
                  <a:pt x="8875" y="15407"/>
                </a:lnTo>
                <a:cubicBezTo>
                  <a:pt x="8949" y="15584"/>
                  <a:pt x="9123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1198" y="14042"/>
                </a:lnTo>
                <a:lnTo>
                  <a:pt x="13376" y="17673"/>
                </a:lnTo>
                <a:cubicBezTo>
                  <a:pt x="13376" y="17673"/>
                  <a:pt x="4354" y="17673"/>
                  <a:pt x="4354" y="17673"/>
                </a:cubicBezTo>
                <a:close/>
                <a:moveTo>
                  <a:pt x="14692" y="17982"/>
                </a:moveTo>
                <a:lnTo>
                  <a:pt x="14690" y="17977"/>
                </a:lnTo>
                <a:cubicBezTo>
                  <a:pt x="14685" y="17967"/>
                  <a:pt x="14677" y="17959"/>
                  <a:pt x="14673" y="17949"/>
                </a:cubicBezTo>
                <a:lnTo>
                  <a:pt x="11747" y="13073"/>
                </a:lnTo>
                <a:lnTo>
                  <a:pt x="11745" y="13073"/>
                </a:lnTo>
                <a:cubicBezTo>
                  <a:pt x="11673" y="12892"/>
                  <a:pt x="11498" y="12764"/>
                  <a:pt x="11291" y="12764"/>
                </a:cubicBezTo>
                <a:cubicBezTo>
                  <a:pt x="11155" y="12764"/>
                  <a:pt x="11033" y="12819"/>
                  <a:pt x="10944" y="12908"/>
                </a:cubicBezTo>
                <a:lnTo>
                  <a:pt x="9397" y="14454"/>
                </a:lnTo>
                <a:lnTo>
                  <a:pt x="7816" y="12084"/>
                </a:lnTo>
                <a:cubicBezTo>
                  <a:pt x="7742" y="11907"/>
                  <a:pt x="7568" y="11782"/>
                  <a:pt x="7364" y="11782"/>
                </a:cubicBezTo>
                <a:cubicBezTo>
                  <a:pt x="7193" y="11782"/>
                  <a:pt x="7051" y="11874"/>
                  <a:pt x="6963" y="12006"/>
                </a:cubicBezTo>
                <a:lnTo>
                  <a:pt x="6955" y="12000"/>
                </a:lnTo>
                <a:lnTo>
                  <a:pt x="3028" y="17891"/>
                </a:lnTo>
                <a:lnTo>
                  <a:pt x="3036" y="17897"/>
                </a:lnTo>
                <a:cubicBezTo>
                  <a:pt x="2983" y="17974"/>
                  <a:pt x="2945" y="18063"/>
                  <a:pt x="2945" y="18164"/>
                </a:cubicBezTo>
                <a:cubicBezTo>
                  <a:pt x="2945" y="18435"/>
                  <a:pt x="3165" y="18655"/>
                  <a:pt x="3436" y="18655"/>
                </a:cubicBezTo>
                <a:lnTo>
                  <a:pt x="14236" y="18655"/>
                </a:lnTo>
                <a:cubicBezTo>
                  <a:pt x="14508" y="18655"/>
                  <a:pt x="14727" y="18435"/>
                  <a:pt x="14727" y="18164"/>
                </a:cubicBezTo>
                <a:cubicBezTo>
                  <a:pt x="14727" y="18099"/>
                  <a:pt x="14713" y="18039"/>
                  <a:pt x="14691" y="17983"/>
                </a:cubicBezTo>
                <a:cubicBezTo>
                  <a:pt x="14691" y="17983"/>
                  <a:pt x="14692" y="17982"/>
                  <a:pt x="14692" y="17982"/>
                </a:cubicBezTo>
                <a:close/>
                <a:moveTo>
                  <a:pt x="4909" y="7855"/>
                </a:moveTo>
                <a:cubicBezTo>
                  <a:pt x="5451" y="7855"/>
                  <a:pt x="5891" y="8295"/>
                  <a:pt x="5891" y="8836"/>
                </a:cubicBezTo>
                <a:cubicBezTo>
                  <a:pt x="5891" y="9379"/>
                  <a:pt x="5451" y="9818"/>
                  <a:pt x="4909" y="9818"/>
                </a:cubicBezTo>
                <a:cubicBezTo>
                  <a:pt x="4367" y="9818"/>
                  <a:pt x="3927" y="9379"/>
                  <a:pt x="3927" y="8836"/>
                </a:cubicBezTo>
                <a:cubicBezTo>
                  <a:pt x="3927" y="8295"/>
                  <a:pt x="4367" y="7855"/>
                  <a:pt x="4909" y="7855"/>
                </a:cubicBezTo>
                <a:moveTo>
                  <a:pt x="4909" y="10800"/>
                </a:moveTo>
                <a:cubicBezTo>
                  <a:pt x="5994" y="10800"/>
                  <a:pt x="6873" y="9921"/>
                  <a:pt x="6873" y="8836"/>
                </a:cubicBezTo>
                <a:cubicBezTo>
                  <a:pt x="6873" y="7752"/>
                  <a:pt x="5994" y="6873"/>
                  <a:pt x="4909" y="6873"/>
                </a:cubicBezTo>
                <a:cubicBezTo>
                  <a:pt x="3825" y="6873"/>
                  <a:pt x="2945" y="7752"/>
                  <a:pt x="2945" y="8836"/>
                </a:cubicBezTo>
                <a:cubicBezTo>
                  <a:pt x="2945" y="9921"/>
                  <a:pt x="3825" y="10800"/>
                  <a:pt x="4909" y="10800"/>
                </a:cubicBezTo>
                <a:moveTo>
                  <a:pt x="16691" y="19636"/>
                </a:moveTo>
                <a:cubicBezTo>
                  <a:pt x="16691" y="20179"/>
                  <a:pt x="16251" y="20619"/>
                  <a:pt x="15709" y="20619"/>
                </a:cubicBezTo>
                <a:lnTo>
                  <a:pt x="1964" y="20619"/>
                </a:lnTo>
                <a:cubicBezTo>
                  <a:pt x="1422" y="20619"/>
                  <a:pt x="982" y="20179"/>
                  <a:pt x="982" y="19636"/>
                </a:cubicBez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564">
            <a:extLst>
              <a:ext uri="{FF2B5EF4-FFF2-40B4-BE49-F238E27FC236}">
                <a16:creationId xmlns:a16="http://schemas.microsoft.com/office/drawing/2014/main" id="{AEB33E5D-9BEE-4217-BAC9-259FEEA5AC79}"/>
              </a:ext>
            </a:extLst>
          </p:cNvPr>
          <p:cNvSpPr/>
          <p:nvPr/>
        </p:nvSpPr>
        <p:spPr bwMode="gray">
          <a:xfrm>
            <a:off x="5606041" y="341511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18" y="10800"/>
                </a:moveTo>
                <a:lnTo>
                  <a:pt x="11782" y="10800"/>
                </a:lnTo>
                <a:lnTo>
                  <a:pt x="11782" y="12764"/>
                </a:lnTo>
                <a:lnTo>
                  <a:pt x="9818" y="12764"/>
                </a:lnTo>
                <a:cubicBezTo>
                  <a:pt x="9818" y="12764"/>
                  <a:pt x="9818" y="10800"/>
                  <a:pt x="9818" y="10800"/>
                </a:cubicBezTo>
                <a:close/>
                <a:moveTo>
                  <a:pt x="9327" y="13745"/>
                </a:moveTo>
                <a:lnTo>
                  <a:pt x="12273" y="13745"/>
                </a:lnTo>
                <a:cubicBezTo>
                  <a:pt x="12544" y="13745"/>
                  <a:pt x="12764" y="13526"/>
                  <a:pt x="12764" y="13255"/>
                </a:cubicBezTo>
                <a:lnTo>
                  <a:pt x="12764" y="10309"/>
                </a:lnTo>
                <a:cubicBezTo>
                  <a:pt x="12764" y="10038"/>
                  <a:pt x="12544" y="9818"/>
                  <a:pt x="12273" y="9818"/>
                </a:cubicBezTo>
                <a:lnTo>
                  <a:pt x="9327" y="9818"/>
                </a:lnTo>
                <a:cubicBezTo>
                  <a:pt x="9056" y="9818"/>
                  <a:pt x="8836" y="10038"/>
                  <a:pt x="8836" y="10309"/>
                </a:cubicBezTo>
                <a:lnTo>
                  <a:pt x="8836" y="13255"/>
                </a:lnTo>
                <a:cubicBezTo>
                  <a:pt x="8836" y="13526"/>
                  <a:pt x="9056" y="13745"/>
                  <a:pt x="9327" y="13745"/>
                </a:cubicBezTo>
                <a:moveTo>
                  <a:pt x="14727" y="15709"/>
                </a:moveTo>
                <a:lnTo>
                  <a:pt x="16691" y="15709"/>
                </a:lnTo>
                <a:lnTo>
                  <a:pt x="16691" y="17673"/>
                </a:lnTo>
                <a:lnTo>
                  <a:pt x="14727" y="17673"/>
                </a:lnTo>
                <a:cubicBezTo>
                  <a:pt x="14727" y="17673"/>
                  <a:pt x="14727" y="15709"/>
                  <a:pt x="14727" y="15709"/>
                </a:cubicBezTo>
                <a:close/>
                <a:moveTo>
                  <a:pt x="14236" y="18655"/>
                </a:moveTo>
                <a:lnTo>
                  <a:pt x="17182" y="18655"/>
                </a:lnTo>
                <a:cubicBezTo>
                  <a:pt x="17453" y="18655"/>
                  <a:pt x="17673" y="18435"/>
                  <a:pt x="17673" y="18164"/>
                </a:cubicBezTo>
                <a:lnTo>
                  <a:pt x="17673" y="15218"/>
                </a:lnTo>
                <a:cubicBezTo>
                  <a:pt x="17673" y="14947"/>
                  <a:pt x="17453" y="14727"/>
                  <a:pt x="17182" y="14727"/>
                </a:cubicBezTo>
                <a:lnTo>
                  <a:pt x="14236" y="14727"/>
                </a:lnTo>
                <a:cubicBezTo>
                  <a:pt x="13965" y="14727"/>
                  <a:pt x="13745" y="14947"/>
                  <a:pt x="13745" y="15218"/>
                </a:cubicBezTo>
                <a:lnTo>
                  <a:pt x="13745" y="18164"/>
                </a:lnTo>
                <a:cubicBezTo>
                  <a:pt x="13745" y="18435"/>
                  <a:pt x="13965" y="18655"/>
                  <a:pt x="14236" y="18655"/>
                </a:cubicBezTo>
                <a:moveTo>
                  <a:pt x="9818" y="5891"/>
                </a:moveTo>
                <a:lnTo>
                  <a:pt x="11782" y="5891"/>
                </a:lnTo>
                <a:lnTo>
                  <a:pt x="11782" y="7855"/>
                </a:lnTo>
                <a:lnTo>
                  <a:pt x="9818" y="7855"/>
                </a:lnTo>
                <a:cubicBezTo>
                  <a:pt x="9818" y="7855"/>
                  <a:pt x="9818" y="5891"/>
                  <a:pt x="9818" y="5891"/>
                </a:cubicBezTo>
                <a:close/>
                <a:moveTo>
                  <a:pt x="9327" y="8836"/>
                </a:moveTo>
                <a:lnTo>
                  <a:pt x="12273" y="8836"/>
                </a:lnTo>
                <a:cubicBezTo>
                  <a:pt x="12544" y="8836"/>
                  <a:pt x="12764" y="8617"/>
                  <a:pt x="12764" y="8345"/>
                </a:cubicBezTo>
                <a:lnTo>
                  <a:pt x="12764" y="5400"/>
                </a:lnTo>
                <a:cubicBezTo>
                  <a:pt x="12764" y="5129"/>
                  <a:pt x="12544" y="4909"/>
                  <a:pt x="12273" y="4909"/>
                </a:cubicBezTo>
                <a:lnTo>
                  <a:pt x="9327" y="4909"/>
                </a:lnTo>
                <a:cubicBezTo>
                  <a:pt x="9056" y="4909"/>
                  <a:pt x="8836" y="5129"/>
                  <a:pt x="8836" y="5400"/>
                </a:cubicBezTo>
                <a:lnTo>
                  <a:pt x="8836" y="8345"/>
                </a:lnTo>
                <a:cubicBezTo>
                  <a:pt x="8836" y="8617"/>
                  <a:pt x="9056" y="8836"/>
                  <a:pt x="9327" y="8836"/>
                </a:cubicBezTo>
                <a:moveTo>
                  <a:pt x="4909" y="15709"/>
                </a:moveTo>
                <a:lnTo>
                  <a:pt x="6873" y="15709"/>
                </a:lnTo>
                <a:lnTo>
                  <a:pt x="6873" y="17673"/>
                </a:lnTo>
                <a:lnTo>
                  <a:pt x="4909" y="17673"/>
                </a:lnTo>
                <a:cubicBezTo>
                  <a:pt x="4909" y="17673"/>
                  <a:pt x="4909" y="15709"/>
                  <a:pt x="4909" y="15709"/>
                </a:cubicBezTo>
                <a:close/>
                <a:moveTo>
                  <a:pt x="4418" y="18655"/>
                </a:moveTo>
                <a:lnTo>
                  <a:pt x="7364" y="18655"/>
                </a:lnTo>
                <a:cubicBezTo>
                  <a:pt x="7635" y="18655"/>
                  <a:pt x="7855" y="18435"/>
                  <a:pt x="7855" y="18164"/>
                </a:cubicBezTo>
                <a:lnTo>
                  <a:pt x="7855" y="15218"/>
                </a:lnTo>
                <a:cubicBezTo>
                  <a:pt x="7855" y="14947"/>
                  <a:pt x="7635" y="14727"/>
                  <a:pt x="7364" y="14727"/>
                </a:cubicBezTo>
                <a:lnTo>
                  <a:pt x="4418" y="14727"/>
                </a:lnTo>
                <a:cubicBezTo>
                  <a:pt x="4147" y="14727"/>
                  <a:pt x="3927" y="14947"/>
                  <a:pt x="3927" y="15218"/>
                </a:cubicBezTo>
                <a:lnTo>
                  <a:pt x="3927" y="18164"/>
                </a:lnTo>
                <a:cubicBezTo>
                  <a:pt x="3927" y="18435"/>
                  <a:pt x="4147" y="18655"/>
                  <a:pt x="4418" y="18655"/>
                </a:cubicBezTo>
                <a:moveTo>
                  <a:pt x="14727" y="10800"/>
                </a:moveTo>
                <a:lnTo>
                  <a:pt x="16691" y="10800"/>
                </a:lnTo>
                <a:lnTo>
                  <a:pt x="16691" y="12764"/>
                </a:lnTo>
                <a:lnTo>
                  <a:pt x="14727" y="12764"/>
                </a:lnTo>
                <a:cubicBezTo>
                  <a:pt x="14727" y="12764"/>
                  <a:pt x="14727" y="10800"/>
                  <a:pt x="14727" y="10800"/>
                </a:cubicBezTo>
                <a:close/>
                <a:moveTo>
                  <a:pt x="14236" y="13745"/>
                </a:moveTo>
                <a:lnTo>
                  <a:pt x="17182" y="13745"/>
                </a:lnTo>
                <a:cubicBezTo>
                  <a:pt x="17453" y="13745"/>
                  <a:pt x="17673" y="13526"/>
                  <a:pt x="17673" y="13255"/>
                </a:cubicBezTo>
                <a:lnTo>
                  <a:pt x="17673" y="10309"/>
                </a:lnTo>
                <a:cubicBezTo>
                  <a:pt x="17673" y="10038"/>
                  <a:pt x="17453" y="9818"/>
                  <a:pt x="17182" y="9818"/>
                </a:cubicBezTo>
                <a:lnTo>
                  <a:pt x="14236" y="9818"/>
                </a:lnTo>
                <a:cubicBezTo>
                  <a:pt x="13965" y="9818"/>
                  <a:pt x="13745" y="10038"/>
                  <a:pt x="13745" y="10309"/>
                </a:cubicBezTo>
                <a:lnTo>
                  <a:pt x="13745" y="13255"/>
                </a:lnTo>
                <a:cubicBezTo>
                  <a:pt x="13745" y="13526"/>
                  <a:pt x="13965" y="13745"/>
                  <a:pt x="14236" y="13745"/>
                </a:cubicBezTo>
                <a:moveTo>
                  <a:pt x="4909" y="10800"/>
                </a:moveTo>
                <a:lnTo>
                  <a:pt x="6873" y="10800"/>
                </a:lnTo>
                <a:lnTo>
                  <a:pt x="6873" y="12764"/>
                </a:lnTo>
                <a:lnTo>
                  <a:pt x="4909" y="12764"/>
                </a:lnTo>
                <a:cubicBezTo>
                  <a:pt x="4909" y="12764"/>
                  <a:pt x="4909" y="10800"/>
                  <a:pt x="4909" y="10800"/>
                </a:cubicBezTo>
                <a:close/>
                <a:moveTo>
                  <a:pt x="4418" y="13745"/>
                </a:moveTo>
                <a:lnTo>
                  <a:pt x="7364" y="13745"/>
                </a:lnTo>
                <a:cubicBezTo>
                  <a:pt x="7635" y="13745"/>
                  <a:pt x="7855" y="13526"/>
                  <a:pt x="7855" y="13255"/>
                </a:cubicBezTo>
                <a:lnTo>
                  <a:pt x="7855" y="10309"/>
                </a:lnTo>
                <a:cubicBezTo>
                  <a:pt x="7855" y="10038"/>
                  <a:pt x="7635" y="9818"/>
                  <a:pt x="7364" y="9818"/>
                </a:cubicBezTo>
                <a:lnTo>
                  <a:pt x="4418" y="9818"/>
                </a:lnTo>
                <a:cubicBezTo>
                  <a:pt x="4147" y="9818"/>
                  <a:pt x="3927" y="10038"/>
                  <a:pt x="3927" y="10309"/>
                </a:cubicBezTo>
                <a:lnTo>
                  <a:pt x="3927" y="13255"/>
                </a:lnTo>
                <a:cubicBezTo>
                  <a:pt x="3927" y="13526"/>
                  <a:pt x="4147" y="13745"/>
                  <a:pt x="4418" y="13745"/>
                </a:cubicBezTo>
                <a:moveTo>
                  <a:pt x="4909" y="5891"/>
                </a:moveTo>
                <a:lnTo>
                  <a:pt x="6873" y="5891"/>
                </a:lnTo>
                <a:lnTo>
                  <a:pt x="6873" y="7855"/>
                </a:lnTo>
                <a:lnTo>
                  <a:pt x="4909" y="7855"/>
                </a:lnTo>
                <a:cubicBezTo>
                  <a:pt x="4909" y="7855"/>
                  <a:pt x="4909" y="5891"/>
                  <a:pt x="4909" y="5891"/>
                </a:cubicBezTo>
                <a:close/>
                <a:moveTo>
                  <a:pt x="4418" y="8836"/>
                </a:moveTo>
                <a:lnTo>
                  <a:pt x="7364" y="8836"/>
                </a:lnTo>
                <a:cubicBezTo>
                  <a:pt x="7635" y="8836"/>
                  <a:pt x="7855" y="8617"/>
                  <a:pt x="7855" y="8345"/>
                </a:cubicBezTo>
                <a:lnTo>
                  <a:pt x="7855" y="5400"/>
                </a:lnTo>
                <a:cubicBezTo>
                  <a:pt x="7855" y="5129"/>
                  <a:pt x="7635" y="4909"/>
                  <a:pt x="7364" y="4909"/>
                </a:cubicBezTo>
                <a:lnTo>
                  <a:pt x="4418" y="4909"/>
                </a:lnTo>
                <a:cubicBezTo>
                  <a:pt x="4147" y="4909"/>
                  <a:pt x="3927" y="5129"/>
                  <a:pt x="3927" y="5400"/>
                </a:cubicBezTo>
                <a:lnTo>
                  <a:pt x="3927" y="8345"/>
                </a:lnTo>
                <a:cubicBezTo>
                  <a:pt x="3927" y="8617"/>
                  <a:pt x="4147" y="8836"/>
                  <a:pt x="4418" y="8836"/>
                </a:cubicBezTo>
                <a:moveTo>
                  <a:pt x="14727" y="5891"/>
                </a:moveTo>
                <a:lnTo>
                  <a:pt x="16691" y="5891"/>
                </a:lnTo>
                <a:lnTo>
                  <a:pt x="16691" y="7855"/>
                </a:lnTo>
                <a:lnTo>
                  <a:pt x="14727" y="7855"/>
                </a:lnTo>
                <a:cubicBezTo>
                  <a:pt x="14727" y="7855"/>
                  <a:pt x="14727" y="5891"/>
                  <a:pt x="14727" y="5891"/>
                </a:cubicBezTo>
                <a:close/>
                <a:moveTo>
                  <a:pt x="14236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lnTo>
                  <a:pt x="17673" y="5400"/>
                </a:lnTo>
                <a:cubicBezTo>
                  <a:pt x="17673" y="5129"/>
                  <a:pt x="17453" y="4909"/>
                  <a:pt x="17182" y="4909"/>
                </a:cubicBezTo>
                <a:lnTo>
                  <a:pt x="14236" y="4909"/>
                </a:lnTo>
                <a:cubicBezTo>
                  <a:pt x="13965" y="4909"/>
                  <a:pt x="13745" y="5129"/>
                  <a:pt x="13745" y="5400"/>
                </a:cubicBezTo>
                <a:lnTo>
                  <a:pt x="13745" y="8345"/>
                </a:lnTo>
                <a:cubicBezTo>
                  <a:pt x="13745" y="8617"/>
                  <a:pt x="13965" y="8836"/>
                  <a:pt x="14236" y="8836"/>
                </a:cubicBezTo>
                <a:moveTo>
                  <a:pt x="19636" y="1964"/>
                </a:moveTo>
                <a:lnTo>
                  <a:pt x="1964" y="1964"/>
                </a:lnTo>
                <a:lnTo>
                  <a:pt x="1964" y="982"/>
                </a:lnTo>
                <a:lnTo>
                  <a:pt x="19636" y="982"/>
                </a:lnTo>
                <a:cubicBezTo>
                  <a:pt x="19636" y="982"/>
                  <a:pt x="19636" y="1964"/>
                  <a:pt x="19636" y="1964"/>
                </a:cubicBezTo>
                <a:close/>
                <a:moveTo>
                  <a:pt x="19636" y="20618"/>
                </a:moveTo>
                <a:lnTo>
                  <a:pt x="12764" y="20618"/>
                </a:lnTo>
                <a:lnTo>
                  <a:pt x="12764" y="15218"/>
                </a:lnTo>
                <a:cubicBezTo>
                  <a:pt x="12764" y="14947"/>
                  <a:pt x="12544" y="14727"/>
                  <a:pt x="12273" y="14727"/>
                </a:cubicBezTo>
                <a:lnTo>
                  <a:pt x="9327" y="14727"/>
                </a:lnTo>
                <a:cubicBezTo>
                  <a:pt x="9056" y="14727"/>
                  <a:pt x="8836" y="14947"/>
                  <a:pt x="8836" y="15218"/>
                </a:cubicBezTo>
                <a:lnTo>
                  <a:pt x="8836" y="20618"/>
                </a:lnTo>
                <a:lnTo>
                  <a:pt x="1964" y="20618"/>
                </a:lnTo>
                <a:lnTo>
                  <a:pt x="1964" y="2945"/>
                </a:lnTo>
                <a:lnTo>
                  <a:pt x="19636" y="2945"/>
                </a:lnTo>
                <a:cubicBezTo>
                  <a:pt x="19636" y="2945"/>
                  <a:pt x="19636" y="20618"/>
                  <a:pt x="19636" y="20618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5709"/>
                </a:lnTo>
                <a:lnTo>
                  <a:pt x="11782" y="15709"/>
                </a:lnTo>
                <a:cubicBezTo>
                  <a:pt x="11782" y="15709"/>
                  <a:pt x="11782" y="20618"/>
                  <a:pt x="11782" y="20618"/>
                </a:cubicBezTo>
                <a:close/>
                <a:moveTo>
                  <a:pt x="21109" y="1964"/>
                </a:moveTo>
                <a:lnTo>
                  <a:pt x="20618" y="1964"/>
                </a:lnTo>
                <a:lnTo>
                  <a:pt x="20618" y="491"/>
                </a:lnTo>
                <a:cubicBezTo>
                  <a:pt x="20618" y="220"/>
                  <a:pt x="20399" y="0"/>
                  <a:pt x="20127" y="0"/>
                </a:cubicBezTo>
                <a:lnTo>
                  <a:pt x="1473" y="0"/>
                </a:lnTo>
                <a:cubicBezTo>
                  <a:pt x="1201" y="0"/>
                  <a:pt x="982" y="220"/>
                  <a:pt x="982" y="491"/>
                </a:cubicBezTo>
                <a:lnTo>
                  <a:pt x="982" y="1964"/>
                </a:lnTo>
                <a:lnTo>
                  <a:pt x="491" y="1964"/>
                </a:lnTo>
                <a:cubicBezTo>
                  <a:pt x="220" y="1964"/>
                  <a:pt x="0" y="2184"/>
                  <a:pt x="0" y="2455"/>
                </a:cubicBezTo>
                <a:cubicBezTo>
                  <a:pt x="0" y="2726"/>
                  <a:pt x="220" y="2945"/>
                  <a:pt x="491" y="2945"/>
                </a:cubicBezTo>
                <a:lnTo>
                  <a:pt x="982" y="2945"/>
                </a:lnTo>
                <a:lnTo>
                  <a:pt x="982" y="21109"/>
                </a:lnTo>
                <a:cubicBezTo>
                  <a:pt x="982" y="21381"/>
                  <a:pt x="1201" y="21600"/>
                  <a:pt x="1473" y="21600"/>
                </a:cubicBezTo>
                <a:lnTo>
                  <a:pt x="20127" y="21600"/>
                </a:lnTo>
                <a:cubicBezTo>
                  <a:pt x="20399" y="21600"/>
                  <a:pt x="20618" y="21381"/>
                  <a:pt x="20618" y="21109"/>
                </a:cubicBezTo>
                <a:lnTo>
                  <a:pt x="20618" y="2945"/>
                </a:lnTo>
                <a:lnTo>
                  <a:pt x="21109" y="2945"/>
                </a:lnTo>
                <a:cubicBezTo>
                  <a:pt x="21380" y="2945"/>
                  <a:pt x="21600" y="2726"/>
                  <a:pt x="21600" y="2455"/>
                </a:cubicBezTo>
                <a:cubicBezTo>
                  <a:pt x="21600" y="2184"/>
                  <a:pt x="21380" y="1964"/>
                  <a:pt x="21109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565">
            <a:extLst>
              <a:ext uri="{FF2B5EF4-FFF2-40B4-BE49-F238E27FC236}">
                <a16:creationId xmlns:a16="http://schemas.microsoft.com/office/drawing/2014/main" id="{F4429DCE-17A2-4CC3-8E3F-04166E5E0D15}"/>
              </a:ext>
            </a:extLst>
          </p:cNvPr>
          <p:cNvSpPr/>
          <p:nvPr/>
        </p:nvSpPr>
        <p:spPr bwMode="gray">
          <a:xfrm>
            <a:off x="637821" y="3993429"/>
            <a:ext cx="289156" cy="236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8400"/>
                </a:moveTo>
                <a:lnTo>
                  <a:pt x="13745" y="8400"/>
                </a:lnTo>
                <a:lnTo>
                  <a:pt x="13745" y="9600"/>
                </a:lnTo>
                <a:lnTo>
                  <a:pt x="7855" y="9600"/>
                </a:lnTo>
                <a:cubicBezTo>
                  <a:pt x="7855" y="9600"/>
                  <a:pt x="7855" y="8400"/>
                  <a:pt x="7855" y="8400"/>
                </a:cubicBezTo>
                <a:close/>
                <a:moveTo>
                  <a:pt x="7855" y="10800"/>
                </a:moveTo>
                <a:lnTo>
                  <a:pt x="13745" y="10800"/>
                </a:lnTo>
                <a:cubicBezTo>
                  <a:pt x="14287" y="10800"/>
                  <a:pt x="14727" y="10262"/>
                  <a:pt x="14727" y="9600"/>
                </a:cubicBezTo>
                <a:lnTo>
                  <a:pt x="14727" y="8400"/>
                </a:lnTo>
                <a:cubicBezTo>
                  <a:pt x="14727" y="7737"/>
                  <a:pt x="14287" y="7200"/>
                  <a:pt x="13745" y="7200"/>
                </a:cubicBezTo>
                <a:lnTo>
                  <a:pt x="7855" y="7200"/>
                </a:lnTo>
                <a:cubicBezTo>
                  <a:pt x="7313" y="7200"/>
                  <a:pt x="6873" y="7737"/>
                  <a:pt x="6873" y="8400"/>
                </a:cubicBezTo>
                <a:lnTo>
                  <a:pt x="6873" y="9600"/>
                </a:lnTo>
                <a:cubicBezTo>
                  <a:pt x="6873" y="10262"/>
                  <a:pt x="7313" y="10800"/>
                  <a:pt x="7855" y="10800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566">
            <a:extLst>
              <a:ext uri="{FF2B5EF4-FFF2-40B4-BE49-F238E27FC236}">
                <a16:creationId xmlns:a16="http://schemas.microsoft.com/office/drawing/2014/main" id="{3DF5EAF6-114B-4E5A-8B70-7B4364577B7C}"/>
              </a:ext>
            </a:extLst>
          </p:cNvPr>
          <p:cNvSpPr/>
          <p:nvPr/>
        </p:nvSpPr>
        <p:spPr bwMode="gray">
          <a:xfrm>
            <a:off x="1189845" y="3993429"/>
            <a:ext cx="289156" cy="236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2000"/>
                </a:moveTo>
                <a:cubicBezTo>
                  <a:pt x="6653" y="12000"/>
                  <a:pt x="6873" y="12268"/>
                  <a:pt x="6873" y="12599"/>
                </a:cubicBezTo>
                <a:cubicBezTo>
                  <a:pt x="6873" y="12931"/>
                  <a:pt x="6653" y="13199"/>
                  <a:pt x="6382" y="13199"/>
                </a:cubicBezTo>
                <a:cubicBezTo>
                  <a:pt x="6111" y="13199"/>
                  <a:pt x="5891" y="12931"/>
                  <a:pt x="5891" y="12599"/>
                </a:cubicBezTo>
                <a:cubicBezTo>
                  <a:pt x="5891" y="12268"/>
                  <a:pt x="6111" y="12000"/>
                  <a:pt x="6382" y="12000"/>
                </a:cubicBezTo>
                <a:moveTo>
                  <a:pt x="6382" y="14399"/>
                </a:moveTo>
                <a:cubicBezTo>
                  <a:pt x="7195" y="14399"/>
                  <a:pt x="7855" y="13594"/>
                  <a:pt x="7855" y="12599"/>
                </a:cubicBezTo>
                <a:cubicBezTo>
                  <a:pt x="7855" y="11606"/>
                  <a:pt x="7195" y="10800"/>
                  <a:pt x="6382" y="10800"/>
                </a:cubicBezTo>
                <a:cubicBezTo>
                  <a:pt x="5568" y="10800"/>
                  <a:pt x="4909" y="11606"/>
                  <a:pt x="4909" y="12599"/>
                </a:cubicBezTo>
                <a:cubicBezTo>
                  <a:pt x="4909" y="13594"/>
                  <a:pt x="5568" y="14399"/>
                  <a:pt x="6382" y="14399"/>
                </a:cubicBezTo>
                <a:moveTo>
                  <a:pt x="20618" y="3600"/>
                </a:moveTo>
                <a:lnTo>
                  <a:pt x="982" y="36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3600"/>
                  <a:pt x="20618" y="3600"/>
                </a:cubicBezTo>
                <a:close/>
                <a:moveTo>
                  <a:pt x="18655" y="20399"/>
                </a:moveTo>
                <a:lnTo>
                  <a:pt x="2945" y="20399"/>
                </a:lnTo>
                <a:lnTo>
                  <a:pt x="2945" y="4800"/>
                </a:lnTo>
                <a:lnTo>
                  <a:pt x="18655" y="4800"/>
                </a:lnTo>
                <a:cubicBezTo>
                  <a:pt x="18655" y="4800"/>
                  <a:pt x="18655" y="20399"/>
                  <a:pt x="18655" y="2039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3600"/>
                </a:lnTo>
                <a:cubicBezTo>
                  <a:pt x="0" y="4263"/>
                  <a:pt x="440" y="4800"/>
                  <a:pt x="982" y="4800"/>
                </a:cubicBezTo>
                <a:lnTo>
                  <a:pt x="1964" y="4800"/>
                </a:lnTo>
                <a:lnTo>
                  <a:pt x="1964" y="20399"/>
                </a:lnTo>
                <a:cubicBezTo>
                  <a:pt x="1964" y="21062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062"/>
                  <a:pt x="19636" y="20399"/>
                </a:cubicBezTo>
                <a:lnTo>
                  <a:pt x="19636" y="4800"/>
                </a:lnTo>
                <a:lnTo>
                  <a:pt x="20618" y="4800"/>
                </a:lnTo>
                <a:cubicBezTo>
                  <a:pt x="21160" y="4800"/>
                  <a:pt x="21600" y="4263"/>
                  <a:pt x="21600" y="3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0800" y="12000"/>
                </a:moveTo>
                <a:cubicBezTo>
                  <a:pt x="11071" y="12000"/>
                  <a:pt x="11291" y="12268"/>
                  <a:pt x="11291" y="12599"/>
                </a:cubicBezTo>
                <a:cubicBezTo>
                  <a:pt x="11291" y="12931"/>
                  <a:pt x="11071" y="13199"/>
                  <a:pt x="10800" y="13199"/>
                </a:cubicBezTo>
                <a:cubicBezTo>
                  <a:pt x="10529" y="13199"/>
                  <a:pt x="10309" y="12931"/>
                  <a:pt x="10309" y="12599"/>
                </a:cubicBezTo>
                <a:cubicBezTo>
                  <a:pt x="10309" y="12268"/>
                  <a:pt x="10529" y="12000"/>
                  <a:pt x="10800" y="12000"/>
                </a:cubicBezTo>
                <a:moveTo>
                  <a:pt x="10800" y="14399"/>
                </a:moveTo>
                <a:cubicBezTo>
                  <a:pt x="11614" y="14399"/>
                  <a:pt x="12273" y="13594"/>
                  <a:pt x="12273" y="12599"/>
                </a:cubicBezTo>
                <a:cubicBezTo>
                  <a:pt x="12273" y="11606"/>
                  <a:pt x="11614" y="10800"/>
                  <a:pt x="10800" y="10800"/>
                </a:cubicBezTo>
                <a:cubicBezTo>
                  <a:pt x="9986" y="10800"/>
                  <a:pt x="9327" y="11606"/>
                  <a:pt x="9327" y="12599"/>
                </a:cubicBezTo>
                <a:cubicBezTo>
                  <a:pt x="9327" y="13594"/>
                  <a:pt x="9986" y="14399"/>
                  <a:pt x="10800" y="14399"/>
                </a:cubicBezTo>
                <a:moveTo>
                  <a:pt x="15218" y="12000"/>
                </a:moveTo>
                <a:cubicBezTo>
                  <a:pt x="15489" y="12000"/>
                  <a:pt x="15709" y="12268"/>
                  <a:pt x="15709" y="12599"/>
                </a:cubicBezTo>
                <a:cubicBezTo>
                  <a:pt x="15709" y="12931"/>
                  <a:pt x="15489" y="13199"/>
                  <a:pt x="15218" y="13199"/>
                </a:cubicBezTo>
                <a:cubicBezTo>
                  <a:pt x="14947" y="13199"/>
                  <a:pt x="14727" y="12931"/>
                  <a:pt x="14727" y="12599"/>
                </a:cubicBezTo>
                <a:cubicBezTo>
                  <a:pt x="14727" y="12268"/>
                  <a:pt x="14947" y="12000"/>
                  <a:pt x="15218" y="12000"/>
                </a:cubicBezTo>
                <a:moveTo>
                  <a:pt x="15218" y="14399"/>
                </a:moveTo>
                <a:cubicBezTo>
                  <a:pt x="16032" y="14399"/>
                  <a:pt x="16691" y="13594"/>
                  <a:pt x="16691" y="12599"/>
                </a:cubicBezTo>
                <a:cubicBezTo>
                  <a:pt x="16691" y="11606"/>
                  <a:pt x="16032" y="10800"/>
                  <a:pt x="15218" y="10800"/>
                </a:cubicBezTo>
                <a:cubicBezTo>
                  <a:pt x="14405" y="10800"/>
                  <a:pt x="13745" y="11606"/>
                  <a:pt x="13745" y="12599"/>
                </a:cubicBezTo>
                <a:cubicBezTo>
                  <a:pt x="13745" y="13594"/>
                  <a:pt x="14405" y="14399"/>
                  <a:pt x="15218" y="14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567">
            <a:extLst>
              <a:ext uri="{FF2B5EF4-FFF2-40B4-BE49-F238E27FC236}">
                <a16:creationId xmlns:a16="http://schemas.microsoft.com/office/drawing/2014/main" id="{495057E6-B054-48C6-B1DE-8CFBBA43D3DE}"/>
              </a:ext>
            </a:extLst>
          </p:cNvPr>
          <p:cNvSpPr/>
          <p:nvPr/>
        </p:nvSpPr>
        <p:spPr bwMode="gray">
          <a:xfrm>
            <a:off x="1741870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11782"/>
                </a:moveTo>
                <a:cubicBezTo>
                  <a:pt x="7584" y="11782"/>
                  <a:pt x="7364" y="12001"/>
                  <a:pt x="7364" y="12272"/>
                </a:cubicBezTo>
                <a:cubicBezTo>
                  <a:pt x="7364" y="12408"/>
                  <a:pt x="7419" y="12531"/>
                  <a:pt x="7507" y="12619"/>
                </a:cubicBezTo>
                <a:lnTo>
                  <a:pt x="10453" y="15565"/>
                </a:lnTo>
                <a:cubicBezTo>
                  <a:pt x="10542" y="15654"/>
                  <a:pt x="10665" y="15709"/>
                  <a:pt x="10800" y="15709"/>
                </a:cubicBezTo>
                <a:cubicBezTo>
                  <a:pt x="10935" y="15709"/>
                  <a:pt x="11058" y="15654"/>
                  <a:pt x="11147" y="15565"/>
                </a:cubicBezTo>
                <a:lnTo>
                  <a:pt x="14093" y="12619"/>
                </a:lnTo>
                <a:cubicBezTo>
                  <a:pt x="14181" y="12531"/>
                  <a:pt x="14236" y="12408"/>
                  <a:pt x="14236" y="12272"/>
                </a:cubicBezTo>
                <a:cubicBezTo>
                  <a:pt x="14236" y="12001"/>
                  <a:pt x="14016" y="11782"/>
                  <a:pt x="13745" y="11782"/>
                </a:cubicBezTo>
                <a:cubicBezTo>
                  <a:pt x="13610" y="11782"/>
                  <a:pt x="13487" y="11837"/>
                  <a:pt x="13398" y="11925"/>
                </a:cubicBezTo>
                <a:lnTo>
                  <a:pt x="11291" y="14033"/>
                </a:lnTo>
                <a:lnTo>
                  <a:pt x="11291" y="492"/>
                </a:lnTo>
                <a:lnTo>
                  <a:pt x="11291" y="491"/>
                </a:lnTo>
                <a:cubicBezTo>
                  <a:pt x="11291" y="220"/>
                  <a:pt x="11071" y="0"/>
                  <a:pt x="10800" y="0"/>
                </a:cubicBezTo>
                <a:cubicBezTo>
                  <a:pt x="10529" y="0"/>
                  <a:pt x="10309" y="220"/>
                  <a:pt x="10309" y="491"/>
                </a:cubicBezTo>
                <a:lnTo>
                  <a:pt x="10309" y="14033"/>
                </a:lnTo>
                <a:lnTo>
                  <a:pt x="8202" y="11925"/>
                </a:lnTo>
                <a:cubicBezTo>
                  <a:pt x="8113" y="11837"/>
                  <a:pt x="7990" y="11782"/>
                  <a:pt x="785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568">
            <a:extLst>
              <a:ext uri="{FF2B5EF4-FFF2-40B4-BE49-F238E27FC236}">
                <a16:creationId xmlns:a16="http://schemas.microsoft.com/office/drawing/2014/main" id="{5C2BEC2D-7421-4173-A8C7-0CB27889F1B8}"/>
              </a:ext>
            </a:extLst>
          </p:cNvPr>
          <p:cNvSpPr/>
          <p:nvPr/>
        </p:nvSpPr>
        <p:spPr bwMode="gray">
          <a:xfrm>
            <a:off x="2293894" y="3967142"/>
            <a:ext cx="289156" cy="2891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4909"/>
                </a:moveTo>
                <a:lnTo>
                  <a:pt x="12764" y="4909"/>
                </a:lnTo>
                <a:cubicBezTo>
                  <a:pt x="12493" y="4909"/>
                  <a:pt x="12273" y="5129"/>
                  <a:pt x="12273" y="5400"/>
                </a:cubicBezTo>
                <a:cubicBezTo>
                  <a:pt x="12273" y="5671"/>
                  <a:pt x="12493" y="5891"/>
                  <a:pt x="12764" y="5891"/>
                </a:cubicBezTo>
                <a:lnTo>
                  <a:pt x="20618" y="5891"/>
                </a:lnTo>
                <a:lnTo>
                  <a:pt x="20618" y="7854"/>
                </a:lnTo>
                <a:lnTo>
                  <a:pt x="12764" y="7854"/>
                </a:lnTo>
                <a:cubicBezTo>
                  <a:pt x="12493" y="7854"/>
                  <a:pt x="12273" y="8074"/>
                  <a:pt x="12273" y="8345"/>
                </a:cubicBezTo>
                <a:cubicBezTo>
                  <a:pt x="12273" y="8617"/>
                  <a:pt x="12493" y="8836"/>
                  <a:pt x="12764" y="8836"/>
                </a:cubicBezTo>
                <a:lnTo>
                  <a:pt x="18655" y="8836"/>
                </a:lnTo>
                <a:lnTo>
                  <a:pt x="18655" y="20617"/>
                </a:lnTo>
                <a:lnTo>
                  <a:pt x="2945" y="20617"/>
                </a:lnTo>
                <a:lnTo>
                  <a:pt x="2945" y="8836"/>
                </a:lnTo>
                <a:lnTo>
                  <a:pt x="8836" y="8836"/>
                </a:lnTo>
                <a:cubicBezTo>
                  <a:pt x="9107" y="8836"/>
                  <a:pt x="9327" y="8617"/>
                  <a:pt x="9327" y="8345"/>
                </a:cubicBezTo>
                <a:cubicBezTo>
                  <a:pt x="9327" y="8074"/>
                  <a:pt x="9107" y="7854"/>
                  <a:pt x="8836" y="7854"/>
                </a:cubicBezTo>
                <a:lnTo>
                  <a:pt x="982" y="7854"/>
                </a:lnTo>
                <a:lnTo>
                  <a:pt x="982" y="5891"/>
                </a:lnTo>
                <a:lnTo>
                  <a:pt x="8836" y="5891"/>
                </a:lnTo>
                <a:cubicBezTo>
                  <a:pt x="9107" y="5891"/>
                  <a:pt x="9327" y="5671"/>
                  <a:pt x="9327" y="5400"/>
                </a:cubicBezTo>
                <a:cubicBezTo>
                  <a:pt x="9327" y="5129"/>
                  <a:pt x="9107" y="4909"/>
                  <a:pt x="8836" y="4909"/>
                </a:cubicBez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7854"/>
                </a:lnTo>
                <a:cubicBezTo>
                  <a:pt x="0" y="8396"/>
                  <a:pt x="440" y="8836"/>
                  <a:pt x="982" y="8836"/>
                </a:cubicBezTo>
                <a:lnTo>
                  <a:pt x="1964" y="8836"/>
                </a:lnTo>
                <a:lnTo>
                  <a:pt x="1964" y="20617"/>
                </a:lnTo>
                <a:cubicBezTo>
                  <a:pt x="1964" y="21159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59"/>
                  <a:pt x="19636" y="20617"/>
                </a:cubicBezTo>
                <a:lnTo>
                  <a:pt x="19636" y="8836"/>
                </a:lnTo>
                <a:lnTo>
                  <a:pt x="20618" y="8836"/>
                </a:lnTo>
                <a:cubicBezTo>
                  <a:pt x="21160" y="8836"/>
                  <a:pt x="21600" y="8396"/>
                  <a:pt x="21600" y="7854"/>
                </a:cubicBezTo>
                <a:lnTo>
                  <a:pt x="21600" y="5891"/>
                </a:lnTo>
                <a:cubicBezTo>
                  <a:pt x="21600" y="5349"/>
                  <a:pt x="21160" y="4909"/>
                  <a:pt x="20618" y="4909"/>
                </a:cubicBezTo>
                <a:moveTo>
                  <a:pt x="7855" y="3927"/>
                </a:moveTo>
                <a:cubicBezTo>
                  <a:pt x="7990" y="3927"/>
                  <a:pt x="8113" y="3872"/>
                  <a:pt x="8202" y="3784"/>
                </a:cubicBezTo>
                <a:lnTo>
                  <a:pt x="10309" y="1676"/>
                </a:lnTo>
                <a:lnTo>
                  <a:pt x="10309" y="15218"/>
                </a:lnTo>
                <a:lnTo>
                  <a:pt x="10309" y="15218"/>
                </a:lnTo>
                <a:cubicBezTo>
                  <a:pt x="10309" y="15489"/>
                  <a:pt x="10529" y="15709"/>
                  <a:pt x="10800" y="15709"/>
                </a:cubicBezTo>
                <a:cubicBezTo>
                  <a:pt x="11071" y="15709"/>
                  <a:pt x="11291" y="15489"/>
                  <a:pt x="11291" y="15218"/>
                </a:cubicBezTo>
                <a:lnTo>
                  <a:pt x="11291" y="1676"/>
                </a:lnTo>
                <a:lnTo>
                  <a:pt x="13398" y="3784"/>
                </a:lnTo>
                <a:cubicBezTo>
                  <a:pt x="13487" y="3872"/>
                  <a:pt x="13610" y="3927"/>
                  <a:pt x="13745" y="3927"/>
                </a:cubicBezTo>
                <a:cubicBezTo>
                  <a:pt x="14016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9" y="3178"/>
                  <a:pt x="7364" y="3301"/>
                  <a:pt x="7364" y="3436"/>
                </a:cubicBezTo>
                <a:cubicBezTo>
                  <a:pt x="7364" y="3708"/>
                  <a:pt x="7584" y="3927"/>
                  <a:pt x="7855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569">
            <a:extLst>
              <a:ext uri="{FF2B5EF4-FFF2-40B4-BE49-F238E27FC236}">
                <a16:creationId xmlns:a16="http://schemas.microsoft.com/office/drawing/2014/main" id="{1C689454-553B-4DF1-A5F6-F57A10F842A1}"/>
              </a:ext>
            </a:extLst>
          </p:cNvPr>
          <p:cNvSpPr/>
          <p:nvPr/>
        </p:nvSpPr>
        <p:spPr bwMode="gray">
          <a:xfrm>
            <a:off x="2845919" y="3967142"/>
            <a:ext cx="289156" cy="289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570">
            <a:extLst>
              <a:ext uri="{FF2B5EF4-FFF2-40B4-BE49-F238E27FC236}">
                <a16:creationId xmlns:a16="http://schemas.microsoft.com/office/drawing/2014/main" id="{9B24BCC1-615B-45D5-B612-5DCC793D84CC}"/>
              </a:ext>
            </a:extLst>
          </p:cNvPr>
          <p:cNvSpPr/>
          <p:nvPr/>
        </p:nvSpPr>
        <p:spPr bwMode="gray">
          <a:xfrm>
            <a:off x="3397943" y="3973714"/>
            <a:ext cx="289156" cy="2825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19" extrusionOk="0">
                <a:moveTo>
                  <a:pt x="7530" y="4197"/>
                </a:moveTo>
                <a:lnTo>
                  <a:pt x="6680" y="3701"/>
                </a:lnTo>
                <a:lnTo>
                  <a:pt x="6189" y="4560"/>
                </a:lnTo>
                <a:lnTo>
                  <a:pt x="7040" y="5056"/>
                </a:lnTo>
                <a:cubicBezTo>
                  <a:pt x="7040" y="5056"/>
                  <a:pt x="7530" y="4197"/>
                  <a:pt x="7530" y="4197"/>
                </a:cubicBezTo>
                <a:close/>
                <a:moveTo>
                  <a:pt x="8512" y="2479"/>
                </a:moveTo>
                <a:lnTo>
                  <a:pt x="7662" y="1984"/>
                </a:lnTo>
                <a:lnTo>
                  <a:pt x="7171" y="2843"/>
                </a:lnTo>
                <a:lnTo>
                  <a:pt x="8021" y="3339"/>
                </a:lnTo>
                <a:cubicBezTo>
                  <a:pt x="8021" y="3339"/>
                  <a:pt x="8512" y="2479"/>
                  <a:pt x="8512" y="2479"/>
                </a:cubicBezTo>
                <a:close/>
                <a:moveTo>
                  <a:pt x="20618" y="8428"/>
                </a:moveTo>
                <a:lnTo>
                  <a:pt x="982" y="8428"/>
                </a:lnTo>
                <a:lnTo>
                  <a:pt x="982" y="6445"/>
                </a:lnTo>
                <a:lnTo>
                  <a:pt x="20618" y="6445"/>
                </a:lnTo>
                <a:cubicBezTo>
                  <a:pt x="20618" y="6445"/>
                  <a:pt x="20618" y="8428"/>
                  <a:pt x="20618" y="8428"/>
                </a:cubicBezTo>
                <a:close/>
                <a:moveTo>
                  <a:pt x="18655" y="20327"/>
                </a:moveTo>
                <a:lnTo>
                  <a:pt x="2945" y="20327"/>
                </a:lnTo>
                <a:lnTo>
                  <a:pt x="2945" y="9420"/>
                </a:lnTo>
                <a:lnTo>
                  <a:pt x="18655" y="9420"/>
                </a:lnTo>
                <a:cubicBezTo>
                  <a:pt x="18655" y="9420"/>
                  <a:pt x="18655" y="20327"/>
                  <a:pt x="18655" y="20327"/>
                </a:cubicBezTo>
                <a:close/>
                <a:moveTo>
                  <a:pt x="6811" y="1488"/>
                </a:moveTo>
                <a:cubicBezTo>
                  <a:pt x="7083" y="1014"/>
                  <a:pt x="7683" y="851"/>
                  <a:pt x="8153" y="1125"/>
                </a:cubicBezTo>
                <a:lnTo>
                  <a:pt x="9854" y="2117"/>
                </a:lnTo>
                <a:lnTo>
                  <a:pt x="7946" y="5454"/>
                </a:lnTo>
                <a:lnTo>
                  <a:pt x="5759" y="5454"/>
                </a:lnTo>
                <a:lnTo>
                  <a:pt x="5698" y="5419"/>
                </a:lnTo>
                <a:lnTo>
                  <a:pt x="5678" y="5454"/>
                </a:lnTo>
                <a:lnTo>
                  <a:pt x="4545" y="5454"/>
                </a:lnTo>
                <a:cubicBezTo>
                  <a:pt x="4545" y="5454"/>
                  <a:pt x="6811" y="1488"/>
                  <a:pt x="6811" y="1488"/>
                </a:cubicBezTo>
                <a:close/>
                <a:moveTo>
                  <a:pt x="15577" y="5454"/>
                </a:moveTo>
                <a:lnTo>
                  <a:pt x="9079" y="5454"/>
                </a:lnTo>
                <a:lnTo>
                  <a:pt x="10704" y="2612"/>
                </a:lnTo>
                <a:cubicBezTo>
                  <a:pt x="10704" y="2612"/>
                  <a:pt x="15577" y="5454"/>
                  <a:pt x="15577" y="5454"/>
                </a:cubicBezTo>
                <a:close/>
                <a:moveTo>
                  <a:pt x="15930" y="2759"/>
                </a:moveTo>
                <a:cubicBezTo>
                  <a:pt x="16454" y="2617"/>
                  <a:pt x="16991" y="2931"/>
                  <a:pt x="17132" y="3460"/>
                </a:cubicBezTo>
                <a:lnTo>
                  <a:pt x="17661" y="5454"/>
                </a:lnTo>
                <a:lnTo>
                  <a:pt x="17540" y="5454"/>
                </a:lnTo>
                <a:lnTo>
                  <a:pt x="16279" y="4718"/>
                </a:lnTo>
                <a:lnTo>
                  <a:pt x="16438" y="4674"/>
                </a:lnTo>
                <a:lnTo>
                  <a:pt x="16184" y="3716"/>
                </a:lnTo>
                <a:lnTo>
                  <a:pt x="15236" y="3973"/>
                </a:lnTo>
                <a:lnTo>
                  <a:pt x="15279" y="4135"/>
                </a:lnTo>
                <a:lnTo>
                  <a:pt x="14076" y="3434"/>
                </a:lnTo>
                <a:lnTo>
                  <a:pt x="14033" y="3272"/>
                </a:lnTo>
                <a:cubicBezTo>
                  <a:pt x="14033" y="3272"/>
                  <a:pt x="15930" y="2759"/>
                  <a:pt x="15930" y="2759"/>
                </a:cubicBezTo>
                <a:close/>
                <a:moveTo>
                  <a:pt x="20618" y="5454"/>
                </a:moveTo>
                <a:lnTo>
                  <a:pt x="18678" y="5454"/>
                </a:lnTo>
                <a:lnTo>
                  <a:pt x="18081" y="3203"/>
                </a:lnTo>
                <a:cubicBezTo>
                  <a:pt x="17800" y="2145"/>
                  <a:pt x="16724" y="1518"/>
                  <a:pt x="15676" y="1801"/>
                </a:cubicBezTo>
                <a:lnTo>
                  <a:pt x="12671" y="2615"/>
                </a:lnTo>
                <a:lnTo>
                  <a:pt x="8644" y="266"/>
                </a:lnTo>
                <a:cubicBezTo>
                  <a:pt x="7704" y="-281"/>
                  <a:pt x="6504" y="44"/>
                  <a:pt x="5961" y="992"/>
                </a:cubicBezTo>
                <a:lnTo>
                  <a:pt x="3410" y="5454"/>
                </a:lnTo>
                <a:lnTo>
                  <a:pt x="982" y="5454"/>
                </a:lnTo>
                <a:cubicBezTo>
                  <a:pt x="440" y="5454"/>
                  <a:pt x="0" y="5898"/>
                  <a:pt x="0" y="6445"/>
                </a:cubicBezTo>
                <a:lnTo>
                  <a:pt x="0" y="8428"/>
                </a:lnTo>
                <a:cubicBezTo>
                  <a:pt x="0" y="8977"/>
                  <a:pt x="440" y="9420"/>
                  <a:pt x="982" y="9420"/>
                </a:cubicBezTo>
                <a:lnTo>
                  <a:pt x="1964" y="9420"/>
                </a:lnTo>
                <a:lnTo>
                  <a:pt x="1964" y="20327"/>
                </a:lnTo>
                <a:cubicBezTo>
                  <a:pt x="1964" y="20875"/>
                  <a:pt x="2403" y="21319"/>
                  <a:pt x="2945" y="21319"/>
                </a:cubicBezTo>
                <a:lnTo>
                  <a:pt x="18655" y="21319"/>
                </a:lnTo>
                <a:cubicBezTo>
                  <a:pt x="19197" y="21319"/>
                  <a:pt x="19636" y="20875"/>
                  <a:pt x="19636" y="20327"/>
                </a:cubicBezTo>
                <a:lnTo>
                  <a:pt x="19636" y="9420"/>
                </a:lnTo>
                <a:lnTo>
                  <a:pt x="20618" y="9420"/>
                </a:lnTo>
                <a:cubicBezTo>
                  <a:pt x="21160" y="9420"/>
                  <a:pt x="21600" y="8977"/>
                  <a:pt x="21600" y="8428"/>
                </a:cubicBezTo>
                <a:lnTo>
                  <a:pt x="21600" y="6445"/>
                </a:lnTo>
                <a:cubicBezTo>
                  <a:pt x="21600" y="5898"/>
                  <a:pt x="21160" y="5454"/>
                  <a:pt x="20618" y="5454"/>
                </a:cubicBezTo>
                <a:moveTo>
                  <a:pt x="7855" y="12395"/>
                </a:moveTo>
                <a:lnTo>
                  <a:pt x="13745" y="12395"/>
                </a:lnTo>
                <a:lnTo>
                  <a:pt x="13745" y="13386"/>
                </a:lnTo>
                <a:lnTo>
                  <a:pt x="7855" y="13386"/>
                </a:lnTo>
                <a:cubicBezTo>
                  <a:pt x="7855" y="13386"/>
                  <a:pt x="7855" y="12395"/>
                  <a:pt x="7855" y="12395"/>
                </a:cubicBezTo>
                <a:close/>
                <a:moveTo>
                  <a:pt x="7855" y="14378"/>
                </a:moveTo>
                <a:lnTo>
                  <a:pt x="13745" y="14378"/>
                </a:lnTo>
                <a:cubicBezTo>
                  <a:pt x="14288" y="14378"/>
                  <a:pt x="14727" y="13934"/>
                  <a:pt x="14727" y="13386"/>
                </a:cubicBezTo>
                <a:lnTo>
                  <a:pt x="14727" y="12395"/>
                </a:lnTo>
                <a:cubicBezTo>
                  <a:pt x="14727" y="11847"/>
                  <a:pt x="14288" y="11403"/>
                  <a:pt x="13745" y="11403"/>
                </a:cubicBezTo>
                <a:lnTo>
                  <a:pt x="7855" y="11403"/>
                </a:lnTo>
                <a:cubicBezTo>
                  <a:pt x="7312" y="11403"/>
                  <a:pt x="6873" y="11847"/>
                  <a:pt x="6873" y="12395"/>
                </a:cubicBezTo>
                <a:lnTo>
                  <a:pt x="6873" y="13386"/>
                </a:lnTo>
                <a:cubicBezTo>
                  <a:pt x="6873" y="13934"/>
                  <a:pt x="7312" y="14378"/>
                  <a:pt x="7855" y="1437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571">
            <a:extLst>
              <a:ext uri="{FF2B5EF4-FFF2-40B4-BE49-F238E27FC236}">
                <a16:creationId xmlns:a16="http://schemas.microsoft.com/office/drawing/2014/main" id="{480B20FC-0FC3-4BE1-9B39-1818B2B1CF87}"/>
              </a:ext>
            </a:extLst>
          </p:cNvPr>
          <p:cNvSpPr/>
          <p:nvPr/>
        </p:nvSpPr>
        <p:spPr bwMode="gray">
          <a:xfrm>
            <a:off x="3949967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572">
            <a:extLst>
              <a:ext uri="{FF2B5EF4-FFF2-40B4-BE49-F238E27FC236}">
                <a16:creationId xmlns:a16="http://schemas.microsoft.com/office/drawing/2014/main" id="{67269446-F81F-48B7-95E7-2CA8B7B31242}"/>
              </a:ext>
            </a:extLst>
          </p:cNvPr>
          <p:cNvSpPr/>
          <p:nvPr/>
        </p:nvSpPr>
        <p:spPr bwMode="gray">
          <a:xfrm>
            <a:off x="4501992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9818" y="8836"/>
                </a:lnTo>
                <a:lnTo>
                  <a:pt x="9818" y="4909"/>
                </a:lnTo>
                <a:cubicBezTo>
                  <a:pt x="9818" y="4638"/>
                  <a:pt x="9599" y="4418"/>
                  <a:pt x="9327" y="4418"/>
                </a:cubicBezTo>
                <a:cubicBezTo>
                  <a:pt x="9056" y="4418"/>
                  <a:pt x="8836" y="4638"/>
                  <a:pt x="8836" y="4909"/>
                </a:cubicBezTo>
                <a:lnTo>
                  <a:pt x="8836" y="8836"/>
                </a:ln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8836" y="9818"/>
                </a:lnTo>
                <a:lnTo>
                  <a:pt x="8836" y="13745"/>
                </a:lnTo>
                <a:cubicBezTo>
                  <a:pt x="8836" y="14017"/>
                  <a:pt x="9056" y="14236"/>
                  <a:pt x="9327" y="14236"/>
                </a:cubicBezTo>
                <a:cubicBezTo>
                  <a:pt x="9599" y="14236"/>
                  <a:pt x="9818" y="14017"/>
                  <a:pt x="9818" y="13745"/>
                </a:cubicBezTo>
                <a:lnTo>
                  <a:pt x="9818" y="9818"/>
                </a:ln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573">
            <a:extLst>
              <a:ext uri="{FF2B5EF4-FFF2-40B4-BE49-F238E27FC236}">
                <a16:creationId xmlns:a16="http://schemas.microsoft.com/office/drawing/2014/main" id="{99CDD385-8AEA-4487-B755-5005FF056B66}"/>
              </a:ext>
            </a:extLst>
          </p:cNvPr>
          <p:cNvSpPr/>
          <p:nvPr/>
        </p:nvSpPr>
        <p:spPr bwMode="gray">
          <a:xfrm>
            <a:off x="5054016" y="396714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moveTo>
                  <a:pt x="13745" y="8836"/>
                </a:moveTo>
                <a:lnTo>
                  <a:pt x="4909" y="8836"/>
                </a:lnTo>
                <a:cubicBezTo>
                  <a:pt x="4638" y="8836"/>
                  <a:pt x="4418" y="9056"/>
                  <a:pt x="4418" y="9327"/>
                </a:cubicBezTo>
                <a:cubicBezTo>
                  <a:pt x="4418" y="9599"/>
                  <a:pt x="4638" y="9818"/>
                  <a:pt x="4909" y="9818"/>
                </a:cubicBezTo>
                <a:lnTo>
                  <a:pt x="13745" y="9818"/>
                </a:lnTo>
                <a:cubicBezTo>
                  <a:pt x="14017" y="9818"/>
                  <a:pt x="14236" y="9599"/>
                  <a:pt x="14236" y="9327"/>
                </a:cubicBezTo>
                <a:cubicBezTo>
                  <a:pt x="14236" y="9056"/>
                  <a:pt x="14017" y="8836"/>
                  <a:pt x="13745" y="88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574">
            <a:extLst>
              <a:ext uri="{FF2B5EF4-FFF2-40B4-BE49-F238E27FC236}">
                <a16:creationId xmlns:a16="http://schemas.microsoft.com/office/drawing/2014/main" id="{DFC9A7B7-6F08-41DB-B1D0-6CA8C2475F58}"/>
              </a:ext>
            </a:extLst>
          </p:cNvPr>
          <p:cNvSpPr/>
          <p:nvPr/>
        </p:nvSpPr>
        <p:spPr bwMode="gray">
          <a:xfrm>
            <a:off x="5619184" y="3967142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32" y="4909"/>
                  <a:pt x="1080" y="4030"/>
                  <a:pt x="1080" y="2945"/>
                </a:cubicBezTo>
                <a:cubicBezTo>
                  <a:pt x="1080" y="1861"/>
                  <a:pt x="5432" y="982"/>
                  <a:pt x="10800" y="982"/>
                </a:cubicBezTo>
                <a:cubicBezTo>
                  <a:pt x="16168" y="982"/>
                  <a:pt x="20520" y="1861"/>
                  <a:pt x="20520" y="2945"/>
                </a:cubicBezTo>
                <a:cubicBezTo>
                  <a:pt x="20520" y="4030"/>
                  <a:pt x="16168" y="4909"/>
                  <a:pt x="10800" y="4909"/>
                </a:cubicBezTo>
                <a:moveTo>
                  <a:pt x="16305" y="8659"/>
                </a:moveTo>
                <a:cubicBezTo>
                  <a:pt x="14130" y="10260"/>
                  <a:pt x="11880" y="11916"/>
                  <a:pt x="11880" y="14727"/>
                </a:cubicBezTo>
                <a:cubicBezTo>
                  <a:pt x="11880" y="17561"/>
                  <a:pt x="11880" y="19270"/>
                  <a:pt x="11642" y="20135"/>
                </a:cubicBezTo>
                <a:cubicBezTo>
                  <a:pt x="11522" y="20573"/>
                  <a:pt x="11509" y="20618"/>
                  <a:pt x="10800" y="20618"/>
                </a:cubicBezTo>
                <a:cubicBezTo>
                  <a:pt x="10091" y="20618"/>
                  <a:pt x="10078" y="20573"/>
                  <a:pt x="9957" y="20135"/>
                </a:cubicBezTo>
                <a:cubicBezTo>
                  <a:pt x="9818" y="19627"/>
                  <a:pt x="9761" y="18820"/>
                  <a:pt x="9738" y="17673"/>
                </a:cubicBezTo>
                <a:lnTo>
                  <a:pt x="10260" y="17673"/>
                </a:lnTo>
                <a:cubicBezTo>
                  <a:pt x="10558" y="17673"/>
                  <a:pt x="10800" y="17453"/>
                  <a:pt x="10800" y="17182"/>
                </a:cubicBezTo>
                <a:cubicBezTo>
                  <a:pt x="10800" y="16911"/>
                  <a:pt x="10558" y="16691"/>
                  <a:pt x="10260" y="16691"/>
                </a:cubicBezTo>
                <a:lnTo>
                  <a:pt x="9724" y="16691"/>
                </a:lnTo>
                <a:cubicBezTo>
                  <a:pt x="9722" y="16381"/>
                  <a:pt x="9721" y="16059"/>
                  <a:pt x="9721" y="15709"/>
                </a:cubicBezTo>
                <a:lnTo>
                  <a:pt x="10260" y="15709"/>
                </a:lnTo>
                <a:cubicBezTo>
                  <a:pt x="10558" y="15709"/>
                  <a:pt x="10800" y="15489"/>
                  <a:pt x="10800" y="15218"/>
                </a:cubicBezTo>
                <a:cubicBezTo>
                  <a:pt x="10800" y="14947"/>
                  <a:pt x="10558" y="14727"/>
                  <a:pt x="10260" y="14727"/>
                </a:cubicBezTo>
                <a:lnTo>
                  <a:pt x="9720" y="14727"/>
                </a:lnTo>
                <a:cubicBezTo>
                  <a:pt x="9720" y="11916"/>
                  <a:pt x="7470" y="10260"/>
                  <a:pt x="5295" y="8659"/>
                </a:cubicBezTo>
                <a:cubicBezTo>
                  <a:pt x="3543" y="7370"/>
                  <a:pt x="1872" y="6139"/>
                  <a:pt x="1294" y="4344"/>
                </a:cubicBezTo>
                <a:cubicBezTo>
                  <a:pt x="3119" y="5266"/>
                  <a:pt x="6691" y="5891"/>
                  <a:pt x="10800" y="5891"/>
                </a:cubicBezTo>
                <a:cubicBezTo>
                  <a:pt x="14905" y="5891"/>
                  <a:pt x="18475" y="5266"/>
                  <a:pt x="20302" y="4347"/>
                </a:cubicBezTo>
                <a:cubicBezTo>
                  <a:pt x="19721" y="6143"/>
                  <a:pt x="18053" y="7373"/>
                  <a:pt x="16305" y="8659"/>
                </a:cubicBezTo>
                <a:moveTo>
                  <a:pt x="10800" y="0"/>
                </a:moveTo>
                <a:cubicBezTo>
                  <a:pt x="4835" y="0"/>
                  <a:pt x="0" y="1319"/>
                  <a:pt x="0" y="2945"/>
                </a:cubicBezTo>
                <a:cubicBezTo>
                  <a:pt x="0" y="8836"/>
                  <a:pt x="8640" y="9818"/>
                  <a:pt x="8640" y="14727"/>
                </a:cubicBezTo>
                <a:lnTo>
                  <a:pt x="8640" y="15217"/>
                </a:lnTo>
                <a:lnTo>
                  <a:pt x="8640" y="15218"/>
                </a:lnTo>
                <a:lnTo>
                  <a:pt x="8640" y="15219"/>
                </a:lnTo>
                <a:cubicBezTo>
                  <a:pt x="8641" y="15938"/>
                  <a:pt x="8642" y="16572"/>
                  <a:pt x="8649" y="17142"/>
                </a:cubicBezTo>
                <a:cubicBezTo>
                  <a:pt x="8647" y="17155"/>
                  <a:pt x="8640" y="17168"/>
                  <a:pt x="8640" y="17182"/>
                </a:cubicBezTo>
                <a:cubicBezTo>
                  <a:pt x="8640" y="17199"/>
                  <a:pt x="8648" y="17212"/>
                  <a:pt x="8651" y="17230"/>
                </a:cubicBezTo>
                <a:cubicBezTo>
                  <a:pt x="8699" y="20896"/>
                  <a:pt x="8995" y="21600"/>
                  <a:pt x="10800" y="21600"/>
                </a:cubicBezTo>
                <a:cubicBezTo>
                  <a:pt x="12960" y="21600"/>
                  <a:pt x="12960" y="20618"/>
                  <a:pt x="12960" y="14727"/>
                </a:cubicBezTo>
                <a:cubicBezTo>
                  <a:pt x="12960" y="9818"/>
                  <a:pt x="21600" y="8836"/>
                  <a:pt x="21600" y="2945"/>
                </a:cubicBezTo>
                <a:cubicBezTo>
                  <a:pt x="21600" y="1319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575">
            <a:extLst>
              <a:ext uri="{FF2B5EF4-FFF2-40B4-BE49-F238E27FC236}">
                <a16:creationId xmlns:a16="http://schemas.microsoft.com/office/drawing/2014/main" id="{0984CB97-1F58-425A-936C-B08B26577F90}"/>
              </a:ext>
            </a:extLst>
          </p:cNvPr>
          <p:cNvSpPr/>
          <p:nvPr/>
        </p:nvSpPr>
        <p:spPr bwMode="gray">
          <a:xfrm>
            <a:off x="63782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8655" y="14727"/>
                </a:lnTo>
                <a:lnTo>
                  <a:pt x="18655" y="12273"/>
                </a:lnTo>
                <a:cubicBezTo>
                  <a:pt x="18655" y="12002"/>
                  <a:pt x="18434" y="11782"/>
                  <a:pt x="18164" y="11782"/>
                </a:cubicBezTo>
                <a:cubicBezTo>
                  <a:pt x="17893" y="11782"/>
                  <a:pt x="17673" y="12002"/>
                  <a:pt x="17673" y="12273"/>
                </a:cubicBezTo>
                <a:lnTo>
                  <a:pt x="17673" y="14727"/>
                </a:ln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17673" y="15709"/>
                </a:lnTo>
                <a:lnTo>
                  <a:pt x="17673" y="18164"/>
                </a:lnTo>
                <a:cubicBezTo>
                  <a:pt x="17673" y="18435"/>
                  <a:pt x="17893" y="18655"/>
                  <a:pt x="18164" y="18655"/>
                </a:cubicBezTo>
                <a:cubicBezTo>
                  <a:pt x="18434" y="18655"/>
                  <a:pt x="18655" y="18435"/>
                  <a:pt x="18655" y="18164"/>
                </a:cubicBezTo>
                <a:lnTo>
                  <a:pt x="18655" y="15709"/>
                </a:ln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576">
            <a:extLst>
              <a:ext uri="{FF2B5EF4-FFF2-40B4-BE49-F238E27FC236}">
                <a16:creationId xmlns:a16="http://schemas.microsoft.com/office/drawing/2014/main" id="{24D22E4D-3CE6-4C98-88F1-7E70D98084CD}"/>
              </a:ext>
            </a:extLst>
          </p:cNvPr>
          <p:cNvSpPr/>
          <p:nvPr/>
        </p:nvSpPr>
        <p:spPr bwMode="gray">
          <a:xfrm>
            <a:off x="1189845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4727"/>
                </a:moveTo>
                <a:lnTo>
                  <a:pt x="15218" y="14727"/>
                </a:lnTo>
                <a:cubicBezTo>
                  <a:pt x="14947" y="14727"/>
                  <a:pt x="14727" y="14947"/>
                  <a:pt x="14727" y="15218"/>
                </a:cubicBezTo>
                <a:cubicBezTo>
                  <a:pt x="14727" y="15490"/>
                  <a:pt x="14947" y="15709"/>
                  <a:pt x="15218" y="15709"/>
                </a:cubicBezTo>
                <a:lnTo>
                  <a:pt x="21109" y="15709"/>
                </a:lnTo>
                <a:cubicBezTo>
                  <a:pt x="21380" y="15709"/>
                  <a:pt x="21600" y="15490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  <a:moveTo>
                  <a:pt x="14823" y="8659"/>
                </a:moveTo>
                <a:cubicBezTo>
                  <a:pt x="12845" y="10260"/>
                  <a:pt x="10800" y="11916"/>
                  <a:pt x="10800" y="14727"/>
                </a:cubicBezTo>
                <a:cubicBezTo>
                  <a:pt x="10800" y="17561"/>
                  <a:pt x="10800" y="19270"/>
                  <a:pt x="10584" y="20135"/>
                </a:cubicBezTo>
                <a:cubicBezTo>
                  <a:pt x="10474" y="20573"/>
                  <a:pt x="10463" y="20618"/>
                  <a:pt x="9818" y="20618"/>
                </a:cubicBezTo>
                <a:cubicBezTo>
                  <a:pt x="9173" y="20618"/>
                  <a:pt x="9162" y="20573"/>
                  <a:pt x="9052" y="20135"/>
                </a:cubicBezTo>
                <a:cubicBezTo>
                  <a:pt x="8926" y="19627"/>
                  <a:pt x="8874" y="18820"/>
                  <a:pt x="8853" y="17673"/>
                </a:cubicBezTo>
                <a:lnTo>
                  <a:pt x="9327" y="17673"/>
                </a:lnTo>
                <a:cubicBezTo>
                  <a:pt x="9598" y="17673"/>
                  <a:pt x="9818" y="17453"/>
                  <a:pt x="9818" y="17182"/>
                </a:cubicBezTo>
                <a:cubicBezTo>
                  <a:pt x="9818" y="16910"/>
                  <a:pt x="9598" y="16691"/>
                  <a:pt x="9327" y="16691"/>
                </a:cubicBezTo>
                <a:lnTo>
                  <a:pt x="8840" y="16691"/>
                </a:lnTo>
                <a:cubicBezTo>
                  <a:pt x="8838" y="16381"/>
                  <a:pt x="8837" y="16059"/>
                  <a:pt x="8837" y="15709"/>
                </a:cubicBezTo>
                <a:lnTo>
                  <a:pt x="9327" y="15709"/>
                </a:lnTo>
                <a:cubicBezTo>
                  <a:pt x="9598" y="15709"/>
                  <a:pt x="9818" y="15490"/>
                  <a:pt x="9818" y="15218"/>
                </a:cubicBezTo>
                <a:cubicBezTo>
                  <a:pt x="9818" y="14947"/>
                  <a:pt x="9598" y="14727"/>
                  <a:pt x="9327" y="14727"/>
                </a:cubicBezTo>
                <a:lnTo>
                  <a:pt x="8836" y="14727"/>
                </a:lnTo>
                <a:cubicBezTo>
                  <a:pt x="8836" y="11916"/>
                  <a:pt x="6791" y="10260"/>
                  <a:pt x="4813" y="8659"/>
                </a:cubicBezTo>
                <a:cubicBezTo>
                  <a:pt x="3221" y="7370"/>
                  <a:pt x="1702" y="6139"/>
                  <a:pt x="1176" y="4344"/>
                </a:cubicBezTo>
                <a:cubicBezTo>
                  <a:pt x="2835" y="5266"/>
                  <a:pt x="6083" y="5891"/>
                  <a:pt x="9818" y="5891"/>
                </a:cubicBezTo>
                <a:cubicBezTo>
                  <a:pt x="13550" y="5891"/>
                  <a:pt x="16795" y="5266"/>
                  <a:pt x="18456" y="4347"/>
                </a:cubicBezTo>
                <a:cubicBezTo>
                  <a:pt x="17928" y="6143"/>
                  <a:pt x="16412" y="7373"/>
                  <a:pt x="14823" y="8659"/>
                </a:cubicBezTo>
                <a:moveTo>
                  <a:pt x="982" y="2945"/>
                </a:moveTo>
                <a:cubicBezTo>
                  <a:pt x="982" y="1861"/>
                  <a:pt x="4938" y="982"/>
                  <a:pt x="9818" y="982"/>
                </a:cubicBezTo>
                <a:cubicBezTo>
                  <a:pt x="14698" y="982"/>
                  <a:pt x="18655" y="1861"/>
                  <a:pt x="18655" y="2945"/>
                </a:cubicBezTo>
                <a:cubicBezTo>
                  <a:pt x="18655" y="4031"/>
                  <a:pt x="14698" y="4909"/>
                  <a:pt x="9818" y="4909"/>
                </a:cubicBezTo>
                <a:cubicBezTo>
                  <a:pt x="4938" y="4909"/>
                  <a:pt x="982" y="4031"/>
                  <a:pt x="982" y="2945"/>
                </a:cubicBezTo>
                <a:moveTo>
                  <a:pt x="19636" y="2945"/>
                </a:moveTo>
                <a:cubicBezTo>
                  <a:pt x="19636" y="1319"/>
                  <a:pt x="15241" y="0"/>
                  <a:pt x="9818" y="0"/>
                </a:cubicBezTo>
                <a:cubicBezTo>
                  <a:pt x="4396" y="0"/>
                  <a:pt x="0" y="1319"/>
                  <a:pt x="0" y="2945"/>
                </a:cubicBezTo>
                <a:cubicBezTo>
                  <a:pt x="0" y="8836"/>
                  <a:pt x="7855" y="9818"/>
                  <a:pt x="7855" y="14727"/>
                </a:cubicBezTo>
                <a:cubicBezTo>
                  <a:pt x="7855" y="14900"/>
                  <a:pt x="7855" y="15053"/>
                  <a:pt x="7855" y="15217"/>
                </a:cubicBezTo>
                <a:cubicBezTo>
                  <a:pt x="7855" y="15217"/>
                  <a:pt x="7855" y="15218"/>
                  <a:pt x="7855" y="15218"/>
                </a:cubicBezTo>
                <a:cubicBezTo>
                  <a:pt x="7855" y="15219"/>
                  <a:pt x="7855" y="15219"/>
                  <a:pt x="7855" y="15219"/>
                </a:cubicBezTo>
                <a:cubicBezTo>
                  <a:pt x="7855" y="15938"/>
                  <a:pt x="7856" y="16572"/>
                  <a:pt x="7863" y="17142"/>
                </a:cubicBezTo>
                <a:cubicBezTo>
                  <a:pt x="7861" y="17155"/>
                  <a:pt x="7855" y="17168"/>
                  <a:pt x="7855" y="17182"/>
                </a:cubicBezTo>
                <a:cubicBezTo>
                  <a:pt x="7855" y="17199"/>
                  <a:pt x="7862" y="17212"/>
                  <a:pt x="7864" y="17229"/>
                </a:cubicBezTo>
                <a:cubicBezTo>
                  <a:pt x="7908" y="20896"/>
                  <a:pt x="8177" y="21600"/>
                  <a:pt x="9818" y="21600"/>
                </a:cubicBezTo>
                <a:cubicBezTo>
                  <a:pt x="11782" y="21600"/>
                  <a:pt x="11782" y="20618"/>
                  <a:pt x="11782" y="14727"/>
                </a:cubicBezTo>
                <a:cubicBezTo>
                  <a:pt x="11782" y="9818"/>
                  <a:pt x="19636" y="8836"/>
                  <a:pt x="19636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577">
            <a:extLst>
              <a:ext uri="{FF2B5EF4-FFF2-40B4-BE49-F238E27FC236}">
                <a16:creationId xmlns:a16="http://schemas.microsoft.com/office/drawing/2014/main" id="{3F7B6071-706A-4F6D-BCCC-8FD7064F6CE7}"/>
              </a:ext>
            </a:extLst>
          </p:cNvPr>
          <p:cNvSpPr/>
          <p:nvPr/>
        </p:nvSpPr>
        <p:spPr bwMode="gray">
          <a:xfrm>
            <a:off x="1755013" y="4519167"/>
            <a:ext cx="26286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20" y="4979"/>
                </a:moveTo>
                <a:lnTo>
                  <a:pt x="7560" y="6792"/>
                </a:lnTo>
                <a:lnTo>
                  <a:pt x="7560" y="2876"/>
                </a:lnTo>
                <a:lnTo>
                  <a:pt x="20520" y="1063"/>
                </a:lnTo>
                <a:cubicBezTo>
                  <a:pt x="20520" y="1063"/>
                  <a:pt x="20520" y="4979"/>
                  <a:pt x="20520" y="4979"/>
                </a:cubicBezTo>
                <a:close/>
                <a:moveTo>
                  <a:pt x="18900" y="17673"/>
                </a:moveTo>
                <a:lnTo>
                  <a:pt x="16740" y="17673"/>
                </a:lnTo>
                <a:cubicBezTo>
                  <a:pt x="15845" y="17673"/>
                  <a:pt x="15120" y="17014"/>
                  <a:pt x="15120" y="16200"/>
                </a:cubicBezTo>
                <a:cubicBezTo>
                  <a:pt x="15120" y="15387"/>
                  <a:pt x="15845" y="14727"/>
                  <a:pt x="16740" y="14727"/>
                </a:cubicBezTo>
                <a:lnTo>
                  <a:pt x="18900" y="14727"/>
                </a:lnTo>
                <a:cubicBezTo>
                  <a:pt x="19795" y="14727"/>
                  <a:pt x="20520" y="15387"/>
                  <a:pt x="20520" y="16200"/>
                </a:cubicBezTo>
                <a:cubicBezTo>
                  <a:pt x="20520" y="17014"/>
                  <a:pt x="19795" y="17673"/>
                  <a:pt x="18900" y="17673"/>
                </a:cubicBezTo>
                <a:moveTo>
                  <a:pt x="4860" y="20618"/>
                </a:moveTo>
                <a:lnTo>
                  <a:pt x="2700" y="20618"/>
                </a:lnTo>
                <a:cubicBezTo>
                  <a:pt x="1805" y="20618"/>
                  <a:pt x="1080" y="19959"/>
                  <a:pt x="1080" y="19146"/>
                </a:cubicBezTo>
                <a:cubicBezTo>
                  <a:pt x="1080" y="18332"/>
                  <a:pt x="1805" y="17673"/>
                  <a:pt x="2700" y="17673"/>
                </a:cubicBezTo>
                <a:lnTo>
                  <a:pt x="4860" y="17673"/>
                </a:lnTo>
                <a:cubicBezTo>
                  <a:pt x="5755" y="17673"/>
                  <a:pt x="6480" y="18332"/>
                  <a:pt x="6480" y="19146"/>
                </a:cubicBezTo>
                <a:cubicBezTo>
                  <a:pt x="6480" y="19959"/>
                  <a:pt x="5755" y="20618"/>
                  <a:pt x="4860" y="20618"/>
                </a:cubicBezTo>
                <a:moveTo>
                  <a:pt x="21060" y="0"/>
                </a:moveTo>
                <a:cubicBezTo>
                  <a:pt x="21031" y="0"/>
                  <a:pt x="21006" y="11"/>
                  <a:pt x="20980" y="15"/>
                </a:cubicBezTo>
                <a:lnTo>
                  <a:pt x="20978" y="6"/>
                </a:lnTo>
                <a:lnTo>
                  <a:pt x="6938" y="1969"/>
                </a:lnTo>
                <a:lnTo>
                  <a:pt x="6940" y="1979"/>
                </a:lnTo>
                <a:cubicBezTo>
                  <a:pt x="6681" y="2016"/>
                  <a:pt x="6480" y="2210"/>
                  <a:pt x="6480" y="2455"/>
                </a:cubicBezTo>
                <a:lnTo>
                  <a:pt x="6480" y="17193"/>
                </a:lnTo>
                <a:cubicBezTo>
                  <a:pt x="6028" y="16882"/>
                  <a:pt x="5471" y="16691"/>
                  <a:pt x="4860" y="16691"/>
                </a:cubicBezTo>
                <a:lnTo>
                  <a:pt x="2700" y="16691"/>
                </a:lnTo>
                <a:cubicBezTo>
                  <a:pt x="1209" y="16691"/>
                  <a:pt x="0" y="17790"/>
                  <a:pt x="0" y="19146"/>
                </a:cubicBezTo>
                <a:cubicBezTo>
                  <a:pt x="0" y="20501"/>
                  <a:pt x="1209" y="21600"/>
                  <a:pt x="2700" y="21600"/>
                </a:cubicBezTo>
                <a:lnTo>
                  <a:pt x="4860" y="21600"/>
                </a:lnTo>
                <a:cubicBezTo>
                  <a:pt x="6352" y="21600"/>
                  <a:pt x="7560" y="20501"/>
                  <a:pt x="7560" y="19146"/>
                </a:cubicBezTo>
                <a:lnTo>
                  <a:pt x="7560" y="7785"/>
                </a:lnTo>
                <a:lnTo>
                  <a:pt x="20520" y="5972"/>
                </a:lnTo>
                <a:lnTo>
                  <a:pt x="20520" y="14248"/>
                </a:lnTo>
                <a:cubicBezTo>
                  <a:pt x="20068" y="13937"/>
                  <a:pt x="19511" y="13745"/>
                  <a:pt x="18900" y="13745"/>
                </a:cubicBezTo>
                <a:lnTo>
                  <a:pt x="16740" y="13745"/>
                </a:lnTo>
                <a:cubicBezTo>
                  <a:pt x="15249" y="13745"/>
                  <a:pt x="14040" y="14845"/>
                  <a:pt x="14040" y="16200"/>
                </a:cubicBezTo>
                <a:cubicBezTo>
                  <a:pt x="14040" y="17556"/>
                  <a:pt x="15249" y="18655"/>
                  <a:pt x="16740" y="18655"/>
                </a:cubicBezTo>
                <a:lnTo>
                  <a:pt x="18900" y="18655"/>
                </a:lnTo>
                <a:cubicBezTo>
                  <a:pt x="20392" y="18655"/>
                  <a:pt x="21600" y="17556"/>
                  <a:pt x="21600" y="16200"/>
                </a:cubicBezTo>
                <a:lnTo>
                  <a:pt x="21600" y="491"/>
                </a:lnTo>
                <a:cubicBezTo>
                  <a:pt x="21600" y="220"/>
                  <a:pt x="21358" y="0"/>
                  <a:pt x="2106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578">
            <a:extLst>
              <a:ext uri="{FF2B5EF4-FFF2-40B4-BE49-F238E27FC236}">
                <a16:creationId xmlns:a16="http://schemas.microsoft.com/office/drawing/2014/main" id="{5780E1AF-1407-4A9D-BCB3-A73B65C465F3}"/>
              </a:ext>
            </a:extLst>
          </p:cNvPr>
          <p:cNvSpPr/>
          <p:nvPr/>
        </p:nvSpPr>
        <p:spPr bwMode="gray">
          <a:xfrm>
            <a:off x="2346468" y="4519167"/>
            <a:ext cx="18400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5837"/>
                </a:moveTo>
                <a:lnTo>
                  <a:pt x="10800" y="4996"/>
                </a:lnTo>
                <a:lnTo>
                  <a:pt x="10800" y="1036"/>
                </a:lnTo>
                <a:lnTo>
                  <a:pt x="20057" y="1878"/>
                </a:lnTo>
                <a:cubicBezTo>
                  <a:pt x="20057" y="1878"/>
                  <a:pt x="20057" y="5837"/>
                  <a:pt x="20057" y="5837"/>
                </a:cubicBezTo>
                <a:close/>
                <a:moveTo>
                  <a:pt x="6943" y="20618"/>
                </a:moveTo>
                <a:lnTo>
                  <a:pt x="3857" y="20618"/>
                </a:lnTo>
                <a:cubicBezTo>
                  <a:pt x="2579" y="20618"/>
                  <a:pt x="1543" y="19959"/>
                  <a:pt x="1543" y="19146"/>
                </a:cubicBezTo>
                <a:cubicBezTo>
                  <a:pt x="1543" y="18332"/>
                  <a:pt x="2579" y="17673"/>
                  <a:pt x="3857" y="17673"/>
                </a:cubicBezTo>
                <a:lnTo>
                  <a:pt x="6943" y="17673"/>
                </a:lnTo>
                <a:cubicBezTo>
                  <a:pt x="8221" y="17673"/>
                  <a:pt x="9257" y="18332"/>
                  <a:pt x="9257" y="19146"/>
                </a:cubicBezTo>
                <a:cubicBezTo>
                  <a:pt x="9257" y="19959"/>
                  <a:pt x="8221" y="20618"/>
                  <a:pt x="6943" y="20618"/>
                </a:cubicBezTo>
                <a:moveTo>
                  <a:pt x="20829" y="982"/>
                </a:moveTo>
                <a:cubicBezTo>
                  <a:pt x="20788" y="982"/>
                  <a:pt x="20752" y="993"/>
                  <a:pt x="20714" y="997"/>
                </a:cubicBezTo>
                <a:lnTo>
                  <a:pt x="20711" y="988"/>
                </a:lnTo>
                <a:lnTo>
                  <a:pt x="10344" y="45"/>
                </a:lnTo>
                <a:cubicBezTo>
                  <a:pt x="10248" y="17"/>
                  <a:pt x="10141" y="0"/>
                  <a:pt x="10029" y="0"/>
                </a:cubicBezTo>
                <a:cubicBezTo>
                  <a:pt x="10002" y="0"/>
                  <a:pt x="9979" y="8"/>
                  <a:pt x="9954" y="10"/>
                </a:cubicBezTo>
                <a:lnTo>
                  <a:pt x="9911" y="6"/>
                </a:lnTo>
                <a:lnTo>
                  <a:pt x="9914" y="15"/>
                </a:lnTo>
                <a:cubicBezTo>
                  <a:pt x="9545" y="52"/>
                  <a:pt x="9257" y="246"/>
                  <a:pt x="9257" y="491"/>
                </a:cubicBezTo>
                <a:lnTo>
                  <a:pt x="9257" y="17193"/>
                </a:lnTo>
                <a:cubicBezTo>
                  <a:pt x="8612" y="16882"/>
                  <a:pt x="7815" y="16691"/>
                  <a:pt x="6943" y="16691"/>
                </a:cubicBezTo>
                <a:lnTo>
                  <a:pt x="3857" y="16691"/>
                </a:lnTo>
                <a:cubicBezTo>
                  <a:pt x="1727" y="16691"/>
                  <a:pt x="0" y="17790"/>
                  <a:pt x="0" y="19146"/>
                </a:cubicBezTo>
                <a:cubicBezTo>
                  <a:pt x="0" y="20501"/>
                  <a:pt x="1727" y="21600"/>
                  <a:pt x="3857" y="21600"/>
                </a:cubicBezTo>
                <a:lnTo>
                  <a:pt x="6943" y="21600"/>
                </a:lnTo>
                <a:cubicBezTo>
                  <a:pt x="9074" y="21600"/>
                  <a:pt x="10800" y="20501"/>
                  <a:pt x="10800" y="19146"/>
                </a:cubicBezTo>
                <a:lnTo>
                  <a:pt x="10800" y="5945"/>
                </a:lnTo>
                <a:lnTo>
                  <a:pt x="20513" y="6828"/>
                </a:lnTo>
                <a:cubicBezTo>
                  <a:pt x="20610" y="6855"/>
                  <a:pt x="20715" y="6873"/>
                  <a:pt x="20829" y="6873"/>
                </a:cubicBezTo>
                <a:cubicBezTo>
                  <a:pt x="20855" y="6873"/>
                  <a:pt x="20877" y="6865"/>
                  <a:pt x="20904" y="6864"/>
                </a:cubicBezTo>
                <a:lnTo>
                  <a:pt x="20946" y="6867"/>
                </a:lnTo>
                <a:lnTo>
                  <a:pt x="20943" y="6858"/>
                </a:lnTo>
                <a:cubicBezTo>
                  <a:pt x="21313" y="6822"/>
                  <a:pt x="21600" y="6627"/>
                  <a:pt x="21600" y="6382"/>
                </a:cubicBezTo>
                <a:lnTo>
                  <a:pt x="21600" y="1473"/>
                </a:lnTo>
                <a:cubicBezTo>
                  <a:pt x="21600" y="1202"/>
                  <a:pt x="21254" y="982"/>
                  <a:pt x="20829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579">
            <a:extLst>
              <a:ext uri="{FF2B5EF4-FFF2-40B4-BE49-F238E27FC236}">
                <a16:creationId xmlns:a16="http://schemas.microsoft.com/office/drawing/2014/main" id="{9697519E-271F-4E1E-9C18-E2B9E90AE158}"/>
              </a:ext>
            </a:extLst>
          </p:cNvPr>
          <p:cNvSpPr/>
          <p:nvPr/>
        </p:nvSpPr>
        <p:spPr bwMode="gray">
          <a:xfrm>
            <a:off x="2845919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57" y="18984"/>
                </a:moveTo>
                <a:lnTo>
                  <a:pt x="11380" y="15408"/>
                </a:lnTo>
                <a:lnTo>
                  <a:pt x="10800" y="14983"/>
                </a:lnTo>
                <a:lnTo>
                  <a:pt x="10219" y="15408"/>
                </a:lnTo>
                <a:lnTo>
                  <a:pt x="5343" y="18984"/>
                </a:lnTo>
                <a:lnTo>
                  <a:pt x="7313" y="13075"/>
                </a:lnTo>
                <a:lnTo>
                  <a:pt x="7534" y="12411"/>
                </a:lnTo>
                <a:lnTo>
                  <a:pt x="6980" y="11985"/>
                </a:lnTo>
                <a:lnTo>
                  <a:pt x="2887" y="8836"/>
                </a:lnTo>
                <a:lnTo>
                  <a:pt x="8535" y="8836"/>
                </a:lnTo>
                <a:lnTo>
                  <a:pt x="8774" y="8199"/>
                </a:lnTo>
                <a:lnTo>
                  <a:pt x="10800" y="2796"/>
                </a:lnTo>
                <a:lnTo>
                  <a:pt x="12826" y="8199"/>
                </a:lnTo>
                <a:lnTo>
                  <a:pt x="13065" y="8836"/>
                </a:lnTo>
                <a:lnTo>
                  <a:pt x="18714" y="8836"/>
                </a:lnTo>
                <a:lnTo>
                  <a:pt x="14619" y="11985"/>
                </a:lnTo>
                <a:lnTo>
                  <a:pt x="14066" y="12411"/>
                </a:lnTo>
                <a:cubicBezTo>
                  <a:pt x="14066" y="12411"/>
                  <a:pt x="16257" y="18984"/>
                  <a:pt x="16257" y="18984"/>
                </a:cubicBezTo>
                <a:close/>
                <a:moveTo>
                  <a:pt x="21600" y="7855"/>
                </a:moveTo>
                <a:lnTo>
                  <a:pt x="13745" y="7855"/>
                </a:lnTo>
                <a:lnTo>
                  <a:pt x="10800" y="0"/>
                </a:lnTo>
                <a:lnTo>
                  <a:pt x="7855" y="7855"/>
                </a:lnTo>
                <a:lnTo>
                  <a:pt x="0" y="7855"/>
                </a:lnTo>
                <a:lnTo>
                  <a:pt x="6382" y="12764"/>
                </a:lnTo>
                <a:lnTo>
                  <a:pt x="3436" y="21600"/>
                </a:lnTo>
                <a:lnTo>
                  <a:pt x="10800" y="16200"/>
                </a:lnTo>
                <a:lnTo>
                  <a:pt x="18164" y="21600"/>
                </a:lnTo>
                <a:lnTo>
                  <a:pt x="15218" y="12764"/>
                </a:lnTo>
                <a:cubicBezTo>
                  <a:pt x="15218" y="12764"/>
                  <a:pt x="21600" y="7855"/>
                  <a:pt x="21600" y="78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580">
            <a:extLst>
              <a:ext uri="{FF2B5EF4-FFF2-40B4-BE49-F238E27FC236}">
                <a16:creationId xmlns:a16="http://schemas.microsoft.com/office/drawing/2014/main" id="{6F644A59-CF32-439C-8877-E29C57E6E75A}"/>
              </a:ext>
            </a:extLst>
          </p:cNvPr>
          <p:cNvSpPr/>
          <p:nvPr/>
        </p:nvSpPr>
        <p:spPr bwMode="gray">
          <a:xfrm>
            <a:off x="3397943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5" y="15886"/>
                </a:moveTo>
                <a:lnTo>
                  <a:pt x="10478" y="18984"/>
                </a:lnTo>
                <a:lnTo>
                  <a:pt x="7944" y="17126"/>
                </a:lnTo>
                <a:lnTo>
                  <a:pt x="7364" y="16700"/>
                </a:lnTo>
                <a:lnTo>
                  <a:pt x="6783" y="17126"/>
                </a:lnTo>
                <a:lnTo>
                  <a:pt x="4249" y="18984"/>
                </a:lnTo>
                <a:lnTo>
                  <a:pt x="5283" y="15886"/>
                </a:lnTo>
                <a:lnTo>
                  <a:pt x="5505" y="15220"/>
                </a:lnTo>
                <a:lnTo>
                  <a:pt x="4946" y="14794"/>
                </a:lnTo>
                <a:lnTo>
                  <a:pt x="2908" y="13240"/>
                </a:lnTo>
                <a:lnTo>
                  <a:pt x="6037" y="13240"/>
                </a:lnTo>
                <a:lnTo>
                  <a:pt x="6275" y="12602"/>
                </a:lnTo>
                <a:lnTo>
                  <a:pt x="7364" y="9683"/>
                </a:lnTo>
                <a:lnTo>
                  <a:pt x="8452" y="12602"/>
                </a:lnTo>
                <a:lnTo>
                  <a:pt x="8690" y="13240"/>
                </a:lnTo>
                <a:lnTo>
                  <a:pt x="11820" y="13240"/>
                </a:lnTo>
                <a:lnTo>
                  <a:pt x="9781" y="14794"/>
                </a:lnTo>
                <a:lnTo>
                  <a:pt x="9223" y="15220"/>
                </a:lnTo>
                <a:cubicBezTo>
                  <a:pt x="9223" y="15220"/>
                  <a:pt x="9445" y="15886"/>
                  <a:pt x="9445" y="15886"/>
                </a:cubicBezTo>
                <a:close/>
                <a:moveTo>
                  <a:pt x="9372" y="12259"/>
                </a:moveTo>
                <a:lnTo>
                  <a:pt x="7364" y="6873"/>
                </a:lnTo>
                <a:lnTo>
                  <a:pt x="5355" y="12259"/>
                </a:lnTo>
                <a:lnTo>
                  <a:pt x="0" y="12259"/>
                </a:lnTo>
                <a:lnTo>
                  <a:pt x="4351" y="15575"/>
                </a:lnTo>
                <a:lnTo>
                  <a:pt x="2343" y="21600"/>
                </a:lnTo>
                <a:lnTo>
                  <a:pt x="7364" y="17918"/>
                </a:lnTo>
                <a:lnTo>
                  <a:pt x="12384" y="21600"/>
                </a:lnTo>
                <a:lnTo>
                  <a:pt x="10376" y="15575"/>
                </a:lnTo>
                <a:lnTo>
                  <a:pt x="14727" y="12259"/>
                </a:lnTo>
                <a:cubicBezTo>
                  <a:pt x="14727" y="12259"/>
                  <a:pt x="9372" y="12259"/>
                  <a:pt x="9372" y="12259"/>
                </a:cubicBezTo>
                <a:close/>
                <a:moveTo>
                  <a:pt x="16781" y="7308"/>
                </a:moveTo>
                <a:lnTo>
                  <a:pt x="16200" y="6883"/>
                </a:lnTo>
                <a:lnTo>
                  <a:pt x="15619" y="7308"/>
                </a:lnTo>
                <a:lnTo>
                  <a:pt x="14426" y="8184"/>
                </a:lnTo>
                <a:lnTo>
                  <a:pt x="14922" y="6693"/>
                </a:lnTo>
                <a:lnTo>
                  <a:pt x="15143" y="6031"/>
                </a:lnTo>
                <a:lnTo>
                  <a:pt x="14590" y="5605"/>
                </a:lnTo>
                <a:lnTo>
                  <a:pt x="13682" y="4905"/>
                </a:lnTo>
                <a:lnTo>
                  <a:pt x="15408" y="4905"/>
                </a:lnTo>
                <a:lnTo>
                  <a:pt x="15647" y="4267"/>
                </a:lnTo>
                <a:lnTo>
                  <a:pt x="16200" y="2793"/>
                </a:lnTo>
                <a:lnTo>
                  <a:pt x="16754" y="4267"/>
                </a:lnTo>
                <a:lnTo>
                  <a:pt x="16992" y="4905"/>
                </a:lnTo>
                <a:lnTo>
                  <a:pt x="18718" y="4905"/>
                </a:lnTo>
                <a:lnTo>
                  <a:pt x="17810" y="5605"/>
                </a:lnTo>
                <a:lnTo>
                  <a:pt x="17257" y="6031"/>
                </a:lnTo>
                <a:lnTo>
                  <a:pt x="17478" y="6693"/>
                </a:lnTo>
                <a:lnTo>
                  <a:pt x="17975" y="8184"/>
                </a:lnTo>
                <a:cubicBezTo>
                  <a:pt x="17975" y="8184"/>
                  <a:pt x="16781" y="7308"/>
                  <a:pt x="16781" y="7308"/>
                </a:cubicBezTo>
                <a:close/>
                <a:moveTo>
                  <a:pt x="21600" y="3922"/>
                </a:moveTo>
                <a:lnTo>
                  <a:pt x="17673" y="3922"/>
                </a:lnTo>
                <a:lnTo>
                  <a:pt x="16200" y="0"/>
                </a:lnTo>
                <a:lnTo>
                  <a:pt x="14727" y="3922"/>
                </a:lnTo>
                <a:lnTo>
                  <a:pt x="10800" y="3922"/>
                </a:lnTo>
                <a:lnTo>
                  <a:pt x="13991" y="6382"/>
                </a:lnTo>
                <a:lnTo>
                  <a:pt x="12518" y="10800"/>
                </a:lnTo>
                <a:lnTo>
                  <a:pt x="16200" y="8100"/>
                </a:lnTo>
                <a:lnTo>
                  <a:pt x="19882" y="10800"/>
                </a:lnTo>
                <a:lnTo>
                  <a:pt x="18409" y="6382"/>
                </a:lnTo>
                <a:cubicBezTo>
                  <a:pt x="18409" y="6382"/>
                  <a:pt x="21600" y="3922"/>
                  <a:pt x="21600" y="392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581">
            <a:extLst>
              <a:ext uri="{FF2B5EF4-FFF2-40B4-BE49-F238E27FC236}">
                <a16:creationId xmlns:a16="http://schemas.microsoft.com/office/drawing/2014/main" id="{083350C8-0BE1-46E8-BADC-E6E0801A29A9}"/>
              </a:ext>
            </a:extLst>
          </p:cNvPr>
          <p:cNvSpPr/>
          <p:nvPr/>
        </p:nvSpPr>
        <p:spPr bwMode="gray">
          <a:xfrm>
            <a:off x="3949967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582">
            <a:extLst>
              <a:ext uri="{FF2B5EF4-FFF2-40B4-BE49-F238E27FC236}">
                <a16:creationId xmlns:a16="http://schemas.microsoft.com/office/drawing/2014/main" id="{B2C4AABD-ACD9-4297-B1ED-F35416894CC9}"/>
              </a:ext>
            </a:extLst>
          </p:cNvPr>
          <p:cNvSpPr/>
          <p:nvPr/>
        </p:nvSpPr>
        <p:spPr bwMode="gray">
          <a:xfrm>
            <a:off x="4501992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583">
            <a:extLst>
              <a:ext uri="{FF2B5EF4-FFF2-40B4-BE49-F238E27FC236}">
                <a16:creationId xmlns:a16="http://schemas.microsoft.com/office/drawing/2014/main" id="{61F37E72-0746-4B67-A1F0-B9600D0DB15B}"/>
              </a:ext>
            </a:extLst>
          </p:cNvPr>
          <p:cNvSpPr/>
          <p:nvPr/>
        </p:nvSpPr>
        <p:spPr bwMode="gray">
          <a:xfrm>
            <a:off x="5054016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584">
            <a:extLst>
              <a:ext uri="{FF2B5EF4-FFF2-40B4-BE49-F238E27FC236}">
                <a16:creationId xmlns:a16="http://schemas.microsoft.com/office/drawing/2014/main" id="{806B2CC5-5434-4554-808C-1147E56E820E}"/>
              </a:ext>
            </a:extLst>
          </p:cNvPr>
          <p:cNvSpPr/>
          <p:nvPr/>
        </p:nvSpPr>
        <p:spPr bwMode="gray">
          <a:xfrm>
            <a:off x="5606041" y="4519167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7673"/>
                </a:moveTo>
                <a:cubicBezTo>
                  <a:pt x="10445" y="17673"/>
                  <a:pt x="10567" y="17618"/>
                  <a:pt x="10656" y="17529"/>
                </a:cubicBezTo>
                <a:lnTo>
                  <a:pt x="12620" y="15565"/>
                </a:lnTo>
                <a:cubicBezTo>
                  <a:pt x="12709" y="15477"/>
                  <a:pt x="12764" y="15354"/>
                  <a:pt x="12764" y="15218"/>
                </a:cubicBezTo>
                <a:cubicBezTo>
                  <a:pt x="12764" y="14947"/>
                  <a:pt x="12544" y="14728"/>
                  <a:pt x="12273" y="14728"/>
                </a:cubicBezTo>
                <a:cubicBezTo>
                  <a:pt x="12137" y="14728"/>
                  <a:pt x="12014" y="14782"/>
                  <a:pt x="11926" y="14871"/>
                </a:cubicBezTo>
                <a:lnTo>
                  <a:pt x="9962" y="16835"/>
                </a:lnTo>
                <a:cubicBezTo>
                  <a:pt x="9873" y="16924"/>
                  <a:pt x="9818" y="17046"/>
                  <a:pt x="9818" y="17183"/>
                </a:cubicBezTo>
                <a:cubicBezTo>
                  <a:pt x="9818" y="17453"/>
                  <a:pt x="10038" y="17673"/>
                  <a:pt x="10309" y="17673"/>
                </a:cubicBezTo>
                <a:moveTo>
                  <a:pt x="10309" y="20415"/>
                </a:moveTo>
                <a:lnTo>
                  <a:pt x="982" y="11088"/>
                </a:lnTo>
                <a:lnTo>
                  <a:pt x="982" y="4418"/>
                </a:lnTo>
                <a:cubicBezTo>
                  <a:pt x="982" y="4147"/>
                  <a:pt x="1201" y="3927"/>
                  <a:pt x="1473" y="3927"/>
                </a:cubicBezTo>
                <a:lnTo>
                  <a:pt x="8142" y="3927"/>
                </a:lnTo>
                <a:lnTo>
                  <a:pt x="17469" y="13255"/>
                </a:lnTo>
                <a:cubicBezTo>
                  <a:pt x="17469" y="13255"/>
                  <a:pt x="10309" y="20415"/>
                  <a:pt x="10309" y="20415"/>
                </a:cubicBezTo>
                <a:close/>
                <a:moveTo>
                  <a:pt x="8693" y="3090"/>
                </a:moveTo>
                <a:cubicBezTo>
                  <a:pt x="8604" y="3001"/>
                  <a:pt x="8481" y="2945"/>
                  <a:pt x="8345" y="2945"/>
                </a:cubicBezTo>
                <a:lnTo>
                  <a:pt x="1473" y="2945"/>
                </a:lnTo>
                <a:cubicBezTo>
                  <a:pt x="660" y="2945"/>
                  <a:pt x="0" y="3605"/>
                  <a:pt x="0" y="4418"/>
                </a:cubicBezTo>
                <a:lnTo>
                  <a:pt x="0" y="11291"/>
                </a:lnTo>
                <a:cubicBezTo>
                  <a:pt x="0" y="11427"/>
                  <a:pt x="55" y="11549"/>
                  <a:pt x="144" y="11638"/>
                </a:cubicBezTo>
                <a:lnTo>
                  <a:pt x="9962" y="21456"/>
                </a:lnTo>
                <a:cubicBezTo>
                  <a:pt x="10051" y="21546"/>
                  <a:pt x="10174" y="21600"/>
                  <a:pt x="10309" y="21600"/>
                </a:cubicBezTo>
                <a:cubicBezTo>
                  <a:pt x="10445" y="21600"/>
                  <a:pt x="10567" y="21546"/>
                  <a:pt x="10656" y="21456"/>
                </a:cubicBezTo>
                <a:lnTo>
                  <a:pt x="18511" y="13602"/>
                </a:lnTo>
                <a:cubicBezTo>
                  <a:pt x="18600" y="13513"/>
                  <a:pt x="18655" y="13390"/>
                  <a:pt x="18655" y="13255"/>
                </a:cubicBezTo>
                <a:cubicBezTo>
                  <a:pt x="18655" y="13119"/>
                  <a:pt x="18599" y="12997"/>
                  <a:pt x="18511" y="12908"/>
                </a:cubicBezTo>
                <a:cubicBezTo>
                  <a:pt x="18511" y="12908"/>
                  <a:pt x="8693" y="3090"/>
                  <a:pt x="8693" y="3090"/>
                </a:cubicBezTo>
                <a:close/>
                <a:moveTo>
                  <a:pt x="7855" y="15218"/>
                </a:moveTo>
                <a:cubicBezTo>
                  <a:pt x="7855" y="15490"/>
                  <a:pt x="8074" y="15709"/>
                  <a:pt x="8345" y="15709"/>
                </a:cubicBezTo>
                <a:cubicBezTo>
                  <a:pt x="8481" y="15709"/>
                  <a:pt x="8604" y="15655"/>
                  <a:pt x="8693" y="15565"/>
                </a:cubicBezTo>
                <a:lnTo>
                  <a:pt x="9183" y="15074"/>
                </a:lnTo>
                <a:cubicBezTo>
                  <a:pt x="9273" y="14986"/>
                  <a:pt x="9327" y="14863"/>
                  <a:pt x="9327" y="14728"/>
                </a:cubicBezTo>
                <a:cubicBezTo>
                  <a:pt x="9327" y="14456"/>
                  <a:pt x="9108" y="14236"/>
                  <a:pt x="8836" y="14236"/>
                </a:cubicBezTo>
                <a:cubicBezTo>
                  <a:pt x="8701" y="14236"/>
                  <a:pt x="8578" y="14291"/>
                  <a:pt x="8489" y="14381"/>
                </a:cubicBezTo>
                <a:lnTo>
                  <a:pt x="7998" y="14871"/>
                </a:lnTo>
                <a:cubicBezTo>
                  <a:pt x="7910" y="14961"/>
                  <a:pt x="7855" y="15083"/>
                  <a:pt x="7855" y="15218"/>
                </a:cubicBezTo>
                <a:moveTo>
                  <a:pt x="21456" y="9962"/>
                </a:moveTo>
                <a:lnTo>
                  <a:pt x="11638" y="144"/>
                </a:lnTo>
                <a:cubicBezTo>
                  <a:pt x="11549" y="55"/>
                  <a:pt x="11427" y="0"/>
                  <a:pt x="11291" y="0"/>
                </a:cubicBezTo>
                <a:lnTo>
                  <a:pt x="4418" y="0"/>
                </a:lnTo>
                <a:cubicBezTo>
                  <a:pt x="3605" y="0"/>
                  <a:pt x="2945" y="660"/>
                  <a:pt x="2945" y="1473"/>
                </a:cubicBezTo>
                <a:cubicBezTo>
                  <a:pt x="2945" y="1744"/>
                  <a:pt x="3165" y="1964"/>
                  <a:pt x="3436" y="1964"/>
                </a:cubicBezTo>
                <a:cubicBezTo>
                  <a:pt x="3708" y="1964"/>
                  <a:pt x="3927" y="1744"/>
                  <a:pt x="3927" y="1473"/>
                </a:cubicBezTo>
                <a:cubicBezTo>
                  <a:pt x="3927" y="1202"/>
                  <a:pt x="4147" y="982"/>
                  <a:pt x="4418" y="982"/>
                </a:cubicBezTo>
                <a:lnTo>
                  <a:pt x="11088" y="982"/>
                </a:lnTo>
                <a:lnTo>
                  <a:pt x="20415" y="10310"/>
                </a:lnTo>
                <a:lnTo>
                  <a:pt x="19289" y="11435"/>
                </a:lnTo>
                <a:cubicBezTo>
                  <a:pt x="19201" y="11524"/>
                  <a:pt x="19145" y="11646"/>
                  <a:pt x="19145" y="11782"/>
                </a:cubicBezTo>
                <a:cubicBezTo>
                  <a:pt x="19145" y="12053"/>
                  <a:pt x="19366" y="12273"/>
                  <a:pt x="19636" y="12273"/>
                </a:cubicBezTo>
                <a:cubicBezTo>
                  <a:pt x="19772" y="12273"/>
                  <a:pt x="19895" y="12218"/>
                  <a:pt x="19983" y="12129"/>
                </a:cubicBezTo>
                <a:lnTo>
                  <a:pt x="21456" y="10656"/>
                </a:lnTo>
                <a:cubicBezTo>
                  <a:pt x="21545" y="10567"/>
                  <a:pt x="21600" y="10445"/>
                  <a:pt x="21600" y="10310"/>
                </a:cubicBezTo>
                <a:cubicBezTo>
                  <a:pt x="21600" y="10174"/>
                  <a:pt x="21545" y="10051"/>
                  <a:pt x="21456" y="9962"/>
                </a:cubicBezTo>
                <a:moveTo>
                  <a:pt x="10309" y="13745"/>
                </a:moveTo>
                <a:cubicBezTo>
                  <a:pt x="10445" y="13745"/>
                  <a:pt x="10567" y="13691"/>
                  <a:pt x="10656" y="13602"/>
                </a:cubicBezTo>
                <a:lnTo>
                  <a:pt x="11638" y="12620"/>
                </a:lnTo>
                <a:cubicBezTo>
                  <a:pt x="11727" y="12531"/>
                  <a:pt x="11782" y="12408"/>
                  <a:pt x="11782" y="12273"/>
                </a:cubicBezTo>
                <a:cubicBezTo>
                  <a:pt x="11782" y="12002"/>
                  <a:pt x="11562" y="11782"/>
                  <a:pt x="11291" y="11782"/>
                </a:cubicBezTo>
                <a:cubicBezTo>
                  <a:pt x="11156" y="11782"/>
                  <a:pt x="11033" y="11837"/>
                  <a:pt x="10944" y="11926"/>
                </a:cubicBezTo>
                <a:lnTo>
                  <a:pt x="9962" y="12908"/>
                </a:lnTo>
                <a:cubicBezTo>
                  <a:pt x="9873" y="12997"/>
                  <a:pt x="9818" y="13119"/>
                  <a:pt x="9818" y="13255"/>
                </a:cubicBezTo>
                <a:cubicBezTo>
                  <a:pt x="9818" y="13526"/>
                  <a:pt x="10038" y="13745"/>
                  <a:pt x="10309" y="13745"/>
                </a:cubicBezTo>
                <a:moveTo>
                  <a:pt x="4418" y="7855"/>
                </a:moveTo>
                <a:cubicBezTo>
                  <a:pt x="4147" y="7855"/>
                  <a:pt x="3927" y="7635"/>
                  <a:pt x="3927" y="7364"/>
                </a:cubicBezTo>
                <a:cubicBezTo>
                  <a:pt x="3927" y="7093"/>
                  <a:pt x="4147" y="6873"/>
                  <a:pt x="4418" y="6873"/>
                </a:cubicBezTo>
                <a:cubicBezTo>
                  <a:pt x="4690" y="6873"/>
                  <a:pt x="4909" y="7093"/>
                  <a:pt x="4909" y="7364"/>
                </a:cubicBezTo>
                <a:cubicBezTo>
                  <a:pt x="4909" y="7635"/>
                  <a:pt x="4690" y="7855"/>
                  <a:pt x="4418" y="7855"/>
                </a:cubicBezTo>
                <a:moveTo>
                  <a:pt x="4418" y="5891"/>
                </a:moveTo>
                <a:cubicBezTo>
                  <a:pt x="3605" y="5891"/>
                  <a:pt x="2945" y="6551"/>
                  <a:pt x="2945" y="7364"/>
                </a:cubicBezTo>
                <a:cubicBezTo>
                  <a:pt x="2945" y="8177"/>
                  <a:pt x="3605" y="8837"/>
                  <a:pt x="4418" y="8837"/>
                </a:cubicBezTo>
                <a:cubicBezTo>
                  <a:pt x="5232" y="8837"/>
                  <a:pt x="5891" y="8177"/>
                  <a:pt x="5891" y="7364"/>
                </a:cubicBezTo>
                <a:cubicBezTo>
                  <a:pt x="5891" y="6551"/>
                  <a:pt x="5232" y="5891"/>
                  <a:pt x="4418" y="58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585">
            <a:extLst>
              <a:ext uri="{FF2B5EF4-FFF2-40B4-BE49-F238E27FC236}">
                <a16:creationId xmlns:a16="http://schemas.microsoft.com/office/drawing/2014/main" id="{770B05EE-4618-4708-B2F1-2FE19E2117DC}"/>
              </a:ext>
            </a:extLst>
          </p:cNvPr>
          <p:cNvSpPr/>
          <p:nvPr/>
        </p:nvSpPr>
        <p:spPr bwMode="gray">
          <a:xfrm>
            <a:off x="6223782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00" y="14727"/>
                </a:moveTo>
                <a:lnTo>
                  <a:pt x="5400" y="14727"/>
                </a:lnTo>
                <a:cubicBezTo>
                  <a:pt x="5069" y="14727"/>
                  <a:pt x="4800" y="14947"/>
                  <a:pt x="4800" y="15218"/>
                </a:cubicBezTo>
                <a:cubicBezTo>
                  <a:pt x="4800" y="15490"/>
                  <a:pt x="5069" y="15709"/>
                  <a:pt x="5400" y="15709"/>
                </a:cubicBezTo>
                <a:lnTo>
                  <a:pt x="9000" y="15709"/>
                </a:lnTo>
                <a:cubicBezTo>
                  <a:pt x="9331" y="15709"/>
                  <a:pt x="9600" y="15490"/>
                  <a:pt x="9600" y="15218"/>
                </a:cubicBezTo>
                <a:cubicBezTo>
                  <a:pt x="9600" y="14947"/>
                  <a:pt x="9331" y="14727"/>
                  <a:pt x="9000" y="14727"/>
                </a:cubicBezTo>
                <a:moveTo>
                  <a:pt x="20400" y="2579"/>
                </a:moveTo>
                <a:cubicBezTo>
                  <a:pt x="18840" y="3757"/>
                  <a:pt x="15638" y="4614"/>
                  <a:pt x="12466" y="4845"/>
                </a:cubicBezTo>
                <a:cubicBezTo>
                  <a:pt x="12197" y="4307"/>
                  <a:pt x="11554" y="3927"/>
                  <a:pt x="10800" y="3927"/>
                </a:cubicBezTo>
                <a:cubicBezTo>
                  <a:pt x="10046" y="3927"/>
                  <a:pt x="9403" y="4307"/>
                  <a:pt x="9135" y="4845"/>
                </a:cubicBezTo>
                <a:cubicBezTo>
                  <a:pt x="5962" y="4614"/>
                  <a:pt x="2760" y="3757"/>
                  <a:pt x="1200" y="2579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2579"/>
                  <a:pt x="20400" y="2579"/>
                </a:cubicBezTo>
                <a:close/>
                <a:moveTo>
                  <a:pt x="10200" y="5400"/>
                </a:moveTo>
                <a:cubicBezTo>
                  <a:pt x="10200" y="5129"/>
                  <a:pt x="10469" y="4909"/>
                  <a:pt x="10800" y="4909"/>
                </a:cubicBezTo>
                <a:cubicBezTo>
                  <a:pt x="11131" y="4909"/>
                  <a:pt x="11400" y="5129"/>
                  <a:pt x="11400" y="5400"/>
                </a:cubicBezTo>
                <a:cubicBezTo>
                  <a:pt x="11400" y="5672"/>
                  <a:pt x="11131" y="5891"/>
                  <a:pt x="10800" y="5891"/>
                </a:cubicBezTo>
                <a:cubicBezTo>
                  <a:pt x="10469" y="5891"/>
                  <a:pt x="10200" y="5672"/>
                  <a:pt x="10200" y="5400"/>
                </a:cubicBezTo>
                <a:moveTo>
                  <a:pt x="20400" y="19636"/>
                </a:moveTo>
                <a:cubicBezTo>
                  <a:pt x="20400" y="20178"/>
                  <a:pt x="19862" y="20619"/>
                  <a:pt x="19200" y="20619"/>
                </a:cubicBezTo>
                <a:lnTo>
                  <a:pt x="2400" y="20619"/>
                </a:lnTo>
                <a:cubicBezTo>
                  <a:pt x="1738" y="20619"/>
                  <a:pt x="1200" y="20178"/>
                  <a:pt x="1200" y="19636"/>
                </a:cubicBezTo>
                <a:lnTo>
                  <a:pt x="1200" y="3859"/>
                </a:lnTo>
                <a:cubicBezTo>
                  <a:pt x="3007" y="4894"/>
                  <a:pt x="6118" y="5617"/>
                  <a:pt x="9086" y="5827"/>
                </a:cubicBezTo>
                <a:cubicBezTo>
                  <a:pt x="9311" y="6431"/>
                  <a:pt x="9988" y="6873"/>
                  <a:pt x="10800" y="6873"/>
                </a:cubicBezTo>
                <a:cubicBezTo>
                  <a:pt x="11611" y="6873"/>
                  <a:pt x="12289" y="6431"/>
                  <a:pt x="12514" y="5827"/>
                </a:cubicBezTo>
                <a:cubicBezTo>
                  <a:pt x="15482" y="5617"/>
                  <a:pt x="18593" y="4894"/>
                  <a:pt x="20400" y="3859"/>
                </a:cubicBezTo>
                <a:cubicBezTo>
                  <a:pt x="20400" y="3859"/>
                  <a:pt x="20400" y="19636"/>
                  <a:pt x="20400" y="19636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  <a:moveTo>
                  <a:pt x="7800" y="16691"/>
                </a:moveTo>
                <a:lnTo>
                  <a:pt x="5400" y="16691"/>
                </a:lnTo>
                <a:cubicBezTo>
                  <a:pt x="5069" y="16691"/>
                  <a:pt x="4800" y="16911"/>
                  <a:pt x="4800" y="17182"/>
                </a:cubicBezTo>
                <a:cubicBezTo>
                  <a:pt x="4800" y="17453"/>
                  <a:pt x="5069" y="17673"/>
                  <a:pt x="5400" y="17673"/>
                </a:cubicBezTo>
                <a:lnTo>
                  <a:pt x="7800" y="17673"/>
                </a:lnTo>
                <a:cubicBezTo>
                  <a:pt x="8131" y="17673"/>
                  <a:pt x="8400" y="17453"/>
                  <a:pt x="8400" y="17182"/>
                </a:cubicBezTo>
                <a:cubicBezTo>
                  <a:pt x="8400" y="16911"/>
                  <a:pt x="8131" y="16691"/>
                  <a:pt x="7800" y="166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586">
            <a:extLst>
              <a:ext uri="{FF2B5EF4-FFF2-40B4-BE49-F238E27FC236}">
                <a16:creationId xmlns:a16="http://schemas.microsoft.com/office/drawing/2014/main" id="{962D5438-24D0-4122-B880-80A3392140F2}"/>
              </a:ext>
            </a:extLst>
          </p:cNvPr>
          <p:cNvSpPr/>
          <p:nvPr/>
        </p:nvSpPr>
        <p:spPr bwMode="gray">
          <a:xfrm>
            <a:off x="6775807" y="1759055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600" y="6076"/>
                </a:moveTo>
                <a:cubicBezTo>
                  <a:pt x="14428" y="7109"/>
                  <a:pt x="12685" y="7649"/>
                  <a:pt x="10071" y="7803"/>
                </a:cubicBezTo>
                <a:cubicBezTo>
                  <a:pt x="9806" y="7259"/>
                  <a:pt x="9160" y="6873"/>
                  <a:pt x="8400" y="6873"/>
                </a:cubicBezTo>
                <a:cubicBezTo>
                  <a:pt x="7640" y="6873"/>
                  <a:pt x="6994" y="7259"/>
                  <a:pt x="6729" y="7803"/>
                </a:cubicBezTo>
                <a:cubicBezTo>
                  <a:pt x="4115" y="7649"/>
                  <a:pt x="2372" y="7109"/>
                  <a:pt x="1200" y="6076"/>
                </a:cubicBezTo>
                <a:lnTo>
                  <a:pt x="1200" y="5891"/>
                </a:lnTo>
                <a:cubicBezTo>
                  <a:pt x="1200" y="5349"/>
                  <a:pt x="1738" y="4909"/>
                  <a:pt x="2400" y="4909"/>
                </a:cubicBezTo>
                <a:lnTo>
                  <a:pt x="14400" y="4909"/>
                </a:lnTo>
                <a:cubicBezTo>
                  <a:pt x="15062" y="4909"/>
                  <a:pt x="15600" y="5349"/>
                  <a:pt x="15600" y="5891"/>
                </a:cubicBezTo>
                <a:cubicBezTo>
                  <a:pt x="15600" y="5891"/>
                  <a:pt x="15600" y="6076"/>
                  <a:pt x="15600" y="6076"/>
                </a:cubicBezTo>
                <a:close/>
                <a:moveTo>
                  <a:pt x="7800" y="8346"/>
                </a:moveTo>
                <a:cubicBezTo>
                  <a:pt x="7800" y="8074"/>
                  <a:pt x="8069" y="7855"/>
                  <a:pt x="8400" y="7855"/>
                </a:cubicBezTo>
                <a:cubicBezTo>
                  <a:pt x="8731" y="7855"/>
                  <a:pt x="9000" y="8074"/>
                  <a:pt x="9000" y="8346"/>
                </a:cubicBezTo>
                <a:cubicBezTo>
                  <a:pt x="9000" y="8617"/>
                  <a:pt x="8731" y="8836"/>
                  <a:pt x="8400" y="8836"/>
                </a:cubicBezTo>
                <a:cubicBezTo>
                  <a:pt x="8069" y="8836"/>
                  <a:pt x="7800" y="8617"/>
                  <a:pt x="7800" y="8346"/>
                </a:cubicBezTo>
                <a:moveTo>
                  <a:pt x="15600" y="19636"/>
                </a:moveTo>
                <a:cubicBezTo>
                  <a:pt x="15600" y="20179"/>
                  <a:pt x="15062" y="20619"/>
                  <a:pt x="14400" y="20619"/>
                </a:cubicBezTo>
                <a:lnTo>
                  <a:pt x="2400" y="20619"/>
                </a:lnTo>
                <a:cubicBezTo>
                  <a:pt x="1738" y="20619"/>
                  <a:pt x="1200" y="20179"/>
                  <a:pt x="1200" y="19636"/>
                </a:cubicBezTo>
                <a:lnTo>
                  <a:pt x="1200" y="7318"/>
                </a:lnTo>
                <a:cubicBezTo>
                  <a:pt x="2658" y="8244"/>
                  <a:pt x="4301" y="8666"/>
                  <a:pt x="6693" y="8790"/>
                </a:cubicBezTo>
                <a:cubicBezTo>
                  <a:pt x="6924" y="9385"/>
                  <a:pt x="7597" y="9819"/>
                  <a:pt x="8400" y="9819"/>
                </a:cubicBezTo>
                <a:cubicBezTo>
                  <a:pt x="9203" y="9819"/>
                  <a:pt x="9875" y="9385"/>
                  <a:pt x="10108" y="8790"/>
                </a:cubicBezTo>
                <a:cubicBezTo>
                  <a:pt x="12499" y="8666"/>
                  <a:pt x="14142" y="8244"/>
                  <a:pt x="15600" y="7318"/>
                </a:cubicBezTo>
                <a:cubicBezTo>
                  <a:pt x="15600" y="7318"/>
                  <a:pt x="15600" y="19636"/>
                  <a:pt x="15600" y="19636"/>
                </a:cubicBezTo>
                <a:close/>
                <a:moveTo>
                  <a:pt x="14400" y="3927"/>
                </a:moveTo>
                <a:lnTo>
                  <a:pt x="2400" y="3927"/>
                </a:lnTo>
                <a:cubicBezTo>
                  <a:pt x="1075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4400" y="21600"/>
                </a:lnTo>
                <a:cubicBezTo>
                  <a:pt x="15725" y="21600"/>
                  <a:pt x="16800" y="20721"/>
                  <a:pt x="16800" y="19636"/>
                </a:cubicBezTo>
                <a:lnTo>
                  <a:pt x="16800" y="5891"/>
                </a:lnTo>
                <a:cubicBezTo>
                  <a:pt x="16800" y="4806"/>
                  <a:pt x="15725" y="3927"/>
                  <a:pt x="14400" y="3927"/>
                </a:cubicBezTo>
                <a:moveTo>
                  <a:pt x="5400" y="17673"/>
                </a:moveTo>
                <a:lnTo>
                  <a:pt x="4200" y="17673"/>
                </a:lnTo>
                <a:cubicBezTo>
                  <a:pt x="3869" y="17673"/>
                  <a:pt x="3600" y="17893"/>
                  <a:pt x="3600" y="18164"/>
                </a:cubicBezTo>
                <a:cubicBezTo>
                  <a:pt x="3600" y="18435"/>
                  <a:pt x="3869" y="18655"/>
                  <a:pt x="4200" y="18655"/>
                </a:cubicBezTo>
                <a:lnTo>
                  <a:pt x="5400" y="18655"/>
                </a:lnTo>
                <a:cubicBezTo>
                  <a:pt x="5731" y="18655"/>
                  <a:pt x="6000" y="18435"/>
                  <a:pt x="6000" y="18164"/>
                </a:cubicBezTo>
                <a:cubicBezTo>
                  <a:pt x="6000" y="17893"/>
                  <a:pt x="5731" y="17673"/>
                  <a:pt x="5400" y="17673"/>
                </a:cubicBezTo>
                <a:moveTo>
                  <a:pt x="6600" y="15709"/>
                </a:move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lnTo>
                  <a:pt x="6600" y="16691"/>
                </a:lnTo>
                <a:cubicBezTo>
                  <a:pt x="6931" y="16691"/>
                  <a:pt x="7200" y="16472"/>
                  <a:pt x="7200" y="16200"/>
                </a:cubicBezTo>
                <a:cubicBezTo>
                  <a:pt x="7200" y="15929"/>
                  <a:pt x="6931" y="15709"/>
                  <a:pt x="6600" y="15709"/>
                </a:cubicBezTo>
                <a:moveTo>
                  <a:pt x="19200" y="0"/>
                </a:moveTo>
                <a:lnTo>
                  <a:pt x="7200" y="0"/>
                </a:lnTo>
                <a:cubicBezTo>
                  <a:pt x="5875" y="0"/>
                  <a:pt x="4800" y="879"/>
                  <a:pt x="4800" y="1964"/>
                </a:cubicBezTo>
                <a:lnTo>
                  <a:pt x="4800" y="2455"/>
                </a:lnTo>
                <a:cubicBezTo>
                  <a:pt x="4800" y="2726"/>
                  <a:pt x="5069" y="2945"/>
                  <a:pt x="5400" y="2945"/>
                </a:cubicBezTo>
                <a:cubicBezTo>
                  <a:pt x="5731" y="2945"/>
                  <a:pt x="6000" y="2726"/>
                  <a:pt x="6000" y="2455"/>
                </a:cubicBezTo>
                <a:lnTo>
                  <a:pt x="6000" y="1964"/>
                </a:lnTo>
                <a:cubicBezTo>
                  <a:pt x="6000" y="1422"/>
                  <a:pt x="6538" y="982"/>
                  <a:pt x="7200" y="982"/>
                </a:cubicBez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lnTo>
                  <a:pt x="20400" y="15709"/>
                </a:lnTo>
                <a:cubicBezTo>
                  <a:pt x="20400" y="16252"/>
                  <a:pt x="19862" y="16691"/>
                  <a:pt x="19200" y="16691"/>
                </a:cubicBezTo>
                <a:lnTo>
                  <a:pt x="18600" y="16691"/>
                </a:lnTo>
                <a:cubicBezTo>
                  <a:pt x="18269" y="16691"/>
                  <a:pt x="18000" y="16911"/>
                  <a:pt x="18000" y="17182"/>
                </a:cubicBezTo>
                <a:cubicBezTo>
                  <a:pt x="18000" y="17453"/>
                  <a:pt x="18269" y="17673"/>
                  <a:pt x="18600" y="17673"/>
                </a:cubicBezTo>
                <a:lnTo>
                  <a:pt x="19200" y="17673"/>
                </a:lnTo>
                <a:cubicBezTo>
                  <a:pt x="20525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587">
            <a:extLst>
              <a:ext uri="{FF2B5EF4-FFF2-40B4-BE49-F238E27FC236}">
                <a16:creationId xmlns:a16="http://schemas.microsoft.com/office/drawing/2014/main" id="{D564BC17-4F8B-4253-93B9-918D16E39F0F}"/>
              </a:ext>
            </a:extLst>
          </p:cNvPr>
          <p:cNvSpPr/>
          <p:nvPr/>
        </p:nvSpPr>
        <p:spPr bwMode="gray">
          <a:xfrm>
            <a:off x="7301544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588">
            <a:extLst>
              <a:ext uri="{FF2B5EF4-FFF2-40B4-BE49-F238E27FC236}">
                <a16:creationId xmlns:a16="http://schemas.microsoft.com/office/drawing/2014/main" id="{973A4AF9-A042-4858-947E-20CF5E7A99B9}"/>
              </a:ext>
            </a:extLst>
          </p:cNvPr>
          <p:cNvSpPr/>
          <p:nvPr/>
        </p:nvSpPr>
        <p:spPr bwMode="gray">
          <a:xfrm>
            <a:off x="7853568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589">
            <a:extLst>
              <a:ext uri="{FF2B5EF4-FFF2-40B4-BE49-F238E27FC236}">
                <a16:creationId xmlns:a16="http://schemas.microsoft.com/office/drawing/2014/main" id="{5ACB5F67-5C2D-4BFE-AA70-E0B2557DEC79}"/>
              </a:ext>
            </a:extLst>
          </p:cNvPr>
          <p:cNvSpPr/>
          <p:nvPr/>
        </p:nvSpPr>
        <p:spPr bwMode="gray">
          <a:xfrm>
            <a:off x="8405593" y="1772198"/>
            <a:ext cx="289156" cy="2628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5119"/>
                </a:moveTo>
                <a:cubicBezTo>
                  <a:pt x="7195" y="15119"/>
                  <a:pt x="7855" y="14394"/>
                  <a:pt x="7855" y="13500"/>
                </a:cubicBezTo>
                <a:cubicBezTo>
                  <a:pt x="7855" y="12605"/>
                  <a:pt x="7195" y="11880"/>
                  <a:pt x="6382" y="11880"/>
                </a:cubicBezTo>
                <a:cubicBezTo>
                  <a:pt x="5568" y="11880"/>
                  <a:pt x="4909" y="12605"/>
                  <a:pt x="4909" y="13500"/>
                </a:cubicBezTo>
                <a:cubicBezTo>
                  <a:pt x="4909" y="14394"/>
                  <a:pt x="5568" y="15119"/>
                  <a:pt x="6382" y="15119"/>
                </a:cubicBezTo>
                <a:moveTo>
                  <a:pt x="2455" y="3240"/>
                </a:moveTo>
                <a:cubicBezTo>
                  <a:pt x="2725" y="3240"/>
                  <a:pt x="2945" y="2999"/>
                  <a:pt x="2945" y="2700"/>
                </a:cubicBezTo>
                <a:cubicBezTo>
                  <a:pt x="2945" y="2402"/>
                  <a:pt x="2725" y="2160"/>
                  <a:pt x="2455" y="2160"/>
                </a:cubicBezTo>
                <a:cubicBezTo>
                  <a:pt x="2184" y="2160"/>
                  <a:pt x="1964" y="2402"/>
                  <a:pt x="1964" y="2700"/>
                </a:cubicBezTo>
                <a:cubicBezTo>
                  <a:pt x="1964" y="2999"/>
                  <a:pt x="2184" y="3240"/>
                  <a:pt x="2455" y="3240"/>
                </a:cubicBezTo>
                <a:moveTo>
                  <a:pt x="3927" y="8100"/>
                </a:moveTo>
                <a:cubicBezTo>
                  <a:pt x="3927" y="6609"/>
                  <a:pt x="5026" y="5400"/>
                  <a:pt x="6382" y="5400"/>
                </a:cubicBezTo>
                <a:cubicBezTo>
                  <a:pt x="7738" y="5400"/>
                  <a:pt x="8836" y="6609"/>
                  <a:pt x="8836" y="8100"/>
                </a:cubicBezTo>
                <a:lnTo>
                  <a:pt x="8836" y="13500"/>
                </a:lnTo>
                <a:cubicBezTo>
                  <a:pt x="8836" y="14991"/>
                  <a:pt x="7738" y="16199"/>
                  <a:pt x="6382" y="16199"/>
                </a:cubicBezTo>
                <a:cubicBezTo>
                  <a:pt x="5026" y="16199"/>
                  <a:pt x="3927" y="14991"/>
                  <a:pt x="3927" y="13500"/>
                </a:cubicBezTo>
                <a:cubicBezTo>
                  <a:pt x="3927" y="13500"/>
                  <a:pt x="3927" y="8100"/>
                  <a:pt x="3927" y="8100"/>
                </a:cubicBezTo>
                <a:close/>
                <a:moveTo>
                  <a:pt x="2945" y="13500"/>
                </a:moveTo>
                <a:cubicBezTo>
                  <a:pt x="2945" y="15587"/>
                  <a:pt x="4484" y="17279"/>
                  <a:pt x="6382" y="17279"/>
                </a:cubicBezTo>
                <a:cubicBezTo>
                  <a:pt x="8280" y="17279"/>
                  <a:pt x="9818" y="15587"/>
                  <a:pt x="9818" y="13500"/>
                </a:cubicBezTo>
                <a:lnTo>
                  <a:pt x="9818" y="8100"/>
                </a:lnTo>
                <a:cubicBezTo>
                  <a:pt x="9818" y="6012"/>
                  <a:pt x="8280" y="4320"/>
                  <a:pt x="6382" y="4320"/>
                </a:cubicBezTo>
                <a:cubicBezTo>
                  <a:pt x="4484" y="4320"/>
                  <a:pt x="2945" y="6012"/>
                  <a:pt x="2945" y="8100"/>
                </a:cubicBezTo>
                <a:cubicBezTo>
                  <a:pt x="2945" y="8100"/>
                  <a:pt x="2945" y="13500"/>
                  <a:pt x="2945" y="13500"/>
                </a:cubicBezTo>
                <a:close/>
                <a:moveTo>
                  <a:pt x="2455" y="19439"/>
                </a:moveTo>
                <a:cubicBezTo>
                  <a:pt x="2725" y="19439"/>
                  <a:pt x="2945" y="19198"/>
                  <a:pt x="2945" y="18899"/>
                </a:cubicBezTo>
                <a:cubicBezTo>
                  <a:pt x="2945" y="18601"/>
                  <a:pt x="2725" y="18359"/>
                  <a:pt x="2455" y="18359"/>
                </a:cubicBezTo>
                <a:cubicBezTo>
                  <a:pt x="2184" y="18359"/>
                  <a:pt x="1964" y="18601"/>
                  <a:pt x="1964" y="18899"/>
                </a:cubicBezTo>
                <a:cubicBezTo>
                  <a:pt x="1964" y="19198"/>
                  <a:pt x="2184" y="19439"/>
                  <a:pt x="2455" y="19439"/>
                </a:cubicBezTo>
                <a:moveTo>
                  <a:pt x="20618" y="20519"/>
                </a:moveTo>
                <a:lnTo>
                  <a:pt x="982" y="20519"/>
                </a:lnTo>
                <a:lnTo>
                  <a:pt x="982" y="1080"/>
                </a:lnTo>
                <a:lnTo>
                  <a:pt x="20618" y="1080"/>
                </a:lnTo>
                <a:cubicBezTo>
                  <a:pt x="20618" y="1080"/>
                  <a:pt x="20618" y="20519"/>
                  <a:pt x="20618" y="20519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20519"/>
                </a:lnTo>
                <a:cubicBezTo>
                  <a:pt x="0" y="2111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115"/>
                  <a:pt x="21600" y="20519"/>
                </a:cubicBezTo>
                <a:lnTo>
                  <a:pt x="21600" y="1080"/>
                </a:lnTo>
                <a:cubicBezTo>
                  <a:pt x="21600" y="484"/>
                  <a:pt x="21160" y="0"/>
                  <a:pt x="20618" y="0"/>
                </a:cubicBezTo>
                <a:moveTo>
                  <a:pt x="19145" y="3240"/>
                </a:moveTo>
                <a:cubicBezTo>
                  <a:pt x="19416" y="3240"/>
                  <a:pt x="19636" y="2999"/>
                  <a:pt x="19636" y="2700"/>
                </a:cubicBezTo>
                <a:cubicBezTo>
                  <a:pt x="19636" y="2402"/>
                  <a:pt x="19416" y="2160"/>
                  <a:pt x="19145" y="2160"/>
                </a:cubicBezTo>
                <a:cubicBezTo>
                  <a:pt x="18875" y="2160"/>
                  <a:pt x="18655" y="2402"/>
                  <a:pt x="18655" y="2700"/>
                </a:cubicBezTo>
                <a:cubicBezTo>
                  <a:pt x="18655" y="2999"/>
                  <a:pt x="18875" y="3240"/>
                  <a:pt x="19145" y="3240"/>
                </a:cubicBezTo>
                <a:moveTo>
                  <a:pt x="12764" y="8100"/>
                </a:moveTo>
                <a:cubicBezTo>
                  <a:pt x="12764" y="6609"/>
                  <a:pt x="13863" y="5400"/>
                  <a:pt x="15218" y="5400"/>
                </a:cubicBezTo>
                <a:cubicBezTo>
                  <a:pt x="16574" y="5400"/>
                  <a:pt x="17673" y="6609"/>
                  <a:pt x="17673" y="8100"/>
                </a:cubicBezTo>
                <a:lnTo>
                  <a:pt x="17673" y="13500"/>
                </a:lnTo>
                <a:cubicBezTo>
                  <a:pt x="17673" y="14991"/>
                  <a:pt x="16574" y="16199"/>
                  <a:pt x="15218" y="16199"/>
                </a:cubicBezTo>
                <a:cubicBezTo>
                  <a:pt x="13863" y="16199"/>
                  <a:pt x="12764" y="14991"/>
                  <a:pt x="12764" y="13500"/>
                </a:cubicBezTo>
                <a:cubicBezTo>
                  <a:pt x="12764" y="13500"/>
                  <a:pt x="12764" y="8100"/>
                  <a:pt x="12764" y="8100"/>
                </a:cubicBezTo>
                <a:close/>
                <a:moveTo>
                  <a:pt x="15218" y="17279"/>
                </a:moveTo>
                <a:cubicBezTo>
                  <a:pt x="17116" y="17279"/>
                  <a:pt x="18655" y="15587"/>
                  <a:pt x="18655" y="13500"/>
                </a:cubicBezTo>
                <a:lnTo>
                  <a:pt x="18655" y="8100"/>
                </a:lnTo>
                <a:cubicBezTo>
                  <a:pt x="18655" y="6012"/>
                  <a:pt x="17116" y="4320"/>
                  <a:pt x="15218" y="4320"/>
                </a:cubicBezTo>
                <a:cubicBezTo>
                  <a:pt x="13320" y="4320"/>
                  <a:pt x="11782" y="6012"/>
                  <a:pt x="11782" y="8100"/>
                </a:cubicBezTo>
                <a:lnTo>
                  <a:pt x="11782" y="13500"/>
                </a:lnTo>
                <a:cubicBezTo>
                  <a:pt x="11782" y="15587"/>
                  <a:pt x="13320" y="17279"/>
                  <a:pt x="15218" y="17279"/>
                </a:cubicBezTo>
                <a:moveTo>
                  <a:pt x="15218" y="9720"/>
                </a:moveTo>
                <a:cubicBezTo>
                  <a:pt x="16032" y="9720"/>
                  <a:pt x="16691" y="8995"/>
                  <a:pt x="16691" y="8100"/>
                </a:cubicBezTo>
                <a:cubicBezTo>
                  <a:pt x="16691" y="7206"/>
                  <a:pt x="16032" y="6480"/>
                  <a:pt x="15218" y="6480"/>
                </a:cubicBezTo>
                <a:cubicBezTo>
                  <a:pt x="14405" y="6480"/>
                  <a:pt x="13745" y="7206"/>
                  <a:pt x="13745" y="8100"/>
                </a:cubicBezTo>
                <a:cubicBezTo>
                  <a:pt x="13745" y="8995"/>
                  <a:pt x="14405" y="9720"/>
                  <a:pt x="15218" y="9720"/>
                </a:cubicBezTo>
                <a:moveTo>
                  <a:pt x="19145" y="18359"/>
                </a:moveTo>
                <a:cubicBezTo>
                  <a:pt x="18875" y="18359"/>
                  <a:pt x="18655" y="18601"/>
                  <a:pt x="18655" y="18899"/>
                </a:cubicBezTo>
                <a:cubicBezTo>
                  <a:pt x="18655" y="19198"/>
                  <a:pt x="18875" y="19439"/>
                  <a:pt x="19145" y="19439"/>
                </a:cubicBezTo>
                <a:cubicBezTo>
                  <a:pt x="19416" y="19439"/>
                  <a:pt x="19636" y="19198"/>
                  <a:pt x="19636" y="18899"/>
                </a:cubicBezTo>
                <a:cubicBezTo>
                  <a:pt x="19636" y="18601"/>
                  <a:pt x="19416" y="18359"/>
                  <a:pt x="19145" y="1835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590">
            <a:extLst>
              <a:ext uri="{FF2B5EF4-FFF2-40B4-BE49-F238E27FC236}">
                <a16:creationId xmlns:a16="http://schemas.microsoft.com/office/drawing/2014/main" id="{ED1E1FC7-C65D-4B58-8BDD-8934BD594B94}"/>
              </a:ext>
            </a:extLst>
          </p:cNvPr>
          <p:cNvSpPr/>
          <p:nvPr/>
        </p:nvSpPr>
        <p:spPr bwMode="gray">
          <a:xfrm>
            <a:off x="8957617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591">
            <a:extLst>
              <a:ext uri="{FF2B5EF4-FFF2-40B4-BE49-F238E27FC236}">
                <a16:creationId xmlns:a16="http://schemas.microsoft.com/office/drawing/2014/main" id="{BAB50533-5855-48A5-8918-54887D926304}"/>
              </a:ext>
            </a:extLst>
          </p:cNvPr>
          <p:cNvSpPr/>
          <p:nvPr/>
        </p:nvSpPr>
        <p:spPr bwMode="gray">
          <a:xfrm>
            <a:off x="9509642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592">
            <a:extLst>
              <a:ext uri="{FF2B5EF4-FFF2-40B4-BE49-F238E27FC236}">
                <a16:creationId xmlns:a16="http://schemas.microsoft.com/office/drawing/2014/main" id="{D52C477D-1B97-4DCC-890F-4C2992682832}"/>
              </a:ext>
            </a:extLst>
          </p:cNvPr>
          <p:cNvSpPr/>
          <p:nvPr/>
        </p:nvSpPr>
        <p:spPr bwMode="gray">
          <a:xfrm>
            <a:off x="10061666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593">
            <a:extLst>
              <a:ext uri="{FF2B5EF4-FFF2-40B4-BE49-F238E27FC236}">
                <a16:creationId xmlns:a16="http://schemas.microsoft.com/office/drawing/2014/main" id="{CE79592E-9E50-4ABC-9CA2-84C91A7EBBDC}"/>
              </a:ext>
            </a:extLst>
          </p:cNvPr>
          <p:cNvSpPr/>
          <p:nvPr/>
        </p:nvSpPr>
        <p:spPr bwMode="gray">
          <a:xfrm>
            <a:off x="10613690" y="1759055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095"/>
                </a:moveTo>
                <a:lnTo>
                  <a:pt x="20091" y="8640"/>
                </a:lnTo>
                <a:cubicBezTo>
                  <a:pt x="19294" y="8426"/>
                  <a:pt x="18482" y="8322"/>
                  <a:pt x="17675" y="8322"/>
                </a:cubicBezTo>
                <a:lnTo>
                  <a:pt x="17150" y="7377"/>
                </a:lnTo>
                <a:cubicBezTo>
                  <a:pt x="17052" y="7203"/>
                  <a:pt x="16911" y="7035"/>
                  <a:pt x="16741" y="6937"/>
                </a:cubicBezTo>
                <a:cubicBezTo>
                  <a:pt x="16601" y="6856"/>
                  <a:pt x="16442" y="6822"/>
                  <a:pt x="16268" y="6868"/>
                </a:cubicBezTo>
                <a:lnTo>
                  <a:pt x="13487" y="7613"/>
                </a:lnTo>
                <a:cubicBezTo>
                  <a:pt x="13102" y="7716"/>
                  <a:pt x="12995" y="8125"/>
                  <a:pt x="12977" y="8495"/>
                </a:cubicBezTo>
                <a:lnTo>
                  <a:pt x="12996" y="9570"/>
                </a:lnTo>
                <a:cubicBezTo>
                  <a:pt x="12293" y="9973"/>
                  <a:pt x="11639" y="10471"/>
                  <a:pt x="11053" y="11057"/>
                </a:cubicBezTo>
                <a:lnTo>
                  <a:pt x="10023" y="10762"/>
                </a:lnTo>
                <a:cubicBezTo>
                  <a:pt x="9673" y="10664"/>
                  <a:pt x="9239" y="10682"/>
                  <a:pt x="9040" y="11026"/>
                </a:cubicBezTo>
                <a:lnTo>
                  <a:pt x="7600" y="13520"/>
                </a:lnTo>
                <a:cubicBezTo>
                  <a:pt x="7401" y="13864"/>
                  <a:pt x="7614" y="14229"/>
                  <a:pt x="7863" y="14504"/>
                </a:cubicBezTo>
                <a:lnTo>
                  <a:pt x="8633" y="15248"/>
                </a:lnTo>
                <a:cubicBezTo>
                  <a:pt x="8419" y="16049"/>
                  <a:pt x="8315" y="16864"/>
                  <a:pt x="8317" y="17674"/>
                </a:cubicBezTo>
                <a:lnTo>
                  <a:pt x="7377" y="18196"/>
                </a:lnTo>
                <a:cubicBezTo>
                  <a:pt x="7060" y="18373"/>
                  <a:pt x="6765" y="18693"/>
                  <a:pt x="6868" y="19077"/>
                </a:cubicBezTo>
                <a:lnTo>
                  <a:pt x="7281" y="20619"/>
                </a:ln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1291"/>
                </a:lnTo>
                <a:lnTo>
                  <a:pt x="1931" y="11291"/>
                </a:lnTo>
                <a:cubicBezTo>
                  <a:pt x="2328" y="11291"/>
                  <a:pt x="2538" y="10924"/>
                  <a:pt x="2651" y="10571"/>
                </a:cubicBezTo>
                <a:lnTo>
                  <a:pt x="2913" y="9523"/>
                </a:lnTo>
                <a:cubicBezTo>
                  <a:pt x="3711" y="9310"/>
                  <a:pt x="4466" y="8993"/>
                  <a:pt x="5164" y="8590"/>
                </a:cubicBezTo>
                <a:lnTo>
                  <a:pt x="6091" y="9146"/>
                </a:lnTo>
                <a:cubicBezTo>
                  <a:pt x="6275" y="9241"/>
                  <a:pt x="6484" y="9317"/>
                  <a:pt x="6681" y="9317"/>
                </a:cubicBezTo>
                <a:cubicBezTo>
                  <a:pt x="6837" y="9317"/>
                  <a:pt x="6985" y="9270"/>
                  <a:pt x="7110" y="9146"/>
                </a:cubicBezTo>
                <a:lnTo>
                  <a:pt x="9146" y="7109"/>
                </a:lnTo>
                <a:cubicBezTo>
                  <a:pt x="9427" y="6828"/>
                  <a:pt x="9332" y="6404"/>
                  <a:pt x="9146" y="6091"/>
                </a:cubicBezTo>
                <a:lnTo>
                  <a:pt x="8593" y="5169"/>
                </a:lnTo>
                <a:cubicBezTo>
                  <a:pt x="8999" y="4469"/>
                  <a:pt x="9317" y="3711"/>
                  <a:pt x="9531" y="2911"/>
                </a:cubicBezTo>
                <a:lnTo>
                  <a:pt x="10571" y="2651"/>
                </a:lnTo>
                <a:cubicBezTo>
                  <a:pt x="10924" y="2538"/>
                  <a:pt x="11291" y="2328"/>
                  <a:pt x="11291" y="1931"/>
                </a:cubicBezTo>
                <a:lnTo>
                  <a:pt x="11291" y="982"/>
                </a:lnTo>
                <a:lnTo>
                  <a:pt x="19636" y="982"/>
                </a:lnTo>
                <a:cubicBezTo>
                  <a:pt x="20178" y="982"/>
                  <a:pt x="20618" y="1421"/>
                  <a:pt x="20618" y="1964"/>
                </a:cubicBezTo>
                <a:cubicBezTo>
                  <a:pt x="20618" y="1964"/>
                  <a:pt x="20618" y="8095"/>
                  <a:pt x="20618" y="8095"/>
                </a:cubicBezTo>
                <a:close/>
                <a:moveTo>
                  <a:pt x="20618" y="12594"/>
                </a:moveTo>
                <a:cubicBezTo>
                  <a:pt x="19750" y="12088"/>
                  <a:pt x="18750" y="11782"/>
                  <a:pt x="17673" y="11782"/>
                </a:cubicBezTo>
                <a:cubicBezTo>
                  <a:pt x="14419" y="11782"/>
                  <a:pt x="11782" y="14419"/>
                  <a:pt x="11782" y="17673"/>
                </a:cubicBezTo>
                <a:cubicBezTo>
                  <a:pt x="11782" y="18751"/>
                  <a:pt x="12088" y="19750"/>
                  <a:pt x="12594" y="20619"/>
                </a:cubicBezTo>
                <a:lnTo>
                  <a:pt x="8298" y="20619"/>
                </a:lnTo>
                <a:lnTo>
                  <a:pt x="7875" y="19042"/>
                </a:lnTo>
                <a:lnTo>
                  <a:pt x="8794" y="18532"/>
                </a:lnTo>
                <a:cubicBezTo>
                  <a:pt x="9106" y="18358"/>
                  <a:pt x="9299" y="18028"/>
                  <a:pt x="9299" y="17671"/>
                </a:cubicBezTo>
                <a:cubicBezTo>
                  <a:pt x="9298" y="16938"/>
                  <a:pt x="9392" y="16208"/>
                  <a:pt x="9582" y="15502"/>
                </a:cubicBezTo>
                <a:cubicBezTo>
                  <a:pt x="9674" y="15158"/>
                  <a:pt x="9572" y="14791"/>
                  <a:pt x="9316" y="14543"/>
                </a:cubicBezTo>
                <a:lnTo>
                  <a:pt x="8572" y="13823"/>
                </a:lnTo>
                <a:cubicBezTo>
                  <a:pt x="8569" y="13820"/>
                  <a:pt x="8566" y="13817"/>
                  <a:pt x="8564" y="13813"/>
                </a:cubicBezTo>
                <a:lnTo>
                  <a:pt x="9776" y="11713"/>
                </a:lnTo>
                <a:lnTo>
                  <a:pt x="10783" y="12001"/>
                </a:lnTo>
                <a:cubicBezTo>
                  <a:pt x="11126" y="12099"/>
                  <a:pt x="11495" y="12003"/>
                  <a:pt x="11748" y="11751"/>
                </a:cubicBezTo>
                <a:cubicBezTo>
                  <a:pt x="12264" y="11234"/>
                  <a:pt x="12848" y="10787"/>
                  <a:pt x="13485" y="10421"/>
                </a:cubicBezTo>
                <a:cubicBezTo>
                  <a:pt x="13794" y="10243"/>
                  <a:pt x="13983" y="9911"/>
                  <a:pt x="13977" y="9554"/>
                </a:cubicBezTo>
                <a:lnTo>
                  <a:pt x="13960" y="8514"/>
                </a:lnTo>
                <a:lnTo>
                  <a:pt x="13960" y="8503"/>
                </a:lnTo>
                <a:lnTo>
                  <a:pt x="16304" y="7875"/>
                </a:lnTo>
                <a:lnTo>
                  <a:pt x="16817" y="8799"/>
                </a:lnTo>
                <a:cubicBezTo>
                  <a:pt x="16905" y="8958"/>
                  <a:pt x="17032" y="9085"/>
                  <a:pt x="17184" y="9172"/>
                </a:cubicBezTo>
                <a:cubicBezTo>
                  <a:pt x="17330" y="9257"/>
                  <a:pt x="17499" y="9304"/>
                  <a:pt x="17675" y="9304"/>
                </a:cubicBezTo>
                <a:cubicBezTo>
                  <a:pt x="18407" y="9304"/>
                  <a:pt x="19135" y="9399"/>
                  <a:pt x="19837" y="9589"/>
                </a:cubicBezTo>
                <a:cubicBezTo>
                  <a:pt x="20106" y="9660"/>
                  <a:pt x="20389" y="9611"/>
                  <a:pt x="20618" y="9464"/>
                </a:cubicBezTo>
                <a:cubicBezTo>
                  <a:pt x="20618" y="9464"/>
                  <a:pt x="20618" y="12594"/>
                  <a:pt x="20618" y="12594"/>
                </a:cubicBezTo>
                <a:close/>
                <a:moveTo>
                  <a:pt x="20618" y="15475"/>
                </a:moveTo>
                <a:lnTo>
                  <a:pt x="19093" y="16323"/>
                </a:lnTo>
                <a:cubicBezTo>
                  <a:pt x="18735" y="15946"/>
                  <a:pt x="18233" y="15709"/>
                  <a:pt x="17673" y="15709"/>
                </a:cubicBezTo>
                <a:cubicBezTo>
                  <a:pt x="17113" y="15709"/>
                  <a:pt x="16610" y="15946"/>
                  <a:pt x="16253" y="16323"/>
                </a:cubicBezTo>
                <a:lnTo>
                  <a:pt x="13643" y="14873"/>
                </a:lnTo>
                <a:cubicBezTo>
                  <a:pt x="14530" y="13599"/>
                  <a:pt x="16003" y="12764"/>
                  <a:pt x="17673" y="12764"/>
                </a:cubicBezTo>
                <a:cubicBezTo>
                  <a:pt x="18783" y="12764"/>
                  <a:pt x="19798" y="13141"/>
                  <a:pt x="20618" y="13764"/>
                </a:cubicBezTo>
                <a:cubicBezTo>
                  <a:pt x="20618" y="13764"/>
                  <a:pt x="20618" y="15475"/>
                  <a:pt x="20618" y="15475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8164" y="20619"/>
                </a:lnTo>
                <a:lnTo>
                  <a:pt x="18164" y="19567"/>
                </a:lnTo>
                <a:cubicBezTo>
                  <a:pt x="19009" y="19348"/>
                  <a:pt x="19636" y="18587"/>
                  <a:pt x="19636" y="17673"/>
                </a:cubicBezTo>
                <a:cubicBezTo>
                  <a:pt x="19636" y="17502"/>
                  <a:pt x="19608" y="17339"/>
                  <a:pt x="19567" y="17182"/>
                </a:cubicBezTo>
                <a:lnTo>
                  <a:pt x="20618" y="16598"/>
                </a:lnTo>
                <a:cubicBezTo>
                  <a:pt x="20618" y="16598"/>
                  <a:pt x="20618" y="19636"/>
                  <a:pt x="20618" y="19636"/>
                </a:cubicBezTo>
                <a:close/>
                <a:moveTo>
                  <a:pt x="16691" y="17673"/>
                </a:moveTo>
                <a:cubicBezTo>
                  <a:pt x="16691" y="17131"/>
                  <a:pt x="17131" y="16691"/>
                  <a:pt x="17673" y="16691"/>
                </a:cubicBezTo>
                <a:cubicBezTo>
                  <a:pt x="18214" y="16691"/>
                  <a:pt x="18655" y="17131"/>
                  <a:pt x="18655" y="17673"/>
                </a:cubicBezTo>
                <a:cubicBezTo>
                  <a:pt x="18655" y="18215"/>
                  <a:pt x="18214" y="18655"/>
                  <a:pt x="17673" y="18655"/>
                </a:cubicBezTo>
                <a:cubicBezTo>
                  <a:pt x="17131" y="18655"/>
                  <a:pt x="16691" y="18215"/>
                  <a:pt x="16691" y="17673"/>
                </a:cubicBezTo>
                <a:moveTo>
                  <a:pt x="17182" y="20619"/>
                </a:moveTo>
                <a:lnTo>
                  <a:pt x="13757" y="20619"/>
                </a:lnTo>
                <a:cubicBezTo>
                  <a:pt x="13138" y="19797"/>
                  <a:pt x="12764" y="18781"/>
                  <a:pt x="12764" y="17673"/>
                </a:cubicBezTo>
                <a:cubicBezTo>
                  <a:pt x="12764" y="16982"/>
                  <a:pt x="12907" y="16326"/>
                  <a:pt x="13165" y="15730"/>
                </a:cubicBezTo>
                <a:lnTo>
                  <a:pt x="15779" y="17182"/>
                </a:lnTo>
                <a:cubicBezTo>
                  <a:pt x="15738" y="17339"/>
                  <a:pt x="15709" y="17502"/>
                  <a:pt x="15709" y="17673"/>
                </a:cubicBezTo>
                <a:cubicBezTo>
                  <a:pt x="15709" y="18587"/>
                  <a:pt x="16336" y="19348"/>
                  <a:pt x="17182" y="19567"/>
                </a:cubicBezTo>
                <a:cubicBezTo>
                  <a:pt x="17182" y="19567"/>
                  <a:pt x="17182" y="20619"/>
                  <a:pt x="17182" y="20619"/>
                </a:cubicBezTo>
                <a:close/>
                <a:moveTo>
                  <a:pt x="982" y="5376"/>
                </a:moveTo>
                <a:cubicBezTo>
                  <a:pt x="3301" y="5145"/>
                  <a:pt x="5145" y="3301"/>
                  <a:pt x="5375" y="982"/>
                </a:cubicBezTo>
                <a:lnTo>
                  <a:pt x="10309" y="982"/>
                </a:lnTo>
                <a:lnTo>
                  <a:pt x="10309" y="1703"/>
                </a:lnTo>
                <a:cubicBezTo>
                  <a:pt x="10305" y="1705"/>
                  <a:pt x="10302" y="1706"/>
                  <a:pt x="10298" y="1707"/>
                </a:cubicBezTo>
                <a:lnTo>
                  <a:pt x="9293" y="1958"/>
                </a:lnTo>
                <a:cubicBezTo>
                  <a:pt x="8947" y="2045"/>
                  <a:pt x="8675" y="2313"/>
                  <a:pt x="8583" y="2657"/>
                </a:cubicBezTo>
                <a:cubicBezTo>
                  <a:pt x="8394" y="3363"/>
                  <a:pt x="8112" y="4042"/>
                  <a:pt x="7744" y="4676"/>
                </a:cubicBezTo>
                <a:cubicBezTo>
                  <a:pt x="7564" y="4986"/>
                  <a:pt x="7567" y="5368"/>
                  <a:pt x="7751" y="5674"/>
                </a:cubicBezTo>
                <a:lnTo>
                  <a:pt x="8292" y="6575"/>
                </a:lnTo>
                <a:lnTo>
                  <a:pt x="6576" y="8291"/>
                </a:lnTo>
                <a:cubicBezTo>
                  <a:pt x="6573" y="8290"/>
                  <a:pt x="6569" y="8288"/>
                  <a:pt x="6566" y="8286"/>
                </a:cubicBezTo>
                <a:lnTo>
                  <a:pt x="5669" y="7748"/>
                </a:lnTo>
                <a:cubicBezTo>
                  <a:pt x="5513" y="7655"/>
                  <a:pt x="5339" y="7608"/>
                  <a:pt x="5164" y="7608"/>
                </a:cubicBezTo>
                <a:cubicBezTo>
                  <a:pt x="4995" y="7608"/>
                  <a:pt x="4825" y="7652"/>
                  <a:pt x="4673" y="7739"/>
                </a:cubicBezTo>
                <a:cubicBezTo>
                  <a:pt x="4039" y="8106"/>
                  <a:pt x="3362" y="8387"/>
                  <a:pt x="2659" y="8575"/>
                </a:cubicBezTo>
                <a:cubicBezTo>
                  <a:pt x="2315" y="8666"/>
                  <a:pt x="2047" y="8938"/>
                  <a:pt x="1960" y="9285"/>
                </a:cubicBezTo>
                <a:lnTo>
                  <a:pt x="1707" y="10298"/>
                </a:lnTo>
                <a:cubicBezTo>
                  <a:pt x="1706" y="10302"/>
                  <a:pt x="1705" y="10305"/>
                  <a:pt x="1703" y="10310"/>
                </a:cubicBezTo>
                <a:lnTo>
                  <a:pt x="982" y="10310"/>
                </a:lnTo>
                <a:cubicBezTo>
                  <a:pt x="982" y="10310"/>
                  <a:pt x="982" y="5376"/>
                  <a:pt x="982" y="5376"/>
                </a:cubicBezTo>
                <a:close/>
                <a:moveTo>
                  <a:pt x="982" y="1964"/>
                </a:moveTo>
                <a:cubicBezTo>
                  <a:pt x="982" y="1421"/>
                  <a:pt x="1422" y="982"/>
                  <a:pt x="1964" y="982"/>
                </a:cubicBezTo>
                <a:lnTo>
                  <a:pt x="4384" y="982"/>
                </a:lnTo>
                <a:cubicBezTo>
                  <a:pt x="4162" y="2758"/>
                  <a:pt x="2758" y="4162"/>
                  <a:pt x="982" y="4384"/>
                </a:cubicBezTo>
                <a:cubicBezTo>
                  <a:pt x="982" y="4384"/>
                  <a:pt x="982" y="1964"/>
                  <a:pt x="982" y="1964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594">
            <a:extLst>
              <a:ext uri="{FF2B5EF4-FFF2-40B4-BE49-F238E27FC236}">
                <a16:creationId xmlns:a16="http://schemas.microsoft.com/office/drawing/2014/main" id="{E709E859-ED57-40C7-AC06-29FA3A152272}"/>
              </a:ext>
            </a:extLst>
          </p:cNvPr>
          <p:cNvSpPr/>
          <p:nvPr/>
        </p:nvSpPr>
        <p:spPr bwMode="gray">
          <a:xfrm>
            <a:off x="11165715" y="1785342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8400"/>
                </a:moveTo>
                <a:lnTo>
                  <a:pt x="18164" y="8400"/>
                </a:lnTo>
                <a:cubicBezTo>
                  <a:pt x="18435" y="8400"/>
                  <a:pt x="18655" y="8132"/>
                  <a:pt x="18655" y="7800"/>
                </a:cubicBezTo>
                <a:cubicBezTo>
                  <a:pt x="18655" y="7468"/>
                  <a:pt x="18435" y="7200"/>
                  <a:pt x="18164" y="7200"/>
                </a:cubicBezTo>
                <a:lnTo>
                  <a:pt x="3436" y="7200"/>
                </a:lnTo>
                <a:cubicBezTo>
                  <a:pt x="3165" y="7200"/>
                  <a:pt x="2945" y="7468"/>
                  <a:pt x="2945" y="7800"/>
                </a:cubicBezTo>
                <a:cubicBezTo>
                  <a:pt x="2945" y="8132"/>
                  <a:pt x="3165" y="8400"/>
                  <a:pt x="3436" y="8400"/>
                </a:cubicBezTo>
                <a:moveTo>
                  <a:pt x="3436" y="10800"/>
                </a:moveTo>
                <a:lnTo>
                  <a:pt x="18164" y="10800"/>
                </a:lnTo>
                <a:cubicBezTo>
                  <a:pt x="18435" y="10800"/>
                  <a:pt x="18655" y="10532"/>
                  <a:pt x="18655" y="10200"/>
                </a:cubicBezTo>
                <a:cubicBezTo>
                  <a:pt x="18655" y="9868"/>
                  <a:pt x="18435" y="9600"/>
                  <a:pt x="18164" y="9600"/>
                </a:cubicBezTo>
                <a:lnTo>
                  <a:pt x="3436" y="9600"/>
                </a:lnTo>
                <a:cubicBezTo>
                  <a:pt x="3165" y="9600"/>
                  <a:pt x="2945" y="9868"/>
                  <a:pt x="2945" y="10200"/>
                </a:cubicBezTo>
                <a:cubicBezTo>
                  <a:pt x="2945" y="10532"/>
                  <a:pt x="3165" y="10800"/>
                  <a:pt x="3436" y="10800"/>
                </a:cubicBezTo>
                <a:moveTo>
                  <a:pt x="3436" y="13200"/>
                </a:moveTo>
                <a:lnTo>
                  <a:pt x="13255" y="13200"/>
                </a:lnTo>
                <a:cubicBezTo>
                  <a:pt x="13526" y="13200"/>
                  <a:pt x="13745" y="12931"/>
                  <a:pt x="13745" y="12601"/>
                </a:cubicBezTo>
                <a:cubicBezTo>
                  <a:pt x="13745" y="12268"/>
                  <a:pt x="13526" y="12000"/>
                  <a:pt x="13255" y="12000"/>
                </a:cubicBezTo>
                <a:lnTo>
                  <a:pt x="3436" y="12000"/>
                </a:lnTo>
                <a:cubicBezTo>
                  <a:pt x="3165" y="12000"/>
                  <a:pt x="2945" y="12268"/>
                  <a:pt x="2945" y="12601"/>
                </a:cubicBezTo>
                <a:cubicBezTo>
                  <a:pt x="2945" y="12931"/>
                  <a:pt x="3165" y="13200"/>
                  <a:pt x="3436" y="13200"/>
                </a:cubicBezTo>
                <a:moveTo>
                  <a:pt x="20618" y="19200"/>
                </a:moveTo>
                <a:lnTo>
                  <a:pt x="18114" y="19200"/>
                </a:lnTo>
                <a:cubicBezTo>
                  <a:pt x="17887" y="17831"/>
                  <a:pt x="16897" y="16800"/>
                  <a:pt x="15709" y="16800"/>
                </a:cubicBezTo>
                <a:cubicBezTo>
                  <a:pt x="14522" y="16800"/>
                  <a:pt x="13532" y="17831"/>
                  <a:pt x="13304" y="19200"/>
                </a:cubicBezTo>
                <a:lnTo>
                  <a:pt x="8296" y="19200"/>
                </a:lnTo>
                <a:cubicBezTo>
                  <a:pt x="8068" y="17831"/>
                  <a:pt x="7078" y="16800"/>
                  <a:pt x="5891" y="16800"/>
                </a:cubicBezTo>
                <a:cubicBezTo>
                  <a:pt x="4703" y="16800"/>
                  <a:pt x="3713" y="17831"/>
                  <a:pt x="3486" y="19200"/>
                </a:cubicBezTo>
                <a:lnTo>
                  <a:pt x="982" y="19200"/>
                </a:lnTo>
                <a:lnTo>
                  <a:pt x="982" y="1200"/>
                </a:lnTo>
                <a:lnTo>
                  <a:pt x="20618" y="1200"/>
                </a:lnTo>
                <a:cubicBezTo>
                  <a:pt x="20618" y="1200"/>
                  <a:pt x="20618" y="19200"/>
                  <a:pt x="20618" y="1920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9200"/>
                </a:lnTo>
                <a:cubicBezTo>
                  <a:pt x="0" y="19862"/>
                  <a:pt x="440" y="20400"/>
                  <a:pt x="982" y="20400"/>
                </a:cubicBezTo>
                <a:lnTo>
                  <a:pt x="3927" y="20400"/>
                </a:lnTo>
                <a:cubicBezTo>
                  <a:pt x="4199" y="20400"/>
                  <a:pt x="4418" y="20132"/>
                  <a:pt x="4418" y="19800"/>
                </a:cubicBezTo>
                <a:cubicBezTo>
                  <a:pt x="4418" y="18807"/>
                  <a:pt x="5078" y="18000"/>
                  <a:pt x="5891" y="18000"/>
                </a:cubicBezTo>
                <a:cubicBezTo>
                  <a:pt x="6704" y="18000"/>
                  <a:pt x="7364" y="18807"/>
                  <a:pt x="7364" y="19800"/>
                </a:cubicBezTo>
                <a:cubicBezTo>
                  <a:pt x="7364" y="20132"/>
                  <a:pt x="7583" y="20400"/>
                  <a:pt x="7855" y="20400"/>
                </a:cubicBezTo>
                <a:lnTo>
                  <a:pt x="13745" y="20400"/>
                </a:lnTo>
                <a:cubicBezTo>
                  <a:pt x="14017" y="20400"/>
                  <a:pt x="14236" y="20132"/>
                  <a:pt x="14236" y="19800"/>
                </a:cubicBezTo>
                <a:cubicBezTo>
                  <a:pt x="14236" y="18807"/>
                  <a:pt x="14896" y="18000"/>
                  <a:pt x="15709" y="18000"/>
                </a:cubicBezTo>
                <a:cubicBezTo>
                  <a:pt x="16523" y="18000"/>
                  <a:pt x="17182" y="18807"/>
                  <a:pt x="17182" y="19800"/>
                </a:cubicBezTo>
                <a:cubicBezTo>
                  <a:pt x="17182" y="20132"/>
                  <a:pt x="17401" y="20400"/>
                  <a:pt x="17673" y="20400"/>
                </a:cubicBezTo>
                <a:lnTo>
                  <a:pt x="20618" y="20400"/>
                </a:lnTo>
                <a:cubicBezTo>
                  <a:pt x="21160" y="20400"/>
                  <a:pt x="21600" y="19862"/>
                  <a:pt x="21600" y="192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5891" y="19200"/>
                </a:moveTo>
                <a:cubicBezTo>
                  <a:pt x="5620" y="19200"/>
                  <a:pt x="5400" y="19468"/>
                  <a:pt x="5400" y="19800"/>
                </a:cubicBezTo>
                <a:lnTo>
                  <a:pt x="5400" y="21000"/>
                </a:lnTo>
                <a:cubicBezTo>
                  <a:pt x="5400" y="21332"/>
                  <a:pt x="5620" y="21600"/>
                  <a:pt x="5891" y="21600"/>
                </a:cubicBezTo>
                <a:cubicBezTo>
                  <a:pt x="6162" y="21600"/>
                  <a:pt x="6382" y="21332"/>
                  <a:pt x="6382" y="21000"/>
                </a:cubicBezTo>
                <a:lnTo>
                  <a:pt x="6382" y="19800"/>
                </a:lnTo>
                <a:cubicBezTo>
                  <a:pt x="6382" y="19468"/>
                  <a:pt x="6162" y="19200"/>
                  <a:pt x="5891" y="19200"/>
                </a:cubicBezTo>
                <a:moveTo>
                  <a:pt x="3436" y="6000"/>
                </a:moveTo>
                <a:lnTo>
                  <a:pt x="18164" y="6000"/>
                </a:lnTo>
                <a:cubicBezTo>
                  <a:pt x="18435" y="6000"/>
                  <a:pt x="18655" y="5732"/>
                  <a:pt x="18655" y="5400"/>
                </a:cubicBezTo>
                <a:cubicBezTo>
                  <a:pt x="18655" y="5069"/>
                  <a:pt x="18435" y="4800"/>
                  <a:pt x="18164" y="4800"/>
                </a:cubicBezTo>
                <a:lnTo>
                  <a:pt x="3436" y="4800"/>
                </a:lnTo>
                <a:cubicBezTo>
                  <a:pt x="3165" y="4800"/>
                  <a:pt x="2945" y="5069"/>
                  <a:pt x="2945" y="5400"/>
                </a:cubicBezTo>
                <a:cubicBezTo>
                  <a:pt x="2945" y="5732"/>
                  <a:pt x="3165" y="6000"/>
                  <a:pt x="3436" y="6000"/>
                </a:cubicBezTo>
                <a:moveTo>
                  <a:pt x="15709" y="19200"/>
                </a:moveTo>
                <a:cubicBezTo>
                  <a:pt x="15438" y="19200"/>
                  <a:pt x="15218" y="19468"/>
                  <a:pt x="15218" y="19800"/>
                </a:cubicBezTo>
                <a:lnTo>
                  <a:pt x="15218" y="21000"/>
                </a:lnTo>
                <a:cubicBezTo>
                  <a:pt x="15218" y="21332"/>
                  <a:pt x="15438" y="21600"/>
                  <a:pt x="15709" y="21600"/>
                </a:cubicBezTo>
                <a:cubicBezTo>
                  <a:pt x="15980" y="21600"/>
                  <a:pt x="16200" y="21332"/>
                  <a:pt x="16200" y="21000"/>
                </a:cubicBezTo>
                <a:lnTo>
                  <a:pt x="16200" y="19800"/>
                </a:lnTo>
                <a:cubicBezTo>
                  <a:pt x="16200" y="19468"/>
                  <a:pt x="15980" y="19200"/>
                  <a:pt x="15709" y="19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595">
            <a:extLst>
              <a:ext uri="{FF2B5EF4-FFF2-40B4-BE49-F238E27FC236}">
                <a16:creationId xmlns:a16="http://schemas.microsoft.com/office/drawing/2014/main" id="{4DBCEF92-2567-4941-9F75-0AFAB66F1008}"/>
              </a:ext>
            </a:extLst>
          </p:cNvPr>
          <p:cNvSpPr/>
          <p:nvPr/>
        </p:nvSpPr>
        <p:spPr bwMode="gray">
          <a:xfrm>
            <a:off x="6197495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4040"/>
                </a:moveTo>
                <a:lnTo>
                  <a:pt x="14236" y="14040"/>
                </a:lnTo>
                <a:cubicBezTo>
                  <a:pt x="14507" y="14040"/>
                  <a:pt x="14727" y="13799"/>
                  <a:pt x="14727" y="13500"/>
                </a:cubicBezTo>
                <a:cubicBezTo>
                  <a:pt x="14727" y="13202"/>
                  <a:pt x="14507" y="12960"/>
                  <a:pt x="14236" y="12960"/>
                </a:cubicBezTo>
                <a:lnTo>
                  <a:pt x="7364" y="12960"/>
                </a:lnTo>
                <a:cubicBezTo>
                  <a:pt x="7093" y="12960"/>
                  <a:pt x="6873" y="13202"/>
                  <a:pt x="6873" y="13500"/>
                </a:cubicBezTo>
                <a:cubicBezTo>
                  <a:pt x="6873" y="13799"/>
                  <a:pt x="7093" y="14040"/>
                  <a:pt x="7364" y="14040"/>
                </a:cubicBezTo>
                <a:moveTo>
                  <a:pt x="7364" y="11880"/>
                </a:moveTo>
                <a:lnTo>
                  <a:pt x="18164" y="11880"/>
                </a:lnTo>
                <a:cubicBezTo>
                  <a:pt x="18434" y="11880"/>
                  <a:pt x="18655" y="11639"/>
                  <a:pt x="18655" y="11340"/>
                </a:cubicBezTo>
                <a:cubicBezTo>
                  <a:pt x="18655" y="11042"/>
                  <a:pt x="18434" y="10800"/>
                  <a:pt x="18164" y="10800"/>
                </a:cubicBezTo>
                <a:lnTo>
                  <a:pt x="7364" y="10800"/>
                </a:lnTo>
                <a:cubicBezTo>
                  <a:pt x="7093" y="10800"/>
                  <a:pt x="6873" y="11042"/>
                  <a:pt x="6873" y="11340"/>
                </a:cubicBezTo>
                <a:cubicBezTo>
                  <a:pt x="6873" y="11639"/>
                  <a:pt x="7093" y="11880"/>
                  <a:pt x="7364" y="11880"/>
                </a:cubicBezTo>
                <a:moveTo>
                  <a:pt x="20618" y="19440"/>
                </a:moveTo>
                <a:lnTo>
                  <a:pt x="18605" y="19440"/>
                </a:lnTo>
                <a:cubicBezTo>
                  <a:pt x="18378" y="18208"/>
                  <a:pt x="17387" y="17280"/>
                  <a:pt x="16200" y="17280"/>
                </a:cubicBezTo>
                <a:cubicBezTo>
                  <a:pt x="15013" y="17280"/>
                  <a:pt x="14022" y="18208"/>
                  <a:pt x="13795" y="19440"/>
                </a:cubicBezTo>
                <a:lnTo>
                  <a:pt x="11732" y="19440"/>
                </a:lnTo>
                <a:cubicBezTo>
                  <a:pt x="11505" y="18208"/>
                  <a:pt x="10515" y="17280"/>
                  <a:pt x="9327" y="17280"/>
                </a:cubicBezTo>
                <a:cubicBezTo>
                  <a:pt x="8140" y="17280"/>
                  <a:pt x="7150" y="18208"/>
                  <a:pt x="6922" y="19440"/>
                </a:cubicBezTo>
                <a:lnTo>
                  <a:pt x="4909" y="19440"/>
                </a:lnTo>
                <a:lnTo>
                  <a:pt x="4909" y="5400"/>
                </a:lnTo>
                <a:lnTo>
                  <a:pt x="20618" y="5400"/>
                </a:lnTo>
                <a:cubicBezTo>
                  <a:pt x="20618" y="5400"/>
                  <a:pt x="20618" y="19440"/>
                  <a:pt x="20618" y="19440"/>
                </a:cubicBezTo>
                <a:close/>
                <a:moveTo>
                  <a:pt x="20618" y="4320"/>
                </a:moveTo>
                <a:lnTo>
                  <a:pt x="4909" y="4320"/>
                </a:lnTo>
                <a:cubicBezTo>
                  <a:pt x="4367" y="4320"/>
                  <a:pt x="3927" y="4804"/>
                  <a:pt x="3927" y="5400"/>
                </a:cubicBezTo>
                <a:lnTo>
                  <a:pt x="3927" y="19440"/>
                </a:lnTo>
                <a:cubicBezTo>
                  <a:pt x="3927" y="20036"/>
                  <a:pt x="4367" y="20520"/>
                  <a:pt x="4909" y="20520"/>
                </a:cubicBezTo>
                <a:lnTo>
                  <a:pt x="7364" y="20520"/>
                </a:lnTo>
                <a:cubicBezTo>
                  <a:pt x="7634" y="20520"/>
                  <a:pt x="7855" y="20279"/>
                  <a:pt x="7855" y="19980"/>
                </a:cubicBezTo>
                <a:cubicBezTo>
                  <a:pt x="7855" y="19085"/>
                  <a:pt x="8514" y="18360"/>
                  <a:pt x="9327" y="18360"/>
                </a:cubicBezTo>
                <a:cubicBezTo>
                  <a:pt x="10141" y="18360"/>
                  <a:pt x="10800" y="19085"/>
                  <a:pt x="10800" y="19980"/>
                </a:cubicBezTo>
                <a:cubicBezTo>
                  <a:pt x="10800" y="20279"/>
                  <a:pt x="11020" y="20520"/>
                  <a:pt x="11291" y="20520"/>
                </a:cubicBezTo>
                <a:lnTo>
                  <a:pt x="14236" y="20520"/>
                </a:lnTo>
                <a:cubicBezTo>
                  <a:pt x="14507" y="20520"/>
                  <a:pt x="14727" y="20279"/>
                  <a:pt x="14727" y="19980"/>
                </a:cubicBezTo>
                <a:cubicBezTo>
                  <a:pt x="14727" y="19085"/>
                  <a:pt x="15386" y="18360"/>
                  <a:pt x="16200" y="18360"/>
                </a:cubicBezTo>
                <a:cubicBezTo>
                  <a:pt x="17014" y="18360"/>
                  <a:pt x="17673" y="19085"/>
                  <a:pt x="17673" y="19980"/>
                </a:cubicBezTo>
                <a:cubicBezTo>
                  <a:pt x="17673" y="20279"/>
                  <a:pt x="17893" y="20520"/>
                  <a:pt x="18164" y="20520"/>
                </a:cubicBezTo>
                <a:lnTo>
                  <a:pt x="20618" y="20520"/>
                </a:lnTo>
                <a:cubicBezTo>
                  <a:pt x="21160" y="20520"/>
                  <a:pt x="21600" y="20036"/>
                  <a:pt x="21600" y="19440"/>
                </a:cubicBezTo>
                <a:lnTo>
                  <a:pt x="21600" y="5400"/>
                </a:lnTo>
                <a:cubicBezTo>
                  <a:pt x="21600" y="4804"/>
                  <a:pt x="21160" y="4320"/>
                  <a:pt x="20618" y="4320"/>
                </a:cubicBezTo>
                <a:moveTo>
                  <a:pt x="7364" y="9720"/>
                </a:moveTo>
                <a:lnTo>
                  <a:pt x="18164" y="9720"/>
                </a:lnTo>
                <a:cubicBezTo>
                  <a:pt x="18434" y="9720"/>
                  <a:pt x="18655" y="9479"/>
                  <a:pt x="18655" y="9180"/>
                </a:cubicBezTo>
                <a:cubicBezTo>
                  <a:pt x="18655" y="8882"/>
                  <a:pt x="18434" y="8640"/>
                  <a:pt x="18164" y="8640"/>
                </a:cubicBezTo>
                <a:lnTo>
                  <a:pt x="7364" y="8640"/>
                </a:lnTo>
                <a:cubicBezTo>
                  <a:pt x="7093" y="8640"/>
                  <a:pt x="6873" y="8882"/>
                  <a:pt x="6873" y="9180"/>
                </a:cubicBezTo>
                <a:cubicBezTo>
                  <a:pt x="6873" y="9479"/>
                  <a:pt x="7093" y="9720"/>
                  <a:pt x="7364" y="9720"/>
                </a:cubicBezTo>
                <a:moveTo>
                  <a:pt x="9327" y="19440"/>
                </a:moveTo>
                <a:cubicBezTo>
                  <a:pt x="9056" y="19440"/>
                  <a:pt x="8836" y="19682"/>
                  <a:pt x="8836" y="19980"/>
                </a:cubicBezTo>
                <a:lnTo>
                  <a:pt x="8836" y="21060"/>
                </a:lnTo>
                <a:cubicBezTo>
                  <a:pt x="8836" y="21359"/>
                  <a:pt x="9056" y="21600"/>
                  <a:pt x="9327" y="21600"/>
                </a:cubicBezTo>
                <a:cubicBezTo>
                  <a:pt x="9598" y="21600"/>
                  <a:pt x="9818" y="21359"/>
                  <a:pt x="9818" y="21060"/>
                </a:cubicBezTo>
                <a:lnTo>
                  <a:pt x="9818" y="19980"/>
                </a:lnTo>
                <a:cubicBezTo>
                  <a:pt x="9818" y="19682"/>
                  <a:pt x="9598" y="19440"/>
                  <a:pt x="9327" y="19440"/>
                </a:cubicBezTo>
                <a:moveTo>
                  <a:pt x="2455" y="15120"/>
                </a:moveTo>
                <a:lnTo>
                  <a:pt x="982" y="15120"/>
                </a:lnTo>
                <a:lnTo>
                  <a:pt x="982" y="1080"/>
                </a:lnTo>
                <a:lnTo>
                  <a:pt x="16691" y="1080"/>
                </a:lnTo>
                <a:lnTo>
                  <a:pt x="16691" y="2700"/>
                </a:lnTo>
                <a:cubicBezTo>
                  <a:pt x="16691" y="2999"/>
                  <a:pt x="16911" y="3240"/>
                  <a:pt x="17182" y="3240"/>
                </a:cubicBezTo>
                <a:cubicBezTo>
                  <a:pt x="17453" y="3240"/>
                  <a:pt x="17673" y="2999"/>
                  <a:pt x="17673" y="2700"/>
                </a:cubicBezTo>
                <a:lnTo>
                  <a:pt x="17673" y="1080"/>
                </a:lnTo>
                <a:cubicBezTo>
                  <a:pt x="17673" y="484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484"/>
                  <a:pt x="0" y="1080"/>
                </a:cubicBezTo>
                <a:lnTo>
                  <a:pt x="0" y="15120"/>
                </a:lnTo>
                <a:cubicBezTo>
                  <a:pt x="0" y="15716"/>
                  <a:pt x="440" y="16201"/>
                  <a:pt x="982" y="16201"/>
                </a:cubicBezTo>
                <a:lnTo>
                  <a:pt x="2455" y="16201"/>
                </a:lnTo>
                <a:cubicBezTo>
                  <a:pt x="2725" y="16201"/>
                  <a:pt x="2945" y="15959"/>
                  <a:pt x="2945" y="15660"/>
                </a:cubicBezTo>
                <a:cubicBezTo>
                  <a:pt x="2945" y="15362"/>
                  <a:pt x="2725" y="15120"/>
                  <a:pt x="2455" y="15120"/>
                </a:cubicBezTo>
                <a:moveTo>
                  <a:pt x="16200" y="19440"/>
                </a:moveTo>
                <a:cubicBezTo>
                  <a:pt x="15929" y="19440"/>
                  <a:pt x="15709" y="19682"/>
                  <a:pt x="15709" y="19980"/>
                </a:cubicBezTo>
                <a:lnTo>
                  <a:pt x="15709" y="21060"/>
                </a:lnTo>
                <a:cubicBezTo>
                  <a:pt x="15709" y="21359"/>
                  <a:pt x="15929" y="21600"/>
                  <a:pt x="16200" y="21600"/>
                </a:cubicBezTo>
                <a:cubicBezTo>
                  <a:pt x="16471" y="21600"/>
                  <a:pt x="16691" y="21359"/>
                  <a:pt x="16691" y="21060"/>
                </a:cubicBezTo>
                <a:lnTo>
                  <a:pt x="16691" y="19980"/>
                </a:lnTo>
                <a:cubicBezTo>
                  <a:pt x="16691" y="19682"/>
                  <a:pt x="16471" y="19440"/>
                  <a:pt x="16200" y="194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596">
            <a:extLst>
              <a:ext uri="{FF2B5EF4-FFF2-40B4-BE49-F238E27FC236}">
                <a16:creationId xmlns:a16="http://schemas.microsoft.com/office/drawing/2014/main" id="{B4CCA6D5-7B16-4C77-AB5F-3A4B3987F7B4}"/>
              </a:ext>
            </a:extLst>
          </p:cNvPr>
          <p:cNvSpPr/>
          <p:nvPr/>
        </p:nvSpPr>
        <p:spPr bwMode="gray">
          <a:xfrm>
            <a:off x="6749520" y="2350510"/>
            <a:ext cx="289156" cy="2102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5400"/>
                </a:moveTo>
                <a:lnTo>
                  <a:pt x="9327" y="5400"/>
                </a:lnTo>
                <a:cubicBezTo>
                  <a:pt x="9598" y="5400"/>
                  <a:pt x="9818" y="5098"/>
                  <a:pt x="9818" y="4725"/>
                </a:cubicBezTo>
                <a:cubicBezTo>
                  <a:pt x="9818" y="4353"/>
                  <a:pt x="9598" y="4050"/>
                  <a:pt x="9327" y="4050"/>
                </a:cubicBezTo>
                <a:lnTo>
                  <a:pt x="3436" y="4050"/>
                </a:lnTo>
                <a:cubicBezTo>
                  <a:pt x="3166" y="4050"/>
                  <a:pt x="2945" y="4353"/>
                  <a:pt x="2945" y="4725"/>
                </a:cubicBezTo>
                <a:cubicBezTo>
                  <a:pt x="2945" y="5098"/>
                  <a:pt x="3166" y="5400"/>
                  <a:pt x="3436" y="5400"/>
                </a:cubicBezTo>
                <a:moveTo>
                  <a:pt x="3436" y="8100"/>
                </a:moveTo>
                <a:lnTo>
                  <a:pt x="7364" y="8100"/>
                </a:lnTo>
                <a:cubicBezTo>
                  <a:pt x="7634" y="8100"/>
                  <a:pt x="7855" y="7798"/>
                  <a:pt x="7855" y="7425"/>
                </a:cubicBezTo>
                <a:cubicBezTo>
                  <a:pt x="7855" y="7053"/>
                  <a:pt x="7634" y="6750"/>
                  <a:pt x="7364" y="6750"/>
                </a:cubicBezTo>
                <a:lnTo>
                  <a:pt x="3436" y="6750"/>
                </a:lnTo>
                <a:cubicBezTo>
                  <a:pt x="3166" y="6750"/>
                  <a:pt x="2945" y="7053"/>
                  <a:pt x="2945" y="7425"/>
                </a:cubicBezTo>
                <a:cubicBezTo>
                  <a:pt x="2945" y="7798"/>
                  <a:pt x="3166" y="8100"/>
                  <a:pt x="3436" y="8100"/>
                </a:cubicBezTo>
                <a:moveTo>
                  <a:pt x="3436" y="10800"/>
                </a:moveTo>
                <a:lnTo>
                  <a:pt x="9327" y="10800"/>
                </a:lnTo>
                <a:cubicBezTo>
                  <a:pt x="9598" y="10800"/>
                  <a:pt x="9818" y="10498"/>
                  <a:pt x="9818" y="10125"/>
                </a:cubicBezTo>
                <a:cubicBezTo>
                  <a:pt x="9818" y="9753"/>
                  <a:pt x="9598" y="9450"/>
                  <a:pt x="9327" y="9450"/>
                </a:cubicBezTo>
                <a:lnTo>
                  <a:pt x="3436" y="9450"/>
                </a:lnTo>
                <a:cubicBezTo>
                  <a:pt x="3166" y="9450"/>
                  <a:pt x="2945" y="9753"/>
                  <a:pt x="2945" y="10125"/>
                </a:cubicBezTo>
                <a:cubicBezTo>
                  <a:pt x="2945" y="10498"/>
                  <a:pt x="3166" y="10800"/>
                  <a:pt x="3436" y="10800"/>
                </a:cubicBezTo>
                <a:moveTo>
                  <a:pt x="20618" y="20250"/>
                </a:moveTo>
                <a:lnTo>
                  <a:pt x="15709" y="20250"/>
                </a:lnTo>
                <a:lnTo>
                  <a:pt x="15709" y="17551"/>
                </a:lnTo>
                <a:lnTo>
                  <a:pt x="16691" y="17551"/>
                </a:lnTo>
                <a:cubicBezTo>
                  <a:pt x="16962" y="17551"/>
                  <a:pt x="17182" y="17248"/>
                  <a:pt x="17182" y="16875"/>
                </a:cubicBezTo>
                <a:cubicBezTo>
                  <a:pt x="17182" y="16503"/>
                  <a:pt x="16962" y="16200"/>
                  <a:pt x="16691" y="16200"/>
                </a:cubicBezTo>
                <a:lnTo>
                  <a:pt x="13745" y="16200"/>
                </a:lnTo>
                <a:cubicBezTo>
                  <a:pt x="13475" y="16200"/>
                  <a:pt x="13255" y="16503"/>
                  <a:pt x="13255" y="16875"/>
                </a:cubicBezTo>
                <a:cubicBezTo>
                  <a:pt x="13255" y="17248"/>
                  <a:pt x="13475" y="17551"/>
                  <a:pt x="13745" y="17551"/>
                </a:cubicBezTo>
                <a:lnTo>
                  <a:pt x="14727" y="17551"/>
                </a:lnTo>
                <a:lnTo>
                  <a:pt x="14727" y="20250"/>
                </a:lnTo>
                <a:lnTo>
                  <a:pt x="6873" y="20250"/>
                </a:lnTo>
                <a:lnTo>
                  <a:pt x="6873" y="17551"/>
                </a:lnTo>
                <a:lnTo>
                  <a:pt x="7855" y="17551"/>
                </a:lnTo>
                <a:cubicBezTo>
                  <a:pt x="8125" y="17551"/>
                  <a:pt x="8345" y="17248"/>
                  <a:pt x="8345" y="16875"/>
                </a:cubicBezTo>
                <a:cubicBezTo>
                  <a:pt x="8345" y="16503"/>
                  <a:pt x="8125" y="16200"/>
                  <a:pt x="7855" y="16200"/>
                </a:cubicBezTo>
                <a:lnTo>
                  <a:pt x="4909" y="16200"/>
                </a:lnTo>
                <a:cubicBezTo>
                  <a:pt x="4638" y="16200"/>
                  <a:pt x="4418" y="16503"/>
                  <a:pt x="4418" y="16875"/>
                </a:cubicBezTo>
                <a:cubicBezTo>
                  <a:pt x="4418" y="17248"/>
                  <a:pt x="4638" y="17551"/>
                  <a:pt x="4909" y="17551"/>
                </a:cubicBezTo>
                <a:lnTo>
                  <a:pt x="5891" y="17551"/>
                </a:lnTo>
                <a:lnTo>
                  <a:pt x="5891" y="20250"/>
                </a:lnTo>
                <a:lnTo>
                  <a:pt x="982" y="202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3436" y="13500"/>
                </a:moveTo>
                <a:lnTo>
                  <a:pt x="7364" y="13500"/>
                </a:lnTo>
                <a:cubicBezTo>
                  <a:pt x="7634" y="13500"/>
                  <a:pt x="7855" y="13198"/>
                  <a:pt x="7855" y="12825"/>
                </a:cubicBezTo>
                <a:cubicBezTo>
                  <a:pt x="7855" y="12452"/>
                  <a:pt x="7634" y="12150"/>
                  <a:pt x="7364" y="12150"/>
                </a:cubicBezTo>
                <a:lnTo>
                  <a:pt x="3436" y="12150"/>
                </a:lnTo>
                <a:cubicBezTo>
                  <a:pt x="3166" y="12150"/>
                  <a:pt x="2945" y="12452"/>
                  <a:pt x="2945" y="12825"/>
                </a:cubicBezTo>
                <a:cubicBezTo>
                  <a:pt x="2945" y="13198"/>
                  <a:pt x="3166" y="13500"/>
                  <a:pt x="3436" y="13500"/>
                </a:cubicBezTo>
                <a:moveTo>
                  <a:pt x="12273" y="5400"/>
                </a:moveTo>
                <a:lnTo>
                  <a:pt x="16200" y="5400"/>
                </a:lnTo>
                <a:cubicBezTo>
                  <a:pt x="16471" y="5400"/>
                  <a:pt x="16691" y="5098"/>
                  <a:pt x="16691" y="4725"/>
                </a:cubicBezTo>
                <a:cubicBezTo>
                  <a:pt x="16691" y="4353"/>
                  <a:pt x="16471" y="4050"/>
                  <a:pt x="16200" y="4050"/>
                </a:cubicBezTo>
                <a:lnTo>
                  <a:pt x="12273" y="4050"/>
                </a:lnTo>
                <a:cubicBezTo>
                  <a:pt x="12002" y="4050"/>
                  <a:pt x="11782" y="4353"/>
                  <a:pt x="11782" y="4725"/>
                </a:cubicBezTo>
                <a:cubicBezTo>
                  <a:pt x="11782" y="5098"/>
                  <a:pt x="12002" y="5400"/>
                  <a:pt x="12273" y="5400"/>
                </a:cubicBezTo>
                <a:moveTo>
                  <a:pt x="12273" y="10800"/>
                </a:moveTo>
                <a:lnTo>
                  <a:pt x="16200" y="10800"/>
                </a:lnTo>
                <a:cubicBezTo>
                  <a:pt x="16471" y="10800"/>
                  <a:pt x="16691" y="10498"/>
                  <a:pt x="16691" y="10125"/>
                </a:cubicBezTo>
                <a:cubicBezTo>
                  <a:pt x="16691" y="9753"/>
                  <a:pt x="16471" y="9450"/>
                  <a:pt x="16200" y="9450"/>
                </a:cubicBezTo>
                <a:lnTo>
                  <a:pt x="12273" y="9450"/>
                </a:lnTo>
                <a:cubicBezTo>
                  <a:pt x="12002" y="9450"/>
                  <a:pt x="11782" y="9753"/>
                  <a:pt x="11782" y="10125"/>
                </a:cubicBezTo>
                <a:cubicBezTo>
                  <a:pt x="11782" y="10498"/>
                  <a:pt x="12002" y="10800"/>
                  <a:pt x="12273" y="10800"/>
                </a:cubicBezTo>
                <a:moveTo>
                  <a:pt x="12273" y="13500"/>
                </a:moveTo>
                <a:lnTo>
                  <a:pt x="18164" y="13500"/>
                </a:lnTo>
                <a:cubicBezTo>
                  <a:pt x="18434" y="13500"/>
                  <a:pt x="18655" y="13198"/>
                  <a:pt x="18655" y="12825"/>
                </a:cubicBezTo>
                <a:cubicBezTo>
                  <a:pt x="18655" y="12452"/>
                  <a:pt x="18434" y="12150"/>
                  <a:pt x="18164" y="12150"/>
                </a:cubicBezTo>
                <a:lnTo>
                  <a:pt x="12273" y="12150"/>
                </a:lnTo>
                <a:cubicBezTo>
                  <a:pt x="12002" y="12150"/>
                  <a:pt x="11782" y="12452"/>
                  <a:pt x="11782" y="12825"/>
                </a:cubicBezTo>
                <a:cubicBezTo>
                  <a:pt x="11782" y="13198"/>
                  <a:pt x="12002" y="13500"/>
                  <a:pt x="12273" y="13500"/>
                </a:cubicBezTo>
                <a:moveTo>
                  <a:pt x="12273" y="8100"/>
                </a:moveTo>
                <a:lnTo>
                  <a:pt x="18164" y="8100"/>
                </a:lnTo>
                <a:cubicBezTo>
                  <a:pt x="18434" y="8100"/>
                  <a:pt x="18655" y="7798"/>
                  <a:pt x="18655" y="7425"/>
                </a:cubicBezTo>
                <a:cubicBezTo>
                  <a:pt x="18655" y="7053"/>
                  <a:pt x="18434" y="6750"/>
                  <a:pt x="18164" y="6750"/>
                </a:cubicBezTo>
                <a:lnTo>
                  <a:pt x="12273" y="6750"/>
                </a:lnTo>
                <a:cubicBezTo>
                  <a:pt x="12002" y="6750"/>
                  <a:pt x="11782" y="7053"/>
                  <a:pt x="11782" y="7425"/>
                </a:cubicBezTo>
                <a:cubicBezTo>
                  <a:pt x="11782" y="7798"/>
                  <a:pt x="12002" y="8100"/>
                  <a:pt x="12273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597">
            <a:extLst>
              <a:ext uri="{FF2B5EF4-FFF2-40B4-BE49-F238E27FC236}">
                <a16:creationId xmlns:a16="http://schemas.microsoft.com/office/drawing/2014/main" id="{F6C7FDBB-6E9A-4977-82F0-26E1BB7847D4}"/>
              </a:ext>
            </a:extLst>
          </p:cNvPr>
          <p:cNvSpPr/>
          <p:nvPr/>
        </p:nvSpPr>
        <p:spPr bwMode="gray">
          <a:xfrm>
            <a:off x="7301544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9600"/>
                </a:moveTo>
                <a:lnTo>
                  <a:pt x="11291" y="9600"/>
                </a:lnTo>
                <a:cubicBezTo>
                  <a:pt x="11562" y="9600"/>
                  <a:pt x="11782" y="9332"/>
                  <a:pt x="11782" y="9000"/>
                </a:cubicBezTo>
                <a:cubicBezTo>
                  <a:pt x="11782" y="8669"/>
                  <a:pt x="11562" y="8400"/>
                  <a:pt x="11291" y="8400"/>
                </a:cubicBezTo>
                <a:lnTo>
                  <a:pt x="7364" y="8400"/>
                </a:lnTo>
                <a:cubicBezTo>
                  <a:pt x="7093" y="8400"/>
                  <a:pt x="6873" y="8669"/>
                  <a:pt x="6873" y="9000"/>
                </a:cubicBezTo>
                <a:cubicBezTo>
                  <a:pt x="6873" y="9332"/>
                  <a:pt x="7093" y="9600"/>
                  <a:pt x="7364" y="9600"/>
                </a:cubicBezTo>
                <a:moveTo>
                  <a:pt x="7364" y="12000"/>
                </a:moveTo>
                <a:lnTo>
                  <a:pt x="9327" y="12000"/>
                </a:lnTo>
                <a:cubicBezTo>
                  <a:pt x="9598" y="12000"/>
                  <a:pt x="9818" y="11732"/>
                  <a:pt x="9818" y="11400"/>
                </a:cubicBezTo>
                <a:cubicBezTo>
                  <a:pt x="9818" y="11069"/>
                  <a:pt x="9598" y="10800"/>
                  <a:pt x="9327" y="10800"/>
                </a:cubicBezTo>
                <a:lnTo>
                  <a:pt x="7364" y="10800"/>
                </a:lnTo>
                <a:cubicBezTo>
                  <a:pt x="7093" y="10800"/>
                  <a:pt x="6873" y="11069"/>
                  <a:pt x="6873" y="11400"/>
                </a:cubicBezTo>
                <a:cubicBezTo>
                  <a:pt x="6873" y="11732"/>
                  <a:pt x="7093" y="12000"/>
                  <a:pt x="7364" y="12000"/>
                </a:cubicBezTo>
                <a:moveTo>
                  <a:pt x="20618" y="20400"/>
                </a:moveTo>
                <a:lnTo>
                  <a:pt x="16691" y="20400"/>
                </a:lnTo>
                <a:lnTo>
                  <a:pt x="16691" y="19200"/>
                </a:lnTo>
                <a:lnTo>
                  <a:pt x="17182" y="19200"/>
                </a:lnTo>
                <a:cubicBezTo>
                  <a:pt x="17453" y="19200"/>
                  <a:pt x="17673" y="18932"/>
                  <a:pt x="17673" y="18600"/>
                </a:cubicBezTo>
                <a:cubicBezTo>
                  <a:pt x="17673" y="18269"/>
                  <a:pt x="17453" y="18000"/>
                  <a:pt x="17182" y="18000"/>
                </a:cubicBezTo>
                <a:lnTo>
                  <a:pt x="15218" y="18000"/>
                </a:lnTo>
                <a:cubicBezTo>
                  <a:pt x="14947" y="18000"/>
                  <a:pt x="14727" y="18269"/>
                  <a:pt x="14727" y="18600"/>
                </a:cubicBezTo>
                <a:cubicBezTo>
                  <a:pt x="14727" y="18932"/>
                  <a:pt x="14947" y="19200"/>
                  <a:pt x="15218" y="19200"/>
                </a:cubicBezTo>
                <a:lnTo>
                  <a:pt x="15709" y="19200"/>
                </a:lnTo>
                <a:lnTo>
                  <a:pt x="15709" y="20400"/>
                </a:lnTo>
                <a:lnTo>
                  <a:pt x="9818" y="20400"/>
                </a:lnTo>
                <a:lnTo>
                  <a:pt x="9818" y="19200"/>
                </a:lnTo>
                <a:lnTo>
                  <a:pt x="10309" y="19200"/>
                </a:lnTo>
                <a:cubicBezTo>
                  <a:pt x="10580" y="19200"/>
                  <a:pt x="10800" y="18932"/>
                  <a:pt x="10800" y="18600"/>
                </a:cubicBezTo>
                <a:cubicBezTo>
                  <a:pt x="10800" y="18269"/>
                  <a:pt x="10580" y="18000"/>
                  <a:pt x="10309" y="18000"/>
                </a:cubicBezTo>
                <a:lnTo>
                  <a:pt x="8345" y="18000"/>
                </a:lnTo>
                <a:cubicBezTo>
                  <a:pt x="8075" y="18000"/>
                  <a:pt x="7855" y="18269"/>
                  <a:pt x="7855" y="18600"/>
                </a:cubicBezTo>
                <a:cubicBezTo>
                  <a:pt x="7855" y="18932"/>
                  <a:pt x="8075" y="19200"/>
                  <a:pt x="8345" y="19200"/>
                </a:cubicBezTo>
                <a:lnTo>
                  <a:pt x="8836" y="19200"/>
                </a:lnTo>
                <a:lnTo>
                  <a:pt x="8836" y="20400"/>
                </a:lnTo>
                <a:lnTo>
                  <a:pt x="4909" y="20400"/>
                </a:lnTo>
                <a:lnTo>
                  <a:pt x="4909" y="6000"/>
                </a:lnTo>
                <a:lnTo>
                  <a:pt x="20618" y="6000"/>
                </a:lnTo>
                <a:cubicBezTo>
                  <a:pt x="20618" y="6000"/>
                  <a:pt x="20618" y="20400"/>
                  <a:pt x="20618" y="20400"/>
                </a:cubicBezTo>
                <a:close/>
                <a:moveTo>
                  <a:pt x="20618" y="4800"/>
                </a:moveTo>
                <a:lnTo>
                  <a:pt x="4909" y="4800"/>
                </a:lnTo>
                <a:cubicBezTo>
                  <a:pt x="4367" y="4800"/>
                  <a:pt x="3927" y="5338"/>
                  <a:pt x="3927" y="6000"/>
                </a:cubicBezTo>
                <a:lnTo>
                  <a:pt x="3927" y="20400"/>
                </a:lnTo>
                <a:cubicBezTo>
                  <a:pt x="3927" y="21062"/>
                  <a:pt x="4367" y="21600"/>
                  <a:pt x="4909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6000"/>
                </a:lnTo>
                <a:cubicBezTo>
                  <a:pt x="21600" y="5338"/>
                  <a:pt x="21160" y="4800"/>
                  <a:pt x="20618" y="4800"/>
                </a:cubicBezTo>
                <a:moveTo>
                  <a:pt x="7364" y="14400"/>
                </a:moveTo>
                <a:lnTo>
                  <a:pt x="11291" y="14400"/>
                </a:lnTo>
                <a:cubicBezTo>
                  <a:pt x="11562" y="14400"/>
                  <a:pt x="11782" y="14132"/>
                  <a:pt x="11782" y="13800"/>
                </a:cubicBezTo>
                <a:cubicBezTo>
                  <a:pt x="11782" y="13469"/>
                  <a:pt x="11562" y="13200"/>
                  <a:pt x="11291" y="13200"/>
                </a:cubicBezTo>
                <a:lnTo>
                  <a:pt x="7364" y="13200"/>
                </a:lnTo>
                <a:cubicBezTo>
                  <a:pt x="7093" y="13200"/>
                  <a:pt x="6873" y="13469"/>
                  <a:pt x="6873" y="13800"/>
                </a:cubicBezTo>
                <a:cubicBezTo>
                  <a:pt x="6873" y="14132"/>
                  <a:pt x="7093" y="14400"/>
                  <a:pt x="7364" y="14400"/>
                </a:cubicBezTo>
                <a:moveTo>
                  <a:pt x="2455" y="15600"/>
                </a:moveTo>
                <a:lnTo>
                  <a:pt x="982" y="15600"/>
                </a:lnTo>
                <a:lnTo>
                  <a:pt x="982" y="1200"/>
                </a:lnTo>
                <a:lnTo>
                  <a:pt x="16691" y="1200"/>
                </a:lnTo>
                <a:lnTo>
                  <a:pt x="16691" y="3000"/>
                </a:lnTo>
                <a:cubicBezTo>
                  <a:pt x="16691" y="3332"/>
                  <a:pt x="16911" y="3600"/>
                  <a:pt x="17182" y="3600"/>
                </a:cubicBezTo>
                <a:cubicBezTo>
                  <a:pt x="17453" y="3600"/>
                  <a:pt x="17673" y="3332"/>
                  <a:pt x="17673" y="3000"/>
                </a:cubicBezTo>
                <a:lnTo>
                  <a:pt x="17673" y="1200"/>
                </a:lnTo>
                <a:cubicBezTo>
                  <a:pt x="17673" y="538"/>
                  <a:pt x="17233" y="0"/>
                  <a:pt x="16691" y="0"/>
                </a:cubicBezTo>
                <a:lnTo>
                  <a:pt x="982" y="0"/>
                </a:lnTo>
                <a:cubicBezTo>
                  <a:pt x="440" y="0"/>
                  <a:pt x="0" y="538"/>
                  <a:pt x="0" y="1200"/>
                </a:cubicBezTo>
                <a:lnTo>
                  <a:pt x="0" y="15600"/>
                </a:lnTo>
                <a:cubicBezTo>
                  <a:pt x="0" y="16262"/>
                  <a:pt x="440" y="16801"/>
                  <a:pt x="982" y="16801"/>
                </a:cubicBezTo>
                <a:lnTo>
                  <a:pt x="2455" y="16801"/>
                </a:lnTo>
                <a:cubicBezTo>
                  <a:pt x="2725" y="16801"/>
                  <a:pt x="2945" y="16532"/>
                  <a:pt x="2945" y="16200"/>
                </a:cubicBezTo>
                <a:cubicBezTo>
                  <a:pt x="2945" y="15869"/>
                  <a:pt x="2725" y="15600"/>
                  <a:pt x="2455" y="15600"/>
                </a:cubicBezTo>
                <a:moveTo>
                  <a:pt x="14236" y="14400"/>
                </a:moveTo>
                <a:lnTo>
                  <a:pt x="16200" y="14400"/>
                </a:lnTo>
                <a:cubicBezTo>
                  <a:pt x="16471" y="14400"/>
                  <a:pt x="16691" y="14132"/>
                  <a:pt x="16691" y="13800"/>
                </a:cubicBezTo>
                <a:cubicBezTo>
                  <a:pt x="16691" y="13469"/>
                  <a:pt x="16471" y="13200"/>
                  <a:pt x="16200" y="13200"/>
                </a:cubicBezTo>
                <a:lnTo>
                  <a:pt x="14236" y="13200"/>
                </a:lnTo>
                <a:cubicBezTo>
                  <a:pt x="13966" y="13200"/>
                  <a:pt x="13745" y="13469"/>
                  <a:pt x="13745" y="13800"/>
                </a:cubicBezTo>
                <a:cubicBezTo>
                  <a:pt x="13745" y="14132"/>
                  <a:pt x="13966" y="14400"/>
                  <a:pt x="14236" y="14400"/>
                </a:cubicBezTo>
                <a:moveTo>
                  <a:pt x="14236" y="9600"/>
                </a:move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cubicBezTo>
                  <a:pt x="16691" y="8669"/>
                  <a:pt x="16471" y="8400"/>
                  <a:pt x="16200" y="8400"/>
                </a:cubicBezTo>
                <a:lnTo>
                  <a:pt x="14236" y="8400"/>
                </a:lnTo>
                <a:cubicBezTo>
                  <a:pt x="13966" y="8400"/>
                  <a:pt x="13745" y="8669"/>
                  <a:pt x="13745" y="9000"/>
                </a:cubicBezTo>
                <a:cubicBezTo>
                  <a:pt x="13745" y="9332"/>
                  <a:pt x="13966" y="9600"/>
                  <a:pt x="14236" y="9600"/>
                </a:cubicBezTo>
                <a:moveTo>
                  <a:pt x="14236" y="12000"/>
                </a:moveTo>
                <a:lnTo>
                  <a:pt x="18164" y="12000"/>
                </a:lnTo>
                <a:cubicBezTo>
                  <a:pt x="18434" y="12000"/>
                  <a:pt x="18655" y="11732"/>
                  <a:pt x="18655" y="11400"/>
                </a:cubicBezTo>
                <a:cubicBezTo>
                  <a:pt x="18655" y="11069"/>
                  <a:pt x="18434" y="10800"/>
                  <a:pt x="18164" y="10800"/>
                </a:cubicBezTo>
                <a:lnTo>
                  <a:pt x="14236" y="10800"/>
                </a:lnTo>
                <a:cubicBezTo>
                  <a:pt x="13966" y="10800"/>
                  <a:pt x="13745" y="11069"/>
                  <a:pt x="13745" y="11400"/>
                </a:cubicBezTo>
                <a:cubicBezTo>
                  <a:pt x="13745" y="11732"/>
                  <a:pt x="13966" y="12000"/>
                  <a:pt x="14236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598">
            <a:extLst>
              <a:ext uri="{FF2B5EF4-FFF2-40B4-BE49-F238E27FC236}">
                <a16:creationId xmlns:a16="http://schemas.microsoft.com/office/drawing/2014/main" id="{89610F87-8994-44A0-AC9B-1441FCED5332}"/>
              </a:ext>
            </a:extLst>
          </p:cNvPr>
          <p:cNvSpPr/>
          <p:nvPr/>
        </p:nvSpPr>
        <p:spPr bwMode="gray">
          <a:xfrm>
            <a:off x="7853568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873" y="8400"/>
                </a:moveTo>
                <a:lnTo>
                  <a:pt x="10800" y="8400"/>
                </a:lnTo>
                <a:lnTo>
                  <a:pt x="10800" y="12001"/>
                </a:lnTo>
                <a:lnTo>
                  <a:pt x="6873" y="12001"/>
                </a:lnTo>
                <a:cubicBezTo>
                  <a:pt x="6873" y="12001"/>
                  <a:pt x="6873" y="8400"/>
                  <a:pt x="6873" y="8400"/>
                </a:cubicBezTo>
                <a:close/>
                <a:moveTo>
                  <a:pt x="6382" y="13200"/>
                </a:moveTo>
                <a:lnTo>
                  <a:pt x="11291" y="13200"/>
                </a:lnTo>
                <a:cubicBezTo>
                  <a:pt x="11562" y="13200"/>
                  <a:pt x="11782" y="12932"/>
                  <a:pt x="11782" y="12600"/>
                </a:cubicBezTo>
                <a:lnTo>
                  <a:pt x="11782" y="7800"/>
                </a:lnTo>
                <a:cubicBezTo>
                  <a:pt x="11782" y="7469"/>
                  <a:pt x="11562" y="7200"/>
                  <a:pt x="11291" y="7200"/>
                </a:cubicBezTo>
                <a:lnTo>
                  <a:pt x="6382" y="7200"/>
                </a:lnTo>
                <a:cubicBezTo>
                  <a:pt x="6111" y="7200"/>
                  <a:pt x="5891" y="7469"/>
                  <a:pt x="5891" y="7800"/>
                </a:cubicBezTo>
                <a:lnTo>
                  <a:pt x="5891" y="12600"/>
                </a:lnTo>
                <a:cubicBezTo>
                  <a:pt x="5891" y="12932"/>
                  <a:pt x="6111" y="13200"/>
                  <a:pt x="6382" y="13200"/>
                </a:cubicBezTo>
                <a:moveTo>
                  <a:pt x="6382" y="4800"/>
                </a:moveTo>
                <a:cubicBezTo>
                  <a:pt x="6653" y="4800"/>
                  <a:pt x="6873" y="4531"/>
                  <a:pt x="6873" y="4200"/>
                </a:cubicBezTo>
                <a:cubicBezTo>
                  <a:pt x="6873" y="3868"/>
                  <a:pt x="6653" y="3600"/>
                  <a:pt x="6382" y="3600"/>
                </a:cubicBezTo>
                <a:cubicBezTo>
                  <a:pt x="6111" y="3600"/>
                  <a:pt x="5891" y="3868"/>
                  <a:pt x="5891" y="4200"/>
                </a:cubicBezTo>
                <a:cubicBezTo>
                  <a:pt x="5891" y="4531"/>
                  <a:pt x="6111" y="4800"/>
                  <a:pt x="6382" y="4800"/>
                </a:cubicBezTo>
                <a:moveTo>
                  <a:pt x="20618" y="20400"/>
                </a:moveTo>
                <a:lnTo>
                  <a:pt x="2945" y="20400"/>
                </a:lnTo>
                <a:cubicBezTo>
                  <a:pt x="1861" y="20400"/>
                  <a:pt x="982" y="19325"/>
                  <a:pt x="982" y="18000"/>
                </a:cubicBezTo>
                <a:lnTo>
                  <a:pt x="982" y="4800"/>
                </a:lnTo>
                <a:lnTo>
                  <a:pt x="2945" y="4800"/>
                </a:lnTo>
                <a:lnTo>
                  <a:pt x="2945" y="17400"/>
                </a:lnTo>
                <a:cubicBezTo>
                  <a:pt x="2945" y="17732"/>
                  <a:pt x="3166" y="18000"/>
                  <a:pt x="3436" y="18000"/>
                </a:cubicBezTo>
                <a:cubicBezTo>
                  <a:pt x="3707" y="18000"/>
                  <a:pt x="3927" y="17732"/>
                  <a:pt x="3927" y="17400"/>
                </a:cubicBezTo>
                <a:lnTo>
                  <a:pt x="3927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0618" y="0"/>
                </a:moveTo>
                <a:lnTo>
                  <a:pt x="3927" y="0"/>
                </a:lnTo>
                <a:cubicBezTo>
                  <a:pt x="3385" y="0"/>
                  <a:pt x="2945" y="538"/>
                  <a:pt x="2945" y="1200"/>
                </a:cubicBezTo>
                <a:lnTo>
                  <a:pt x="2945" y="3600"/>
                </a:lnTo>
                <a:lnTo>
                  <a:pt x="982" y="3600"/>
                </a:lnTo>
                <a:cubicBezTo>
                  <a:pt x="440" y="3600"/>
                  <a:pt x="0" y="4138"/>
                  <a:pt x="0" y="4800"/>
                </a:cubicBezTo>
                <a:lnTo>
                  <a:pt x="0" y="18000"/>
                </a:lnTo>
                <a:cubicBezTo>
                  <a:pt x="0" y="19988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062"/>
                  <a:pt x="21600" y="204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6382" y="18000"/>
                </a:moveTo>
                <a:lnTo>
                  <a:pt x="18164" y="18000"/>
                </a:lnTo>
                <a:cubicBezTo>
                  <a:pt x="18434" y="18000"/>
                  <a:pt x="18655" y="17732"/>
                  <a:pt x="18655" y="17400"/>
                </a:cubicBezTo>
                <a:cubicBezTo>
                  <a:pt x="18655" y="17068"/>
                  <a:pt x="18434" y="16801"/>
                  <a:pt x="18164" y="16801"/>
                </a:cubicBezTo>
                <a:lnTo>
                  <a:pt x="6382" y="16801"/>
                </a:lnTo>
                <a:cubicBezTo>
                  <a:pt x="6111" y="16801"/>
                  <a:pt x="5891" y="17068"/>
                  <a:pt x="5891" y="17400"/>
                </a:cubicBezTo>
                <a:cubicBezTo>
                  <a:pt x="5891" y="17732"/>
                  <a:pt x="6111" y="18000"/>
                  <a:pt x="6382" y="18000"/>
                </a:cubicBezTo>
                <a:moveTo>
                  <a:pt x="6382" y="15600"/>
                </a:moveTo>
                <a:lnTo>
                  <a:pt x="18164" y="15600"/>
                </a:lnTo>
                <a:cubicBezTo>
                  <a:pt x="18434" y="15600"/>
                  <a:pt x="18655" y="15332"/>
                  <a:pt x="18655" y="15000"/>
                </a:cubicBezTo>
                <a:cubicBezTo>
                  <a:pt x="18655" y="14668"/>
                  <a:pt x="18434" y="14401"/>
                  <a:pt x="18164" y="14401"/>
                </a:cubicBezTo>
                <a:lnTo>
                  <a:pt x="6382" y="14401"/>
                </a:lnTo>
                <a:cubicBezTo>
                  <a:pt x="6111" y="14401"/>
                  <a:pt x="5891" y="14668"/>
                  <a:pt x="5891" y="15000"/>
                </a:cubicBezTo>
                <a:cubicBezTo>
                  <a:pt x="5891" y="15332"/>
                  <a:pt x="6111" y="15600"/>
                  <a:pt x="6382" y="15600"/>
                </a:cubicBezTo>
                <a:moveTo>
                  <a:pt x="8345" y="4800"/>
                </a:moveTo>
                <a:cubicBezTo>
                  <a:pt x="8616" y="4800"/>
                  <a:pt x="8836" y="4531"/>
                  <a:pt x="8836" y="4200"/>
                </a:cubicBezTo>
                <a:cubicBezTo>
                  <a:pt x="8836" y="3868"/>
                  <a:pt x="8616" y="3600"/>
                  <a:pt x="8345" y="3600"/>
                </a:cubicBezTo>
                <a:cubicBezTo>
                  <a:pt x="8075" y="3600"/>
                  <a:pt x="7855" y="3868"/>
                  <a:pt x="7855" y="4200"/>
                </a:cubicBezTo>
                <a:cubicBezTo>
                  <a:pt x="7855" y="4531"/>
                  <a:pt x="8075" y="4800"/>
                  <a:pt x="8345" y="4800"/>
                </a:cubicBezTo>
                <a:moveTo>
                  <a:pt x="18164" y="7200"/>
                </a:moveTo>
                <a:lnTo>
                  <a:pt x="14236" y="7200"/>
                </a:lnTo>
                <a:cubicBezTo>
                  <a:pt x="13966" y="7200"/>
                  <a:pt x="13745" y="7469"/>
                  <a:pt x="13745" y="7800"/>
                </a:cubicBezTo>
                <a:cubicBezTo>
                  <a:pt x="13745" y="8132"/>
                  <a:pt x="13966" y="8400"/>
                  <a:pt x="14236" y="8400"/>
                </a:cubicBezTo>
                <a:lnTo>
                  <a:pt x="18164" y="8400"/>
                </a:lnTo>
                <a:cubicBezTo>
                  <a:pt x="18434" y="8400"/>
                  <a:pt x="18655" y="8132"/>
                  <a:pt x="18655" y="7800"/>
                </a:cubicBezTo>
                <a:cubicBezTo>
                  <a:pt x="18655" y="7469"/>
                  <a:pt x="18434" y="7200"/>
                  <a:pt x="18164" y="7200"/>
                </a:cubicBezTo>
                <a:moveTo>
                  <a:pt x="18164" y="12001"/>
                </a:moveTo>
                <a:lnTo>
                  <a:pt x="14236" y="12001"/>
                </a:lnTo>
                <a:cubicBezTo>
                  <a:pt x="13966" y="12001"/>
                  <a:pt x="13745" y="12268"/>
                  <a:pt x="13745" y="12600"/>
                </a:cubicBezTo>
                <a:cubicBezTo>
                  <a:pt x="13745" y="12932"/>
                  <a:pt x="13966" y="13200"/>
                  <a:pt x="14236" y="13200"/>
                </a:cubicBezTo>
                <a:lnTo>
                  <a:pt x="18164" y="13200"/>
                </a:lnTo>
                <a:cubicBezTo>
                  <a:pt x="18434" y="13200"/>
                  <a:pt x="18655" y="12932"/>
                  <a:pt x="18655" y="12600"/>
                </a:cubicBezTo>
                <a:cubicBezTo>
                  <a:pt x="18655" y="12268"/>
                  <a:pt x="18434" y="12001"/>
                  <a:pt x="18164" y="12001"/>
                </a:cubicBezTo>
                <a:moveTo>
                  <a:pt x="18164" y="9600"/>
                </a:moveTo>
                <a:lnTo>
                  <a:pt x="14236" y="9600"/>
                </a:lnTo>
                <a:cubicBezTo>
                  <a:pt x="13966" y="9600"/>
                  <a:pt x="13745" y="9869"/>
                  <a:pt x="13745" y="10200"/>
                </a:cubicBezTo>
                <a:cubicBezTo>
                  <a:pt x="13745" y="10532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32"/>
                  <a:pt x="18655" y="10200"/>
                </a:cubicBezTo>
                <a:cubicBezTo>
                  <a:pt x="18655" y="9869"/>
                  <a:pt x="18434" y="9600"/>
                  <a:pt x="18164" y="9600"/>
                </a:cubicBezTo>
                <a:moveTo>
                  <a:pt x="18164" y="4800"/>
                </a:moveTo>
                <a:cubicBezTo>
                  <a:pt x="18434" y="4800"/>
                  <a:pt x="18655" y="4531"/>
                  <a:pt x="18655" y="4200"/>
                </a:cubicBezTo>
                <a:cubicBezTo>
                  <a:pt x="18655" y="3868"/>
                  <a:pt x="18434" y="3600"/>
                  <a:pt x="18164" y="3600"/>
                </a:cubicBezTo>
                <a:cubicBezTo>
                  <a:pt x="17893" y="3600"/>
                  <a:pt x="17673" y="3868"/>
                  <a:pt x="17673" y="4200"/>
                </a:cubicBezTo>
                <a:cubicBezTo>
                  <a:pt x="17673" y="4531"/>
                  <a:pt x="17893" y="4800"/>
                  <a:pt x="18164" y="4800"/>
                </a:cubicBezTo>
                <a:moveTo>
                  <a:pt x="16200" y="4800"/>
                </a:moveTo>
                <a:cubicBezTo>
                  <a:pt x="16471" y="4800"/>
                  <a:pt x="16691" y="4531"/>
                  <a:pt x="16691" y="4200"/>
                </a:cubicBezTo>
                <a:cubicBezTo>
                  <a:pt x="16691" y="3868"/>
                  <a:pt x="16471" y="3600"/>
                  <a:pt x="16200" y="3600"/>
                </a:cubicBezTo>
                <a:cubicBezTo>
                  <a:pt x="15929" y="3600"/>
                  <a:pt x="15709" y="3868"/>
                  <a:pt x="15709" y="4200"/>
                </a:cubicBezTo>
                <a:cubicBezTo>
                  <a:pt x="15709" y="4531"/>
                  <a:pt x="15929" y="4800"/>
                  <a:pt x="16200" y="4800"/>
                </a:cubicBezTo>
                <a:moveTo>
                  <a:pt x="10309" y="4800"/>
                </a:moveTo>
                <a:lnTo>
                  <a:pt x="14236" y="4800"/>
                </a:lnTo>
                <a:cubicBezTo>
                  <a:pt x="14507" y="4800"/>
                  <a:pt x="14727" y="4531"/>
                  <a:pt x="14727" y="4200"/>
                </a:cubicBezTo>
                <a:cubicBezTo>
                  <a:pt x="14727" y="3868"/>
                  <a:pt x="14507" y="3600"/>
                  <a:pt x="14236" y="3600"/>
                </a:cubicBezTo>
                <a:lnTo>
                  <a:pt x="10309" y="3600"/>
                </a:lnTo>
                <a:cubicBezTo>
                  <a:pt x="10038" y="3600"/>
                  <a:pt x="9818" y="3868"/>
                  <a:pt x="9818" y="4200"/>
                </a:cubicBezTo>
                <a:cubicBezTo>
                  <a:pt x="9818" y="4531"/>
                  <a:pt x="10038" y="4800"/>
                  <a:pt x="10309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599">
            <a:extLst>
              <a:ext uri="{FF2B5EF4-FFF2-40B4-BE49-F238E27FC236}">
                <a16:creationId xmlns:a16="http://schemas.microsoft.com/office/drawing/2014/main" id="{7F527932-0E05-4A61-B08F-2356BFBAF51D}"/>
              </a:ext>
            </a:extLst>
          </p:cNvPr>
          <p:cNvSpPr/>
          <p:nvPr/>
        </p:nvSpPr>
        <p:spPr bwMode="gray">
          <a:xfrm>
            <a:off x="8405593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7855"/>
                </a:moveTo>
                <a:cubicBezTo>
                  <a:pt x="6653" y="7855"/>
                  <a:pt x="6873" y="7635"/>
                  <a:pt x="6873" y="7364"/>
                </a:cubicBezTo>
                <a:cubicBezTo>
                  <a:pt x="6873" y="7092"/>
                  <a:pt x="6653" y="6873"/>
                  <a:pt x="6382" y="6873"/>
                </a:cubicBezTo>
                <a:cubicBezTo>
                  <a:pt x="6111" y="6873"/>
                  <a:pt x="5891" y="7092"/>
                  <a:pt x="5891" y="7364"/>
                </a:cubicBezTo>
                <a:cubicBezTo>
                  <a:pt x="5891" y="7635"/>
                  <a:pt x="6111" y="7855"/>
                  <a:pt x="6382" y="7855"/>
                </a:cubicBezTo>
                <a:moveTo>
                  <a:pt x="6873" y="10800"/>
                </a:moveTo>
                <a:lnTo>
                  <a:pt x="10800" y="10800"/>
                </a:lnTo>
                <a:lnTo>
                  <a:pt x="10800" y="13746"/>
                </a:lnTo>
                <a:lnTo>
                  <a:pt x="6873" y="13746"/>
                </a:lnTo>
                <a:cubicBezTo>
                  <a:pt x="6873" y="13746"/>
                  <a:pt x="6873" y="10800"/>
                  <a:pt x="6873" y="10800"/>
                </a:cubicBezTo>
                <a:close/>
                <a:moveTo>
                  <a:pt x="6382" y="14727"/>
                </a:moveTo>
                <a:lnTo>
                  <a:pt x="11291" y="14727"/>
                </a:lnTo>
                <a:cubicBezTo>
                  <a:pt x="11562" y="14727"/>
                  <a:pt x="11782" y="14508"/>
                  <a:pt x="11782" y="14236"/>
                </a:cubicBezTo>
                <a:lnTo>
                  <a:pt x="11782" y="10309"/>
                </a:lnTo>
                <a:cubicBezTo>
                  <a:pt x="11782" y="10038"/>
                  <a:pt x="11562" y="9818"/>
                  <a:pt x="11291" y="9818"/>
                </a:cubicBezTo>
                <a:lnTo>
                  <a:pt x="6382" y="9818"/>
                </a:lnTo>
                <a:cubicBezTo>
                  <a:pt x="6111" y="9818"/>
                  <a:pt x="5891" y="10038"/>
                  <a:pt x="5891" y="10309"/>
                </a:cubicBezTo>
                <a:lnTo>
                  <a:pt x="5891" y="14236"/>
                </a:lnTo>
                <a:cubicBezTo>
                  <a:pt x="5891" y="14508"/>
                  <a:pt x="6111" y="14727"/>
                  <a:pt x="6382" y="14727"/>
                </a:cubicBezTo>
                <a:moveTo>
                  <a:pt x="8345" y="7855"/>
                </a:moveTo>
                <a:cubicBezTo>
                  <a:pt x="8616" y="7855"/>
                  <a:pt x="8836" y="7635"/>
                  <a:pt x="8836" y="7364"/>
                </a:cubicBezTo>
                <a:cubicBezTo>
                  <a:pt x="8836" y="7092"/>
                  <a:pt x="8616" y="6873"/>
                  <a:pt x="8345" y="6873"/>
                </a:cubicBezTo>
                <a:cubicBezTo>
                  <a:pt x="8075" y="6873"/>
                  <a:pt x="7855" y="7092"/>
                  <a:pt x="7855" y="7364"/>
                </a:cubicBezTo>
                <a:cubicBezTo>
                  <a:pt x="7855" y="7635"/>
                  <a:pt x="8075" y="7855"/>
                  <a:pt x="8345" y="7855"/>
                </a:cubicBezTo>
                <a:moveTo>
                  <a:pt x="20618" y="20618"/>
                </a:moveTo>
                <a:lnTo>
                  <a:pt x="2945" y="20618"/>
                </a:lnTo>
                <a:cubicBezTo>
                  <a:pt x="1861" y="20618"/>
                  <a:pt x="982" y="19739"/>
                  <a:pt x="982" y="18655"/>
                </a:cubicBezTo>
                <a:lnTo>
                  <a:pt x="982" y="7855"/>
                </a:lnTo>
                <a:lnTo>
                  <a:pt x="2945" y="7855"/>
                </a:lnTo>
                <a:lnTo>
                  <a:pt x="2945" y="18164"/>
                </a:lnTo>
                <a:cubicBezTo>
                  <a:pt x="2945" y="18435"/>
                  <a:pt x="3166" y="18655"/>
                  <a:pt x="3436" y="18655"/>
                </a:cubicBezTo>
                <a:cubicBezTo>
                  <a:pt x="3707" y="18655"/>
                  <a:pt x="3927" y="18435"/>
                  <a:pt x="3927" y="18164"/>
                </a:cubicBezTo>
                <a:lnTo>
                  <a:pt x="3927" y="4909"/>
                </a:lnTo>
                <a:lnTo>
                  <a:pt x="20618" y="4909"/>
                </a:lnTo>
                <a:cubicBezTo>
                  <a:pt x="20618" y="4909"/>
                  <a:pt x="20618" y="20618"/>
                  <a:pt x="20618" y="20618"/>
                </a:cubicBezTo>
                <a:close/>
                <a:moveTo>
                  <a:pt x="20618" y="3927"/>
                </a:moveTo>
                <a:lnTo>
                  <a:pt x="3927" y="3927"/>
                </a:lnTo>
                <a:cubicBezTo>
                  <a:pt x="3385" y="3927"/>
                  <a:pt x="2945" y="4367"/>
                  <a:pt x="2945" y="4909"/>
                </a:cubicBezTo>
                <a:lnTo>
                  <a:pt x="2945" y="6873"/>
                </a:lnTo>
                <a:lnTo>
                  <a:pt x="982" y="6873"/>
                </a:lnTo>
                <a:cubicBezTo>
                  <a:pt x="440" y="6873"/>
                  <a:pt x="0" y="7313"/>
                  <a:pt x="0" y="7855"/>
                </a:cubicBezTo>
                <a:lnTo>
                  <a:pt x="0" y="18655"/>
                </a:lnTo>
                <a:cubicBezTo>
                  <a:pt x="0" y="20282"/>
                  <a:pt x="1319" y="21600"/>
                  <a:pt x="2945" y="21600"/>
                </a:cubicBezTo>
                <a:lnTo>
                  <a:pt x="20618" y="21600"/>
                </a:lnTo>
                <a:cubicBezTo>
                  <a:pt x="21160" y="21600"/>
                  <a:pt x="21600" y="21160"/>
                  <a:pt x="21600" y="20618"/>
                </a:cubicBezTo>
                <a:lnTo>
                  <a:pt x="21600" y="4909"/>
                </a:lnTo>
                <a:cubicBezTo>
                  <a:pt x="21600" y="4367"/>
                  <a:pt x="21160" y="3927"/>
                  <a:pt x="20618" y="3927"/>
                </a:cubicBezTo>
                <a:moveTo>
                  <a:pt x="6382" y="16691"/>
                </a:moveTo>
                <a:lnTo>
                  <a:pt x="18164" y="16691"/>
                </a:lnTo>
                <a:cubicBezTo>
                  <a:pt x="18434" y="16691"/>
                  <a:pt x="18655" y="16472"/>
                  <a:pt x="18655" y="16200"/>
                </a:cubicBezTo>
                <a:cubicBezTo>
                  <a:pt x="18655" y="15929"/>
                  <a:pt x="18434" y="15710"/>
                  <a:pt x="18164" y="15710"/>
                </a:cubicBezTo>
                <a:lnTo>
                  <a:pt x="6382" y="15710"/>
                </a:lnTo>
                <a:cubicBezTo>
                  <a:pt x="6111" y="15710"/>
                  <a:pt x="5891" y="15929"/>
                  <a:pt x="5891" y="16200"/>
                </a:cubicBezTo>
                <a:cubicBezTo>
                  <a:pt x="5891" y="16472"/>
                  <a:pt x="6111" y="16691"/>
                  <a:pt x="6382" y="16691"/>
                </a:cubicBezTo>
                <a:moveTo>
                  <a:pt x="10309" y="7855"/>
                </a:moveTo>
                <a:lnTo>
                  <a:pt x="14236" y="7855"/>
                </a:lnTo>
                <a:cubicBezTo>
                  <a:pt x="14507" y="7855"/>
                  <a:pt x="14727" y="7635"/>
                  <a:pt x="14727" y="7364"/>
                </a:cubicBezTo>
                <a:cubicBezTo>
                  <a:pt x="14727" y="7092"/>
                  <a:pt x="14507" y="6873"/>
                  <a:pt x="14236" y="6873"/>
                </a:cubicBezTo>
                <a:lnTo>
                  <a:pt x="10309" y="6873"/>
                </a:lnTo>
                <a:cubicBezTo>
                  <a:pt x="10038" y="6873"/>
                  <a:pt x="9818" y="7092"/>
                  <a:pt x="9818" y="7364"/>
                </a:cubicBezTo>
                <a:cubicBezTo>
                  <a:pt x="9818" y="7635"/>
                  <a:pt x="10038" y="7855"/>
                  <a:pt x="10309" y="7855"/>
                </a:cubicBezTo>
                <a:moveTo>
                  <a:pt x="6382" y="18655"/>
                </a:moveTo>
                <a:lnTo>
                  <a:pt x="18164" y="18655"/>
                </a:lnTo>
                <a:cubicBezTo>
                  <a:pt x="18434" y="18655"/>
                  <a:pt x="18655" y="18435"/>
                  <a:pt x="18655" y="18164"/>
                </a:cubicBezTo>
                <a:cubicBezTo>
                  <a:pt x="18655" y="17893"/>
                  <a:pt x="18434" y="17673"/>
                  <a:pt x="18164" y="17673"/>
                </a:cubicBezTo>
                <a:lnTo>
                  <a:pt x="6382" y="17673"/>
                </a:lnTo>
                <a:cubicBezTo>
                  <a:pt x="6111" y="17673"/>
                  <a:pt x="5891" y="17893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moveTo>
                  <a:pt x="4909" y="2945"/>
                </a:moveTo>
                <a:lnTo>
                  <a:pt x="20127" y="2945"/>
                </a:lnTo>
                <a:cubicBezTo>
                  <a:pt x="20398" y="2945"/>
                  <a:pt x="20618" y="2726"/>
                  <a:pt x="20618" y="2455"/>
                </a:cubicBezTo>
                <a:cubicBezTo>
                  <a:pt x="20618" y="2184"/>
                  <a:pt x="20398" y="1964"/>
                  <a:pt x="20127" y="1964"/>
                </a:cubicBezTo>
                <a:lnTo>
                  <a:pt x="4909" y="1964"/>
                </a:lnTo>
                <a:cubicBezTo>
                  <a:pt x="4638" y="1964"/>
                  <a:pt x="4418" y="2184"/>
                  <a:pt x="4418" y="2455"/>
                </a:cubicBezTo>
                <a:cubicBezTo>
                  <a:pt x="4418" y="2726"/>
                  <a:pt x="4638" y="2945"/>
                  <a:pt x="4909" y="2945"/>
                </a:cubicBezTo>
                <a:moveTo>
                  <a:pt x="18164" y="11783"/>
                </a:moveTo>
                <a:lnTo>
                  <a:pt x="14236" y="11783"/>
                </a:lnTo>
                <a:cubicBezTo>
                  <a:pt x="13966" y="11783"/>
                  <a:pt x="13745" y="12001"/>
                  <a:pt x="13745" y="12273"/>
                </a:cubicBezTo>
                <a:cubicBezTo>
                  <a:pt x="13745" y="12544"/>
                  <a:pt x="13966" y="12764"/>
                  <a:pt x="14236" y="12764"/>
                </a:cubicBezTo>
                <a:lnTo>
                  <a:pt x="18164" y="12764"/>
                </a:lnTo>
                <a:cubicBezTo>
                  <a:pt x="18434" y="12764"/>
                  <a:pt x="18655" y="12544"/>
                  <a:pt x="18655" y="12273"/>
                </a:cubicBezTo>
                <a:cubicBezTo>
                  <a:pt x="18655" y="12001"/>
                  <a:pt x="18434" y="11783"/>
                  <a:pt x="18164" y="11783"/>
                </a:cubicBezTo>
                <a:moveTo>
                  <a:pt x="6382" y="982"/>
                </a:moveTo>
                <a:lnTo>
                  <a:pt x="19145" y="982"/>
                </a:lnTo>
                <a:cubicBezTo>
                  <a:pt x="19416" y="982"/>
                  <a:pt x="19636" y="762"/>
                  <a:pt x="19636" y="491"/>
                </a:cubicBezTo>
                <a:cubicBezTo>
                  <a:pt x="19636" y="220"/>
                  <a:pt x="19416" y="0"/>
                  <a:pt x="19145" y="0"/>
                </a:cubicBezTo>
                <a:lnTo>
                  <a:pt x="6382" y="0"/>
                </a:lnTo>
                <a:cubicBezTo>
                  <a:pt x="6111" y="0"/>
                  <a:pt x="5891" y="220"/>
                  <a:pt x="5891" y="491"/>
                </a:cubicBezTo>
                <a:cubicBezTo>
                  <a:pt x="5891" y="762"/>
                  <a:pt x="6111" y="982"/>
                  <a:pt x="6382" y="982"/>
                </a:cubicBezTo>
                <a:moveTo>
                  <a:pt x="18164" y="13746"/>
                </a:moveTo>
                <a:lnTo>
                  <a:pt x="14236" y="13746"/>
                </a:lnTo>
                <a:cubicBezTo>
                  <a:pt x="13966" y="13746"/>
                  <a:pt x="13745" y="13965"/>
                  <a:pt x="13745" y="14236"/>
                </a:cubicBezTo>
                <a:cubicBezTo>
                  <a:pt x="13745" y="14508"/>
                  <a:pt x="13966" y="14727"/>
                  <a:pt x="14236" y="14727"/>
                </a:cubicBezTo>
                <a:lnTo>
                  <a:pt x="18164" y="14727"/>
                </a:lnTo>
                <a:cubicBezTo>
                  <a:pt x="18434" y="14727"/>
                  <a:pt x="18655" y="14508"/>
                  <a:pt x="18655" y="14236"/>
                </a:cubicBezTo>
                <a:cubicBezTo>
                  <a:pt x="18655" y="13965"/>
                  <a:pt x="18434" y="13746"/>
                  <a:pt x="18164" y="13746"/>
                </a:cubicBezTo>
                <a:moveTo>
                  <a:pt x="16200" y="7855"/>
                </a:moveTo>
                <a:cubicBezTo>
                  <a:pt x="16471" y="7855"/>
                  <a:pt x="16691" y="7635"/>
                  <a:pt x="16691" y="7364"/>
                </a:cubicBezTo>
                <a:cubicBezTo>
                  <a:pt x="16691" y="7092"/>
                  <a:pt x="16471" y="6873"/>
                  <a:pt x="16200" y="6873"/>
                </a:cubicBezTo>
                <a:cubicBezTo>
                  <a:pt x="15929" y="6873"/>
                  <a:pt x="15709" y="7092"/>
                  <a:pt x="15709" y="7364"/>
                </a:cubicBezTo>
                <a:cubicBezTo>
                  <a:pt x="15709" y="7635"/>
                  <a:pt x="15929" y="7855"/>
                  <a:pt x="16200" y="7855"/>
                </a:cubicBezTo>
                <a:moveTo>
                  <a:pt x="18164" y="7855"/>
                </a:moveTo>
                <a:cubicBezTo>
                  <a:pt x="18434" y="7855"/>
                  <a:pt x="18655" y="7635"/>
                  <a:pt x="18655" y="7364"/>
                </a:cubicBezTo>
                <a:cubicBezTo>
                  <a:pt x="18655" y="7092"/>
                  <a:pt x="18434" y="6873"/>
                  <a:pt x="18164" y="6873"/>
                </a:cubicBezTo>
                <a:cubicBezTo>
                  <a:pt x="17893" y="6873"/>
                  <a:pt x="17673" y="7092"/>
                  <a:pt x="17673" y="7364"/>
                </a:cubicBezTo>
                <a:cubicBezTo>
                  <a:pt x="17673" y="7635"/>
                  <a:pt x="17893" y="7855"/>
                  <a:pt x="18164" y="7855"/>
                </a:cubicBezTo>
                <a:moveTo>
                  <a:pt x="18164" y="9818"/>
                </a:moveTo>
                <a:lnTo>
                  <a:pt x="14236" y="9818"/>
                </a:lnTo>
                <a:cubicBezTo>
                  <a:pt x="13966" y="9818"/>
                  <a:pt x="13745" y="10038"/>
                  <a:pt x="13745" y="10309"/>
                </a:cubicBezTo>
                <a:cubicBezTo>
                  <a:pt x="13745" y="10581"/>
                  <a:pt x="13966" y="10800"/>
                  <a:pt x="14236" y="10800"/>
                </a:cubicBezTo>
                <a:lnTo>
                  <a:pt x="18164" y="10800"/>
                </a:lnTo>
                <a:cubicBezTo>
                  <a:pt x="18434" y="10800"/>
                  <a:pt x="18655" y="10581"/>
                  <a:pt x="18655" y="10309"/>
                </a:cubicBezTo>
                <a:cubicBezTo>
                  <a:pt x="18655" y="10038"/>
                  <a:pt x="18434" y="9818"/>
                  <a:pt x="18164" y="98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600">
            <a:extLst>
              <a:ext uri="{FF2B5EF4-FFF2-40B4-BE49-F238E27FC236}">
                <a16:creationId xmlns:a16="http://schemas.microsoft.com/office/drawing/2014/main" id="{CAD2D9B5-9860-45E0-A1C8-0DA0612E52B5}"/>
              </a:ext>
            </a:extLst>
          </p:cNvPr>
          <p:cNvSpPr/>
          <p:nvPr/>
        </p:nvSpPr>
        <p:spPr bwMode="gray">
          <a:xfrm>
            <a:off x="8957617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11291" y="10309"/>
                </a:lnTo>
                <a:lnTo>
                  <a:pt x="11291" y="5401"/>
                </a:lnTo>
                <a:cubicBezTo>
                  <a:pt x="11291" y="5129"/>
                  <a:pt x="11071" y="4909"/>
                  <a:pt x="10800" y="4909"/>
                </a:cubicBezTo>
                <a:cubicBezTo>
                  <a:pt x="10529" y="4909"/>
                  <a:pt x="10309" y="5129"/>
                  <a:pt x="10309" y="5401"/>
                </a:cubicBezTo>
                <a:lnTo>
                  <a:pt x="10309" y="10309"/>
                </a:ln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0309" y="11292"/>
                </a:lnTo>
                <a:lnTo>
                  <a:pt x="10309" y="16200"/>
                </a:lnTo>
                <a:cubicBezTo>
                  <a:pt x="10309" y="16472"/>
                  <a:pt x="10529" y="16691"/>
                  <a:pt x="10800" y="16691"/>
                </a:cubicBezTo>
                <a:cubicBezTo>
                  <a:pt x="11071" y="16691"/>
                  <a:pt x="11291" y="16472"/>
                  <a:pt x="11291" y="16200"/>
                </a:cubicBezTo>
                <a:lnTo>
                  <a:pt x="11291" y="11292"/>
                </a:ln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601">
            <a:extLst>
              <a:ext uri="{FF2B5EF4-FFF2-40B4-BE49-F238E27FC236}">
                <a16:creationId xmlns:a16="http://schemas.microsoft.com/office/drawing/2014/main" id="{8C9F8E41-B6BA-427C-9901-84B578DDB45B}"/>
              </a:ext>
            </a:extLst>
          </p:cNvPr>
          <p:cNvSpPr/>
          <p:nvPr/>
        </p:nvSpPr>
        <p:spPr bwMode="gray">
          <a:xfrm>
            <a:off x="9509642" y="2311079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  <a:moveTo>
                  <a:pt x="16200" y="10309"/>
                </a:moveTo>
                <a:lnTo>
                  <a:pt x="5400" y="10309"/>
                </a:lnTo>
                <a:cubicBezTo>
                  <a:pt x="5129" y="10309"/>
                  <a:pt x="4909" y="10529"/>
                  <a:pt x="4909" y="10800"/>
                </a:cubicBezTo>
                <a:cubicBezTo>
                  <a:pt x="4909" y="11072"/>
                  <a:pt x="5129" y="11292"/>
                  <a:pt x="5400" y="11292"/>
                </a:cubicBezTo>
                <a:lnTo>
                  <a:pt x="16200" y="11292"/>
                </a:lnTo>
                <a:cubicBezTo>
                  <a:pt x="16471" y="11292"/>
                  <a:pt x="16691" y="11072"/>
                  <a:pt x="16691" y="10800"/>
                </a:cubicBezTo>
                <a:cubicBezTo>
                  <a:pt x="16691" y="10529"/>
                  <a:pt x="16471" y="10309"/>
                  <a:pt x="16200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602">
            <a:extLst>
              <a:ext uri="{FF2B5EF4-FFF2-40B4-BE49-F238E27FC236}">
                <a16:creationId xmlns:a16="http://schemas.microsoft.com/office/drawing/2014/main" id="{B870B8BE-4BFB-40C9-8666-7AD7AAE6F934}"/>
              </a:ext>
            </a:extLst>
          </p:cNvPr>
          <p:cNvSpPr/>
          <p:nvPr/>
        </p:nvSpPr>
        <p:spPr bwMode="gray">
          <a:xfrm>
            <a:off x="10061666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6001"/>
                </a:moveTo>
                <a:lnTo>
                  <a:pt x="8345" y="6001"/>
                </a:lnTo>
                <a:cubicBezTo>
                  <a:pt x="8617" y="6001"/>
                  <a:pt x="8836" y="5732"/>
                  <a:pt x="8836" y="5400"/>
                </a:cubicBezTo>
                <a:cubicBezTo>
                  <a:pt x="8836" y="5069"/>
                  <a:pt x="8617" y="4800"/>
                  <a:pt x="8345" y="4800"/>
                </a:cubicBezTo>
                <a:lnTo>
                  <a:pt x="5400" y="4800"/>
                </a:lnTo>
                <a:cubicBezTo>
                  <a:pt x="5129" y="4800"/>
                  <a:pt x="4909" y="5069"/>
                  <a:pt x="4909" y="5400"/>
                </a:cubicBezTo>
                <a:cubicBezTo>
                  <a:pt x="4909" y="5732"/>
                  <a:pt x="5129" y="6001"/>
                  <a:pt x="5400" y="6001"/>
                </a:cubicBezTo>
                <a:moveTo>
                  <a:pt x="20618" y="20400"/>
                </a:moveTo>
                <a:lnTo>
                  <a:pt x="18655" y="20400"/>
                </a:lnTo>
                <a:lnTo>
                  <a:pt x="18655" y="18000"/>
                </a:lnTo>
                <a:cubicBezTo>
                  <a:pt x="18926" y="18000"/>
                  <a:pt x="19145" y="17732"/>
                  <a:pt x="19145" y="17400"/>
                </a:cubicBezTo>
                <a:cubicBezTo>
                  <a:pt x="19145" y="17069"/>
                  <a:pt x="18926" y="16801"/>
                  <a:pt x="18655" y="16801"/>
                </a:cubicBezTo>
                <a:lnTo>
                  <a:pt x="18655" y="3601"/>
                </a:lnTo>
                <a:lnTo>
                  <a:pt x="20618" y="3601"/>
                </a:lnTo>
                <a:cubicBezTo>
                  <a:pt x="20618" y="3601"/>
                  <a:pt x="20618" y="20400"/>
                  <a:pt x="20618" y="20400"/>
                </a:cubicBezTo>
                <a:close/>
                <a:moveTo>
                  <a:pt x="17673" y="16801"/>
                </a:moveTo>
                <a:cubicBezTo>
                  <a:pt x="17401" y="16801"/>
                  <a:pt x="17182" y="17069"/>
                  <a:pt x="17182" y="17400"/>
                </a:cubicBezTo>
                <a:cubicBezTo>
                  <a:pt x="17182" y="17732"/>
                  <a:pt x="17401" y="18000"/>
                  <a:pt x="17673" y="18000"/>
                </a:cubicBezTo>
                <a:lnTo>
                  <a:pt x="17673" y="20400"/>
                </a:lnTo>
                <a:lnTo>
                  <a:pt x="3927" y="20400"/>
                </a:lnTo>
                <a:lnTo>
                  <a:pt x="3927" y="18000"/>
                </a:lnTo>
                <a:cubicBezTo>
                  <a:pt x="4199" y="18000"/>
                  <a:pt x="4418" y="17732"/>
                  <a:pt x="4418" y="17400"/>
                </a:cubicBezTo>
                <a:cubicBezTo>
                  <a:pt x="4418" y="17069"/>
                  <a:pt x="4199" y="16801"/>
                  <a:pt x="3927" y="16801"/>
                </a:cubicBezTo>
                <a:lnTo>
                  <a:pt x="3927" y="3601"/>
                </a:lnTo>
                <a:lnTo>
                  <a:pt x="17673" y="3601"/>
                </a:lnTo>
                <a:cubicBezTo>
                  <a:pt x="17673" y="3601"/>
                  <a:pt x="17673" y="16801"/>
                  <a:pt x="17673" y="16801"/>
                </a:cubicBezTo>
                <a:close/>
                <a:moveTo>
                  <a:pt x="2945" y="16801"/>
                </a:moveTo>
                <a:cubicBezTo>
                  <a:pt x="2674" y="16801"/>
                  <a:pt x="2455" y="17069"/>
                  <a:pt x="2455" y="17400"/>
                </a:cubicBezTo>
                <a:cubicBezTo>
                  <a:pt x="2455" y="17732"/>
                  <a:pt x="2674" y="18000"/>
                  <a:pt x="2945" y="18000"/>
                </a:cubicBezTo>
                <a:lnTo>
                  <a:pt x="2945" y="20400"/>
                </a:lnTo>
                <a:lnTo>
                  <a:pt x="982" y="20400"/>
                </a:lnTo>
                <a:lnTo>
                  <a:pt x="982" y="3601"/>
                </a:lnTo>
                <a:lnTo>
                  <a:pt x="2945" y="3601"/>
                </a:lnTo>
                <a:cubicBezTo>
                  <a:pt x="2945" y="3601"/>
                  <a:pt x="2945" y="16801"/>
                  <a:pt x="2945" y="16801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39" y="2400"/>
                  <a:pt x="0" y="2938"/>
                  <a:pt x="0" y="3601"/>
                </a:cubicBezTo>
                <a:lnTo>
                  <a:pt x="0" y="20400"/>
                </a:lnTo>
                <a:cubicBezTo>
                  <a:pt x="0" y="2106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1063"/>
                  <a:pt x="21600" y="204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  <a:moveTo>
                  <a:pt x="5400" y="8400"/>
                </a:moveTo>
                <a:lnTo>
                  <a:pt x="6382" y="8400"/>
                </a:lnTo>
                <a:cubicBezTo>
                  <a:pt x="6653" y="8400"/>
                  <a:pt x="6873" y="8132"/>
                  <a:pt x="6873" y="7800"/>
                </a:cubicBezTo>
                <a:cubicBezTo>
                  <a:pt x="6873" y="7469"/>
                  <a:pt x="6653" y="7200"/>
                  <a:pt x="6382" y="7200"/>
                </a:cubicBez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0"/>
                  <a:pt x="5400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603">
            <a:extLst>
              <a:ext uri="{FF2B5EF4-FFF2-40B4-BE49-F238E27FC236}">
                <a16:creationId xmlns:a16="http://schemas.microsoft.com/office/drawing/2014/main" id="{18E5FD88-4B17-4730-AFD9-870E85CD38C5}"/>
              </a:ext>
            </a:extLst>
          </p:cNvPr>
          <p:cNvSpPr/>
          <p:nvPr/>
        </p:nvSpPr>
        <p:spPr bwMode="gray">
          <a:xfrm>
            <a:off x="10613690" y="2324223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9"/>
                  <a:pt x="15218" y="17820"/>
                </a:cubicBezTo>
                <a:cubicBezTo>
                  <a:pt x="15218" y="17522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2"/>
                  <a:pt x="13255" y="17820"/>
                </a:cubicBezTo>
                <a:cubicBezTo>
                  <a:pt x="13255" y="18119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9"/>
                  <a:pt x="4418" y="17820"/>
                </a:cubicBezTo>
                <a:cubicBezTo>
                  <a:pt x="4418" y="17522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2"/>
                  <a:pt x="2455" y="17820"/>
                </a:cubicBezTo>
                <a:cubicBezTo>
                  <a:pt x="2455" y="18119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9"/>
                  <a:pt x="4147" y="5400"/>
                  <a:pt x="4418" y="5400"/>
                </a:cubicBezTo>
                <a:cubicBezTo>
                  <a:pt x="4690" y="5400"/>
                  <a:pt x="4909" y="5159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9"/>
                  <a:pt x="6873" y="11341"/>
                </a:cubicBezTo>
                <a:cubicBezTo>
                  <a:pt x="6873" y="11042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2"/>
                  <a:pt x="4909" y="11341"/>
                </a:cubicBezTo>
                <a:cubicBezTo>
                  <a:pt x="4909" y="11639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9"/>
                  <a:pt x="8836" y="9181"/>
                </a:cubicBezTo>
                <a:cubicBezTo>
                  <a:pt x="8836" y="8882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2"/>
                  <a:pt x="4909" y="9181"/>
                </a:cubicBezTo>
                <a:cubicBezTo>
                  <a:pt x="4909" y="9479"/>
                  <a:pt x="5129" y="9720"/>
                  <a:pt x="5400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604">
            <a:extLst>
              <a:ext uri="{FF2B5EF4-FFF2-40B4-BE49-F238E27FC236}">
                <a16:creationId xmlns:a16="http://schemas.microsoft.com/office/drawing/2014/main" id="{0ED5B742-C952-48C1-9ED3-418D7E807617}"/>
              </a:ext>
            </a:extLst>
          </p:cNvPr>
          <p:cNvSpPr/>
          <p:nvPr/>
        </p:nvSpPr>
        <p:spPr bwMode="gray">
          <a:xfrm>
            <a:off x="11165715" y="2337366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605">
            <a:extLst>
              <a:ext uri="{FF2B5EF4-FFF2-40B4-BE49-F238E27FC236}">
                <a16:creationId xmlns:a16="http://schemas.microsoft.com/office/drawing/2014/main" id="{85F49AC1-6DF5-4A75-AD16-54EE6670EE34}"/>
              </a:ext>
            </a:extLst>
          </p:cNvPr>
          <p:cNvSpPr/>
          <p:nvPr/>
        </p:nvSpPr>
        <p:spPr bwMode="gray">
          <a:xfrm>
            <a:off x="6197495" y="2863104"/>
            <a:ext cx="289293" cy="289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606">
            <a:extLst>
              <a:ext uri="{FF2B5EF4-FFF2-40B4-BE49-F238E27FC236}">
                <a16:creationId xmlns:a16="http://schemas.microsoft.com/office/drawing/2014/main" id="{84727B9A-A322-43F9-AFBF-D0F52A3926D6}"/>
              </a:ext>
            </a:extLst>
          </p:cNvPr>
          <p:cNvSpPr/>
          <p:nvPr/>
        </p:nvSpPr>
        <p:spPr bwMode="gray">
          <a:xfrm>
            <a:off x="674952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607">
            <a:extLst>
              <a:ext uri="{FF2B5EF4-FFF2-40B4-BE49-F238E27FC236}">
                <a16:creationId xmlns:a16="http://schemas.microsoft.com/office/drawing/2014/main" id="{7BEBBA04-C4E3-43B0-BC58-220A740B4349}"/>
              </a:ext>
            </a:extLst>
          </p:cNvPr>
          <p:cNvSpPr/>
          <p:nvPr/>
        </p:nvSpPr>
        <p:spPr bwMode="gray">
          <a:xfrm>
            <a:off x="7301544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1964" y="16800"/>
                </a:lnTo>
                <a:cubicBezTo>
                  <a:pt x="879" y="16800"/>
                  <a:pt x="0" y="17874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4"/>
                  <a:pt x="20721" y="16800"/>
                  <a:pt x="19636" y="16800"/>
                </a:cubicBezTo>
                <a:moveTo>
                  <a:pt x="1964" y="1200"/>
                </a:moveTo>
                <a:lnTo>
                  <a:pt x="19636" y="1200"/>
                </a:lnTo>
                <a:cubicBezTo>
                  <a:pt x="20178" y="1200"/>
                  <a:pt x="20618" y="1737"/>
                  <a:pt x="20618" y="2399"/>
                </a:cubicBezTo>
                <a:cubicBezTo>
                  <a:pt x="20618" y="3063"/>
                  <a:pt x="20178" y="3599"/>
                  <a:pt x="19636" y="3599"/>
                </a:cubicBezTo>
                <a:lnTo>
                  <a:pt x="1964" y="3599"/>
                </a:lnTo>
                <a:cubicBezTo>
                  <a:pt x="1422" y="3599"/>
                  <a:pt x="982" y="3063"/>
                  <a:pt x="982" y="2399"/>
                </a:cubicBezTo>
                <a:cubicBezTo>
                  <a:pt x="982" y="1737"/>
                  <a:pt x="1422" y="1200"/>
                  <a:pt x="1964" y="1200"/>
                </a:cubicBezTo>
                <a:moveTo>
                  <a:pt x="1964" y="4799"/>
                </a:moveTo>
                <a:lnTo>
                  <a:pt x="19636" y="4799"/>
                </a:lnTo>
                <a:cubicBezTo>
                  <a:pt x="20721" y="4799"/>
                  <a:pt x="21600" y="3725"/>
                  <a:pt x="21600" y="2399"/>
                </a:cubicBezTo>
                <a:cubicBezTo>
                  <a:pt x="21600" y="1074"/>
                  <a:pt x="20721" y="0"/>
                  <a:pt x="19636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cubicBezTo>
                  <a:pt x="0" y="3725"/>
                  <a:pt x="879" y="4799"/>
                  <a:pt x="1964" y="4799"/>
                </a:cubicBezTo>
                <a:moveTo>
                  <a:pt x="19636" y="12000"/>
                </a:moveTo>
                <a:lnTo>
                  <a:pt x="1964" y="12000"/>
                </a:lnTo>
                <a:cubicBezTo>
                  <a:pt x="1422" y="12000"/>
                  <a:pt x="982" y="11463"/>
                  <a:pt x="982" y="10800"/>
                </a:cubicBezTo>
                <a:cubicBezTo>
                  <a:pt x="982" y="10137"/>
                  <a:pt x="1422" y="9600"/>
                  <a:pt x="1964" y="9600"/>
                </a:cubicBezTo>
                <a:lnTo>
                  <a:pt x="19636" y="9600"/>
                </a:lnTo>
                <a:cubicBezTo>
                  <a:pt x="20178" y="9600"/>
                  <a:pt x="20618" y="10137"/>
                  <a:pt x="20618" y="10800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0"/>
                </a:moveTo>
                <a:lnTo>
                  <a:pt x="1964" y="8400"/>
                </a:lnTo>
                <a:cubicBezTo>
                  <a:pt x="879" y="8400"/>
                  <a:pt x="0" y="9474"/>
                  <a:pt x="0" y="10800"/>
                </a:cubicBezTo>
                <a:cubicBezTo>
                  <a:pt x="0" y="12125"/>
                  <a:pt x="879" y="13200"/>
                  <a:pt x="1964" y="13200"/>
                </a:cubicBezTo>
                <a:lnTo>
                  <a:pt x="19636" y="13200"/>
                </a:lnTo>
                <a:cubicBezTo>
                  <a:pt x="20721" y="13200"/>
                  <a:pt x="21600" y="12125"/>
                  <a:pt x="21600" y="10800"/>
                </a:cubicBezTo>
                <a:cubicBezTo>
                  <a:pt x="21600" y="9474"/>
                  <a:pt x="20721" y="8400"/>
                  <a:pt x="19636" y="8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608">
            <a:extLst>
              <a:ext uri="{FF2B5EF4-FFF2-40B4-BE49-F238E27FC236}">
                <a16:creationId xmlns:a16="http://schemas.microsoft.com/office/drawing/2014/main" id="{697EBC40-B935-4C0A-AD14-35A6548FD5F1}"/>
              </a:ext>
            </a:extLst>
          </p:cNvPr>
          <p:cNvSpPr/>
          <p:nvPr/>
        </p:nvSpPr>
        <p:spPr bwMode="gray">
          <a:xfrm>
            <a:off x="7853568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3600"/>
                </a:moveTo>
                <a:cubicBezTo>
                  <a:pt x="1422" y="3600"/>
                  <a:pt x="982" y="3063"/>
                  <a:pt x="982" y="2400"/>
                </a:cubicBezTo>
                <a:cubicBezTo>
                  <a:pt x="982" y="1738"/>
                  <a:pt x="1422" y="1200"/>
                  <a:pt x="1964" y="1200"/>
                </a:cubicBezTo>
                <a:cubicBezTo>
                  <a:pt x="2506" y="1200"/>
                  <a:pt x="2945" y="1738"/>
                  <a:pt x="2945" y="2400"/>
                </a:cubicBezTo>
                <a:cubicBezTo>
                  <a:pt x="2945" y="3063"/>
                  <a:pt x="2506" y="3600"/>
                  <a:pt x="1964" y="3600"/>
                </a:cubicBezTo>
                <a:moveTo>
                  <a:pt x="1964" y="0"/>
                </a:moveTo>
                <a:cubicBezTo>
                  <a:pt x="879" y="0"/>
                  <a:pt x="0" y="1075"/>
                  <a:pt x="0" y="2400"/>
                </a:cubicBezTo>
                <a:cubicBezTo>
                  <a:pt x="0" y="3726"/>
                  <a:pt x="879" y="4800"/>
                  <a:pt x="1964" y="4800"/>
                </a:cubicBezTo>
                <a:cubicBezTo>
                  <a:pt x="3048" y="4800"/>
                  <a:pt x="3927" y="3726"/>
                  <a:pt x="3927" y="2400"/>
                </a:cubicBezTo>
                <a:cubicBezTo>
                  <a:pt x="3927" y="1075"/>
                  <a:pt x="3048" y="0"/>
                  <a:pt x="1964" y="0"/>
                </a:cubicBezTo>
                <a:moveTo>
                  <a:pt x="1964" y="12000"/>
                </a:moveTo>
                <a:cubicBezTo>
                  <a:pt x="1422" y="12000"/>
                  <a:pt x="982" y="11463"/>
                  <a:pt x="982" y="10800"/>
                </a:cubicBezTo>
                <a:cubicBezTo>
                  <a:pt x="982" y="10138"/>
                  <a:pt x="1422" y="9600"/>
                  <a:pt x="1964" y="9600"/>
                </a:cubicBezTo>
                <a:cubicBezTo>
                  <a:pt x="2506" y="9600"/>
                  <a:pt x="2945" y="10138"/>
                  <a:pt x="2945" y="10800"/>
                </a:cubicBezTo>
                <a:cubicBezTo>
                  <a:pt x="2945" y="11463"/>
                  <a:pt x="2506" y="12000"/>
                  <a:pt x="1964" y="12000"/>
                </a:cubicBezTo>
                <a:moveTo>
                  <a:pt x="1964" y="8401"/>
                </a:moveTo>
                <a:cubicBezTo>
                  <a:pt x="879" y="8401"/>
                  <a:pt x="0" y="9475"/>
                  <a:pt x="0" y="10800"/>
                </a:cubicBezTo>
                <a:cubicBezTo>
                  <a:pt x="0" y="12126"/>
                  <a:pt x="879" y="13200"/>
                  <a:pt x="1964" y="13200"/>
                </a:cubicBezTo>
                <a:cubicBezTo>
                  <a:pt x="3048" y="13200"/>
                  <a:pt x="3927" y="12126"/>
                  <a:pt x="3927" y="10800"/>
                </a:cubicBezTo>
                <a:cubicBezTo>
                  <a:pt x="3927" y="9475"/>
                  <a:pt x="3048" y="8401"/>
                  <a:pt x="1964" y="8401"/>
                </a:cubicBezTo>
                <a:moveTo>
                  <a:pt x="19636" y="12000"/>
                </a:moveTo>
                <a:lnTo>
                  <a:pt x="7855" y="12000"/>
                </a:lnTo>
                <a:cubicBezTo>
                  <a:pt x="7313" y="12000"/>
                  <a:pt x="6873" y="11463"/>
                  <a:pt x="6873" y="10801"/>
                </a:cubicBezTo>
                <a:cubicBezTo>
                  <a:pt x="6873" y="10138"/>
                  <a:pt x="7313" y="9600"/>
                  <a:pt x="7855" y="9600"/>
                </a:cubicBezTo>
                <a:lnTo>
                  <a:pt x="19636" y="9600"/>
                </a:lnTo>
                <a:cubicBezTo>
                  <a:pt x="20178" y="9600"/>
                  <a:pt x="20618" y="10138"/>
                  <a:pt x="20618" y="10801"/>
                </a:cubicBezTo>
                <a:cubicBezTo>
                  <a:pt x="20618" y="11463"/>
                  <a:pt x="20178" y="12000"/>
                  <a:pt x="19636" y="12000"/>
                </a:cubicBezTo>
                <a:moveTo>
                  <a:pt x="19636" y="8401"/>
                </a:moveTo>
                <a:lnTo>
                  <a:pt x="7855" y="8401"/>
                </a:lnTo>
                <a:cubicBezTo>
                  <a:pt x="6770" y="8401"/>
                  <a:pt x="5891" y="9475"/>
                  <a:pt x="5891" y="10801"/>
                </a:cubicBezTo>
                <a:cubicBezTo>
                  <a:pt x="5891" y="12126"/>
                  <a:pt x="6770" y="13200"/>
                  <a:pt x="7855" y="13200"/>
                </a:cubicBezTo>
                <a:lnTo>
                  <a:pt x="19636" y="13200"/>
                </a:lnTo>
                <a:cubicBezTo>
                  <a:pt x="20721" y="13200"/>
                  <a:pt x="21600" y="12126"/>
                  <a:pt x="21600" y="10801"/>
                </a:cubicBezTo>
                <a:cubicBezTo>
                  <a:pt x="21600" y="9475"/>
                  <a:pt x="20721" y="8401"/>
                  <a:pt x="19636" y="8401"/>
                </a:cubicBezTo>
                <a:moveTo>
                  <a:pt x="19636" y="20400"/>
                </a:moveTo>
                <a:lnTo>
                  <a:pt x="7855" y="20400"/>
                </a:lnTo>
                <a:cubicBezTo>
                  <a:pt x="7313" y="20400"/>
                  <a:pt x="6873" y="19862"/>
                  <a:pt x="6873" y="19200"/>
                </a:cubicBezTo>
                <a:cubicBezTo>
                  <a:pt x="6873" y="18538"/>
                  <a:pt x="7313" y="18000"/>
                  <a:pt x="7855" y="18000"/>
                </a:cubicBezTo>
                <a:lnTo>
                  <a:pt x="19636" y="18000"/>
                </a:lnTo>
                <a:cubicBezTo>
                  <a:pt x="20178" y="18000"/>
                  <a:pt x="20618" y="18538"/>
                  <a:pt x="20618" y="19200"/>
                </a:cubicBezTo>
                <a:cubicBezTo>
                  <a:pt x="20618" y="19862"/>
                  <a:pt x="20178" y="20400"/>
                  <a:pt x="19636" y="20400"/>
                </a:cubicBezTo>
                <a:moveTo>
                  <a:pt x="19636" y="16800"/>
                </a:moveTo>
                <a:lnTo>
                  <a:pt x="7855" y="16800"/>
                </a:lnTo>
                <a:cubicBezTo>
                  <a:pt x="6770" y="16800"/>
                  <a:pt x="5891" y="17875"/>
                  <a:pt x="5891" y="19200"/>
                </a:cubicBezTo>
                <a:cubicBezTo>
                  <a:pt x="5891" y="20526"/>
                  <a:pt x="6770" y="21600"/>
                  <a:pt x="7855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7875"/>
                  <a:pt x="20721" y="16800"/>
                  <a:pt x="19636" y="16800"/>
                </a:cubicBezTo>
                <a:moveTo>
                  <a:pt x="7855" y="1201"/>
                </a:moveTo>
                <a:lnTo>
                  <a:pt x="19636" y="1201"/>
                </a:lnTo>
                <a:cubicBezTo>
                  <a:pt x="20178" y="1201"/>
                  <a:pt x="20618" y="1738"/>
                  <a:pt x="20618" y="2400"/>
                </a:cubicBezTo>
                <a:cubicBezTo>
                  <a:pt x="20618" y="3063"/>
                  <a:pt x="20178" y="3600"/>
                  <a:pt x="19636" y="3600"/>
                </a:cubicBezTo>
                <a:lnTo>
                  <a:pt x="7855" y="3600"/>
                </a:lnTo>
                <a:cubicBezTo>
                  <a:pt x="7313" y="3600"/>
                  <a:pt x="6873" y="3063"/>
                  <a:pt x="6873" y="2400"/>
                </a:cubicBezTo>
                <a:cubicBezTo>
                  <a:pt x="6873" y="1738"/>
                  <a:pt x="7313" y="1201"/>
                  <a:pt x="7855" y="1201"/>
                </a:cubicBezTo>
                <a:moveTo>
                  <a:pt x="7855" y="4800"/>
                </a:moveTo>
                <a:lnTo>
                  <a:pt x="19636" y="4800"/>
                </a:lnTo>
                <a:cubicBezTo>
                  <a:pt x="20721" y="4800"/>
                  <a:pt x="21600" y="3726"/>
                  <a:pt x="21600" y="2400"/>
                </a:cubicBezTo>
                <a:cubicBezTo>
                  <a:pt x="21600" y="1075"/>
                  <a:pt x="20721" y="1"/>
                  <a:pt x="19636" y="1"/>
                </a:cubicBezTo>
                <a:lnTo>
                  <a:pt x="7855" y="1"/>
                </a:lnTo>
                <a:cubicBezTo>
                  <a:pt x="6770" y="1"/>
                  <a:pt x="5891" y="1075"/>
                  <a:pt x="5891" y="2400"/>
                </a:cubicBezTo>
                <a:cubicBezTo>
                  <a:pt x="5891" y="3726"/>
                  <a:pt x="6770" y="4800"/>
                  <a:pt x="7855" y="4800"/>
                </a:cubicBezTo>
                <a:moveTo>
                  <a:pt x="1964" y="20400"/>
                </a:moveTo>
                <a:cubicBezTo>
                  <a:pt x="1422" y="20400"/>
                  <a:pt x="982" y="19862"/>
                  <a:pt x="982" y="19200"/>
                </a:cubicBezTo>
                <a:cubicBezTo>
                  <a:pt x="982" y="18538"/>
                  <a:pt x="1422" y="18000"/>
                  <a:pt x="1964" y="18000"/>
                </a:cubicBezTo>
                <a:cubicBezTo>
                  <a:pt x="2506" y="18000"/>
                  <a:pt x="2945" y="18538"/>
                  <a:pt x="2945" y="19200"/>
                </a:cubicBezTo>
                <a:cubicBezTo>
                  <a:pt x="2945" y="19862"/>
                  <a:pt x="2506" y="20400"/>
                  <a:pt x="1964" y="20400"/>
                </a:cubicBezTo>
                <a:moveTo>
                  <a:pt x="1964" y="16800"/>
                </a:moveTo>
                <a:cubicBezTo>
                  <a:pt x="879" y="16800"/>
                  <a:pt x="0" y="17875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cubicBezTo>
                  <a:pt x="3048" y="21600"/>
                  <a:pt x="3927" y="20526"/>
                  <a:pt x="3927" y="19200"/>
                </a:cubicBezTo>
                <a:cubicBezTo>
                  <a:pt x="3927" y="17875"/>
                  <a:pt x="3048" y="16800"/>
                  <a:pt x="1964" y="16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609">
            <a:extLst>
              <a:ext uri="{FF2B5EF4-FFF2-40B4-BE49-F238E27FC236}">
                <a16:creationId xmlns:a16="http://schemas.microsoft.com/office/drawing/2014/main" id="{DC12E784-0686-49EF-980C-C14A8781A8D6}"/>
              </a:ext>
            </a:extLst>
          </p:cNvPr>
          <p:cNvSpPr/>
          <p:nvPr/>
        </p:nvSpPr>
        <p:spPr bwMode="gray">
          <a:xfrm>
            <a:off x="8405593" y="2889390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3200"/>
                </a:moveTo>
                <a:lnTo>
                  <a:pt x="5400" y="13200"/>
                </a:lnTo>
                <a:cubicBezTo>
                  <a:pt x="5129" y="13200"/>
                  <a:pt x="4909" y="13469"/>
                  <a:pt x="4909" y="13800"/>
                </a:cubicBezTo>
                <a:cubicBezTo>
                  <a:pt x="4909" y="14132"/>
                  <a:pt x="5129" y="14400"/>
                  <a:pt x="5400" y="14400"/>
                </a:cubicBezTo>
                <a:lnTo>
                  <a:pt x="21109" y="14400"/>
                </a:lnTo>
                <a:cubicBezTo>
                  <a:pt x="21380" y="14400"/>
                  <a:pt x="21600" y="14132"/>
                  <a:pt x="21600" y="13800"/>
                </a:cubicBezTo>
                <a:cubicBezTo>
                  <a:pt x="21600" y="13469"/>
                  <a:pt x="21380" y="13200"/>
                  <a:pt x="21109" y="13200"/>
                </a:cubicBezTo>
                <a:moveTo>
                  <a:pt x="21109" y="7200"/>
                </a:moveTo>
                <a:lnTo>
                  <a:pt x="5400" y="7200"/>
                </a:lnTo>
                <a:cubicBezTo>
                  <a:pt x="5129" y="7200"/>
                  <a:pt x="4909" y="7469"/>
                  <a:pt x="4909" y="7800"/>
                </a:cubicBezTo>
                <a:cubicBezTo>
                  <a:pt x="4909" y="8132"/>
                  <a:pt x="5129" y="8401"/>
                  <a:pt x="5400" y="8401"/>
                </a:cubicBezTo>
                <a:lnTo>
                  <a:pt x="21109" y="8401"/>
                </a:lnTo>
                <a:cubicBezTo>
                  <a:pt x="21380" y="8401"/>
                  <a:pt x="21600" y="8132"/>
                  <a:pt x="21600" y="7800"/>
                </a:cubicBezTo>
                <a:cubicBezTo>
                  <a:pt x="21600" y="7469"/>
                  <a:pt x="21380" y="7200"/>
                  <a:pt x="21109" y="7200"/>
                </a:cubicBezTo>
                <a:moveTo>
                  <a:pt x="1473" y="0"/>
                </a:moveTo>
                <a:cubicBezTo>
                  <a:pt x="659" y="0"/>
                  <a:pt x="0" y="807"/>
                  <a:pt x="0" y="1800"/>
                </a:cubicBezTo>
                <a:cubicBezTo>
                  <a:pt x="0" y="2794"/>
                  <a:pt x="659" y="3600"/>
                  <a:pt x="1473" y="3600"/>
                </a:cubicBezTo>
                <a:cubicBezTo>
                  <a:pt x="2286" y="3600"/>
                  <a:pt x="2945" y="2794"/>
                  <a:pt x="2945" y="1800"/>
                </a:cubicBezTo>
                <a:cubicBezTo>
                  <a:pt x="2945" y="807"/>
                  <a:pt x="2286" y="0"/>
                  <a:pt x="1473" y="0"/>
                </a:cubicBezTo>
                <a:moveTo>
                  <a:pt x="21109" y="19200"/>
                </a:moveTo>
                <a:lnTo>
                  <a:pt x="5400" y="19200"/>
                </a:lnTo>
                <a:cubicBezTo>
                  <a:pt x="5129" y="19200"/>
                  <a:pt x="4909" y="19469"/>
                  <a:pt x="4909" y="19800"/>
                </a:cubicBezTo>
                <a:cubicBezTo>
                  <a:pt x="4909" y="20132"/>
                  <a:pt x="5129" y="20400"/>
                  <a:pt x="5400" y="20400"/>
                </a:cubicBezTo>
                <a:lnTo>
                  <a:pt x="21109" y="20400"/>
                </a:lnTo>
                <a:cubicBezTo>
                  <a:pt x="21380" y="20400"/>
                  <a:pt x="21600" y="20132"/>
                  <a:pt x="21600" y="19800"/>
                </a:cubicBezTo>
                <a:cubicBezTo>
                  <a:pt x="21600" y="19469"/>
                  <a:pt x="21380" y="19200"/>
                  <a:pt x="21109" y="19200"/>
                </a:cubicBezTo>
                <a:moveTo>
                  <a:pt x="5400" y="2400"/>
                </a:moveTo>
                <a:lnTo>
                  <a:pt x="21109" y="2400"/>
                </a:lnTo>
                <a:cubicBezTo>
                  <a:pt x="21380" y="2400"/>
                  <a:pt x="21600" y="2132"/>
                  <a:pt x="21600" y="1800"/>
                </a:cubicBezTo>
                <a:cubicBezTo>
                  <a:pt x="21600" y="1469"/>
                  <a:pt x="21380" y="1200"/>
                  <a:pt x="21109" y="1200"/>
                </a:cubicBezTo>
                <a:lnTo>
                  <a:pt x="5400" y="1200"/>
                </a:lnTo>
                <a:cubicBezTo>
                  <a:pt x="5129" y="1200"/>
                  <a:pt x="4909" y="1469"/>
                  <a:pt x="4909" y="1800"/>
                </a:cubicBezTo>
                <a:cubicBezTo>
                  <a:pt x="4909" y="2132"/>
                  <a:pt x="5129" y="2400"/>
                  <a:pt x="5400" y="2400"/>
                </a:cubicBezTo>
                <a:moveTo>
                  <a:pt x="1473" y="18000"/>
                </a:moveTo>
                <a:cubicBezTo>
                  <a:pt x="659" y="18000"/>
                  <a:pt x="0" y="18806"/>
                  <a:pt x="0" y="19800"/>
                </a:cubicBezTo>
                <a:cubicBezTo>
                  <a:pt x="0" y="20794"/>
                  <a:pt x="659" y="21600"/>
                  <a:pt x="1473" y="21600"/>
                </a:cubicBezTo>
                <a:cubicBezTo>
                  <a:pt x="2286" y="21600"/>
                  <a:pt x="2945" y="20794"/>
                  <a:pt x="2945" y="19800"/>
                </a:cubicBezTo>
                <a:cubicBezTo>
                  <a:pt x="2945" y="18806"/>
                  <a:pt x="2286" y="18000"/>
                  <a:pt x="1473" y="18000"/>
                </a:cubicBezTo>
                <a:moveTo>
                  <a:pt x="1473" y="6000"/>
                </a:moveTo>
                <a:cubicBezTo>
                  <a:pt x="659" y="6000"/>
                  <a:pt x="0" y="6807"/>
                  <a:pt x="0" y="7800"/>
                </a:cubicBezTo>
                <a:cubicBezTo>
                  <a:pt x="0" y="8794"/>
                  <a:pt x="659" y="9600"/>
                  <a:pt x="1473" y="9600"/>
                </a:cubicBezTo>
                <a:cubicBezTo>
                  <a:pt x="2286" y="9600"/>
                  <a:pt x="2945" y="8794"/>
                  <a:pt x="2945" y="7800"/>
                </a:cubicBezTo>
                <a:cubicBezTo>
                  <a:pt x="2945" y="6807"/>
                  <a:pt x="2286" y="6000"/>
                  <a:pt x="1473" y="6000"/>
                </a:cubicBezTo>
                <a:moveTo>
                  <a:pt x="1473" y="12000"/>
                </a:moveTo>
                <a:cubicBezTo>
                  <a:pt x="659" y="12000"/>
                  <a:pt x="0" y="12807"/>
                  <a:pt x="0" y="13800"/>
                </a:cubicBezTo>
                <a:cubicBezTo>
                  <a:pt x="0" y="14794"/>
                  <a:pt x="659" y="15600"/>
                  <a:pt x="1473" y="15600"/>
                </a:cubicBezTo>
                <a:cubicBezTo>
                  <a:pt x="2286" y="15600"/>
                  <a:pt x="2945" y="14794"/>
                  <a:pt x="2945" y="13800"/>
                </a:cubicBezTo>
                <a:cubicBezTo>
                  <a:pt x="2945" y="12807"/>
                  <a:pt x="2286" y="12000"/>
                  <a:pt x="1473" y="12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610">
            <a:extLst>
              <a:ext uri="{FF2B5EF4-FFF2-40B4-BE49-F238E27FC236}">
                <a16:creationId xmlns:a16="http://schemas.microsoft.com/office/drawing/2014/main" id="{A7CAA879-44D7-4A91-AED7-CA257DE7D365}"/>
              </a:ext>
            </a:extLst>
          </p:cNvPr>
          <p:cNvSpPr/>
          <p:nvPr/>
        </p:nvSpPr>
        <p:spPr bwMode="gray">
          <a:xfrm>
            <a:off x="8957617" y="2889390"/>
            <a:ext cx="289156" cy="236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2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800"/>
                </a:cubicBezTo>
                <a:cubicBezTo>
                  <a:pt x="20618" y="4800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3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2" y="20400"/>
                  <a:pt x="982" y="19863"/>
                  <a:pt x="982" y="19200"/>
                </a:cubicBezTo>
                <a:lnTo>
                  <a:pt x="982" y="7200"/>
                </a:lnTo>
                <a:lnTo>
                  <a:pt x="20618" y="7200"/>
                </a:lnTo>
                <a:cubicBezTo>
                  <a:pt x="20618" y="7200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800"/>
                </a:lnTo>
                <a:cubicBezTo>
                  <a:pt x="21600" y="3474"/>
                  <a:pt x="20721" y="2399"/>
                  <a:pt x="19636" y="239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611">
            <a:extLst>
              <a:ext uri="{FF2B5EF4-FFF2-40B4-BE49-F238E27FC236}">
                <a16:creationId xmlns:a16="http://schemas.microsoft.com/office/drawing/2014/main" id="{24B55AFC-EF52-474F-9750-44081AF54D9D}"/>
              </a:ext>
            </a:extLst>
          </p:cNvPr>
          <p:cNvSpPr/>
          <p:nvPr/>
        </p:nvSpPr>
        <p:spPr bwMode="gray">
          <a:xfrm>
            <a:off x="9509642" y="2876247"/>
            <a:ext cx="289156" cy="2628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161"/>
                </a:moveTo>
                <a:lnTo>
                  <a:pt x="13745" y="2161"/>
                </a:lnTo>
                <a:cubicBezTo>
                  <a:pt x="11782" y="2160"/>
                  <a:pt x="11782" y="0"/>
                  <a:pt x="9818" y="0"/>
                </a:cubicBezTo>
                <a:lnTo>
                  <a:pt x="5891" y="0"/>
                </a:lnTo>
                <a:cubicBezTo>
                  <a:pt x="4806" y="0"/>
                  <a:pt x="3927" y="967"/>
                  <a:pt x="3927" y="2161"/>
                </a:cubicBezTo>
                <a:lnTo>
                  <a:pt x="3927" y="2700"/>
                </a:lnTo>
                <a:cubicBezTo>
                  <a:pt x="3927" y="2999"/>
                  <a:pt x="4147" y="3240"/>
                  <a:pt x="4418" y="3240"/>
                </a:cubicBezTo>
                <a:cubicBezTo>
                  <a:pt x="4690" y="3240"/>
                  <a:pt x="4909" y="2999"/>
                  <a:pt x="4909" y="2700"/>
                </a:cubicBezTo>
                <a:lnTo>
                  <a:pt x="4909" y="2161"/>
                </a:lnTo>
                <a:cubicBezTo>
                  <a:pt x="4909" y="1564"/>
                  <a:pt x="5348" y="1080"/>
                  <a:pt x="5891" y="1080"/>
                </a:cubicBezTo>
                <a:lnTo>
                  <a:pt x="9818" y="1080"/>
                </a:lnTo>
                <a:cubicBezTo>
                  <a:pt x="11291" y="1080"/>
                  <a:pt x="11291" y="3239"/>
                  <a:pt x="13744" y="3240"/>
                </a:cubicBezTo>
                <a:lnTo>
                  <a:pt x="19636" y="3240"/>
                </a:lnTo>
                <a:cubicBezTo>
                  <a:pt x="20178" y="3240"/>
                  <a:pt x="20618" y="3724"/>
                  <a:pt x="20618" y="4321"/>
                </a:cubicBezTo>
                <a:lnTo>
                  <a:pt x="20618" y="15120"/>
                </a:lnTo>
                <a:cubicBezTo>
                  <a:pt x="20618" y="15717"/>
                  <a:pt x="20178" y="16200"/>
                  <a:pt x="19636" y="16200"/>
                </a:cubicBezTo>
                <a:lnTo>
                  <a:pt x="19145" y="16200"/>
                </a:lnTo>
                <a:cubicBezTo>
                  <a:pt x="18874" y="16200"/>
                  <a:pt x="18655" y="16442"/>
                  <a:pt x="18655" y="16740"/>
                </a:cubicBezTo>
                <a:cubicBezTo>
                  <a:pt x="18655" y="17039"/>
                  <a:pt x="18874" y="17280"/>
                  <a:pt x="19145" y="17280"/>
                </a:cubicBezTo>
                <a:lnTo>
                  <a:pt x="19636" y="17280"/>
                </a:lnTo>
                <a:cubicBezTo>
                  <a:pt x="20721" y="17280"/>
                  <a:pt x="21600" y="16314"/>
                  <a:pt x="21600" y="15120"/>
                </a:cubicBezTo>
                <a:lnTo>
                  <a:pt x="21600" y="4321"/>
                </a:lnTo>
                <a:cubicBezTo>
                  <a:pt x="21600" y="3127"/>
                  <a:pt x="20721" y="2161"/>
                  <a:pt x="19636" y="2161"/>
                </a:cubicBezTo>
                <a:moveTo>
                  <a:pt x="16691" y="9720"/>
                </a:moveTo>
                <a:lnTo>
                  <a:pt x="982" y="9720"/>
                </a:lnTo>
                <a:lnTo>
                  <a:pt x="982" y="6481"/>
                </a:lnTo>
                <a:cubicBezTo>
                  <a:pt x="982" y="5884"/>
                  <a:pt x="1421" y="5400"/>
                  <a:pt x="1964" y="5400"/>
                </a:cubicBezTo>
                <a:lnTo>
                  <a:pt x="5891" y="5400"/>
                </a:lnTo>
                <a:cubicBezTo>
                  <a:pt x="7364" y="5400"/>
                  <a:pt x="7364" y="7560"/>
                  <a:pt x="9818" y="7560"/>
                </a:cubicBezTo>
                <a:lnTo>
                  <a:pt x="15709" y="7560"/>
                </a:lnTo>
                <a:cubicBezTo>
                  <a:pt x="16251" y="7560"/>
                  <a:pt x="16691" y="8044"/>
                  <a:pt x="16691" y="8641"/>
                </a:cubicBezTo>
                <a:cubicBezTo>
                  <a:pt x="16691" y="8641"/>
                  <a:pt x="16691" y="9720"/>
                  <a:pt x="16691" y="9720"/>
                </a:cubicBezTo>
                <a:close/>
                <a:moveTo>
                  <a:pt x="16691" y="19440"/>
                </a:moveTo>
                <a:cubicBezTo>
                  <a:pt x="16691" y="20037"/>
                  <a:pt x="16251" y="20520"/>
                  <a:pt x="15709" y="20520"/>
                </a:cubicBezTo>
                <a:lnTo>
                  <a:pt x="1964" y="20520"/>
                </a:lnTo>
                <a:cubicBezTo>
                  <a:pt x="1421" y="20520"/>
                  <a:pt x="982" y="20037"/>
                  <a:pt x="982" y="19440"/>
                </a:cubicBezTo>
                <a:lnTo>
                  <a:pt x="982" y="10801"/>
                </a:lnTo>
                <a:lnTo>
                  <a:pt x="16691" y="10801"/>
                </a:lnTo>
                <a:cubicBezTo>
                  <a:pt x="16691" y="10801"/>
                  <a:pt x="16691" y="19440"/>
                  <a:pt x="16691" y="19440"/>
                </a:cubicBezTo>
                <a:close/>
                <a:moveTo>
                  <a:pt x="15709" y="6481"/>
                </a:moveTo>
                <a:lnTo>
                  <a:pt x="9818" y="6481"/>
                </a:lnTo>
                <a:cubicBezTo>
                  <a:pt x="7855" y="6480"/>
                  <a:pt x="7855" y="4320"/>
                  <a:pt x="5891" y="4320"/>
                </a:cubicBezTo>
                <a:lnTo>
                  <a:pt x="1964" y="4320"/>
                </a:lnTo>
                <a:cubicBezTo>
                  <a:pt x="879" y="4320"/>
                  <a:pt x="0" y="5287"/>
                  <a:pt x="0" y="6481"/>
                </a:cubicBezTo>
                <a:lnTo>
                  <a:pt x="0" y="19440"/>
                </a:lnTo>
                <a:cubicBezTo>
                  <a:pt x="0" y="20634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634"/>
                  <a:pt x="17673" y="19440"/>
                </a:cubicBezTo>
                <a:lnTo>
                  <a:pt x="17673" y="8641"/>
                </a:lnTo>
                <a:cubicBezTo>
                  <a:pt x="17673" y="7447"/>
                  <a:pt x="16794" y="6481"/>
                  <a:pt x="15709" y="648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612">
            <a:extLst>
              <a:ext uri="{FF2B5EF4-FFF2-40B4-BE49-F238E27FC236}">
                <a16:creationId xmlns:a16="http://schemas.microsoft.com/office/drawing/2014/main" id="{8EED581D-40AA-4148-AFDF-116E7A963E28}"/>
              </a:ext>
            </a:extLst>
          </p:cNvPr>
          <p:cNvSpPr/>
          <p:nvPr/>
        </p:nvSpPr>
        <p:spPr bwMode="gray">
          <a:xfrm>
            <a:off x="10061666" y="2889390"/>
            <a:ext cx="289156" cy="2365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3200"/>
                </a:moveTo>
                <a:cubicBezTo>
                  <a:pt x="11071" y="13200"/>
                  <a:pt x="11291" y="13469"/>
                  <a:pt x="11291" y="13800"/>
                </a:cubicBezTo>
                <a:cubicBezTo>
                  <a:pt x="11291" y="14132"/>
                  <a:pt x="11071" y="14400"/>
                  <a:pt x="10800" y="14400"/>
                </a:cubicBezTo>
                <a:cubicBezTo>
                  <a:pt x="10529" y="14400"/>
                  <a:pt x="10309" y="14132"/>
                  <a:pt x="10309" y="13800"/>
                </a:cubicBezTo>
                <a:cubicBezTo>
                  <a:pt x="10309" y="13469"/>
                  <a:pt x="10529" y="13200"/>
                  <a:pt x="10800" y="13200"/>
                </a:cubicBezTo>
                <a:moveTo>
                  <a:pt x="10800" y="15600"/>
                </a:moveTo>
                <a:cubicBezTo>
                  <a:pt x="11613" y="15600"/>
                  <a:pt x="12273" y="14794"/>
                  <a:pt x="12273" y="13800"/>
                </a:cubicBezTo>
                <a:cubicBezTo>
                  <a:pt x="12273" y="12806"/>
                  <a:pt x="11613" y="12000"/>
                  <a:pt x="10800" y="12000"/>
                </a:cubicBezTo>
                <a:cubicBezTo>
                  <a:pt x="9987" y="12000"/>
                  <a:pt x="9327" y="12806"/>
                  <a:pt x="9327" y="13800"/>
                </a:cubicBezTo>
                <a:cubicBezTo>
                  <a:pt x="9327" y="14794"/>
                  <a:pt x="9987" y="15600"/>
                  <a:pt x="10800" y="15600"/>
                </a:cubicBezTo>
                <a:moveTo>
                  <a:pt x="5400" y="13200"/>
                </a:moveTo>
                <a:cubicBezTo>
                  <a:pt x="5671" y="13200"/>
                  <a:pt x="5891" y="13469"/>
                  <a:pt x="5891" y="13800"/>
                </a:cubicBezTo>
                <a:cubicBezTo>
                  <a:pt x="5891" y="14132"/>
                  <a:pt x="5671" y="14400"/>
                  <a:pt x="5400" y="14400"/>
                </a:cubicBezTo>
                <a:cubicBezTo>
                  <a:pt x="5129" y="14400"/>
                  <a:pt x="4909" y="14132"/>
                  <a:pt x="4909" y="13800"/>
                </a:cubicBezTo>
                <a:cubicBezTo>
                  <a:pt x="4909" y="13469"/>
                  <a:pt x="5129" y="13200"/>
                  <a:pt x="5400" y="13200"/>
                </a:cubicBezTo>
                <a:moveTo>
                  <a:pt x="5400" y="15600"/>
                </a:moveTo>
                <a:cubicBezTo>
                  <a:pt x="6213" y="15600"/>
                  <a:pt x="6873" y="14794"/>
                  <a:pt x="6873" y="13800"/>
                </a:cubicBezTo>
                <a:cubicBezTo>
                  <a:pt x="6873" y="12806"/>
                  <a:pt x="6213" y="12000"/>
                  <a:pt x="5400" y="12000"/>
                </a:cubicBezTo>
                <a:cubicBezTo>
                  <a:pt x="4587" y="12000"/>
                  <a:pt x="3927" y="12806"/>
                  <a:pt x="3927" y="13800"/>
                </a:cubicBezTo>
                <a:cubicBezTo>
                  <a:pt x="3927" y="14794"/>
                  <a:pt x="4587" y="15600"/>
                  <a:pt x="5400" y="15600"/>
                </a:cubicBezTo>
                <a:moveTo>
                  <a:pt x="20618" y="6000"/>
                </a:moveTo>
                <a:lnTo>
                  <a:pt x="982" y="6000"/>
                </a:lnTo>
                <a:lnTo>
                  <a:pt x="982" y="2399"/>
                </a:lnTo>
                <a:cubicBezTo>
                  <a:pt x="982" y="1737"/>
                  <a:pt x="1421" y="1200"/>
                  <a:pt x="1964" y="1200"/>
                </a:cubicBezTo>
                <a:lnTo>
                  <a:pt x="6873" y="1200"/>
                </a:lnTo>
                <a:cubicBezTo>
                  <a:pt x="8345" y="1200"/>
                  <a:pt x="8345" y="3600"/>
                  <a:pt x="10800" y="3600"/>
                </a:cubicBezTo>
                <a:lnTo>
                  <a:pt x="19636" y="3600"/>
                </a:lnTo>
                <a:cubicBezTo>
                  <a:pt x="20178" y="3600"/>
                  <a:pt x="20618" y="4137"/>
                  <a:pt x="20618" y="4799"/>
                </a:cubicBezTo>
                <a:cubicBezTo>
                  <a:pt x="20618" y="4799"/>
                  <a:pt x="20618" y="6000"/>
                  <a:pt x="20618" y="6000"/>
                </a:cubicBezTo>
                <a:close/>
                <a:moveTo>
                  <a:pt x="20618" y="19200"/>
                </a:moveTo>
                <a:cubicBezTo>
                  <a:pt x="20618" y="19862"/>
                  <a:pt x="20178" y="20400"/>
                  <a:pt x="19636" y="20400"/>
                </a:cubicBezTo>
                <a:lnTo>
                  <a:pt x="1964" y="20400"/>
                </a:lnTo>
                <a:cubicBezTo>
                  <a:pt x="1421" y="20400"/>
                  <a:pt x="982" y="19862"/>
                  <a:pt x="982" y="19200"/>
                </a:cubicBezTo>
                <a:lnTo>
                  <a:pt x="982" y="7199"/>
                </a:lnTo>
                <a:lnTo>
                  <a:pt x="20618" y="7199"/>
                </a:lnTo>
                <a:cubicBezTo>
                  <a:pt x="20618" y="7199"/>
                  <a:pt x="20618" y="19200"/>
                  <a:pt x="20618" y="19200"/>
                </a:cubicBezTo>
                <a:close/>
                <a:moveTo>
                  <a:pt x="19636" y="2399"/>
                </a:moveTo>
                <a:lnTo>
                  <a:pt x="10800" y="2399"/>
                </a:lnTo>
                <a:cubicBezTo>
                  <a:pt x="8836" y="2399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1074"/>
                  <a:pt x="0" y="2399"/>
                </a:cubicBezTo>
                <a:lnTo>
                  <a:pt x="0" y="19200"/>
                </a:ln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lnTo>
                  <a:pt x="21600" y="4799"/>
                </a:lnTo>
                <a:cubicBezTo>
                  <a:pt x="21600" y="3474"/>
                  <a:pt x="20721" y="2399"/>
                  <a:pt x="19636" y="2399"/>
                </a:cubicBezTo>
                <a:moveTo>
                  <a:pt x="16200" y="13200"/>
                </a:moveTo>
                <a:cubicBezTo>
                  <a:pt x="16471" y="13200"/>
                  <a:pt x="16691" y="13469"/>
                  <a:pt x="16691" y="13800"/>
                </a:cubicBezTo>
                <a:cubicBezTo>
                  <a:pt x="16691" y="14132"/>
                  <a:pt x="16471" y="14400"/>
                  <a:pt x="16200" y="14400"/>
                </a:cubicBezTo>
                <a:cubicBezTo>
                  <a:pt x="15929" y="14400"/>
                  <a:pt x="15709" y="14132"/>
                  <a:pt x="15709" y="13800"/>
                </a:cubicBezTo>
                <a:cubicBezTo>
                  <a:pt x="15709" y="13469"/>
                  <a:pt x="15929" y="13200"/>
                  <a:pt x="16200" y="13200"/>
                </a:cubicBezTo>
                <a:moveTo>
                  <a:pt x="16200" y="15600"/>
                </a:moveTo>
                <a:cubicBezTo>
                  <a:pt x="17013" y="15600"/>
                  <a:pt x="17673" y="14794"/>
                  <a:pt x="17673" y="13800"/>
                </a:cubicBezTo>
                <a:cubicBezTo>
                  <a:pt x="17673" y="12806"/>
                  <a:pt x="17013" y="12000"/>
                  <a:pt x="16200" y="12000"/>
                </a:cubicBezTo>
                <a:cubicBezTo>
                  <a:pt x="15387" y="12000"/>
                  <a:pt x="14727" y="12806"/>
                  <a:pt x="14727" y="13800"/>
                </a:cubicBezTo>
                <a:cubicBezTo>
                  <a:pt x="14727" y="14794"/>
                  <a:pt x="15387" y="15600"/>
                  <a:pt x="16200" y="15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613">
            <a:extLst>
              <a:ext uri="{FF2B5EF4-FFF2-40B4-BE49-F238E27FC236}">
                <a16:creationId xmlns:a16="http://schemas.microsoft.com/office/drawing/2014/main" id="{DF0C92CD-A8BB-4B10-B9BA-FDB8901AF3D0}"/>
              </a:ext>
            </a:extLst>
          </p:cNvPr>
          <p:cNvSpPr/>
          <p:nvPr/>
        </p:nvSpPr>
        <p:spPr bwMode="gray">
          <a:xfrm>
            <a:off x="10613690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964"/>
                </a:moveTo>
                <a:lnTo>
                  <a:pt x="10800" y="1964"/>
                </a:lnTo>
                <a:cubicBezTo>
                  <a:pt x="8836" y="1964"/>
                  <a:pt x="8836" y="0"/>
                  <a:pt x="6873" y="0"/>
                </a:cubicBez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5709"/>
                </a:lnTo>
                <a:cubicBezTo>
                  <a:pt x="0" y="16794"/>
                  <a:pt x="879" y="17673"/>
                  <a:pt x="1964" y="17673"/>
                </a:cubicBezTo>
                <a:lnTo>
                  <a:pt x="6599" y="17673"/>
                </a:lnTo>
                <a:cubicBezTo>
                  <a:pt x="6257" y="17372"/>
                  <a:pt x="5941" y="17046"/>
                  <a:pt x="5656" y="16691"/>
                </a:cubicBezTo>
                <a:lnTo>
                  <a:pt x="1964" y="16691"/>
                </a:lnTo>
                <a:cubicBezTo>
                  <a:pt x="1422" y="16691"/>
                  <a:pt x="982" y="16252"/>
                  <a:pt x="982" y="15709"/>
                </a:cubicBezTo>
                <a:lnTo>
                  <a:pt x="982" y="5891"/>
                </a:lnTo>
                <a:lnTo>
                  <a:pt x="6599" y="5891"/>
                </a:lnTo>
                <a:cubicBezTo>
                  <a:pt x="7023" y="5517"/>
                  <a:pt x="7484" y="5185"/>
                  <a:pt x="7982" y="4909"/>
                </a:cubicBezTo>
                <a:lnTo>
                  <a:pt x="982" y="4909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6873" y="982"/>
                </a:lnTo>
                <a:cubicBezTo>
                  <a:pt x="8345" y="982"/>
                  <a:pt x="8345" y="2946"/>
                  <a:pt x="10800" y="2946"/>
                </a:cubicBezTo>
                <a:lnTo>
                  <a:pt x="19636" y="2946"/>
                </a:lnTo>
                <a:cubicBezTo>
                  <a:pt x="20178" y="2946"/>
                  <a:pt x="20618" y="3385"/>
                  <a:pt x="20618" y="3927"/>
                </a:cubicBezTo>
                <a:lnTo>
                  <a:pt x="20618" y="4909"/>
                </a:lnTo>
                <a:lnTo>
                  <a:pt x="15582" y="4909"/>
                </a:lnTo>
                <a:cubicBezTo>
                  <a:pt x="16080" y="5185"/>
                  <a:pt x="16541" y="5517"/>
                  <a:pt x="16965" y="5891"/>
                </a:cubicBezTo>
                <a:lnTo>
                  <a:pt x="20618" y="5891"/>
                </a:ln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8766" y="16691"/>
                </a:lnTo>
                <a:lnTo>
                  <a:pt x="19738" y="17663"/>
                </a:lnTo>
                <a:cubicBezTo>
                  <a:pt x="20774" y="17609"/>
                  <a:pt x="21600" y="16759"/>
                  <a:pt x="21600" y="15709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1782" y="17673"/>
                </a:moveTo>
                <a:cubicBezTo>
                  <a:pt x="8529" y="17673"/>
                  <a:pt x="5891" y="15036"/>
                  <a:pt x="5891" y="11782"/>
                </a:cubicBezTo>
                <a:cubicBezTo>
                  <a:pt x="5891" y="8529"/>
                  <a:pt x="8529" y="5891"/>
                  <a:pt x="11782" y="5891"/>
                </a:cubicBezTo>
                <a:cubicBezTo>
                  <a:pt x="15035" y="5891"/>
                  <a:pt x="17673" y="8529"/>
                  <a:pt x="17673" y="11782"/>
                </a:cubicBezTo>
                <a:cubicBezTo>
                  <a:pt x="17673" y="15036"/>
                  <a:pt x="15035" y="17673"/>
                  <a:pt x="11782" y="17673"/>
                </a:cubicBezTo>
                <a:moveTo>
                  <a:pt x="16972" y="16278"/>
                </a:moveTo>
                <a:cubicBezTo>
                  <a:pt x="18018" y="15072"/>
                  <a:pt x="18655" y="13503"/>
                  <a:pt x="18655" y="11782"/>
                </a:cubicBezTo>
                <a:cubicBezTo>
                  <a:pt x="18655" y="7987"/>
                  <a:pt x="15578" y="4910"/>
                  <a:pt x="11782" y="4910"/>
                </a:cubicBezTo>
                <a:cubicBezTo>
                  <a:pt x="7986" y="4910"/>
                  <a:pt x="4909" y="7987"/>
                  <a:pt x="4909" y="11782"/>
                </a:cubicBezTo>
                <a:cubicBezTo>
                  <a:pt x="4909" y="15578"/>
                  <a:pt x="7986" y="18655"/>
                  <a:pt x="11782" y="18655"/>
                </a:cubicBezTo>
                <a:cubicBezTo>
                  <a:pt x="13503" y="18655"/>
                  <a:pt x="15072" y="18017"/>
                  <a:pt x="16278" y="16972"/>
                </a:cubicBezTo>
                <a:lnTo>
                  <a:pt x="16972" y="17666"/>
                </a:lnTo>
                <a:cubicBezTo>
                  <a:pt x="16969" y="17668"/>
                  <a:pt x="16967" y="17671"/>
                  <a:pt x="16965" y="17673"/>
                </a:cubicBezTo>
                <a:lnTo>
                  <a:pt x="16979" y="17673"/>
                </a:lnTo>
                <a:lnTo>
                  <a:pt x="20762" y="21457"/>
                </a:lnTo>
                <a:cubicBezTo>
                  <a:pt x="20851" y="21546"/>
                  <a:pt x="20974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6972" y="16278"/>
                  <a:pt x="16972" y="1627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614">
            <a:extLst>
              <a:ext uri="{FF2B5EF4-FFF2-40B4-BE49-F238E27FC236}">
                <a16:creationId xmlns:a16="http://schemas.microsoft.com/office/drawing/2014/main" id="{FBD6A4EA-E1AD-4F8E-8BE1-9A49F4CA334E}"/>
              </a:ext>
            </a:extLst>
          </p:cNvPr>
          <p:cNvSpPr/>
          <p:nvPr/>
        </p:nvSpPr>
        <p:spPr bwMode="gray">
          <a:xfrm>
            <a:off x="11165715" y="2863104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615">
            <a:extLst>
              <a:ext uri="{FF2B5EF4-FFF2-40B4-BE49-F238E27FC236}">
                <a16:creationId xmlns:a16="http://schemas.microsoft.com/office/drawing/2014/main" id="{E38501E0-E12B-4BD6-8368-58BBC61C909D}"/>
              </a:ext>
            </a:extLst>
          </p:cNvPr>
          <p:cNvSpPr/>
          <p:nvPr/>
        </p:nvSpPr>
        <p:spPr bwMode="gray">
          <a:xfrm>
            <a:off x="619749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93" y="17878"/>
                </a:moveTo>
                <a:cubicBezTo>
                  <a:pt x="16514" y="16546"/>
                  <a:pt x="15177" y="15812"/>
                  <a:pt x="14084" y="15323"/>
                </a:cubicBezTo>
                <a:cubicBezTo>
                  <a:pt x="13842" y="15214"/>
                  <a:pt x="13687" y="15099"/>
                  <a:pt x="13598" y="14990"/>
                </a:cubicBezTo>
                <a:cubicBezTo>
                  <a:pt x="15238" y="14959"/>
                  <a:pt x="16521" y="14237"/>
                  <a:pt x="16581" y="14203"/>
                </a:cubicBezTo>
                <a:cubicBezTo>
                  <a:pt x="16751" y="14106"/>
                  <a:pt x="16846" y="13918"/>
                  <a:pt x="16826" y="13724"/>
                </a:cubicBezTo>
                <a:cubicBezTo>
                  <a:pt x="16807" y="13546"/>
                  <a:pt x="16693" y="13394"/>
                  <a:pt x="16530" y="13325"/>
                </a:cubicBezTo>
                <a:cubicBezTo>
                  <a:pt x="16461" y="13275"/>
                  <a:pt x="15663" y="12629"/>
                  <a:pt x="15663" y="9051"/>
                </a:cubicBezTo>
                <a:cubicBezTo>
                  <a:pt x="15663" y="5000"/>
                  <a:pt x="14115" y="2945"/>
                  <a:pt x="11061" y="2945"/>
                </a:cubicBezTo>
                <a:cubicBezTo>
                  <a:pt x="8481" y="2945"/>
                  <a:pt x="5845" y="3642"/>
                  <a:pt x="5845" y="8806"/>
                </a:cubicBezTo>
                <a:cubicBezTo>
                  <a:pt x="5845" y="12555"/>
                  <a:pt x="5219" y="13278"/>
                  <a:pt x="5122" y="13367"/>
                </a:cubicBezTo>
                <a:cubicBezTo>
                  <a:pt x="4957" y="13416"/>
                  <a:pt x="4826" y="13551"/>
                  <a:pt x="4784" y="13723"/>
                </a:cubicBezTo>
                <a:cubicBezTo>
                  <a:pt x="4734" y="13935"/>
                  <a:pt x="4828" y="14153"/>
                  <a:pt x="5015" y="14262"/>
                </a:cubicBezTo>
                <a:cubicBezTo>
                  <a:pt x="6396" y="15064"/>
                  <a:pt x="7482" y="15136"/>
                  <a:pt x="8065" y="15091"/>
                </a:cubicBezTo>
                <a:cubicBezTo>
                  <a:pt x="7994" y="15151"/>
                  <a:pt x="7850" y="15241"/>
                  <a:pt x="7564" y="15335"/>
                </a:cubicBezTo>
                <a:cubicBezTo>
                  <a:pt x="6211" y="15776"/>
                  <a:pt x="4766" y="16807"/>
                  <a:pt x="3958" y="17834"/>
                </a:cubicBezTo>
                <a:cubicBezTo>
                  <a:pt x="2125" y="16050"/>
                  <a:pt x="982" y="13560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3584"/>
                  <a:pt x="19454" y="16092"/>
                  <a:pt x="17593" y="17878"/>
                </a:cubicBezTo>
                <a:moveTo>
                  <a:pt x="10800" y="20618"/>
                </a:moveTo>
                <a:cubicBezTo>
                  <a:pt x="8489" y="20618"/>
                  <a:pt x="6370" y="19815"/>
                  <a:pt x="4693" y="18480"/>
                </a:cubicBezTo>
                <a:cubicBezTo>
                  <a:pt x="5360" y="17604"/>
                  <a:pt x="6693" y="16652"/>
                  <a:pt x="7869" y="16268"/>
                </a:cubicBezTo>
                <a:cubicBezTo>
                  <a:pt x="8578" y="16037"/>
                  <a:pt x="8988" y="15688"/>
                  <a:pt x="9087" y="15232"/>
                </a:cubicBezTo>
                <a:cubicBezTo>
                  <a:pt x="9214" y="14656"/>
                  <a:pt x="8775" y="14230"/>
                  <a:pt x="8725" y="14183"/>
                </a:cubicBezTo>
                <a:cubicBezTo>
                  <a:pt x="8597" y="14065"/>
                  <a:pt x="8412" y="14025"/>
                  <a:pt x="8246" y="14075"/>
                </a:cubicBezTo>
                <a:cubicBezTo>
                  <a:pt x="8208" y="14086"/>
                  <a:pt x="7406" y="14309"/>
                  <a:pt x="6089" y="13714"/>
                </a:cubicBezTo>
                <a:cubicBezTo>
                  <a:pt x="6486" y="13026"/>
                  <a:pt x="6826" y="11618"/>
                  <a:pt x="6826" y="8806"/>
                </a:cubicBezTo>
                <a:cubicBezTo>
                  <a:pt x="6826" y="4301"/>
                  <a:pt x="8829" y="3928"/>
                  <a:pt x="11061" y="3928"/>
                </a:cubicBezTo>
                <a:cubicBezTo>
                  <a:pt x="12615" y="3928"/>
                  <a:pt x="14681" y="4458"/>
                  <a:pt x="14681" y="9051"/>
                </a:cubicBezTo>
                <a:cubicBezTo>
                  <a:pt x="14681" y="11662"/>
                  <a:pt x="15092" y="12966"/>
                  <a:pt x="15499" y="13617"/>
                </a:cubicBezTo>
                <a:cubicBezTo>
                  <a:pt x="14943" y="13829"/>
                  <a:pt x="14058" y="14076"/>
                  <a:pt x="13097" y="13993"/>
                </a:cubicBezTo>
                <a:cubicBezTo>
                  <a:pt x="12883" y="13971"/>
                  <a:pt x="12690" y="14092"/>
                  <a:pt x="12605" y="14285"/>
                </a:cubicBezTo>
                <a:cubicBezTo>
                  <a:pt x="12420" y="14704"/>
                  <a:pt x="12408" y="15649"/>
                  <a:pt x="13683" y="16219"/>
                </a:cubicBezTo>
                <a:cubicBezTo>
                  <a:pt x="14677" y="16664"/>
                  <a:pt x="15893" y="17331"/>
                  <a:pt x="16850" y="18522"/>
                </a:cubicBezTo>
                <a:cubicBezTo>
                  <a:pt x="15182" y="19831"/>
                  <a:pt x="13085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616">
            <a:extLst>
              <a:ext uri="{FF2B5EF4-FFF2-40B4-BE49-F238E27FC236}">
                <a16:creationId xmlns:a16="http://schemas.microsoft.com/office/drawing/2014/main" id="{5650E523-523F-4E7A-82FD-CB7B908C686D}"/>
              </a:ext>
            </a:extLst>
          </p:cNvPr>
          <p:cNvSpPr/>
          <p:nvPr/>
        </p:nvSpPr>
        <p:spPr bwMode="gray">
          <a:xfrm>
            <a:off x="6749520" y="3428271"/>
            <a:ext cx="289156" cy="2629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617">
            <a:extLst>
              <a:ext uri="{FF2B5EF4-FFF2-40B4-BE49-F238E27FC236}">
                <a16:creationId xmlns:a16="http://schemas.microsoft.com/office/drawing/2014/main" id="{2B62B4FC-AAE9-4C0D-A704-4D9D2A40354C}"/>
              </a:ext>
            </a:extLst>
          </p:cNvPr>
          <p:cNvSpPr/>
          <p:nvPr/>
        </p:nvSpPr>
        <p:spPr bwMode="gray">
          <a:xfrm>
            <a:off x="7301544" y="3441415"/>
            <a:ext cx="289156" cy="2366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Shape 2618">
            <a:extLst>
              <a:ext uri="{FF2B5EF4-FFF2-40B4-BE49-F238E27FC236}">
                <a16:creationId xmlns:a16="http://schemas.microsoft.com/office/drawing/2014/main" id="{2CCDC12B-4B5B-439A-A87B-E88E7A899585}"/>
              </a:ext>
            </a:extLst>
          </p:cNvPr>
          <p:cNvSpPr/>
          <p:nvPr/>
        </p:nvSpPr>
        <p:spPr bwMode="gray">
          <a:xfrm>
            <a:off x="7853568" y="3415128"/>
            <a:ext cx="289129" cy="2891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8" h="21600" extrusionOk="0">
                <a:moveTo>
                  <a:pt x="2560" y="18308"/>
                </a:moveTo>
                <a:cubicBezTo>
                  <a:pt x="2472" y="18397"/>
                  <a:pt x="2418" y="18520"/>
                  <a:pt x="2418" y="18655"/>
                </a:cubicBezTo>
                <a:cubicBezTo>
                  <a:pt x="2418" y="18926"/>
                  <a:pt x="2635" y="19146"/>
                  <a:pt x="2902" y="19146"/>
                </a:cubicBezTo>
                <a:cubicBezTo>
                  <a:pt x="3169" y="19146"/>
                  <a:pt x="3385" y="18926"/>
                  <a:pt x="3385" y="18655"/>
                </a:cubicBezTo>
                <a:cubicBezTo>
                  <a:pt x="3385" y="18384"/>
                  <a:pt x="3169" y="18164"/>
                  <a:pt x="2902" y="18164"/>
                </a:cubicBezTo>
                <a:cubicBezTo>
                  <a:pt x="2768" y="18164"/>
                  <a:pt x="2647" y="18219"/>
                  <a:pt x="2560" y="18308"/>
                </a:cubicBezTo>
                <a:moveTo>
                  <a:pt x="20499" y="4279"/>
                </a:moveTo>
                <a:lnTo>
                  <a:pt x="20091" y="4692"/>
                </a:lnTo>
                <a:lnTo>
                  <a:pt x="20088" y="4688"/>
                </a:lnTo>
                <a:lnTo>
                  <a:pt x="17670" y="7143"/>
                </a:lnTo>
                <a:lnTo>
                  <a:pt x="17664" y="7137"/>
                </a:lnTo>
                <a:cubicBezTo>
                  <a:pt x="17227" y="7580"/>
                  <a:pt x="16624" y="7853"/>
                  <a:pt x="15958" y="7853"/>
                </a:cubicBezTo>
                <a:cubicBezTo>
                  <a:pt x="14624" y="7853"/>
                  <a:pt x="13543" y="6755"/>
                  <a:pt x="13543" y="5401"/>
                </a:cubicBezTo>
                <a:cubicBezTo>
                  <a:pt x="13543" y="4725"/>
                  <a:pt x="13813" y="4113"/>
                  <a:pt x="14248" y="3670"/>
                </a:cubicBezTo>
                <a:lnTo>
                  <a:pt x="13563" y="2975"/>
                </a:lnTo>
                <a:cubicBezTo>
                  <a:pt x="12951" y="3596"/>
                  <a:pt x="12571" y="4452"/>
                  <a:pt x="12571" y="5401"/>
                </a:cubicBezTo>
                <a:cubicBezTo>
                  <a:pt x="12571" y="7300"/>
                  <a:pt x="14087" y="8840"/>
                  <a:pt x="15958" y="8840"/>
                </a:cubicBezTo>
                <a:cubicBezTo>
                  <a:pt x="16893" y="8840"/>
                  <a:pt x="17737" y="8454"/>
                  <a:pt x="18348" y="7832"/>
                </a:cubicBezTo>
                <a:lnTo>
                  <a:pt x="18353" y="7837"/>
                </a:lnTo>
                <a:lnTo>
                  <a:pt x="20152" y="6011"/>
                </a:lnTo>
                <a:cubicBezTo>
                  <a:pt x="20516" y="7368"/>
                  <a:pt x="20343" y="8670"/>
                  <a:pt x="19540" y="9505"/>
                </a:cubicBezTo>
                <a:lnTo>
                  <a:pt x="16947" y="12198"/>
                </a:lnTo>
                <a:cubicBezTo>
                  <a:pt x="16605" y="12553"/>
                  <a:pt x="16104" y="12766"/>
                  <a:pt x="15610" y="12766"/>
                </a:cubicBezTo>
                <a:cubicBezTo>
                  <a:pt x="15590" y="12765"/>
                  <a:pt x="13953" y="12652"/>
                  <a:pt x="12318" y="11611"/>
                </a:cubicBezTo>
                <a:lnTo>
                  <a:pt x="12314" y="11620"/>
                </a:lnTo>
                <a:cubicBezTo>
                  <a:pt x="12239" y="11572"/>
                  <a:pt x="12155" y="11537"/>
                  <a:pt x="12060" y="11537"/>
                </a:cubicBezTo>
                <a:cubicBezTo>
                  <a:pt x="11897" y="11537"/>
                  <a:pt x="11759" y="11625"/>
                  <a:pt x="11671" y="11753"/>
                </a:cubicBezTo>
                <a:lnTo>
                  <a:pt x="11654" y="11742"/>
                </a:lnTo>
                <a:lnTo>
                  <a:pt x="4270" y="20043"/>
                </a:lnTo>
                <a:cubicBezTo>
                  <a:pt x="3919" y="20399"/>
                  <a:pt x="3436" y="20618"/>
                  <a:pt x="2902" y="20618"/>
                </a:cubicBezTo>
                <a:cubicBezTo>
                  <a:pt x="1833" y="20618"/>
                  <a:pt x="967" y="19740"/>
                  <a:pt x="967" y="18655"/>
                </a:cubicBezTo>
                <a:cubicBezTo>
                  <a:pt x="967" y="18113"/>
                  <a:pt x="1184" y="17622"/>
                  <a:pt x="1534" y="17267"/>
                </a:cubicBezTo>
                <a:lnTo>
                  <a:pt x="9684" y="9801"/>
                </a:lnTo>
                <a:lnTo>
                  <a:pt x="9671" y="9786"/>
                </a:lnTo>
                <a:cubicBezTo>
                  <a:pt x="9796" y="9698"/>
                  <a:pt x="9884" y="9557"/>
                  <a:pt x="9884" y="9389"/>
                </a:cubicBezTo>
                <a:cubicBezTo>
                  <a:pt x="9884" y="9283"/>
                  <a:pt x="9844" y="9190"/>
                  <a:pt x="9787" y="9110"/>
                </a:cubicBezTo>
                <a:lnTo>
                  <a:pt x="9790" y="9107"/>
                </a:lnTo>
                <a:cubicBezTo>
                  <a:pt x="8390" y="7219"/>
                  <a:pt x="8340" y="5816"/>
                  <a:pt x="9546" y="4488"/>
                </a:cubicBezTo>
                <a:lnTo>
                  <a:pt x="12130" y="1805"/>
                </a:lnTo>
                <a:cubicBezTo>
                  <a:pt x="12785" y="1125"/>
                  <a:pt x="13641" y="982"/>
                  <a:pt x="14244" y="982"/>
                </a:cubicBezTo>
                <a:lnTo>
                  <a:pt x="14246" y="982"/>
                </a:lnTo>
                <a:cubicBezTo>
                  <a:pt x="14611" y="982"/>
                  <a:pt x="14988" y="1037"/>
                  <a:pt x="15366" y="1136"/>
                </a:cubicBezTo>
                <a:lnTo>
                  <a:pt x="13559" y="2970"/>
                </a:lnTo>
                <a:lnTo>
                  <a:pt x="14243" y="3664"/>
                </a:lnTo>
                <a:lnTo>
                  <a:pt x="16661" y="1210"/>
                </a:lnTo>
                <a:lnTo>
                  <a:pt x="16657" y="1206"/>
                </a:lnTo>
                <a:lnTo>
                  <a:pt x="17082" y="775"/>
                </a:lnTo>
                <a:cubicBezTo>
                  <a:pt x="16139" y="269"/>
                  <a:pt x="15160" y="0"/>
                  <a:pt x="14246" y="0"/>
                </a:cubicBezTo>
                <a:lnTo>
                  <a:pt x="14244" y="0"/>
                </a:lnTo>
                <a:cubicBezTo>
                  <a:pt x="13167" y="0"/>
                  <a:pt x="12182" y="361"/>
                  <a:pt x="11460" y="1111"/>
                </a:cubicBezTo>
                <a:lnTo>
                  <a:pt x="8867" y="3804"/>
                </a:lnTo>
                <a:cubicBezTo>
                  <a:pt x="7163" y="5672"/>
                  <a:pt x="7613" y="7584"/>
                  <a:pt x="8769" y="9315"/>
                </a:cubicBezTo>
                <a:lnTo>
                  <a:pt x="850" y="16572"/>
                </a:lnTo>
                <a:cubicBezTo>
                  <a:pt x="325" y="17106"/>
                  <a:pt x="0" y="17842"/>
                  <a:pt x="0" y="18655"/>
                </a:cubicBezTo>
                <a:cubicBezTo>
                  <a:pt x="0" y="20282"/>
                  <a:pt x="1299" y="21600"/>
                  <a:pt x="2902" y="21600"/>
                </a:cubicBezTo>
                <a:cubicBezTo>
                  <a:pt x="3703" y="21600"/>
                  <a:pt x="4429" y="21271"/>
                  <a:pt x="4954" y="20738"/>
                </a:cubicBezTo>
                <a:lnTo>
                  <a:pt x="12160" y="12652"/>
                </a:lnTo>
                <a:cubicBezTo>
                  <a:pt x="13800" y="13590"/>
                  <a:pt x="15363" y="13747"/>
                  <a:pt x="15606" y="13747"/>
                </a:cubicBezTo>
                <a:cubicBezTo>
                  <a:pt x="16313" y="13747"/>
                  <a:pt x="17067" y="13463"/>
                  <a:pt x="17617" y="12892"/>
                </a:cubicBezTo>
                <a:lnTo>
                  <a:pt x="20209" y="10198"/>
                </a:lnTo>
                <a:cubicBezTo>
                  <a:pt x="21560" y="8795"/>
                  <a:pt x="21600" y="6433"/>
                  <a:pt x="20499" y="427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Shape 2619">
            <a:extLst>
              <a:ext uri="{FF2B5EF4-FFF2-40B4-BE49-F238E27FC236}">
                <a16:creationId xmlns:a16="http://schemas.microsoft.com/office/drawing/2014/main" id="{7B7059D6-FDD1-438D-ABE0-C712348E8E22}"/>
              </a:ext>
            </a:extLst>
          </p:cNvPr>
          <p:cNvSpPr/>
          <p:nvPr/>
        </p:nvSpPr>
        <p:spPr bwMode="gray">
          <a:xfrm>
            <a:off x="8405593" y="3415128"/>
            <a:ext cx="289156" cy="2891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3" extrusionOk="0">
                <a:moveTo>
                  <a:pt x="12364" y="11941"/>
                </a:moveTo>
                <a:lnTo>
                  <a:pt x="13062" y="14033"/>
                </a:lnTo>
                <a:lnTo>
                  <a:pt x="11365" y="12790"/>
                </a:lnTo>
                <a:lnTo>
                  <a:pt x="10785" y="12365"/>
                </a:lnTo>
                <a:lnTo>
                  <a:pt x="10205" y="12790"/>
                </a:lnTo>
                <a:lnTo>
                  <a:pt x="8508" y="14033"/>
                </a:lnTo>
                <a:lnTo>
                  <a:pt x="9206" y="11941"/>
                </a:lnTo>
                <a:lnTo>
                  <a:pt x="9426" y="11282"/>
                </a:lnTo>
                <a:lnTo>
                  <a:pt x="8877" y="10856"/>
                </a:lnTo>
                <a:lnTo>
                  <a:pt x="7511" y="9794"/>
                </a:lnTo>
                <a:lnTo>
                  <a:pt x="9790" y="9794"/>
                </a:lnTo>
                <a:lnTo>
                  <a:pt x="10030" y="9160"/>
                </a:lnTo>
                <a:lnTo>
                  <a:pt x="10785" y="7162"/>
                </a:lnTo>
                <a:lnTo>
                  <a:pt x="11540" y="9160"/>
                </a:lnTo>
                <a:lnTo>
                  <a:pt x="11779" y="9794"/>
                </a:lnTo>
                <a:lnTo>
                  <a:pt x="14059" y="9794"/>
                </a:lnTo>
                <a:lnTo>
                  <a:pt x="12692" y="10856"/>
                </a:lnTo>
                <a:lnTo>
                  <a:pt x="12144" y="11282"/>
                </a:lnTo>
                <a:cubicBezTo>
                  <a:pt x="12144" y="11282"/>
                  <a:pt x="12364" y="11941"/>
                  <a:pt x="12364" y="11941"/>
                </a:cubicBezTo>
                <a:close/>
                <a:moveTo>
                  <a:pt x="12458" y="8813"/>
                </a:moveTo>
                <a:lnTo>
                  <a:pt x="10785" y="4384"/>
                </a:lnTo>
                <a:lnTo>
                  <a:pt x="9111" y="8813"/>
                </a:lnTo>
                <a:lnTo>
                  <a:pt x="4649" y="8813"/>
                </a:lnTo>
                <a:lnTo>
                  <a:pt x="8275" y="11631"/>
                </a:lnTo>
                <a:lnTo>
                  <a:pt x="6601" y="16647"/>
                </a:lnTo>
                <a:lnTo>
                  <a:pt x="10785" y="13582"/>
                </a:lnTo>
                <a:lnTo>
                  <a:pt x="14969" y="16647"/>
                </a:lnTo>
                <a:lnTo>
                  <a:pt x="13295" y="11631"/>
                </a:lnTo>
                <a:lnTo>
                  <a:pt x="16921" y="8813"/>
                </a:lnTo>
                <a:cubicBezTo>
                  <a:pt x="16921" y="8813"/>
                  <a:pt x="12458" y="8813"/>
                  <a:pt x="12458" y="8813"/>
                </a:cubicBezTo>
                <a:close/>
                <a:moveTo>
                  <a:pt x="10800" y="20592"/>
                </a:moveTo>
                <a:cubicBezTo>
                  <a:pt x="9796" y="20381"/>
                  <a:pt x="982" y="17399"/>
                  <a:pt x="982" y="12263"/>
                </a:cubicBezTo>
                <a:cubicBezTo>
                  <a:pt x="982" y="7469"/>
                  <a:pt x="2322" y="2919"/>
                  <a:pt x="2778" y="1179"/>
                </a:cubicBezTo>
                <a:cubicBezTo>
                  <a:pt x="4022" y="1719"/>
                  <a:pt x="7232" y="2943"/>
                  <a:pt x="10800" y="2943"/>
                </a:cubicBezTo>
                <a:cubicBezTo>
                  <a:pt x="14368" y="2943"/>
                  <a:pt x="17579" y="1719"/>
                  <a:pt x="18823" y="1179"/>
                </a:cubicBezTo>
                <a:cubicBezTo>
                  <a:pt x="19278" y="2918"/>
                  <a:pt x="20618" y="7466"/>
                  <a:pt x="20618" y="12263"/>
                </a:cubicBezTo>
                <a:cubicBezTo>
                  <a:pt x="20618" y="17393"/>
                  <a:pt x="11803" y="20381"/>
                  <a:pt x="10800" y="20592"/>
                </a:cubicBezTo>
                <a:moveTo>
                  <a:pt x="19618" y="356"/>
                </a:moveTo>
                <a:cubicBezTo>
                  <a:pt x="19577" y="216"/>
                  <a:pt x="19477" y="101"/>
                  <a:pt x="19343" y="42"/>
                </a:cubicBezTo>
                <a:cubicBezTo>
                  <a:pt x="19210" y="-17"/>
                  <a:pt x="19057" y="-13"/>
                  <a:pt x="18926" y="52"/>
                </a:cubicBezTo>
                <a:cubicBezTo>
                  <a:pt x="18888" y="71"/>
                  <a:pt x="15053" y="1962"/>
                  <a:pt x="10800" y="1962"/>
                </a:cubicBezTo>
                <a:cubicBezTo>
                  <a:pt x="6556" y="1962"/>
                  <a:pt x="2712" y="71"/>
                  <a:pt x="2674" y="52"/>
                </a:cubicBezTo>
                <a:cubicBezTo>
                  <a:pt x="2543" y="-13"/>
                  <a:pt x="2391" y="-17"/>
                  <a:pt x="2257" y="42"/>
                </a:cubicBezTo>
                <a:cubicBezTo>
                  <a:pt x="2124" y="101"/>
                  <a:pt x="2023" y="216"/>
                  <a:pt x="1983" y="356"/>
                </a:cubicBezTo>
                <a:cubicBezTo>
                  <a:pt x="1963" y="426"/>
                  <a:pt x="0" y="6376"/>
                  <a:pt x="0" y="12263"/>
                </a:cubicBezTo>
                <a:cubicBezTo>
                  <a:pt x="0" y="18484"/>
                  <a:pt x="10271" y="21491"/>
                  <a:pt x="10708" y="21575"/>
                </a:cubicBezTo>
                <a:cubicBezTo>
                  <a:pt x="10739" y="21580"/>
                  <a:pt x="10770" y="21583"/>
                  <a:pt x="10800" y="21583"/>
                </a:cubicBezTo>
                <a:cubicBezTo>
                  <a:pt x="10831" y="21583"/>
                  <a:pt x="10862" y="21580"/>
                  <a:pt x="10892" y="21575"/>
                </a:cubicBezTo>
                <a:cubicBezTo>
                  <a:pt x="11329" y="21491"/>
                  <a:pt x="21600" y="18484"/>
                  <a:pt x="21600" y="12263"/>
                </a:cubicBezTo>
                <a:cubicBezTo>
                  <a:pt x="21600" y="6376"/>
                  <a:pt x="19637" y="426"/>
                  <a:pt x="19618" y="35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Shape 2620">
            <a:extLst>
              <a:ext uri="{FF2B5EF4-FFF2-40B4-BE49-F238E27FC236}">
                <a16:creationId xmlns:a16="http://schemas.microsoft.com/office/drawing/2014/main" id="{3F3350D0-2669-41D1-B8D7-05D1DD64AD46}"/>
              </a:ext>
            </a:extLst>
          </p:cNvPr>
          <p:cNvSpPr/>
          <p:nvPr/>
        </p:nvSpPr>
        <p:spPr bwMode="gray">
          <a:xfrm>
            <a:off x="8957617" y="3428271"/>
            <a:ext cx="289156" cy="2629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44" extrusionOk="0">
                <a:moveTo>
                  <a:pt x="20618" y="7406"/>
                </a:moveTo>
                <a:lnTo>
                  <a:pt x="13580" y="7406"/>
                </a:lnTo>
                <a:cubicBezTo>
                  <a:pt x="13156" y="6803"/>
                  <a:pt x="12718" y="6095"/>
                  <a:pt x="12319" y="5293"/>
                </a:cubicBezTo>
                <a:lnTo>
                  <a:pt x="20618" y="5293"/>
                </a:lnTo>
                <a:cubicBezTo>
                  <a:pt x="20618" y="5293"/>
                  <a:pt x="20618" y="7406"/>
                  <a:pt x="20618" y="7406"/>
                </a:cubicBezTo>
                <a:close/>
                <a:moveTo>
                  <a:pt x="19636" y="13747"/>
                </a:moveTo>
                <a:lnTo>
                  <a:pt x="11291" y="13747"/>
                </a:lnTo>
                <a:lnTo>
                  <a:pt x="11291" y="8463"/>
                </a:lnTo>
                <a:lnTo>
                  <a:pt x="13090" y="8463"/>
                </a:lnTo>
                <a:cubicBezTo>
                  <a:pt x="14022" y="9712"/>
                  <a:pt x="14815" y="10437"/>
                  <a:pt x="14882" y="10497"/>
                </a:cubicBezTo>
                <a:cubicBezTo>
                  <a:pt x="15009" y="10610"/>
                  <a:pt x="15174" y="10644"/>
                  <a:pt x="15323" y="10601"/>
                </a:cubicBezTo>
                <a:cubicBezTo>
                  <a:pt x="15418" y="10574"/>
                  <a:pt x="15505" y="10516"/>
                  <a:pt x="15573" y="10429"/>
                </a:cubicBezTo>
                <a:cubicBezTo>
                  <a:pt x="15746" y="10205"/>
                  <a:pt x="15718" y="9871"/>
                  <a:pt x="15510" y="9684"/>
                </a:cubicBezTo>
                <a:cubicBezTo>
                  <a:pt x="15498" y="9674"/>
                  <a:pt x="15023" y="9238"/>
                  <a:pt x="14383" y="8463"/>
                </a:cubicBezTo>
                <a:lnTo>
                  <a:pt x="19636" y="8463"/>
                </a:lnTo>
                <a:cubicBezTo>
                  <a:pt x="19636" y="8463"/>
                  <a:pt x="19636" y="13747"/>
                  <a:pt x="19636" y="13747"/>
                </a:cubicBezTo>
                <a:close/>
                <a:moveTo>
                  <a:pt x="19636" y="20087"/>
                </a:moveTo>
                <a:lnTo>
                  <a:pt x="11291" y="20087"/>
                </a:lnTo>
                <a:lnTo>
                  <a:pt x="11291" y="14803"/>
                </a:lnTo>
                <a:lnTo>
                  <a:pt x="19636" y="14803"/>
                </a:lnTo>
                <a:cubicBezTo>
                  <a:pt x="19636" y="14803"/>
                  <a:pt x="19636" y="20087"/>
                  <a:pt x="19636" y="20087"/>
                </a:cubicBezTo>
                <a:close/>
                <a:moveTo>
                  <a:pt x="11291" y="5461"/>
                </a:moveTo>
                <a:cubicBezTo>
                  <a:pt x="11626" y="6178"/>
                  <a:pt x="11991" y="6828"/>
                  <a:pt x="12360" y="7406"/>
                </a:cubicBezTo>
                <a:lnTo>
                  <a:pt x="11291" y="7406"/>
                </a:lnTo>
                <a:cubicBezTo>
                  <a:pt x="11291" y="7406"/>
                  <a:pt x="11291" y="5461"/>
                  <a:pt x="11291" y="5461"/>
                </a:cubicBezTo>
                <a:close/>
                <a:moveTo>
                  <a:pt x="12871" y="1481"/>
                </a:moveTo>
                <a:cubicBezTo>
                  <a:pt x="14045" y="751"/>
                  <a:pt x="15436" y="979"/>
                  <a:pt x="15979" y="1990"/>
                </a:cubicBezTo>
                <a:cubicBezTo>
                  <a:pt x="16343" y="2668"/>
                  <a:pt x="16223" y="3523"/>
                  <a:pt x="15755" y="4236"/>
                </a:cubicBezTo>
                <a:lnTo>
                  <a:pt x="11845" y="4236"/>
                </a:lnTo>
                <a:cubicBezTo>
                  <a:pt x="11740" y="3975"/>
                  <a:pt x="11641" y="3708"/>
                  <a:pt x="11550" y="3432"/>
                </a:cubicBezTo>
                <a:cubicBezTo>
                  <a:pt x="11653" y="2691"/>
                  <a:pt x="12120" y="1947"/>
                  <a:pt x="12871" y="1481"/>
                </a:cubicBezTo>
                <a:moveTo>
                  <a:pt x="10309" y="7406"/>
                </a:moveTo>
                <a:lnTo>
                  <a:pt x="9224" y="7406"/>
                </a:lnTo>
                <a:cubicBezTo>
                  <a:pt x="9600" y="6819"/>
                  <a:pt x="9970" y="6158"/>
                  <a:pt x="10309" y="5429"/>
                </a:cubicBezTo>
                <a:cubicBezTo>
                  <a:pt x="10309" y="5429"/>
                  <a:pt x="10309" y="7406"/>
                  <a:pt x="10309" y="7406"/>
                </a:cubicBezTo>
                <a:close/>
                <a:moveTo>
                  <a:pt x="10309" y="13747"/>
                </a:moveTo>
                <a:lnTo>
                  <a:pt x="1964" y="13747"/>
                </a:lnTo>
                <a:lnTo>
                  <a:pt x="1964" y="8463"/>
                </a:lnTo>
                <a:lnTo>
                  <a:pt x="7202" y="8463"/>
                </a:lnTo>
                <a:cubicBezTo>
                  <a:pt x="6563" y="9238"/>
                  <a:pt x="6087" y="9674"/>
                  <a:pt x="6075" y="9684"/>
                </a:cubicBezTo>
                <a:cubicBezTo>
                  <a:pt x="5867" y="9871"/>
                  <a:pt x="5839" y="10205"/>
                  <a:pt x="6012" y="10429"/>
                </a:cubicBezTo>
                <a:cubicBezTo>
                  <a:pt x="6080" y="10516"/>
                  <a:pt x="6167" y="10574"/>
                  <a:pt x="6261" y="10601"/>
                </a:cubicBezTo>
                <a:cubicBezTo>
                  <a:pt x="6411" y="10644"/>
                  <a:pt x="6575" y="10610"/>
                  <a:pt x="6703" y="10497"/>
                </a:cubicBezTo>
                <a:cubicBezTo>
                  <a:pt x="6770" y="10437"/>
                  <a:pt x="7563" y="9712"/>
                  <a:pt x="8495" y="8463"/>
                </a:cubicBezTo>
                <a:lnTo>
                  <a:pt x="10309" y="8463"/>
                </a:lnTo>
                <a:cubicBezTo>
                  <a:pt x="10309" y="8463"/>
                  <a:pt x="10309" y="13747"/>
                  <a:pt x="10309" y="13747"/>
                </a:cubicBezTo>
                <a:close/>
                <a:moveTo>
                  <a:pt x="10309" y="20087"/>
                </a:moveTo>
                <a:lnTo>
                  <a:pt x="1964" y="20087"/>
                </a:lnTo>
                <a:lnTo>
                  <a:pt x="1964" y="14803"/>
                </a:lnTo>
                <a:lnTo>
                  <a:pt x="10309" y="14803"/>
                </a:lnTo>
                <a:cubicBezTo>
                  <a:pt x="10309" y="14803"/>
                  <a:pt x="10309" y="20087"/>
                  <a:pt x="10309" y="20087"/>
                </a:cubicBezTo>
                <a:close/>
                <a:moveTo>
                  <a:pt x="982" y="7406"/>
                </a:moveTo>
                <a:lnTo>
                  <a:pt x="982" y="5293"/>
                </a:lnTo>
                <a:lnTo>
                  <a:pt x="9266" y="5293"/>
                </a:lnTo>
                <a:cubicBezTo>
                  <a:pt x="8867" y="6095"/>
                  <a:pt x="8429" y="6803"/>
                  <a:pt x="8005" y="7406"/>
                </a:cubicBezTo>
                <a:cubicBezTo>
                  <a:pt x="8005" y="7406"/>
                  <a:pt x="982" y="7406"/>
                  <a:pt x="982" y="7406"/>
                </a:cubicBezTo>
                <a:close/>
                <a:moveTo>
                  <a:pt x="5606" y="1990"/>
                </a:moveTo>
                <a:cubicBezTo>
                  <a:pt x="6148" y="980"/>
                  <a:pt x="7540" y="751"/>
                  <a:pt x="8714" y="1481"/>
                </a:cubicBezTo>
                <a:cubicBezTo>
                  <a:pt x="9465" y="1948"/>
                  <a:pt x="9931" y="2692"/>
                  <a:pt x="10035" y="3433"/>
                </a:cubicBezTo>
                <a:cubicBezTo>
                  <a:pt x="9944" y="3708"/>
                  <a:pt x="9845" y="3975"/>
                  <a:pt x="9740" y="4236"/>
                </a:cubicBezTo>
                <a:lnTo>
                  <a:pt x="5830" y="4236"/>
                </a:lnTo>
                <a:cubicBezTo>
                  <a:pt x="5362" y="3523"/>
                  <a:pt x="5242" y="2668"/>
                  <a:pt x="5606" y="1990"/>
                </a:cubicBezTo>
                <a:moveTo>
                  <a:pt x="20618" y="4236"/>
                </a:moveTo>
                <a:lnTo>
                  <a:pt x="16874" y="4236"/>
                </a:lnTo>
                <a:cubicBezTo>
                  <a:pt x="17259" y="3325"/>
                  <a:pt x="17284" y="2310"/>
                  <a:pt x="16829" y="1461"/>
                </a:cubicBezTo>
                <a:cubicBezTo>
                  <a:pt x="16015" y="-54"/>
                  <a:pt x="14024" y="-456"/>
                  <a:pt x="12380" y="565"/>
                </a:cubicBezTo>
                <a:cubicBezTo>
                  <a:pt x="11747" y="959"/>
                  <a:pt x="11277" y="1511"/>
                  <a:pt x="10965" y="2122"/>
                </a:cubicBezTo>
                <a:cubicBezTo>
                  <a:pt x="10949" y="2115"/>
                  <a:pt x="10937" y="2103"/>
                  <a:pt x="10920" y="2098"/>
                </a:cubicBezTo>
                <a:cubicBezTo>
                  <a:pt x="10909" y="2095"/>
                  <a:pt x="10899" y="2097"/>
                  <a:pt x="10888" y="2095"/>
                </a:cubicBezTo>
                <a:cubicBezTo>
                  <a:pt x="10861" y="2089"/>
                  <a:pt x="10834" y="2089"/>
                  <a:pt x="10806" y="2088"/>
                </a:cubicBezTo>
                <a:cubicBezTo>
                  <a:pt x="10782" y="2089"/>
                  <a:pt x="10759" y="2089"/>
                  <a:pt x="10735" y="2093"/>
                </a:cubicBezTo>
                <a:cubicBezTo>
                  <a:pt x="10712" y="2096"/>
                  <a:pt x="10689" y="2090"/>
                  <a:pt x="10665" y="2098"/>
                </a:cubicBezTo>
                <a:cubicBezTo>
                  <a:pt x="10648" y="2103"/>
                  <a:pt x="10636" y="2115"/>
                  <a:pt x="10620" y="2122"/>
                </a:cubicBezTo>
                <a:cubicBezTo>
                  <a:pt x="10307" y="1511"/>
                  <a:pt x="9837" y="959"/>
                  <a:pt x="9205" y="566"/>
                </a:cubicBezTo>
                <a:cubicBezTo>
                  <a:pt x="7561" y="-456"/>
                  <a:pt x="5569" y="-54"/>
                  <a:pt x="4755" y="1461"/>
                </a:cubicBezTo>
                <a:cubicBezTo>
                  <a:pt x="4301" y="2310"/>
                  <a:pt x="4325" y="3325"/>
                  <a:pt x="4711" y="4236"/>
                </a:cubicBezTo>
                <a:lnTo>
                  <a:pt x="982" y="4236"/>
                </a:lnTo>
                <a:cubicBezTo>
                  <a:pt x="440" y="4236"/>
                  <a:pt x="0" y="4709"/>
                  <a:pt x="0" y="5293"/>
                </a:cubicBezTo>
                <a:lnTo>
                  <a:pt x="0" y="7406"/>
                </a:lnTo>
                <a:cubicBezTo>
                  <a:pt x="0" y="7990"/>
                  <a:pt x="440" y="8463"/>
                  <a:pt x="982" y="8463"/>
                </a:cubicBezTo>
                <a:lnTo>
                  <a:pt x="982" y="20087"/>
                </a:lnTo>
                <a:cubicBezTo>
                  <a:pt x="982" y="20671"/>
                  <a:pt x="1422" y="21144"/>
                  <a:pt x="1964" y="21144"/>
                </a:cubicBezTo>
                <a:lnTo>
                  <a:pt x="19636" y="21144"/>
                </a:lnTo>
                <a:cubicBezTo>
                  <a:pt x="20178" y="21144"/>
                  <a:pt x="20618" y="20671"/>
                  <a:pt x="20618" y="20087"/>
                </a:cubicBezTo>
                <a:lnTo>
                  <a:pt x="20618" y="8463"/>
                </a:lnTo>
                <a:cubicBezTo>
                  <a:pt x="21160" y="8463"/>
                  <a:pt x="21600" y="7990"/>
                  <a:pt x="21600" y="7406"/>
                </a:cubicBezTo>
                <a:lnTo>
                  <a:pt x="21600" y="5293"/>
                </a:lnTo>
                <a:cubicBezTo>
                  <a:pt x="21600" y="4709"/>
                  <a:pt x="21160" y="4236"/>
                  <a:pt x="20618" y="423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Shape 2621">
            <a:extLst>
              <a:ext uri="{FF2B5EF4-FFF2-40B4-BE49-F238E27FC236}">
                <a16:creationId xmlns:a16="http://schemas.microsoft.com/office/drawing/2014/main" id="{1B36935D-2E05-4025-A3E7-AE8C37B2A21C}"/>
              </a:ext>
            </a:extLst>
          </p:cNvPr>
          <p:cNvSpPr/>
          <p:nvPr/>
        </p:nvSpPr>
        <p:spPr bwMode="gray">
          <a:xfrm>
            <a:off x="9509642" y="3467702"/>
            <a:ext cx="289156" cy="184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5"/>
                  <a:pt x="982" y="10800"/>
                </a:cubicBezTo>
                <a:cubicBezTo>
                  <a:pt x="982" y="8155"/>
                  <a:pt x="5378" y="1543"/>
                  <a:pt x="10800" y="1543"/>
                </a:cubicBezTo>
                <a:cubicBezTo>
                  <a:pt x="16223" y="1543"/>
                  <a:pt x="20618" y="8155"/>
                  <a:pt x="20618" y="10800"/>
                </a:cubicBezTo>
                <a:cubicBezTo>
                  <a:pt x="20618" y="13445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09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09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0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0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3"/>
                  <a:pt x="9327" y="10800"/>
                </a:cubicBezTo>
                <a:cubicBezTo>
                  <a:pt x="9327" y="12078"/>
                  <a:pt x="9987" y="13114"/>
                  <a:pt x="10800" y="13114"/>
                </a:cubicBezTo>
                <a:cubicBezTo>
                  <a:pt x="11613" y="13114"/>
                  <a:pt x="12273" y="12078"/>
                  <a:pt x="12273" y="10800"/>
                </a:cubicBezTo>
                <a:cubicBezTo>
                  <a:pt x="12273" y="9523"/>
                  <a:pt x="11613" y="8486"/>
                  <a:pt x="10800" y="848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hape 2622">
            <a:extLst>
              <a:ext uri="{FF2B5EF4-FFF2-40B4-BE49-F238E27FC236}">
                <a16:creationId xmlns:a16="http://schemas.microsoft.com/office/drawing/2014/main" id="{568BAD4E-30AF-44BD-8138-D5DD1EFD7D2C}"/>
              </a:ext>
            </a:extLst>
          </p:cNvPr>
          <p:cNvSpPr/>
          <p:nvPr/>
        </p:nvSpPr>
        <p:spPr bwMode="gray">
          <a:xfrm>
            <a:off x="10061666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Shape 2623">
            <a:extLst>
              <a:ext uri="{FF2B5EF4-FFF2-40B4-BE49-F238E27FC236}">
                <a16:creationId xmlns:a16="http://schemas.microsoft.com/office/drawing/2014/main" id="{638A725B-CDE9-4E1F-87EF-2B98D4A52D4C}"/>
              </a:ext>
            </a:extLst>
          </p:cNvPr>
          <p:cNvSpPr/>
          <p:nvPr/>
        </p:nvSpPr>
        <p:spPr bwMode="gray">
          <a:xfrm>
            <a:off x="10613690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Shape 2624">
            <a:extLst>
              <a:ext uri="{FF2B5EF4-FFF2-40B4-BE49-F238E27FC236}">
                <a16:creationId xmlns:a16="http://schemas.microsoft.com/office/drawing/2014/main" id="{8AF839B1-CF9E-41DB-9DE7-DE7BFBB66B3F}"/>
              </a:ext>
            </a:extLst>
          </p:cNvPr>
          <p:cNvSpPr/>
          <p:nvPr/>
        </p:nvSpPr>
        <p:spPr bwMode="gray">
          <a:xfrm>
            <a:off x="11165715" y="3415128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Shape 2625">
            <a:extLst>
              <a:ext uri="{FF2B5EF4-FFF2-40B4-BE49-F238E27FC236}">
                <a16:creationId xmlns:a16="http://schemas.microsoft.com/office/drawing/2014/main" id="{E962A09D-1407-41AB-9568-8BC2DA262325}"/>
              </a:ext>
            </a:extLst>
          </p:cNvPr>
          <p:cNvSpPr/>
          <p:nvPr/>
        </p:nvSpPr>
        <p:spPr bwMode="gray">
          <a:xfrm>
            <a:off x="6197495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Shape 2626">
            <a:extLst>
              <a:ext uri="{FF2B5EF4-FFF2-40B4-BE49-F238E27FC236}">
                <a16:creationId xmlns:a16="http://schemas.microsoft.com/office/drawing/2014/main" id="{C4D4F968-08DC-4E98-8450-2E058931F868}"/>
              </a:ext>
            </a:extLst>
          </p:cNvPr>
          <p:cNvSpPr/>
          <p:nvPr/>
        </p:nvSpPr>
        <p:spPr bwMode="gray">
          <a:xfrm>
            <a:off x="6775807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2" y="18655"/>
                </a:moveTo>
                <a:cubicBezTo>
                  <a:pt x="7553" y="18644"/>
                  <a:pt x="7811" y="18417"/>
                  <a:pt x="7799" y="18146"/>
                </a:cubicBezTo>
                <a:lnTo>
                  <a:pt x="6916" y="6377"/>
                </a:lnTo>
                <a:cubicBezTo>
                  <a:pt x="6904" y="6106"/>
                  <a:pt x="6626" y="5895"/>
                  <a:pt x="6295" y="5904"/>
                </a:cubicBezTo>
                <a:cubicBezTo>
                  <a:pt x="5963" y="5915"/>
                  <a:pt x="5705" y="6142"/>
                  <a:pt x="5717" y="6413"/>
                </a:cubicBezTo>
                <a:lnTo>
                  <a:pt x="6601" y="18182"/>
                </a:lnTo>
                <a:cubicBezTo>
                  <a:pt x="6613" y="18453"/>
                  <a:pt x="6891" y="18664"/>
                  <a:pt x="7222" y="18655"/>
                </a:cubicBezTo>
                <a:moveTo>
                  <a:pt x="17400" y="19636"/>
                </a:moveTo>
                <a:cubicBezTo>
                  <a:pt x="17319" y="20154"/>
                  <a:pt x="16862" y="20618"/>
                  <a:pt x="16200" y="20618"/>
                </a:cubicBezTo>
                <a:lnTo>
                  <a:pt x="5400" y="20618"/>
                </a:lnTo>
                <a:cubicBezTo>
                  <a:pt x="4737" y="20618"/>
                  <a:pt x="4291" y="20160"/>
                  <a:pt x="4200" y="19636"/>
                </a:cubicBezTo>
                <a:lnTo>
                  <a:pt x="3000" y="3927"/>
                </a:lnTo>
                <a:lnTo>
                  <a:pt x="18600" y="3927"/>
                </a:lnTo>
                <a:cubicBezTo>
                  <a:pt x="18600" y="3927"/>
                  <a:pt x="17400" y="19636"/>
                  <a:pt x="17400" y="19636"/>
                </a:cubicBezTo>
                <a:close/>
                <a:moveTo>
                  <a:pt x="7800" y="983"/>
                </a:moveTo>
                <a:lnTo>
                  <a:pt x="13800" y="983"/>
                </a:lnTo>
                <a:lnTo>
                  <a:pt x="13800" y="2945"/>
                </a:lnTo>
                <a:lnTo>
                  <a:pt x="7800" y="2945"/>
                </a:lnTo>
                <a:cubicBezTo>
                  <a:pt x="7800" y="2945"/>
                  <a:pt x="7800" y="983"/>
                  <a:pt x="7800" y="983"/>
                </a:cubicBezTo>
                <a:close/>
                <a:moveTo>
                  <a:pt x="21000" y="2945"/>
                </a:moveTo>
                <a:lnTo>
                  <a:pt x="15000" y="2945"/>
                </a:lnTo>
                <a:lnTo>
                  <a:pt x="15000" y="983"/>
                </a:lnTo>
                <a:cubicBezTo>
                  <a:pt x="15000" y="440"/>
                  <a:pt x="14462" y="0"/>
                  <a:pt x="13800" y="0"/>
                </a:cubicBezTo>
                <a:lnTo>
                  <a:pt x="7800" y="0"/>
                </a:lnTo>
                <a:cubicBezTo>
                  <a:pt x="7137" y="0"/>
                  <a:pt x="6600" y="440"/>
                  <a:pt x="6600" y="983"/>
                </a:cubicBezTo>
                <a:lnTo>
                  <a:pt x="6600" y="2945"/>
                </a:lnTo>
                <a:lnTo>
                  <a:pt x="600" y="2945"/>
                </a:lnTo>
                <a:cubicBezTo>
                  <a:pt x="269" y="2945"/>
                  <a:pt x="0" y="3166"/>
                  <a:pt x="0" y="3437"/>
                </a:cubicBezTo>
                <a:cubicBezTo>
                  <a:pt x="0" y="3708"/>
                  <a:pt x="269" y="3927"/>
                  <a:pt x="600" y="3927"/>
                </a:cubicBezTo>
                <a:lnTo>
                  <a:pt x="1800" y="3927"/>
                </a:lnTo>
                <a:lnTo>
                  <a:pt x="3000" y="19636"/>
                </a:lnTo>
                <a:cubicBezTo>
                  <a:pt x="3193" y="20711"/>
                  <a:pt x="4075" y="21600"/>
                  <a:pt x="5400" y="21600"/>
                </a:cubicBezTo>
                <a:lnTo>
                  <a:pt x="16200" y="21600"/>
                </a:lnTo>
                <a:cubicBezTo>
                  <a:pt x="17525" y="21600"/>
                  <a:pt x="18374" y="20700"/>
                  <a:pt x="18600" y="19636"/>
                </a:cubicBezTo>
                <a:lnTo>
                  <a:pt x="19800" y="3927"/>
                </a:lnTo>
                <a:lnTo>
                  <a:pt x="21000" y="3927"/>
                </a:lnTo>
                <a:cubicBezTo>
                  <a:pt x="21331" y="3927"/>
                  <a:pt x="21600" y="3708"/>
                  <a:pt x="21600" y="3437"/>
                </a:cubicBezTo>
                <a:cubicBezTo>
                  <a:pt x="21600" y="3166"/>
                  <a:pt x="21331" y="2945"/>
                  <a:pt x="21000" y="2945"/>
                </a:cubicBezTo>
                <a:moveTo>
                  <a:pt x="14380" y="18654"/>
                </a:moveTo>
                <a:cubicBezTo>
                  <a:pt x="14711" y="18664"/>
                  <a:pt x="14989" y="18452"/>
                  <a:pt x="15001" y="18181"/>
                </a:cubicBezTo>
                <a:lnTo>
                  <a:pt x="15871" y="6413"/>
                </a:lnTo>
                <a:cubicBezTo>
                  <a:pt x="15883" y="6142"/>
                  <a:pt x="15625" y="5914"/>
                  <a:pt x="15294" y="5904"/>
                </a:cubicBezTo>
                <a:cubicBezTo>
                  <a:pt x="14962" y="5895"/>
                  <a:pt x="14684" y="6106"/>
                  <a:pt x="14672" y="6377"/>
                </a:cubicBezTo>
                <a:lnTo>
                  <a:pt x="13802" y="18146"/>
                </a:lnTo>
                <a:cubicBezTo>
                  <a:pt x="13790" y="18417"/>
                  <a:pt x="14049" y="18644"/>
                  <a:pt x="14380" y="18654"/>
                </a:cubicBezTo>
                <a:moveTo>
                  <a:pt x="10800" y="18655"/>
                </a:moveTo>
                <a:cubicBezTo>
                  <a:pt x="11131" y="18655"/>
                  <a:pt x="11400" y="18435"/>
                  <a:pt x="11400" y="18164"/>
                </a:cubicBezTo>
                <a:lnTo>
                  <a:pt x="11400" y="6382"/>
                </a:lnTo>
                <a:cubicBezTo>
                  <a:pt x="11400" y="6110"/>
                  <a:pt x="11131" y="5891"/>
                  <a:pt x="10800" y="5891"/>
                </a:cubicBezTo>
                <a:cubicBezTo>
                  <a:pt x="10469" y="5891"/>
                  <a:pt x="10200" y="6110"/>
                  <a:pt x="10200" y="6382"/>
                </a:cubicBezTo>
                <a:lnTo>
                  <a:pt x="10200" y="18164"/>
                </a:lnTo>
                <a:cubicBezTo>
                  <a:pt x="10200" y="18435"/>
                  <a:pt x="10469" y="18655"/>
                  <a:pt x="10800" y="186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Shape 2627">
            <a:extLst>
              <a:ext uri="{FF2B5EF4-FFF2-40B4-BE49-F238E27FC236}">
                <a16:creationId xmlns:a16="http://schemas.microsoft.com/office/drawing/2014/main" id="{99A73D5B-2319-4E1A-AEE5-03CF6F6B9CD9}"/>
              </a:ext>
            </a:extLst>
          </p:cNvPr>
          <p:cNvSpPr/>
          <p:nvPr/>
        </p:nvSpPr>
        <p:spPr bwMode="gray">
          <a:xfrm>
            <a:off x="7347546" y="3967152"/>
            <a:ext cx="19715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19636"/>
                </a:moveTo>
                <a:cubicBezTo>
                  <a:pt x="18623" y="20154"/>
                  <a:pt x="18075" y="20618"/>
                  <a:pt x="17280" y="20618"/>
                </a:cubicBezTo>
                <a:lnTo>
                  <a:pt x="4320" y="20618"/>
                </a:lnTo>
                <a:cubicBezTo>
                  <a:pt x="3525" y="20618"/>
                  <a:pt x="2989" y="20160"/>
                  <a:pt x="2880" y="19636"/>
                </a:cubicBezTo>
                <a:lnTo>
                  <a:pt x="1483" y="3927"/>
                </a:lnTo>
                <a:lnTo>
                  <a:pt x="20117" y="3927"/>
                </a:lnTo>
                <a:cubicBezTo>
                  <a:pt x="20117" y="3927"/>
                  <a:pt x="18720" y="19636"/>
                  <a:pt x="18720" y="19636"/>
                </a:cubicBezTo>
                <a:close/>
                <a:moveTo>
                  <a:pt x="4529" y="2227"/>
                </a:moveTo>
                <a:cubicBezTo>
                  <a:pt x="4971" y="2122"/>
                  <a:pt x="5311" y="1878"/>
                  <a:pt x="5440" y="1571"/>
                </a:cubicBezTo>
                <a:cubicBezTo>
                  <a:pt x="5563" y="1278"/>
                  <a:pt x="6084" y="982"/>
                  <a:pt x="6840" y="982"/>
                </a:cubicBezTo>
                <a:cubicBezTo>
                  <a:pt x="7596" y="982"/>
                  <a:pt x="8117" y="1094"/>
                  <a:pt x="8240" y="1387"/>
                </a:cubicBezTo>
                <a:cubicBezTo>
                  <a:pt x="8286" y="1495"/>
                  <a:pt x="8358" y="1598"/>
                  <a:pt x="8454" y="1688"/>
                </a:cubicBezTo>
                <a:cubicBezTo>
                  <a:pt x="8957" y="2167"/>
                  <a:pt x="9732" y="2442"/>
                  <a:pt x="10577" y="2442"/>
                </a:cubicBezTo>
                <a:cubicBezTo>
                  <a:pt x="11235" y="2442"/>
                  <a:pt x="11854" y="2268"/>
                  <a:pt x="12300" y="1947"/>
                </a:cubicBezTo>
                <a:cubicBezTo>
                  <a:pt x="12697" y="1647"/>
                  <a:pt x="13446" y="1473"/>
                  <a:pt x="14760" y="1473"/>
                </a:cubicBezTo>
                <a:cubicBezTo>
                  <a:pt x="16059" y="1473"/>
                  <a:pt x="16752" y="1940"/>
                  <a:pt x="16920" y="2209"/>
                </a:cubicBezTo>
                <a:cubicBezTo>
                  <a:pt x="17107" y="2509"/>
                  <a:pt x="17391" y="2750"/>
                  <a:pt x="17688" y="2945"/>
                </a:cubicBezTo>
                <a:lnTo>
                  <a:pt x="2830" y="2945"/>
                </a:lnTo>
                <a:cubicBezTo>
                  <a:pt x="3170" y="2668"/>
                  <a:pt x="3770" y="2408"/>
                  <a:pt x="4529" y="2227"/>
                </a:cubicBezTo>
                <a:moveTo>
                  <a:pt x="20880" y="2945"/>
                </a:moveTo>
                <a:lnTo>
                  <a:pt x="19676" y="2945"/>
                </a:lnTo>
                <a:cubicBezTo>
                  <a:pt x="19217" y="2693"/>
                  <a:pt x="18780" y="2403"/>
                  <a:pt x="18405" y="1964"/>
                </a:cubicBezTo>
                <a:cubicBezTo>
                  <a:pt x="17787" y="1241"/>
                  <a:pt x="16749" y="491"/>
                  <a:pt x="14760" y="491"/>
                </a:cubicBezTo>
                <a:cubicBezTo>
                  <a:pt x="13012" y="491"/>
                  <a:pt x="11880" y="798"/>
                  <a:pt x="11231" y="1289"/>
                </a:cubicBezTo>
                <a:cubicBezTo>
                  <a:pt x="11081" y="1397"/>
                  <a:pt x="10839" y="1461"/>
                  <a:pt x="10577" y="1461"/>
                </a:cubicBezTo>
                <a:cubicBezTo>
                  <a:pt x="10245" y="1461"/>
                  <a:pt x="9879" y="1359"/>
                  <a:pt x="9624" y="1116"/>
                </a:cubicBezTo>
                <a:cubicBezTo>
                  <a:pt x="9310" y="370"/>
                  <a:pt x="8188" y="0"/>
                  <a:pt x="6840" y="0"/>
                </a:cubicBezTo>
                <a:cubicBezTo>
                  <a:pt x="5492" y="0"/>
                  <a:pt x="4370" y="554"/>
                  <a:pt x="4056" y="1300"/>
                </a:cubicBezTo>
                <a:cubicBezTo>
                  <a:pt x="2613" y="1643"/>
                  <a:pt x="1555" y="2238"/>
                  <a:pt x="1211" y="2945"/>
                </a:cubicBezTo>
                <a:lnTo>
                  <a:pt x="720" y="2945"/>
                </a:lnTo>
                <a:cubicBezTo>
                  <a:pt x="323" y="2945"/>
                  <a:pt x="0" y="3165"/>
                  <a:pt x="0" y="3436"/>
                </a:cubicBezTo>
                <a:lnTo>
                  <a:pt x="0" y="3437"/>
                </a:lnTo>
                <a:lnTo>
                  <a:pt x="1440" y="19636"/>
                </a:lnTo>
                <a:cubicBezTo>
                  <a:pt x="1672" y="20711"/>
                  <a:pt x="2730" y="21600"/>
                  <a:pt x="4320" y="21600"/>
                </a:cubicBezTo>
                <a:lnTo>
                  <a:pt x="17280" y="21600"/>
                </a:lnTo>
                <a:cubicBezTo>
                  <a:pt x="18870" y="21600"/>
                  <a:pt x="19890" y="20700"/>
                  <a:pt x="20160" y="19636"/>
                </a:cubicBezTo>
                <a:lnTo>
                  <a:pt x="21600" y="3437"/>
                </a:lnTo>
                <a:lnTo>
                  <a:pt x="21600" y="3436"/>
                </a:lnTo>
                <a:cubicBezTo>
                  <a:pt x="21600" y="3165"/>
                  <a:pt x="21277" y="2945"/>
                  <a:pt x="20880" y="2945"/>
                </a:cubicBezTo>
                <a:moveTo>
                  <a:pt x="6507" y="18655"/>
                </a:moveTo>
                <a:cubicBezTo>
                  <a:pt x="6904" y="18644"/>
                  <a:pt x="7214" y="18417"/>
                  <a:pt x="7200" y="18146"/>
                </a:cubicBezTo>
                <a:lnTo>
                  <a:pt x="6139" y="6377"/>
                </a:lnTo>
                <a:cubicBezTo>
                  <a:pt x="6125" y="6106"/>
                  <a:pt x="5791" y="5895"/>
                  <a:pt x="5394" y="5904"/>
                </a:cubicBezTo>
                <a:cubicBezTo>
                  <a:pt x="4996" y="5915"/>
                  <a:pt x="4686" y="6142"/>
                  <a:pt x="4700" y="6413"/>
                </a:cubicBezTo>
                <a:lnTo>
                  <a:pt x="5761" y="18182"/>
                </a:lnTo>
                <a:cubicBezTo>
                  <a:pt x="5775" y="18453"/>
                  <a:pt x="6109" y="18664"/>
                  <a:pt x="6507" y="18655"/>
                </a:cubicBezTo>
                <a:moveTo>
                  <a:pt x="10800" y="18655"/>
                </a:moveTo>
                <a:cubicBezTo>
                  <a:pt x="11197" y="18655"/>
                  <a:pt x="11520" y="18435"/>
                  <a:pt x="11520" y="18164"/>
                </a:cubicBezTo>
                <a:lnTo>
                  <a:pt x="11520" y="6382"/>
                </a:lnTo>
                <a:cubicBezTo>
                  <a:pt x="11520" y="6110"/>
                  <a:pt x="11197" y="5891"/>
                  <a:pt x="10800" y="5891"/>
                </a:cubicBezTo>
                <a:cubicBezTo>
                  <a:pt x="10403" y="5891"/>
                  <a:pt x="10080" y="6110"/>
                  <a:pt x="10080" y="6382"/>
                </a:cubicBezTo>
                <a:lnTo>
                  <a:pt x="10080" y="18164"/>
                </a:lnTo>
                <a:cubicBezTo>
                  <a:pt x="10080" y="18435"/>
                  <a:pt x="10403" y="18655"/>
                  <a:pt x="10800" y="18655"/>
                </a:cubicBezTo>
                <a:moveTo>
                  <a:pt x="15095" y="18654"/>
                </a:moveTo>
                <a:cubicBezTo>
                  <a:pt x="15494" y="18664"/>
                  <a:pt x="15827" y="18452"/>
                  <a:pt x="15841" y="18181"/>
                </a:cubicBezTo>
                <a:lnTo>
                  <a:pt x="16886" y="6413"/>
                </a:lnTo>
                <a:cubicBezTo>
                  <a:pt x="16900" y="6142"/>
                  <a:pt x="16590" y="5914"/>
                  <a:pt x="16192" y="5904"/>
                </a:cubicBezTo>
                <a:cubicBezTo>
                  <a:pt x="15795" y="5895"/>
                  <a:pt x="15461" y="6106"/>
                  <a:pt x="15447" y="6377"/>
                </a:cubicBezTo>
                <a:lnTo>
                  <a:pt x="14402" y="18146"/>
                </a:lnTo>
                <a:cubicBezTo>
                  <a:pt x="14388" y="18417"/>
                  <a:pt x="14699" y="18644"/>
                  <a:pt x="15095" y="1865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Shape 2628">
            <a:extLst>
              <a:ext uri="{FF2B5EF4-FFF2-40B4-BE49-F238E27FC236}">
                <a16:creationId xmlns:a16="http://schemas.microsoft.com/office/drawing/2014/main" id="{5EA93CF6-E3ED-4287-8713-EC537781323A}"/>
              </a:ext>
            </a:extLst>
          </p:cNvPr>
          <p:cNvSpPr/>
          <p:nvPr/>
        </p:nvSpPr>
        <p:spPr bwMode="gray">
          <a:xfrm>
            <a:off x="7853568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hape 2629">
            <a:extLst>
              <a:ext uri="{FF2B5EF4-FFF2-40B4-BE49-F238E27FC236}">
                <a16:creationId xmlns:a16="http://schemas.microsoft.com/office/drawing/2014/main" id="{A9DE20DB-BDA3-447F-A02E-56DC9F9D8060}"/>
              </a:ext>
            </a:extLst>
          </p:cNvPr>
          <p:cNvSpPr/>
          <p:nvPr/>
        </p:nvSpPr>
        <p:spPr bwMode="gray">
          <a:xfrm>
            <a:off x="8405593" y="3967152"/>
            <a:ext cx="28923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6" y="20482"/>
                  <a:pt x="14660" y="20214"/>
                </a:cubicBezTo>
                <a:cubicBezTo>
                  <a:pt x="14607" y="20189"/>
                  <a:pt x="14552" y="20170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1"/>
                  <a:pt x="4887" y="1297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5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6"/>
                  <a:pt x="7168" y="7231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9"/>
                </a:cubicBezTo>
                <a:cubicBezTo>
                  <a:pt x="11538" y="14478"/>
                  <a:pt x="11551" y="14487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0" y="14840"/>
                  <a:pt x="14297" y="14479"/>
                </a:cubicBezTo>
                <a:cubicBezTo>
                  <a:pt x="14316" y="14463"/>
                  <a:pt x="14335" y="14446"/>
                  <a:pt x="14352" y="14427"/>
                </a:cubicBezTo>
                <a:lnTo>
                  <a:pt x="15451" y="13320"/>
                </a:lnTo>
                <a:cubicBezTo>
                  <a:pt x="15529" y="13271"/>
                  <a:pt x="15611" y="13247"/>
                  <a:pt x="15697" y="13247"/>
                </a:cubicBezTo>
                <a:cubicBezTo>
                  <a:pt x="15874" y="13247"/>
                  <a:pt x="15990" y="13337"/>
                  <a:pt x="16044" y="13391"/>
                </a:cubicBezTo>
                <a:cubicBezTo>
                  <a:pt x="16073" y="13420"/>
                  <a:pt x="16103" y="13447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4"/>
                  <a:pt x="20374" y="16762"/>
                </a:cubicBezTo>
                <a:cubicBezTo>
                  <a:pt x="20426" y="16795"/>
                  <a:pt x="20449" y="16816"/>
                  <a:pt x="20461" y="16827"/>
                </a:cubicBezTo>
                <a:cubicBezTo>
                  <a:pt x="20515" y="16881"/>
                  <a:pt x="20605" y="16997"/>
                  <a:pt x="20605" y="17174"/>
                </a:cubicBezTo>
                <a:cubicBezTo>
                  <a:pt x="20605" y="17207"/>
                  <a:pt x="20606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6" y="17174"/>
                </a:moveTo>
                <a:cubicBezTo>
                  <a:pt x="21586" y="16768"/>
                  <a:pt x="21421" y="16399"/>
                  <a:pt x="21155" y="16133"/>
                </a:cubicBezTo>
                <a:cubicBezTo>
                  <a:pt x="21077" y="16054"/>
                  <a:pt x="20988" y="15988"/>
                  <a:pt x="20893" y="15929"/>
                </a:cubicBezTo>
                <a:lnTo>
                  <a:pt x="16738" y="12697"/>
                </a:lnTo>
                <a:cubicBezTo>
                  <a:pt x="16471" y="12430"/>
                  <a:pt x="16104" y="12265"/>
                  <a:pt x="15697" y="12265"/>
                </a:cubicBezTo>
                <a:cubicBezTo>
                  <a:pt x="15364" y="12265"/>
                  <a:pt x="15060" y="12380"/>
                  <a:pt x="14815" y="12567"/>
                </a:cubicBezTo>
                <a:lnTo>
                  <a:pt x="13655" y="13736"/>
                </a:lnTo>
                <a:lnTo>
                  <a:pt x="13652" y="13733"/>
                </a:lnTo>
                <a:cubicBezTo>
                  <a:pt x="13473" y="13934"/>
                  <a:pt x="13214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3"/>
                  <a:pt x="12101" y="13674"/>
                </a:cubicBezTo>
                <a:cubicBezTo>
                  <a:pt x="10497" y="12510"/>
                  <a:pt x="9076" y="11108"/>
                  <a:pt x="7914" y="9502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7"/>
                  <a:pt x="7659" y="8101"/>
                  <a:pt x="7871" y="7920"/>
                </a:cubicBezTo>
                <a:lnTo>
                  <a:pt x="7870" y="7918"/>
                </a:lnTo>
                <a:lnTo>
                  <a:pt x="9023" y="6773"/>
                </a:lnTo>
                <a:cubicBezTo>
                  <a:pt x="9211" y="6528"/>
                  <a:pt x="9325" y="6224"/>
                  <a:pt x="9325" y="5891"/>
                </a:cubicBezTo>
                <a:cubicBezTo>
                  <a:pt x="9325" y="5485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2"/>
                </a:cubicBezTo>
                <a:cubicBezTo>
                  <a:pt x="5191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2" y="7373"/>
                </a:lnTo>
                <a:cubicBezTo>
                  <a:pt x="3435" y="13255"/>
                  <a:pt x="8343" y="18164"/>
                  <a:pt x="14224" y="21117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79"/>
                  <a:pt x="21594" y="17177"/>
                  <a:pt x="21594" y="17174"/>
                </a:cubicBezTo>
                <a:cubicBezTo>
                  <a:pt x="21594" y="17174"/>
                  <a:pt x="21586" y="17174"/>
                  <a:pt x="21586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2" y="10309"/>
                  <a:pt x="16692" y="10090"/>
                  <a:pt x="16692" y="9819"/>
                </a:cubicBezTo>
                <a:cubicBezTo>
                  <a:pt x="16692" y="7107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2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0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Shape 2630">
            <a:extLst>
              <a:ext uri="{FF2B5EF4-FFF2-40B4-BE49-F238E27FC236}">
                <a16:creationId xmlns:a16="http://schemas.microsoft.com/office/drawing/2014/main" id="{E91DBB7E-E5DE-4273-A7AF-68B81E16BFC4}"/>
              </a:ext>
            </a:extLst>
          </p:cNvPr>
          <p:cNvSpPr/>
          <p:nvPr/>
        </p:nvSpPr>
        <p:spPr bwMode="gray">
          <a:xfrm>
            <a:off x="9023334" y="3967152"/>
            <a:ext cx="157729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07" y="18651"/>
                </a:moveTo>
                <a:lnTo>
                  <a:pt x="10795" y="12327"/>
                </a:lnTo>
                <a:lnTo>
                  <a:pt x="10781" y="12326"/>
                </a:lnTo>
                <a:cubicBezTo>
                  <a:pt x="10785" y="12307"/>
                  <a:pt x="10800" y="12292"/>
                  <a:pt x="10800" y="12273"/>
                </a:cubicBezTo>
                <a:cubicBezTo>
                  <a:pt x="10800" y="12001"/>
                  <a:pt x="10398" y="11782"/>
                  <a:pt x="9900" y="11782"/>
                </a:cubicBezTo>
                <a:lnTo>
                  <a:pt x="2149" y="11782"/>
                </a:lnTo>
                <a:lnTo>
                  <a:pt x="8749" y="982"/>
                </a:lnTo>
                <a:lnTo>
                  <a:pt x="15850" y="982"/>
                </a:lnTo>
                <a:lnTo>
                  <a:pt x="11436" y="8190"/>
                </a:lnTo>
                <a:lnTo>
                  <a:pt x="11447" y="8192"/>
                </a:lnTo>
                <a:cubicBezTo>
                  <a:pt x="11417" y="8241"/>
                  <a:pt x="11391" y="8291"/>
                  <a:pt x="11391" y="8345"/>
                </a:cubicBezTo>
                <a:cubicBezTo>
                  <a:pt x="11391" y="8617"/>
                  <a:pt x="11794" y="8836"/>
                  <a:pt x="12291" y="8836"/>
                </a:cubicBezTo>
                <a:lnTo>
                  <a:pt x="19195" y="8836"/>
                </a:lnTo>
                <a:cubicBezTo>
                  <a:pt x="19195" y="8836"/>
                  <a:pt x="9507" y="18651"/>
                  <a:pt x="9507" y="18651"/>
                </a:cubicBezTo>
                <a:close/>
                <a:moveTo>
                  <a:pt x="21600" y="8345"/>
                </a:moveTo>
                <a:cubicBezTo>
                  <a:pt x="21600" y="8074"/>
                  <a:pt x="21197" y="7855"/>
                  <a:pt x="20700" y="7855"/>
                </a:cubicBezTo>
                <a:lnTo>
                  <a:pt x="13541" y="7855"/>
                </a:lnTo>
                <a:lnTo>
                  <a:pt x="17954" y="646"/>
                </a:lnTo>
                <a:lnTo>
                  <a:pt x="17944" y="644"/>
                </a:lnTo>
                <a:cubicBezTo>
                  <a:pt x="17974" y="595"/>
                  <a:pt x="18000" y="545"/>
                  <a:pt x="18000" y="491"/>
                </a:cubicBezTo>
                <a:cubicBezTo>
                  <a:pt x="18000" y="220"/>
                  <a:pt x="17598" y="0"/>
                  <a:pt x="17100" y="0"/>
                </a:cubicBezTo>
                <a:lnTo>
                  <a:pt x="8101" y="0"/>
                </a:lnTo>
                <a:cubicBezTo>
                  <a:pt x="7703" y="0"/>
                  <a:pt x="7376" y="143"/>
                  <a:pt x="7257" y="337"/>
                </a:cubicBezTo>
                <a:lnTo>
                  <a:pt x="7246" y="335"/>
                </a:lnTo>
                <a:lnTo>
                  <a:pt x="47" y="12117"/>
                </a:lnTo>
                <a:lnTo>
                  <a:pt x="57" y="12120"/>
                </a:lnTo>
                <a:cubicBezTo>
                  <a:pt x="27" y="12168"/>
                  <a:pt x="0" y="12218"/>
                  <a:pt x="0" y="12273"/>
                </a:cubicBezTo>
                <a:cubicBezTo>
                  <a:pt x="0" y="12544"/>
                  <a:pt x="403" y="12764"/>
                  <a:pt x="900" y="12764"/>
                </a:cubicBezTo>
                <a:lnTo>
                  <a:pt x="8895" y="12764"/>
                </a:lnTo>
                <a:lnTo>
                  <a:pt x="7206" y="21055"/>
                </a:lnTo>
                <a:lnTo>
                  <a:pt x="7220" y="21056"/>
                </a:lnTo>
                <a:cubicBezTo>
                  <a:pt x="7216" y="21074"/>
                  <a:pt x="7200" y="21090"/>
                  <a:pt x="7200" y="21109"/>
                </a:cubicBezTo>
                <a:cubicBezTo>
                  <a:pt x="7200" y="21380"/>
                  <a:pt x="7603" y="21600"/>
                  <a:pt x="8101" y="21600"/>
                </a:cubicBezTo>
                <a:cubicBezTo>
                  <a:pt x="8464" y="21600"/>
                  <a:pt x="8761" y="21480"/>
                  <a:pt x="8900" y="21310"/>
                </a:cubicBezTo>
                <a:lnTo>
                  <a:pt x="8918" y="21315"/>
                </a:lnTo>
                <a:lnTo>
                  <a:pt x="21517" y="8551"/>
                </a:lnTo>
                <a:lnTo>
                  <a:pt x="21513" y="8550"/>
                </a:lnTo>
                <a:cubicBezTo>
                  <a:pt x="21567" y="8487"/>
                  <a:pt x="21600" y="8419"/>
                  <a:pt x="21600" y="83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Shape 2631">
            <a:extLst>
              <a:ext uri="{FF2B5EF4-FFF2-40B4-BE49-F238E27FC236}">
                <a16:creationId xmlns:a16="http://schemas.microsoft.com/office/drawing/2014/main" id="{4110DCB0-AC26-460A-942C-61AC8755A2A1}"/>
              </a:ext>
            </a:extLst>
          </p:cNvPr>
          <p:cNvSpPr/>
          <p:nvPr/>
        </p:nvSpPr>
        <p:spPr bwMode="gray">
          <a:xfrm>
            <a:off x="9509642" y="3993439"/>
            <a:ext cx="289156" cy="2365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3600"/>
                </a:moveTo>
                <a:lnTo>
                  <a:pt x="1964" y="3600"/>
                </a:lnTo>
                <a:lnTo>
                  <a:pt x="1964" y="1200"/>
                </a:lnTo>
                <a:lnTo>
                  <a:pt x="19636" y="1200"/>
                </a:lnTo>
                <a:cubicBezTo>
                  <a:pt x="19636" y="1200"/>
                  <a:pt x="19636" y="3600"/>
                  <a:pt x="19636" y="3600"/>
                </a:cubicBezTo>
                <a:close/>
                <a:moveTo>
                  <a:pt x="17182" y="6000"/>
                </a:moveTo>
                <a:lnTo>
                  <a:pt x="17182" y="4800"/>
                </a:lnTo>
                <a:lnTo>
                  <a:pt x="19145" y="4800"/>
                </a:lnTo>
                <a:lnTo>
                  <a:pt x="19145" y="6000"/>
                </a:lnTo>
                <a:cubicBezTo>
                  <a:pt x="19145" y="6662"/>
                  <a:pt x="18705" y="7200"/>
                  <a:pt x="18164" y="7200"/>
                </a:cubicBezTo>
                <a:cubicBezTo>
                  <a:pt x="17621" y="7200"/>
                  <a:pt x="17182" y="6662"/>
                  <a:pt x="17182" y="6000"/>
                </a:cubicBezTo>
                <a:moveTo>
                  <a:pt x="14236" y="6000"/>
                </a:moveTo>
                <a:lnTo>
                  <a:pt x="14236" y="4800"/>
                </a:lnTo>
                <a:lnTo>
                  <a:pt x="16200" y="4800"/>
                </a:lnTo>
                <a:lnTo>
                  <a:pt x="16200" y="6000"/>
                </a:lnTo>
                <a:cubicBezTo>
                  <a:pt x="16200" y="6662"/>
                  <a:pt x="15760" y="7200"/>
                  <a:pt x="15218" y="7200"/>
                </a:cubicBezTo>
                <a:cubicBezTo>
                  <a:pt x="14675" y="7200"/>
                  <a:pt x="14236" y="6662"/>
                  <a:pt x="14236" y="6000"/>
                </a:cubicBezTo>
                <a:moveTo>
                  <a:pt x="11291" y="6000"/>
                </a:moveTo>
                <a:lnTo>
                  <a:pt x="11291" y="4800"/>
                </a:lnTo>
                <a:lnTo>
                  <a:pt x="13255" y="4800"/>
                </a:lnTo>
                <a:lnTo>
                  <a:pt x="13255" y="6000"/>
                </a:lnTo>
                <a:cubicBezTo>
                  <a:pt x="13255" y="6662"/>
                  <a:pt x="12814" y="7200"/>
                  <a:pt x="12273" y="7200"/>
                </a:cubicBezTo>
                <a:cubicBezTo>
                  <a:pt x="11730" y="7200"/>
                  <a:pt x="11291" y="6662"/>
                  <a:pt x="11291" y="6000"/>
                </a:cubicBezTo>
                <a:moveTo>
                  <a:pt x="8345" y="6000"/>
                </a:moveTo>
                <a:lnTo>
                  <a:pt x="8345" y="4800"/>
                </a:lnTo>
                <a:lnTo>
                  <a:pt x="10309" y="4800"/>
                </a:lnTo>
                <a:lnTo>
                  <a:pt x="10309" y="6000"/>
                </a:lnTo>
                <a:cubicBezTo>
                  <a:pt x="10309" y="6662"/>
                  <a:pt x="9869" y="7200"/>
                  <a:pt x="9327" y="7200"/>
                </a:cubicBezTo>
                <a:cubicBezTo>
                  <a:pt x="8785" y="7200"/>
                  <a:pt x="8345" y="6662"/>
                  <a:pt x="8345" y="6000"/>
                </a:cubicBezTo>
                <a:moveTo>
                  <a:pt x="5400" y="6000"/>
                </a:moveTo>
                <a:lnTo>
                  <a:pt x="5400" y="4800"/>
                </a:lnTo>
                <a:lnTo>
                  <a:pt x="7364" y="4800"/>
                </a:lnTo>
                <a:lnTo>
                  <a:pt x="7364" y="6000"/>
                </a:lnTo>
                <a:cubicBezTo>
                  <a:pt x="7364" y="6662"/>
                  <a:pt x="6924" y="7200"/>
                  <a:pt x="6382" y="7200"/>
                </a:cubicBezTo>
                <a:cubicBezTo>
                  <a:pt x="5839" y="7200"/>
                  <a:pt x="5400" y="6662"/>
                  <a:pt x="5400" y="6000"/>
                </a:cubicBezTo>
                <a:moveTo>
                  <a:pt x="2455" y="6000"/>
                </a:moveTo>
                <a:lnTo>
                  <a:pt x="2455" y="4800"/>
                </a:lnTo>
                <a:lnTo>
                  <a:pt x="4418" y="4800"/>
                </a:lnTo>
                <a:lnTo>
                  <a:pt x="4418" y="6000"/>
                </a:lnTo>
                <a:cubicBezTo>
                  <a:pt x="4418" y="6662"/>
                  <a:pt x="3978" y="7200"/>
                  <a:pt x="3436" y="7200"/>
                </a:cubicBezTo>
                <a:cubicBezTo>
                  <a:pt x="2894" y="7200"/>
                  <a:pt x="2455" y="6662"/>
                  <a:pt x="2455" y="6000"/>
                </a:cubicBezTo>
                <a:moveTo>
                  <a:pt x="19636" y="20400"/>
                </a:moveTo>
                <a:lnTo>
                  <a:pt x="12764" y="20400"/>
                </a:lnTo>
                <a:lnTo>
                  <a:pt x="12764" y="13800"/>
                </a:lnTo>
                <a:cubicBezTo>
                  <a:pt x="12764" y="13469"/>
                  <a:pt x="12544" y="13200"/>
                  <a:pt x="12273" y="13200"/>
                </a:cubicBezTo>
                <a:lnTo>
                  <a:pt x="9327" y="13200"/>
                </a:lnTo>
                <a:cubicBezTo>
                  <a:pt x="9056" y="13200"/>
                  <a:pt x="8836" y="13469"/>
                  <a:pt x="8836" y="13800"/>
                </a:cubicBezTo>
                <a:lnTo>
                  <a:pt x="8836" y="20400"/>
                </a:lnTo>
                <a:lnTo>
                  <a:pt x="1964" y="20400"/>
                </a:lnTo>
                <a:lnTo>
                  <a:pt x="1964" y="7573"/>
                </a:lnTo>
                <a:cubicBezTo>
                  <a:pt x="2324" y="8076"/>
                  <a:pt x="2847" y="8400"/>
                  <a:pt x="3436" y="8400"/>
                </a:cubicBezTo>
                <a:cubicBezTo>
                  <a:pt x="4026" y="8400"/>
                  <a:pt x="4549" y="8076"/>
                  <a:pt x="4909" y="7573"/>
                </a:cubicBezTo>
                <a:cubicBezTo>
                  <a:pt x="5269" y="8076"/>
                  <a:pt x="5792" y="8400"/>
                  <a:pt x="6382" y="8400"/>
                </a:cubicBezTo>
                <a:cubicBezTo>
                  <a:pt x="6971" y="8400"/>
                  <a:pt x="7495" y="8076"/>
                  <a:pt x="7855" y="7573"/>
                </a:cubicBezTo>
                <a:cubicBezTo>
                  <a:pt x="8215" y="8076"/>
                  <a:pt x="8738" y="8400"/>
                  <a:pt x="9327" y="8400"/>
                </a:cubicBezTo>
                <a:cubicBezTo>
                  <a:pt x="9917" y="8400"/>
                  <a:pt x="10440" y="8076"/>
                  <a:pt x="10800" y="7573"/>
                </a:cubicBezTo>
                <a:cubicBezTo>
                  <a:pt x="11160" y="8076"/>
                  <a:pt x="11683" y="8400"/>
                  <a:pt x="12273" y="8400"/>
                </a:cubicBezTo>
                <a:cubicBezTo>
                  <a:pt x="12862" y="8400"/>
                  <a:pt x="13385" y="8076"/>
                  <a:pt x="13745" y="7573"/>
                </a:cubicBezTo>
                <a:cubicBezTo>
                  <a:pt x="14105" y="8076"/>
                  <a:pt x="14629" y="8400"/>
                  <a:pt x="15218" y="8400"/>
                </a:cubicBezTo>
                <a:cubicBezTo>
                  <a:pt x="15808" y="8400"/>
                  <a:pt x="16331" y="8076"/>
                  <a:pt x="16691" y="7573"/>
                </a:cubicBezTo>
                <a:cubicBezTo>
                  <a:pt x="17051" y="8076"/>
                  <a:pt x="17574" y="8400"/>
                  <a:pt x="18164" y="8400"/>
                </a:cubicBezTo>
                <a:cubicBezTo>
                  <a:pt x="18753" y="8400"/>
                  <a:pt x="19276" y="8076"/>
                  <a:pt x="19636" y="7573"/>
                </a:cubicBezTo>
                <a:cubicBezTo>
                  <a:pt x="19636" y="7573"/>
                  <a:pt x="19636" y="20400"/>
                  <a:pt x="19636" y="20400"/>
                </a:cubicBezTo>
                <a:close/>
                <a:moveTo>
                  <a:pt x="11782" y="20400"/>
                </a:moveTo>
                <a:lnTo>
                  <a:pt x="9818" y="204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20400"/>
                  <a:pt x="11782" y="20400"/>
                </a:cubicBezTo>
                <a:close/>
                <a:moveTo>
                  <a:pt x="21109" y="20400"/>
                </a:moveTo>
                <a:lnTo>
                  <a:pt x="20618" y="20400"/>
                </a:lnTo>
                <a:lnTo>
                  <a:pt x="20618" y="4800"/>
                </a:lnTo>
                <a:lnTo>
                  <a:pt x="21109" y="4800"/>
                </a:lnTo>
                <a:cubicBezTo>
                  <a:pt x="21380" y="4800"/>
                  <a:pt x="21600" y="4532"/>
                  <a:pt x="21600" y="4200"/>
                </a:cubicBezTo>
                <a:cubicBezTo>
                  <a:pt x="21600" y="3868"/>
                  <a:pt x="21380" y="3600"/>
                  <a:pt x="21109" y="3600"/>
                </a:cubicBezTo>
                <a:lnTo>
                  <a:pt x="20618" y="3600"/>
                </a:lnTo>
                <a:lnTo>
                  <a:pt x="20618" y="1200"/>
                </a:lnTo>
                <a:cubicBezTo>
                  <a:pt x="20618" y="538"/>
                  <a:pt x="20178" y="0"/>
                  <a:pt x="19636" y="0"/>
                </a:cubicBezTo>
                <a:lnTo>
                  <a:pt x="1964" y="0"/>
                </a:lnTo>
                <a:cubicBezTo>
                  <a:pt x="1421" y="0"/>
                  <a:pt x="982" y="538"/>
                  <a:pt x="982" y="1200"/>
                </a:cubicBezTo>
                <a:lnTo>
                  <a:pt x="982" y="3600"/>
                </a:lnTo>
                <a:lnTo>
                  <a:pt x="491" y="3600"/>
                </a:lnTo>
                <a:cubicBezTo>
                  <a:pt x="220" y="3600"/>
                  <a:pt x="0" y="3868"/>
                  <a:pt x="0" y="4200"/>
                </a:cubicBezTo>
                <a:cubicBezTo>
                  <a:pt x="0" y="4532"/>
                  <a:pt x="220" y="4800"/>
                  <a:pt x="491" y="4800"/>
                </a:cubicBezTo>
                <a:lnTo>
                  <a:pt x="982" y="4800"/>
                </a:lnTo>
                <a:lnTo>
                  <a:pt x="982" y="20400"/>
                </a:lnTo>
                <a:lnTo>
                  <a:pt x="491" y="20400"/>
                </a:lnTo>
                <a:cubicBezTo>
                  <a:pt x="220" y="20400"/>
                  <a:pt x="0" y="20669"/>
                  <a:pt x="0" y="21000"/>
                </a:cubicBez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cubicBezTo>
                  <a:pt x="21600" y="20669"/>
                  <a:pt x="21380" y="20400"/>
                  <a:pt x="21109" y="20400"/>
                </a:cubicBezTo>
                <a:moveTo>
                  <a:pt x="16691" y="16800"/>
                </a:moveTo>
                <a:lnTo>
                  <a:pt x="14727" y="16800"/>
                </a:lnTo>
                <a:lnTo>
                  <a:pt x="14727" y="14400"/>
                </a:lnTo>
                <a:lnTo>
                  <a:pt x="16691" y="14400"/>
                </a:lnTo>
                <a:cubicBezTo>
                  <a:pt x="16691" y="14400"/>
                  <a:pt x="16691" y="16800"/>
                  <a:pt x="16691" y="16800"/>
                </a:cubicBezTo>
                <a:close/>
                <a:moveTo>
                  <a:pt x="17182" y="13200"/>
                </a:moveTo>
                <a:lnTo>
                  <a:pt x="14236" y="13200"/>
                </a:lnTo>
                <a:cubicBezTo>
                  <a:pt x="13965" y="13200"/>
                  <a:pt x="13745" y="13469"/>
                  <a:pt x="13745" y="13800"/>
                </a:cubicBezTo>
                <a:lnTo>
                  <a:pt x="13745" y="17400"/>
                </a:lnTo>
                <a:cubicBezTo>
                  <a:pt x="13745" y="17732"/>
                  <a:pt x="13965" y="18000"/>
                  <a:pt x="14236" y="18000"/>
                </a:cubicBezTo>
                <a:lnTo>
                  <a:pt x="17182" y="18000"/>
                </a:lnTo>
                <a:cubicBezTo>
                  <a:pt x="17453" y="18000"/>
                  <a:pt x="17673" y="17732"/>
                  <a:pt x="17673" y="17400"/>
                </a:cubicBezTo>
                <a:lnTo>
                  <a:pt x="17673" y="13800"/>
                </a:lnTo>
                <a:cubicBezTo>
                  <a:pt x="17673" y="13469"/>
                  <a:pt x="17453" y="13200"/>
                  <a:pt x="17182" y="13200"/>
                </a:cubicBezTo>
                <a:moveTo>
                  <a:pt x="6873" y="16800"/>
                </a:moveTo>
                <a:lnTo>
                  <a:pt x="4909" y="16800"/>
                </a:lnTo>
                <a:lnTo>
                  <a:pt x="4909" y="14400"/>
                </a:lnTo>
                <a:lnTo>
                  <a:pt x="6873" y="14400"/>
                </a:lnTo>
                <a:cubicBezTo>
                  <a:pt x="6873" y="14400"/>
                  <a:pt x="6873" y="16800"/>
                  <a:pt x="6873" y="16800"/>
                </a:cubicBezTo>
                <a:close/>
                <a:moveTo>
                  <a:pt x="7364" y="13200"/>
                </a:moveTo>
                <a:lnTo>
                  <a:pt x="4418" y="13200"/>
                </a:lnTo>
                <a:cubicBezTo>
                  <a:pt x="4147" y="13200"/>
                  <a:pt x="3927" y="13469"/>
                  <a:pt x="3927" y="13800"/>
                </a:cubicBezTo>
                <a:lnTo>
                  <a:pt x="3927" y="17400"/>
                </a:lnTo>
                <a:cubicBezTo>
                  <a:pt x="3927" y="17732"/>
                  <a:pt x="4147" y="18000"/>
                  <a:pt x="4418" y="18000"/>
                </a:cubicBezTo>
                <a:lnTo>
                  <a:pt x="7364" y="18000"/>
                </a:lnTo>
                <a:cubicBezTo>
                  <a:pt x="7635" y="18000"/>
                  <a:pt x="7855" y="17732"/>
                  <a:pt x="7855" y="17400"/>
                </a:cubicBezTo>
                <a:lnTo>
                  <a:pt x="7855" y="13800"/>
                </a:lnTo>
                <a:cubicBezTo>
                  <a:pt x="7855" y="13469"/>
                  <a:pt x="7635" y="13200"/>
                  <a:pt x="7364" y="13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Shape 2632">
            <a:extLst>
              <a:ext uri="{FF2B5EF4-FFF2-40B4-BE49-F238E27FC236}">
                <a16:creationId xmlns:a16="http://schemas.microsoft.com/office/drawing/2014/main" id="{BFDB0118-09C4-40E1-8EFD-099C85D4F49A}"/>
              </a:ext>
            </a:extLst>
          </p:cNvPr>
          <p:cNvSpPr/>
          <p:nvPr/>
        </p:nvSpPr>
        <p:spPr bwMode="gray">
          <a:xfrm>
            <a:off x="10087953" y="3967152"/>
            <a:ext cx="236582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7673"/>
                </a:moveTo>
                <a:cubicBezTo>
                  <a:pt x="4588" y="17673"/>
                  <a:pt x="1200" y="16051"/>
                  <a:pt x="1200" y="15218"/>
                </a:cubicBezTo>
                <a:cubicBezTo>
                  <a:pt x="1200" y="14690"/>
                  <a:pt x="1355" y="14275"/>
                  <a:pt x="1611" y="13896"/>
                </a:cubicBezTo>
                <a:cubicBezTo>
                  <a:pt x="3255" y="14967"/>
                  <a:pt x="6746" y="15709"/>
                  <a:pt x="10800" y="15709"/>
                </a:cubicBezTo>
                <a:cubicBezTo>
                  <a:pt x="14856" y="15709"/>
                  <a:pt x="18345" y="14966"/>
                  <a:pt x="19987" y="13894"/>
                </a:cubicBezTo>
                <a:cubicBezTo>
                  <a:pt x="20244" y="14273"/>
                  <a:pt x="20400" y="14689"/>
                  <a:pt x="20400" y="15218"/>
                </a:cubicBezTo>
                <a:cubicBezTo>
                  <a:pt x="20400" y="16051"/>
                  <a:pt x="17011" y="17673"/>
                  <a:pt x="10800" y="17673"/>
                </a:cubicBezTo>
                <a:moveTo>
                  <a:pt x="10800" y="20618"/>
                </a:moveTo>
                <a:cubicBezTo>
                  <a:pt x="9475" y="20618"/>
                  <a:pt x="8400" y="19739"/>
                  <a:pt x="8400" y="18655"/>
                </a:cubicBezTo>
                <a:cubicBezTo>
                  <a:pt x="8400" y="18625"/>
                  <a:pt x="8408" y="18597"/>
                  <a:pt x="8409" y="18567"/>
                </a:cubicBezTo>
                <a:cubicBezTo>
                  <a:pt x="9179" y="18623"/>
                  <a:pt x="9977" y="18655"/>
                  <a:pt x="10800" y="18655"/>
                </a:cubicBezTo>
                <a:cubicBezTo>
                  <a:pt x="11623" y="18655"/>
                  <a:pt x="12421" y="18623"/>
                  <a:pt x="13191" y="18567"/>
                </a:cubicBezTo>
                <a:cubicBezTo>
                  <a:pt x="13192" y="18597"/>
                  <a:pt x="13200" y="18625"/>
                  <a:pt x="13200" y="18655"/>
                </a:cubicBezTo>
                <a:cubicBezTo>
                  <a:pt x="13200" y="19739"/>
                  <a:pt x="12125" y="20618"/>
                  <a:pt x="10800" y="20618"/>
                </a:cubicBezTo>
                <a:moveTo>
                  <a:pt x="2948" y="12551"/>
                </a:moveTo>
                <a:cubicBezTo>
                  <a:pt x="4308" y="11388"/>
                  <a:pt x="6000" y="9939"/>
                  <a:pt x="6000" y="6873"/>
                </a:cubicBezTo>
                <a:cubicBezTo>
                  <a:pt x="6000" y="5232"/>
                  <a:pt x="7238" y="3825"/>
                  <a:pt x="8988" y="3239"/>
                </a:cubicBezTo>
                <a:cubicBezTo>
                  <a:pt x="9428" y="3657"/>
                  <a:pt x="10072" y="3927"/>
                  <a:pt x="10800" y="3927"/>
                </a:cubicBezTo>
                <a:cubicBezTo>
                  <a:pt x="11528" y="3927"/>
                  <a:pt x="12172" y="3657"/>
                  <a:pt x="12611" y="3239"/>
                </a:cubicBezTo>
                <a:cubicBezTo>
                  <a:pt x="14362" y="3825"/>
                  <a:pt x="15600" y="5232"/>
                  <a:pt x="15600" y="6873"/>
                </a:cubicBezTo>
                <a:cubicBezTo>
                  <a:pt x="15600" y="9939"/>
                  <a:pt x="17292" y="11388"/>
                  <a:pt x="18652" y="12551"/>
                </a:cubicBezTo>
                <a:cubicBezTo>
                  <a:pt x="18911" y="12773"/>
                  <a:pt x="19152" y="12979"/>
                  <a:pt x="19366" y="13183"/>
                </a:cubicBezTo>
                <a:cubicBezTo>
                  <a:pt x="18217" y="14077"/>
                  <a:pt x="14825" y="14727"/>
                  <a:pt x="10800" y="14727"/>
                </a:cubicBezTo>
                <a:cubicBezTo>
                  <a:pt x="6779" y="14727"/>
                  <a:pt x="3383" y="14079"/>
                  <a:pt x="2230" y="13186"/>
                </a:cubicBezTo>
                <a:cubicBezTo>
                  <a:pt x="2446" y="12981"/>
                  <a:pt x="2687" y="12774"/>
                  <a:pt x="2948" y="12551"/>
                </a:cubicBezTo>
                <a:moveTo>
                  <a:pt x="10800" y="982"/>
                </a:moveTo>
                <a:cubicBezTo>
                  <a:pt x="11462" y="982"/>
                  <a:pt x="12000" y="1422"/>
                  <a:pt x="12000" y="1964"/>
                </a:cubicBezTo>
                <a:cubicBezTo>
                  <a:pt x="12000" y="2506"/>
                  <a:pt x="11462" y="2945"/>
                  <a:pt x="10800" y="2945"/>
                </a:cubicBezTo>
                <a:cubicBezTo>
                  <a:pt x="10138" y="2945"/>
                  <a:pt x="9600" y="2506"/>
                  <a:pt x="9600" y="1964"/>
                </a:cubicBezTo>
                <a:cubicBezTo>
                  <a:pt x="9600" y="1422"/>
                  <a:pt x="10138" y="982"/>
                  <a:pt x="10800" y="982"/>
                </a:cubicBezTo>
                <a:moveTo>
                  <a:pt x="21600" y="15218"/>
                </a:moveTo>
                <a:cubicBezTo>
                  <a:pt x="21600" y="11782"/>
                  <a:pt x="16800" y="11782"/>
                  <a:pt x="16800" y="6873"/>
                </a:cubicBezTo>
                <a:cubicBezTo>
                  <a:pt x="16800" y="4845"/>
                  <a:pt x="15296" y="3105"/>
                  <a:pt x="13152" y="2356"/>
                </a:cubicBezTo>
                <a:cubicBezTo>
                  <a:pt x="13183" y="2229"/>
                  <a:pt x="13200" y="2098"/>
                  <a:pt x="13200" y="1964"/>
                </a:cubicBezTo>
                <a:cubicBezTo>
                  <a:pt x="13200" y="879"/>
                  <a:pt x="12125" y="0"/>
                  <a:pt x="10800" y="0"/>
                </a:cubicBezTo>
                <a:cubicBezTo>
                  <a:pt x="9475" y="0"/>
                  <a:pt x="8400" y="879"/>
                  <a:pt x="8400" y="1964"/>
                </a:cubicBezTo>
                <a:cubicBezTo>
                  <a:pt x="8400" y="2098"/>
                  <a:pt x="8417" y="2229"/>
                  <a:pt x="8448" y="2356"/>
                </a:cubicBezTo>
                <a:cubicBezTo>
                  <a:pt x="6304" y="3105"/>
                  <a:pt x="4800" y="4845"/>
                  <a:pt x="4800" y="6873"/>
                </a:cubicBezTo>
                <a:cubicBezTo>
                  <a:pt x="4800" y="11782"/>
                  <a:pt x="0" y="11782"/>
                  <a:pt x="0" y="15218"/>
                </a:cubicBezTo>
                <a:cubicBezTo>
                  <a:pt x="0" y="16716"/>
                  <a:pt x="3016" y="17986"/>
                  <a:pt x="7217" y="18457"/>
                </a:cubicBezTo>
                <a:cubicBezTo>
                  <a:pt x="7211" y="18523"/>
                  <a:pt x="7200" y="18587"/>
                  <a:pt x="7200" y="18655"/>
                </a:cubicBezTo>
                <a:cubicBezTo>
                  <a:pt x="7200" y="20282"/>
                  <a:pt x="8812" y="21600"/>
                  <a:pt x="10800" y="21600"/>
                </a:cubicBezTo>
                <a:cubicBezTo>
                  <a:pt x="12788" y="21600"/>
                  <a:pt x="14400" y="20282"/>
                  <a:pt x="14400" y="18655"/>
                </a:cubicBezTo>
                <a:cubicBezTo>
                  <a:pt x="14400" y="18587"/>
                  <a:pt x="14389" y="18523"/>
                  <a:pt x="14383" y="18457"/>
                </a:cubicBezTo>
                <a:cubicBezTo>
                  <a:pt x="18584" y="17986"/>
                  <a:pt x="21600" y="16716"/>
                  <a:pt x="21600" y="152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Shape 2633">
            <a:extLst>
              <a:ext uri="{FF2B5EF4-FFF2-40B4-BE49-F238E27FC236}">
                <a16:creationId xmlns:a16="http://schemas.microsoft.com/office/drawing/2014/main" id="{3A85A9C6-5B95-4F29-92A0-36EB35E088FD}"/>
              </a:ext>
            </a:extLst>
          </p:cNvPr>
          <p:cNvSpPr/>
          <p:nvPr/>
        </p:nvSpPr>
        <p:spPr bwMode="gray">
          <a:xfrm>
            <a:off x="10613690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hape 2634">
            <a:extLst>
              <a:ext uri="{FF2B5EF4-FFF2-40B4-BE49-F238E27FC236}">
                <a16:creationId xmlns:a16="http://schemas.microsoft.com/office/drawing/2014/main" id="{BF20F020-4195-42A1-9F22-AD9120B75B90}"/>
              </a:ext>
            </a:extLst>
          </p:cNvPr>
          <p:cNvSpPr/>
          <p:nvPr/>
        </p:nvSpPr>
        <p:spPr bwMode="gray">
          <a:xfrm>
            <a:off x="11165715" y="3967152"/>
            <a:ext cx="289156" cy="2891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79" y="7008"/>
                </a:moveTo>
                <a:cubicBezTo>
                  <a:pt x="20006" y="12260"/>
                  <a:pt x="12624" y="19436"/>
                  <a:pt x="10800" y="20538"/>
                </a:cubicBezTo>
                <a:cubicBezTo>
                  <a:pt x="8976" y="19436"/>
                  <a:pt x="1594" y="12260"/>
                  <a:pt x="1021" y="7001"/>
                </a:cubicBezTo>
                <a:cubicBezTo>
                  <a:pt x="1021" y="7001"/>
                  <a:pt x="982" y="6718"/>
                  <a:pt x="982" y="6382"/>
                </a:cubicBezTo>
                <a:cubicBezTo>
                  <a:pt x="982" y="3404"/>
                  <a:pt x="3404" y="982"/>
                  <a:pt x="6382" y="982"/>
                </a:cubicBezTo>
                <a:cubicBezTo>
                  <a:pt x="7780" y="982"/>
                  <a:pt x="9107" y="1518"/>
                  <a:pt x="10120" y="2491"/>
                </a:cubicBezTo>
                <a:lnTo>
                  <a:pt x="10800" y="3145"/>
                </a:lnTo>
                <a:lnTo>
                  <a:pt x="11480" y="2491"/>
                </a:lnTo>
                <a:cubicBezTo>
                  <a:pt x="12493" y="1518"/>
                  <a:pt x="13820" y="982"/>
                  <a:pt x="15218" y="982"/>
                </a:cubicBezTo>
                <a:cubicBezTo>
                  <a:pt x="18196" y="982"/>
                  <a:pt x="20618" y="3404"/>
                  <a:pt x="20618" y="6382"/>
                </a:cubicBezTo>
                <a:cubicBezTo>
                  <a:pt x="20618" y="6725"/>
                  <a:pt x="20579" y="7008"/>
                  <a:pt x="20579" y="7008"/>
                </a:cubicBezTo>
                <a:moveTo>
                  <a:pt x="21600" y="6382"/>
                </a:moveTo>
                <a:cubicBezTo>
                  <a:pt x="21600" y="2857"/>
                  <a:pt x="18743" y="0"/>
                  <a:pt x="15218" y="0"/>
                </a:cubicBezTo>
                <a:cubicBezTo>
                  <a:pt x="13502" y="0"/>
                  <a:pt x="11947" y="681"/>
                  <a:pt x="10800" y="1784"/>
                </a:cubicBezTo>
                <a:cubicBezTo>
                  <a:pt x="9653" y="681"/>
                  <a:pt x="8098" y="0"/>
                  <a:pt x="6382" y="0"/>
                </a:cubicBezTo>
                <a:cubicBezTo>
                  <a:pt x="2857" y="0"/>
                  <a:pt x="0" y="2857"/>
                  <a:pt x="0" y="6382"/>
                </a:cubicBezTo>
                <a:cubicBezTo>
                  <a:pt x="0" y="6792"/>
                  <a:pt x="65" y="7282"/>
                  <a:pt x="45" y="7115"/>
                </a:cubicBezTo>
                <a:cubicBezTo>
                  <a:pt x="733" y="13419"/>
                  <a:pt x="9855" y="21600"/>
                  <a:pt x="10800" y="21600"/>
                </a:cubicBezTo>
                <a:cubicBezTo>
                  <a:pt x="11745" y="21600"/>
                  <a:pt x="20867" y="13419"/>
                  <a:pt x="21555" y="7115"/>
                </a:cubicBezTo>
                <a:cubicBezTo>
                  <a:pt x="21536" y="7282"/>
                  <a:pt x="21600" y="6792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37CC5C-3187-4001-82D2-EE18080E75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6611530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14E423-9A88-4BFB-9A19-7CC3227F6F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19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14E423-9A88-4BFB-9A19-7CC3227F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FC8A8E-202C-4440-99DC-A79438A3CC9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2/5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5ABE148-4055-4F6D-877A-1A57F7956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lectronics &amp; Miscellaneo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6C709D-6C69-411D-A724-861E5B126E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B178B9D0-CB4E-403C-AF63-35B6B7DFD5C5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FB6766-3BF6-4EE3-8ACB-29ABEAECE7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59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CDE2B37-03D6-4BE0-B8C1-8CF244BEB489}"/>
              </a:ext>
            </a:extLst>
          </p:cNvPr>
          <p:cNvGrpSpPr/>
          <p:nvPr/>
        </p:nvGrpSpPr>
        <p:grpSpPr bwMode="gray">
          <a:xfrm>
            <a:off x="617538" y="1759045"/>
            <a:ext cx="10837332" cy="4126447"/>
            <a:chOff x="617538" y="1759045"/>
            <a:chExt cx="10837332" cy="4126447"/>
          </a:xfrm>
        </p:grpSpPr>
        <p:sp>
          <p:nvSpPr>
            <p:cNvPr id="28" name="Shape 2637">
              <a:extLst>
                <a:ext uri="{FF2B5EF4-FFF2-40B4-BE49-F238E27FC236}">
                  <a16:creationId xmlns:a16="http://schemas.microsoft.com/office/drawing/2014/main" id="{52FAF35D-7D3D-45CE-B2EF-5A7B10275A41}"/>
                </a:ext>
              </a:extLst>
            </p:cNvPr>
            <p:cNvSpPr/>
            <p:nvPr/>
          </p:nvSpPr>
          <p:spPr bwMode="gray">
            <a:xfrm>
              <a:off x="683218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8836"/>
                  </a:moveTo>
                  <a:lnTo>
                    <a:pt x="16200" y="8836"/>
                  </a:lnTo>
                  <a:lnTo>
                    <a:pt x="16200" y="11782"/>
                  </a:lnTo>
                  <a:cubicBezTo>
                    <a:pt x="16200" y="13409"/>
                    <a:pt x="13783" y="14727"/>
                    <a:pt x="10800" y="14727"/>
                  </a:cubicBezTo>
                  <a:cubicBezTo>
                    <a:pt x="7817" y="14727"/>
                    <a:pt x="5400" y="13409"/>
                    <a:pt x="5400" y="11782"/>
                  </a:cubicBezTo>
                  <a:cubicBezTo>
                    <a:pt x="5400" y="11782"/>
                    <a:pt x="5400" y="8836"/>
                    <a:pt x="5400" y="8836"/>
                  </a:cubicBezTo>
                  <a:close/>
                  <a:moveTo>
                    <a:pt x="5400" y="3927"/>
                  </a:moveTo>
                  <a:cubicBezTo>
                    <a:pt x="5400" y="2301"/>
                    <a:pt x="7817" y="982"/>
                    <a:pt x="10800" y="982"/>
                  </a:cubicBezTo>
                  <a:cubicBezTo>
                    <a:pt x="13783" y="982"/>
                    <a:pt x="16200" y="2301"/>
                    <a:pt x="16200" y="3927"/>
                  </a:cubicBezTo>
                  <a:lnTo>
                    <a:pt x="16200" y="7855"/>
                  </a:lnTo>
                  <a:lnTo>
                    <a:pt x="5400" y="7855"/>
                  </a:lnTo>
                  <a:cubicBezTo>
                    <a:pt x="5400" y="7855"/>
                    <a:pt x="5400" y="3927"/>
                    <a:pt x="5400" y="3927"/>
                  </a:cubicBezTo>
                  <a:close/>
                  <a:moveTo>
                    <a:pt x="10800" y="15709"/>
                  </a:moveTo>
                  <a:cubicBezTo>
                    <a:pt x="14777" y="15709"/>
                    <a:pt x="18000" y="13951"/>
                    <a:pt x="18000" y="11782"/>
                  </a:cubicBezTo>
                  <a:lnTo>
                    <a:pt x="18000" y="3927"/>
                  </a:lnTo>
                  <a:cubicBezTo>
                    <a:pt x="18000" y="1758"/>
                    <a:pt x="14777" y="0"/>
                    <a:pt x="10800" y="0"/>
                  </a:cubicBezTo>
                  <a:cubicBezTo>
                    <a:pt x="6823" y="0"/>
                    <a:pt x="3600" y="1758"/>
                    <a:pt x="3600" y="3927"/>
                  </a:cubicBezTo>
                  <a:lnTo>
                    <a:pt x="3600" y="11782"/>
                  </a:lnTo>
                  <a:cubicBezTo>
                    <a:pt x="3600" y="13951"/>
                    <a:pt x="6823" y="15709"/>
                    <a:pt x="10800" y="15709"/>
                  </a:cubicBezTo>
                  <a:moveTo>
                    <a:pt x="21600" y="11782"/>
                  </a:moveTo>
                  <a:lnTo>
                    <a:pt x="21600" y="10309"/>
                  </a:lnTo>
                  <a:cubicBezTo>
                    <a:pt x="21600" y="10038"/>
                    <a:pt x="21197" y="9818"/>
                    <a:pt x="20700" y="9818"/>
                  </a:cubicBezTo>
                  <a:cubicBezTo>
                    <a:pt x="20203" y="9818"/>
                    <a:pt x="19800" y="10038"/>
                    <a:pt x="19800" y="10309"/>
                  </a:cubicBezTo>
                  <a:lnTo>
                    <a:pt x="19800" y="11782"/>
                  </a:lnTo>
                  <a:cubicBezTo>
                    <a:pt x="19800" y="14493"/>
                    <a:pt x="15771" y="16691"/>
                    <a:pt x="10800" y="16691"/>
                  </a:cubicBezTo>
                  <a:cubicBezTo>
                    <a:pt x="5829" y="16691"/>
                    <a:pt x="1800" y="14493"/>
                    <a:pt x="1800" y="11782"/>
                  </a:cubicBezTo>
                  <a:lnTo>
                    <a:pt x="1800" y="10309"/>
                  </a:lnTo>
                  <a:cubicBezTo>
                    <a:pt x="1800" y="10038"/>
                    <a:pt x="1397" y="9818"/>
                    <a:pt x="900" y="9818"/>
                  </a:cubicBezTo>
                  <a:cubicBezTo>
                    <a:pt x="403" y="9818"/>
                    <a:pt x="0" y="10038"/>
                    <a:pt x="0" y="10309"/>
                  </a:cubicBezTo>
                  <a:lnTo>
                    <a:pt x="0" y="11782"/>
                  </a:lnTo>
                  <a:cubicBezTo>
                    <a:pt x="0" y="14870"/>
                    <a:pt x="4358" y="17398"/>
                    <a:pt x="9900" y="17648"/>
                  </a:cubicBezTo>
                  <a:lnTo>
                    <a:pt x="9900" y="20618"/>
                  </a:lnTo>
                  <a:lnTo>
                    <a:pt x="3600" y="20618"/>
                  </a:lnTo>
                  <a:cubicBezTo>
                    <a:pt x="3103" y="20618"/>
                    <a:pt x="2700" y="20838"/>
                    <a:pt x="2700" y="21110"/>
                  </a:cubicBezTo>
                  <a:cubicBezTo>
                    <a:pt x="2700" y="21381"/>
                    <a:pt x="3103" y="21600"/>
                    <a:pt x="3600" y="21600"/>
                  </a:cubicBezTo>
                  <a:lnTo>
                    <a:pt x="18000" y="21600"/>
                  </a:lnTo>
                  <a:cubicBezTo>
                    <a:pt x="18497" y="21600"/>
                    <a:pt x="18900" y="21381"/>
                    <a:pt x="18900" y="21110"/>
                  </a:cubicBezTo>
                  <a:cubicBezTo>
                    <a:pt x="18900" y="20838"/>
                    <a:pt x="18497" y="20618"/>
                    <a:pt x="18000" y="20618"/>
                  </a:cubicBezTo>
                  <a:lnTo>
                    <a:pt x="11700" y="20618"/>
                  </a:lnTo>
                  <a:lnTo>
                    <a:pt x="11700" y="17648"/>
                  </a:lnTo>
                  <a:cubicBezTo>
                    <a:pt x="17243" y="17398"/>
                    <a:pt x="21600" y="14870"/>
                    <a:pt x="21600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Shape 2638">
              <a:extLst>
                <a:ext uri="{FF2B5EF4-FFF2-40B4-BE49-F238E27FC236}">
                  <a16:creationId xmlns:a16="http://schemas.microsoft.com/office/drawing/2014/main" id="{1C2CA6A0-59B2-4F59-B3D0-B1BE50305355}"/>
                </a:ext>
              </a:extLst>
            </p:cNvPr>
            <p:cNvSpPr/>
            <p:nvPr/>
          </p:nvSpPr>
          <p:spPr bwMode="gray">
            <a:xfrm>
              <a:off x="1169252" y="1759045"/>
              <a:ext cx="288894" cy="289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31" h="21132" extrusionOk="0">
                  <a:moveTo>
                    <a:pt x="19045" y="7530"/>
                  </a:moveTo>
                  <a:cubicBezTo>
                    <a:pt x="17544" y="9030"/>
                    <a:pt x="15110" y="9030"/>
                    <a:pt x="13610" y="7530"/>
                  </a:cubicBezTo>
                  <a:cubicBezTo>
                    <a:pt x="12108" y="6031"/>
                    <a:pt x="12108" y="3600"/>
                    <a:pt x="13610" y="2100"/>
                  </a:cubicBezTo>
                  <a:cubicBezTo>
                    <a:pt x="15110" y="600"/>
                    <a:pt x="17544" y="600"/>
                    <a:pt x="19045" y="2100"/>
                  </a:cubicBezTo>
                  <a:cubicBezTo>
                    <a:pt x="20546" y="3600"/>
                    <a:pt x="20546" y="6031"/>
                    <a:pt x="19045" y="7530"/>
                  </a:cubicBezTo>
                  <a:moveTo>
                    <a:pt x="7605" y="16245"/>
                  </a:moveTo>
                  <a:cubicBezTo>
                    <a:pt x="7256" y="16593"/>
                    <a:pt x="6776" y="16807"/>
                    <a:pt x="6245" y="16807"/>
                  </a:cubicBezTo>
                  <a:cubicBezTo>
                    <a:pt x="5184" y="16807"/>
                    <a:pt x="4324" y="15948"/>
                    <a:pt x="4324" y="14888"/>
                  </a:cubicBezTo>
                  <a:cubicBezTo>
                    <a:pt x="4324" y="14358"/>
                    <a:pt x="4539" y="13878"/>
                    <a:pt x="4887" y="13530"/>
                  </a:cubicBezTo>
                  <a:lnTo>
                    <a:pt x="11678" y="5991"/>
                  </a:lnTo>
                  <a:cubicBezTo>
                    <a:pt x="11884" y="6798"/>
                    <a:pt x="12298" y="7563"/>
                    <a:pt x="12930" y="8194"/>
                  </a:cubicBezTo>
                  <a:cubicBezTo>
                    <a:pt x="13569" y="8832"/>
                    <a:pt x="14343" y="9248"/>
                    <a:pt x="15160" y="9451"/>
                  </a:cubicBezTo>
                  <a:cubicBezTo>
                    <a:pt x="15160" y="9451"/>
                    <a:pt x="7605" y="16245"/>
                    <a:pt x="7605" y="16245"/>
                  </a:cubicBezTo>
                  <a:close/>
                  <a:moveTo>
                    <a:pt x="19724" y="1406"/>
                  </a:moveTo>
                  <a:cubicBezTo>
                    <a:pt x="17848" y="-468"/>
                    <a:pt x="14806" y="-468"/>
                    <a:pt x="12930" y="1406"/>
                  </a:cubicBezTo>
                  <a:cubicBezTo>
                    <a:pt x="12024" y="2312"/>
                    <a:pt x="11559" y="3489"/>
                    <a:pt x="11529" y="4676"/>
                  </a:cubicBezTo>
                  <a:lnTo>
                    <a:pt x="4207" y="12851"/>
                  </a:lnTo>
                  <a:cubicBezTo>
                    <a:pt x="3686" y="13373"/>
                    <a:pt x="3363" y="14093"/>
                    <a:pt x="3363" y="14888"/>
                  </a:cubicBezTo>
                  <a:cubicBezTo>
                    <a:pt x="3363" y="15420"/>
                    <a:pt x="3518" y="15912"/>
                    <a:pt x="3769" y="16340"/>
                  </a:cubicBezTo>
                  <a:cubicBezTo>
                    <a:pt x="2436" y="17104"/>
                    <a:pt x="1907" y="17813"/>
                    <a:pt x="2425" y="19364"/>
                  </a:cubicBezTo>
                  <a:cubicBezTo>
                    <a:pt x="2487" y="19550"/>
                    <a:pt x="2434" y="19622"/>
                    <a:pt x="2409" y="19658"/>
                  </a:cubicBezTo>
                  <a:cubicBezTo>
                    <a:pt x="2160" y="20003"/>
                    <a:pt x="1132" y="20167"/>
                    <a:pt x="500" y="20172"/>
                  </a:cubicBezTo>
                  <a:cubicBezTo>
                    <a:pt x="493" y="20171"/>
                    <a:pt x="487" y="20167"/>
                    <a:pt x="480" y="20167"/>
                  </a:cubicBezTo>
                  <a:cubicBezTo>
                    <a:pt x="215" y="20167"/>
                    <a:pt x="0" y="20383"/>
                    <a:pt x="0" y="20647"/>
                  </a:cubicBezTo>
                  <a:cubicBezTo>
                    <a:pt x="0" y="20912"/>
                    <a:pt x="214" y="21126"/>
                    <a:pt x="479" y="21127"/>
                  </a:cubicBezTo>
                  <a:lnTo>
                    <a:pt x="479" y="21132"/>
                  </a:lnTo>
                  <a:cubicBezTo>
                    <a:pt x="821" y="21132"/>
                    <a:pt x="2562" y="21088"/>
                    <a:pt x="3189" y="20219"/>
                  </a:cubicBezTo>
                  <a:cubicBezTo>
                    <a:pt x="3355" y="19988"/>
                    <a:pt x="3516" y="19599"/>
                    <a:pt x="3336" y="19060"/>
                  </a:cubicBezTo>
                  <a:cubicBezTo>
                    <a:pt x="3030" y="18141"/>
                    <a:pt x="3071" y="17806"/>
                    <a:pt x="4399" y="17082"/>
                  </a:cubicBezTo>
                  <a:cubicBezTo>
                    <a:pt x="4900" y="17504"/>
                    <a:pt x="5539" y="17767"/>
                    <a:pt x="6245" y="17767"/>
                  </a:cubicBezTo>
                  <a:cubicBezTo>
                    <a:pt x="7042" y="17767"/>
                    <a:pt x="7762" y="17445"/>
                    <a:pt x="8284" y="16924"/>
                  </a:cubicBezTo>
                  <a:lnTo>
                    <a:pt x="16485" y="9592"/>
                  </a:lnTo>
                  <a:cubicBezTo>
                    <a:pt x="17662" y="9554"/>
                    <a:pt x="18826" y="9091"/>
                    <a:pt x="19724" y="8194"/>
                  </a:cubicBezTo>
                  <a:cubicBezTo>
                    <a:pt x="21600" y="6320"/>
                    <a:pt x="21600" y="3281"/>
                    <a:pt x="19724" y="1406"/>
                  </a:cubicBezTo>
                  <a:moveTo>
                    <a:pt x="8953" y="11504"/>
                  </a:moveTo>
                  <a:lnTo>
                    <a:pt x="9633" y="12183"/>
                  </a:lnTo>
                  <a:lnTo>
                    <a:pt x="12690" y="9807"/>
                  </a:lnTo>
                  <a:lnTo>
                    <a:pt x="11331" y="8449"/>
                  </a:lnTo>
                  <a:cubicBezTo>
                    <a:pt x="11331" y="8449"/>
                    <a:pt x="8953" y="11504"/>
                    <a:pt x="8953" y="115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Shape 2639">
              <a:extLst>
                <a:ext uri="{FF2B5EF4-FFF2-40B4-BE49-F238E27FC236}">
                  <a16:creationId xmlns:a16="http://schemas.microsoft.com/office/drawing/2014/main" id="{53370873-DAAC-472F-B814-F87F30E22C85}"/>
                </a:ext>
              </a:extLst>
            </p:cNvPr>
            <p:cNvSpPr/>
            <p:nvPr/>
          </p:nvSpPr>
          <p:spPr bwMode="gray">
            <a:xfrm>
              <a:off x="1720965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3086"/>
                  </a:moveTo>
                  <a:cubicBezTo>
                    <a:pt x="12984" y="3086"/>
                    <a:pt x="12764" y="3432"/>
                    <a:pt x="12764" y="3857"/>
                  </a:cubicBezTo>
                  <a:cubicBezTo>
                    <a:pt x="12764" y="4284"/>
                    <a:pt x="12984" y="4629"/>
                    <a:pt x="13255" y="4629"/>
                  </a:cubicBezTo>
                  <a:cubicBezTo>
                    <a:pt x="13525" y="4629"/>
                    <a:pt x="13745" y="4284"/>
                    <a:pt x="13745" y="3857"/>
                  </a:cubicBezTo>
                  <a:cubicBezTo>
                    <a:pt x="13745" y="3432"/>
                    <a:pt x="13525" y="3086"/>
                    <a:pt x="13255" y="3086"/>
                  </a:cubicBezTo>
                  <a:moveTo>
                    <a:pt x="20618" y="16495"/>
                  </a:moveTo>
                  <a:lnTo>
                    <a:pt x="15709" y="12638"/>
                  </a:lnTo>
                  <a:lnTo>
                    <a:pt x="15709" y="8963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4727" y="16971"/>
                  </a:moveTo>
                  <a:lnTo>
                    <a:pt x="982" y="169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3745" y="1543"/>
                  </a:lnTo>
                  <a:cubicBezTo>
                    <a:pt x="14287" y="1543"/>
                    <a:pt x="14727" y="2234"/>
                    <a:pt x="14727" y="3086"/>
                  </a:cubicBezTo>
                  <a:cubicBezTo>
                    <a:pt x="14727" y="3086"/>
                    <a:pt x="14727" y="16971"/>
                    <a:pt x="14727" y="16971"/>
                  </a:cubicBezTo>
                  <a:close/>
                  <a:moveTo>
                    <a:pt x="13745" y="20057"/>
                  </a:move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14727" y="18514"/>
                  </a:lnTo>
                  <a:cubicBezTo>
                    <a:pt x="14727" y="19367"/>
                    <a:pt x="14287" y="20057"/>
                    <a:pt x="13745" y="20057"/>
                  </a:cubicBezTo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5709" y="7237"/>
                  </a:lnTo>
                  <a:lnTo>
                    <a:pt x="15709" y="3086"/>
                  </a:lnTo>
                  <a:cubicBezTo>
                    <a:pt x="15709" y="1382"/>
                    <a:pt x="14830" y="0"/>
                    <a:pt x="13745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3745" y="21600"/>
                  </a:lnTo>
                  <a:cubicBezTo>
                    <a:pt x="14830" y="21600"/>
                    <a:pt x="15709" y="20219"/>
                    <a:pt x="15709" y="18514"/>
                  </a:cubicBezTo>
                  <a:lnTo>
                    <a:pt x="15709" y="14363"/>
                  </a:lnTo>
                  <a:lnTo>
                    <a:pt x="20890" y="18433"/>
                  </a:lnTo>
                  <a:lnTo>
                    <a:pt x="20892" y="18427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70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0309" y="6171"/>
                  </a:moveTo>
                  <a:cubicBezTo>
                    <a:pt x="10038" y="6171"/>
                    <a:pt x="9818" y="5827"/>
                    <a:pt x="9818" y="5400"/>
                  </a:cubicBezTo>
                  <a:cubicBezTo>
                    <a:pt x="9818" y="4974"/>
                    <a:pt x="10038" y="4629"/>
                    <a:pt x="10309" y="4629"/>
                  </a:cubicBezTo>
                  <a:cubicBezTo>
                    <a:pt x="10580" y="4629"/>
                    <a:pt x="10800" y="4974"/>
                    <a:pt x="10800" y="5400"/>
                  </a:cubicBezTo>
                  <a:cubicBezTo>
                    <a:pt x="10800" y="5827"/>
                    <a:pt x="10580" y="6171"/>
                    <a:pt x="10309" y="6171"/>
                  </a:cubicBezTo>
                  <a:moveTo>
                    <a:pt x="10309" y="3086"/>
                  </a:moveTo>
                  <a:cubicBezTo>
                    <a:pt x="9496" y="3086"/>
                    <a:pt x="8836" y="4123"/>
                    <a:pt x="8836" y="5400"/>
                  </a:cubicBezTo>
                  <a:cubicBezTo>
                    <a:pt x="8836" y="6678"/>
                    <a:pt x="9496" y="7714"/>
                    <a:pt x="10309" y="7714"/>
                  </a:cubicBezTo>
                  <a:cubicBezTo>
                    <a:pt x="11123" y="7714"/>
                    <a:pt x="11782" y="6678"/>
                    <a:pt x="11782" y="5400"/>
                  </a:cubicBezTo>
                  <a:cubicBezTo>
                    <a:pt x="11782" y="4123"/>
                    <a:pt x="11123" y="3086"/>
                    <a:pt x="10309" y="308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Shape 2640">
              <a:extLst>
                <a:ext uri="{FF2B5EF4-FFF2-40B4-BE49-F238E27FC236}">
                  <a16:creationId xmlns:a16="http://schemas.microsoft.com/office/drawing/2014/main" id="{59340E49-60D2-4FC7-A911-4BE60AED3157}"/>
                </a:ext>
              </a:extLst>
            </p:cNvPr>
            <p:cNvSpPr/>
            <p:nvPr/>
          </p:nvSpPr>
          <p:spPr bwMode="gray">
            <a:xfrm>
              <a:off x="2272679" y="1800703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495"/>
                  </a:moveTo>
                  <a:lnTo>
                    <a:pt x="19636" y="15723"/>
                  </a:lnTo>
                  <a:lnTo>
                    <a:pt x="19636" y="5877"/>
                  </a:lnTo>
                  <a:lnTo>
                    <a:pt x="20618" y="5105"/>
                  </a:lnTo>
                  <a:cubicBezTo>
                    <a:pt x="20618" y="5105"/>
                    <a:pt x="20618" y="16495"/>
                    <a:pt x="20618" y="16495"/>
                  </a:cubicBezTo>
                  <a:close/>
                  <a:moveTo>
                    <a:pt x="18655" y="14952"/>
                  </a:moveTo>
                  <a:lnTo>
                    <a:pt x="16691" y="13409"/>
                  </a:lnTo>
                  <a:lnTo>
                    <a:pt x="16691" y="8191"/>
                  </a:lnTo>
                  <a:lnTo>
                    <a:pt x="18655" y="6648"/>
                  </a:lnTo>
                  <a:cubicBezTo>
                    <a:pt x="18655" y="6648"/>
                    <a:pt x="18655" y="14952"/>
                    <a:pt x="18655" y="14952"/>
                  </a:cubicBezTo>
                  <a:close/>
                  <a:moveTo>
                    <a:pt x="15709" y="6171"/>
                  </a:moveTo>
                  <a:lnTo>
                    <a:pt x="982" y="6171"/>
                  </a:lnTo>
                  <a:lnTo>
                    <a:pt x="982" y="3086"/>
                  </a:lnTo>
                  <a:cubicBezTo>
                    <a:pt x="982" y="2234"/>
                    <a:pt x="1422" y="1543"/>
                    <a:pt x="1964" y="1543"/>
                  </a:cubicBezTo>
                  <a:lnTo>
                    <a:pt x="14727" y="1543"/>
                  </a:lnTo>
                  <a:cubicBezTo>
                    <a:pt x="15269" y="1543"/>
                    <a:pt x="15709" y="2234"/>
                    <a:pt x="15709" y="3086"/>
                  </a:cubicBezTo>
                  <a:cubicBezTo>
                    <a:pt x="15709" y="3086"/>
                    <a:pt x="15709" y="6171"/>
                    <a:pt x="15709" y="6171"/>
                  </a:cubicBezTo>
                  <a:close/>
                  <a:moveTo>
                    <a:pt x="15709" y="18514"/>
                  </a:moveTo>
                  <a:cubicBezTo>
                    <a:pt x="15709" y="19367"/>
                    <a:pt x="15269" y="20057"/>
                    <a:pt x="14727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7714"/>
                  </a:lnTo>
                  <a:lnTo>
                    <a:pt x="15709" y="7714"/>
                  </a:lnTo>
                  <a:cubicBezTo>
                    <a:pt x="15709" y="7714"/>
                    <a:pt x="15709" y="18514"/>
                    <a:pt x="15709" y="18514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5"/>
                  </a:cubicBezTo>
                  <a:lnTo>
                    <a:pt x="20890" y="3167"/>
                  </a:lnTo>
                  <a:lnTo>
                    <a:pt x="16691" y="6467"/>
                  </a:lnTo>
                  <a:lnTo>
                    <a:pt x="16691" y="3086"/>
                  </a:lnTo>
                  <a:cubicBezTo>
                    <a:pt x="16691" y="1382"/>
                    <a:pt x="15812" y="0"/>
                    <a:pt x="14727" y="0"/>
                  </a:cubicBez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219"/>
                    <a:pt x="16691" y="18514"/>
                  </a:cubicBezTo>
                  <a:lnTo>
                    <a:pt x="16691" y="15134"/>
                  </a:ln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2"/>
                    <a:pt x="21380" y="3086"/>
                    <a:pt x="21109" y="3086"/>
                  </a:cubicBezTo>
                  <a:moveTo>
                    <a:pt x="12273" y="3086"/>
                  </a:moveTo>
                  <a:cubicBezTo>
                    <a:pt x="12002" y="3086"/>
                    <a:pt x="11782" y="3432"/>
                    <a:pt x="11782" y="3857"/>
                  </a:cubicBezTo>
                  <a:cubicBezTo>
                    <a:pt x="11782" y="4284"/>
                    <a:pt x="12002" y="4629"/>
                    <a:pt x="12273" y="4629"/>
                  </a:cubicBezTo>
                  <a:cubicBezTo>
                    <a:pt x="12544" y="4629"/>
                    <a:pt x="12764" y="4284"/>
                    <a:pt x="12764" y="3857"/>
                  </a:cubicBezTo>
                  <a:cubicBezTo>
                    <a:pt x="12764" y="3432"/>
                    <a:pt x="12544" y="3086"/>
                    <a:pt x="12273" y="3086"/>
                  </a:cubicBezTo>
                  <a:moveTo>
                    <a:pt x="14236" y="3086"/>
                  </a:moveTo>
                  <a:cubicBezTo>
                    <a:pt x="13966" y="3086"/>
                    <a:pt x="13745" y="3432"/>
                    <a:pt x="13745" y="3857"/>
                  </a:cubicBezTo>
                  <a:cubicBezTo>
                    <a:pt x="13745" y="4284"/>
                    <a:pt x="13966" y="4629"/>
                    <a:pt x="14236" y="4629"/>
                  </a:cubicBezTo>
                  <a:cubicBezTo>
                    <a:pt x="14507" y="4629"/>
                    <a:pt x="14727" y="4284"/>
                    <a:pt x="14727" y="3857"/>
                  </a:cubicBezTo>
                  <a:cubicBezTo>
                    <a:pt x="14727" y="3432"/>
                    <a:pt x="14507" y="3086"/>
                    <a:pt x="14236" y="3086"/>
                  </a:cubicBezTo>
                  <a:moveTo>
                    <a:pt x="5400" y="10800"/>
                  </a:moveTo>
                  <a:cubicBezTo>
                    <a:pt x="6214" y="10800"/>
                    <a:pt x="6873" y="11837"/>
                    <a:pt x="6873" y="13114"/>
                  </a:cubicBezTo>
                  <a:cubicBezTo>
                    <a:pt x="6873" y="14393"/>
                    <a:pt x="6214" y="15429"/>
                    <a:pt x="5400" y="15429"/>
                  </a:cubicBezTo>
                  <a:cubicBezTo>
                    <a:pt x="4586" y="15429"/>
                    <a:pt x="3927" y="14393"/>
                    <a:pt x="3927" y="13114"/>
                  </a:cubicBezTo>
                  <a:cubicBezTo>
                    <a:pt x="3927" y="11837"/>
                    <a:pt x="4586" y="10800"/>
                    <a:pt x="5400" y="10800"/>
                  </a:cubicBezTo>
                  <a:moveTo>
                    <a:pt x="11291" y="10800"/>
                  </a:moveTo>
                  <a:cubicBezTo>
                    <a:pt x="12104" y="10800"/>
                    <a:pt x="12764" y="11837"/>
                    <a:pt x="12764" y="13114"/>
                  </a:cubicBezTo>
                  <a:cubicBezTo>
                    <a:pt x="12764" y="14393"/>
                    <a:pt x="12104" y="15429"/>
                    <a:pt x="11291" y="15429"/>
                  </a:cubicBezTo>
                  <a:cubicBezTo>
                    <a:pt x="10477" y="15429"/>
                    <a:pt x="9818" y="14393"/>
                    <a:pt x="9818" y="13114"/>
                  </a:cubicBezTo>
                  <a:cubicBezTo>
                    <a:pt x="9818" y="11837"/>
                    <a:pt x="10477" y="10800"/>
                    <a:pt x="11291" y="10800"/>
                  </a:cubicBezTo>
                  <a:moveTo>
                    <a:pt x="5400" y="16971"/>
                  </a:moveTo>
                  <a:lnTo>
                    <a:pt x="11291" y="16971"/>
                  </a:lnTo>
                  <a:cubicBezTo>
                    <a:pt x="12647" y="16971"/>
                    <a:pt x="13745" y="15245"/>
                    <a:pt x="13745" y="13114"/>
                  </a:cubicBezTo>
                  <a:cubicBezTo>
                    <a:pt x="13745" y="10984"/>
                    <a:pt x="12647" y="9257"/>
                    <a:pt x="11291" y="9257"/>
                  </a:cubicBezTo>
                  <a:cubicBezTo>
                    <a:pt x="9935" y="9257"/>
                    <a:pt x="8836" y="10984"/>
                    <a:pt x="8836" y="13114"/>
                  </a:cubicBezTo>
                  <a:cubicBezTo>
                    <a:pt x="8836" y="13987"/>
                    <a:pt x="9028" y="14782"/>
                    <a:pt x="9338" y="15429"/>
                  </a:cubicBezTo>
                  <a:lnTo>
                    <a:pt x="7352" y="15429"/>
                  </a:lnTo>
                  <a:cubicBezTo>
                    <a:pt x="7663" y="14782"/>
                    <a:pt x="7855" y="13987"/>
                    <a:pt x="7855" y="13114"/>
                  </a:cubicBezTo>
                  <a:cubicBezTo>
                    <a:pt x="7855" y="10984"/>
                    <a:pt x="6755" y="9257"/>
                    <a:pt x="5400" y="9257"/>
                  </a:cubicBezTo>
                  <a:cubicBezTo>
                    <a:pt x="4044" y="9257"/>
                    <a:pt x="2945" y="10984"/>
                    <a:pt x="2945" y="13114"/>
                  </a:cubicBezTo>
                  <a:cubicBezTo>
                    <a:pt x="2945" y="15245"/>
                    <a:pt x="4044" y="16971"/>
                    <a:pt x="5400" y="1697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Shape 2641">
              <a:extLst>
                <a:ext uri="{FF2B5EF4-FFF2-40B4-BE49-F238E27FC236}">
                  <a16:creationId xmlns:a16="http://schemas.microsoft.com/office/drawing/2014/main" id="{442BDE2E-E463-4326-97F9-ACF3D004006A}"/>
                </a:ext>
              </a:extLst>
            </p:cNvPr>
            <p:cNvSpPr/>
            <p:nvPr/>
          </p:nvSpPr>
          <p:spPr bwMode="gray">
            <a:xfrm>
              <a:off x="2824392" y="1811589"/>
              <a:ext cx="288993" cy="1839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06"/>
                  </a:moveTo>
                  <a:lnTo>
                    <a:pt x="16691" y="14138"/>
                  </a:lnTo>
                  <a:lnTo>
                    <a:pt x="16691" y="7462"/>
                  </a:lnTo>
                  <a:lnTo>
                    <a:pt x="20618" y="4994"/>
                  </a:lnTo>
                  <a:cubicBezTo>
                    <a:pt x="20618" y="4994"/>
                    <a:pt x="20618" y="16606"/>
                    <a:pt x="20618" y="16606"/>
                  </a:cubicBezTo>
                  <a:close/>
                  <a:moveTo>
                    <a:pt x="21109" y="3086"/>
                  </a:moveTo>
                  <a:cubicBezTo>
                    <a:pt x="21030" y="3086"/>
                    <a:pt x="20958" y="3122"/>
                    <a:pt x="20892" y="3174"/>
                  </a:cubicBezTo>
                  <a:lnTo>
                    <a:pt x="20890" y="3167"/>
                  </a:lnTo>
                  <a:lnTo>
                    <a:pt x="16018" y="6229"/>
                  </a:lnTo>
                  <a:cubicBezTo>
                    <a:pt x="16013" y="6233"/>
                    <a:pt x="16008" y="6235"/>
                    <a:pt x="16003" y="6239"/>
                  </a:cubicBezTo>
                  <a:lnTo>
                    <a:pt x="15980" y="6252"/>
                  </a:lnTo>
                  <a:lnTo>
                    <a:pt x="15983" y="6260"/>
                  </a:lnTo>
                  <a:cubicBezTo>
                    <a:pt x="15822" y="6387"/>
                    <a:pt x="15709" y="6641"/>
                    <a:pt x="15709" y="6943"/>
                  </a:cubicBezTo>
                  <a:lnTo>
                    <a:pt x="15709" y="14657"/>
                  </a:lnTo>
                  <a:cubicBezTo>
                    <a:pt x="15709" y="14959"/>
                    <a:pt x="15822" y="15213"/>
                    <a:pt x="15983" y="15340"/>
                  </a:cubicBezTo>
                  <a:lnTo>
                    <a:pt x="15980" y="15347"/>
                  </a:lnTo>
                  <a:lnTo>
                    <a:pt x="16002" y="15360"/>
                  </a:lnTo>
                  <a:cubicBezTo>
                    <a:pt x="16008" y="15365"/>
                    <a:pt x="16013" y="15368"/>
                    <a:pt x="16018" y="15371"/>
                  </a:cubicBezTo>
                  <a:lnTo>
                    <a:pt x="20890" y="18433"/>
                  </a:lnTo>
                  <a:lnTo>
                    <a:pt x="20892" y="18426"/>
                  </a:lnTo>
                  <a:cubicBezTo>
                    <a:pt x="20958" y="18478"/>
                    <a:pt x="21030" y="18514"/>
                    <a:pt x="21109" y="18514"/>
                  </a:cubicBezTo>
                  <a:cubicBezTo>
                    <a:pt x="21380" y="18514"/>
                    <a:pt x="21600" y="18169"/>
                    <a:pt x="21600" y="17743"/>
                  </a:cubicBezTo>
                  <a:lnTo>
                    <a:pt x="21600" y="3857"/>
                  </a:lnTo>
                  <a:cubicBezTo>
                    <a:pt x="21600" y="3431"/>
                    <a:pt x="21380" y="3086"/>
                    <a:pt x="21109" y="3086"/>
                  </a:cubicBezTo>
                  <a:moveTo>
                    <a:pt x="13745" y="18514"/>
                  </a:moveTo>
                  <a:cubicBezTo>
                    <a:pt x="13745" y="19367"/>
                    <a:pt x="13306" y="20057"/>
                    <a:pt x="12764" y="20057"/>
                  </a:cubicBezTo>
                  <a:lnTo>
                    <a:pt x="1964" y="20057"/>
                  </a:lnTo>
                  <a:cubicBezTo>
                    <a:pt x="1422" y="20057"/>
                    <a:pt x="982" y="19367"/>
                    <a:pt x="982" y="18514"/>
                  </a:cubicBezTo>
                  <a:lnTo>
                    <a:pt x="982" y="3086"/>
                  </a:lnTo>
                  <a:cubicBezTo>
                    <a:pt x="982" y="2233"/>
                    <a:pt x="1422" y="1543"/>
                    <a:pt x="1964" y="1543"/>
                  </a:cubicBezTo>
                  <a:lnTo>
                    <a:pt x="12764" y="1543"/>
                  </a:lnTo>
                  <a:cubicBezTo>
                    <a:pt x="13306" y="1543"/>
                    <a:pt x="13745" y="2233"/>
                    <a:pt x="13745" y="3086"/>
                  </a:cubicBezTo>
                  <a:cubicBezTo>
                    <a:pt x="13745" y="3086"/>
                    <a:pt x="13745" y="18514"/>
                    <a:pt x="13745" y="18514"/>
                  </a:cubicBezTo>
                  <a:close/>
                  <a:moveTo>
                    <a:pt x="12764" y="0"/>
                  </a:moveTo>
                  <a:lnTo>
                    <a:pt x="1964" y="0"/>
                  </a:lnTo>
                  <a:cubicBezTo>
                    <a:pt x="879" y="0"/>
                    <a:pt x="0" y="1382"/>
                    <a:pt x="0" y="3086"/>
                  </a:cubicBezTo>
                  <a:lnTo>
                    <a:pt x="0" y="18514"/>
                  </a:lnTo>
                  <a:cubicBezTo>
                    <a:pt x="0" y="20219"/>
                    <a:pt x="879" y="21600"/>
                    <a:pt x="1964" y="21600"/>
                  </a:cubicBezTo>
                  <a:lnTo>
                    <a:pt x="12764" y="21600"/>
                  </a:lnTo>
                  <a:cubicBezTo>
                    <a:pt x="13848" y="21600"/>
                    <a:pt x="14727" y="20219"/>
                    <a:pt x="14727" y="18514"/>
                  </a:cubicBezTo>
                  <a:lnTo>
                    <a:pt x="14727" y="3086"/>
                  </a:lnTo>
                  <a:cubicBezTo>
                    <a:pt x="14727" y="1382"/>
                    <a:pt x="13848" y="0"/>
                    <a:pt x="12764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Shape 2642">
              <a:extLst>
                <a:ext uri="{FF2B5EF4-FFF2-40B4-BE49-F238E27FC236}">
                  <a16:creationId xmlns:a16="http://schemas.microsoft.com/office/drawing/2014/main" id="{609957C8-AFA8-4E0F-A3A4-208BD8FE0A12}"/>
                </a:ext>
              </a:extLst>
            </p:cNvPr>
            <p:cNvSpPr/>
            <p:nvPr/>
          </p:nvSpPr>
          <p:spPr bwMode="gray">
            <a:xfrm>
              <a:off x="3376106" y="177218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0800"/>
                  </a:moveTo>
                  <a:cubicBezTo>
                    <a:pt x="6653" y="10800"/>
                    <a:pt x="6873" y="10559"/>
                    <a:pt x="6873" y="10260"/>
                  </a:cubicBezTo>
                  <a:cubicBezTo>
                    <a:pt x="6873" y="9962"/>
                    <a:pt x="6653" y="9720"/>
                    <a:pt x="6382" y="9720"/>
                  </a:cubicBezTo>
                  <a:cubicBezTo>
                    <a:pt x="6110" y="9720"/>
                    <a:pt x="5891" y="9962"/>
                    <a:pt x="5891" y="10260"/>
                  </a:cubicBezTo>
                  <a:cubicBezTo>
                    <a:pt x="5891" y="10559"/>
                    <a:pt x="6110" y="10800"/>
                    <a:pt x="6382" y="10800"/>
                  </a:cubicBezTo>
                  <a:moveTo>
                    <a:pt x="3436" y="10800"/>
                  </a:moveTo>
                  <a:cubicBezTo>
                    <a:pt x="3708" y="10800"/>
                    <a:pt x="3927" y="11042"/>
                    <a:pt x="3927" y="11340"/>
                  </a:cubicBezTo>
                  <a:cubicBezTo>
                    <a:pt x="3927" y="11639"/>
                    <a:pt x="3708" y="11880"/>
                    <a:pt x="3436" y="11880"/>
                  </a:cubicBezTo>
                  <a:cubicBezTo>
                    <a:pt x="3165" y="11880"/>
                    <a:pt x="2945" y="11639"/>
                    <a:pt x="2945" y="11340"/>
                  </a:cubicBezTo>
                  <a:cubicBezTo>
                    <a:pt x="2945" y="11042"/>
                    <a:pt x="3165" y="10800"/>
                    <a:pt x="3436" y="10800"/>
                  </a:cubicBezTo>
                  <a:moveTo>
                    <a:pt x="3436" y="12960"/>
                  </a:moveTo>
                  <a:cubicBezTo>
                    <a:pt x="4249" y="12960"/>
                    <a:pt x="4909" y="12235"/>
                    <a:pt x="4909" y="11340"/>
                  </a:cubicBezTo>
                  <a:cubicBezTo>
                    <a:pt x="4909" y="10446"/>
                    <a:pt x="4249" y="9720"/>
                    <a:pt x="3436" y="9720"/>
                  </a:cubicBezTo>
                  <a:cubicBezTo>
                    <a:pt x="2623" y="9720"/>
                    <a:pt x="1964" y="10446"/>
                    <a:pt x="1964" y="11340"/>
                  </a:cubicBezTo>
                  <a:cubicBezTo>
                    <a:pt x="1964" y="12235"/>
                    <a:pt x="2623" y="12960"/>
                    <a:pt x="3436" y="12960"/>
                  </a:cubicBezTo>
                  <a:moveTo>
                    <a:pt x="14236" y="18360"/>
                  </a:moveTo>
                  <a:lnTo>
                    <a:pt x="2455" y="18360"/>
                  </a:lnTo>
                  <a:cubicBezTo>
                    <a:pt x="2183" y="18360"/>
                    <a:pt x="1964" y="18602"/>
                    <a:pt x="1964" y="18900"/>
                  </a:cubicBezTo>
                  <a:cubicBezTo>
                    <a:pt x="1964" y="19199"/>
                    <a:pt x="2183" y="19440"/>
                    <a:pt x="2455" y="19440"/>
                  </a:cubicBezTo>
                  <a:lnTo>
                    <a:pt x="14236" y="19440"/>
                  </a:lnTo>
                  <a:cubicBezTo>
                    <a:pt x="14508" y="19440"/>
                    <a:pt x="14727" y="19199"/>
                    <a:pt x="14727" y="18900"/>
                  </a:cubicBezTo>
                  <a:cubicBezTo>
                    <a:pt x="14727" y="18602"/>
                    <a:pt x="14508" y="18360"/>
                    <a:pt x="14236" y="18360"/>
                  </a:cubicBezTo>
                  <a:moveTo>
                    <a:pt x="20618" y="18105"/>
                  </a:moveTo>
                  <a:lnTo>
                    <a:pt x="16691" y="16377"/>
                  </a:lnTo>
                  <a:lnTo>
                    <a:pt x="16691" y="12784"/>
                  </a:lnTo>
                  <a:lnTo>
                    <a:pt x="20618" y="11056"/>
                  </a:lnTo>
                  <a:cubicBezTo>
                    <a:pt x="20618" y="11056"/>
                    <a:pt x="20618" y="18105"/>
                    <a:pt x="20618" y="18105"/>
                  </a:cubicBezTo>
                  <a:close/>
                  <a:moveTo>
                    <a:pt x="15709" y="19440"/>
                  </a:moveTo>
                  <a:cubicBezTo>
                    <a:pt x="15709" y="20037"/>
                    <a:pt x="15269" y="20520"/>
                    <a:pt x="14727" y="20520"/>
                  </a:cubicBezTo>
                  <a:lnTo>
                    <a:pt x="1964" y="20520"/>
                  </a:lnTo>
                  <a:cubicBezTo>
                    <a:pt x="1422" y="20520"/>
                    <a:pt x="982" y="20037"/>
                    <a:pt x="982" y="19440"/>
                  </a:cubicBezTo>
                  <a:lnTo>
                    <a:pt x="982" y="9720"/>
                  </a:lnTo>
                  <a:cubicBezTo>
                    <a:pt x="982" y="9124"/>
                    <a:pt x="1422" y="8640"/>
                    <a:pt x="1964" y="8640"/>
                  </a:cubicBezTo>
                  <a:lnTo>
                    <a:pt x="14727" y="8640"/>
                  </a:lnTo>
                  <a:cubicBezTo>
                    <a:pt x="15269" y="8640"/>
                    <a:pt x="15709" y="9124"/>
                    <a:pt x="15709" y="9720"/>
                  </a:cubicBezTo>
                  <a:cubicBezTo>
                    <a:pt x="15709" y="9720"/>
                    <a:pt x="15709" y="19440"/>
                    <a:pt x="15709" y="19440"/>
                  </a:cubicBezTo>
                  <a:close/>
                  <a:moveTo>
                    <a:pt x="1964" y="4320"/>
                  </a:moveTo>
                  <a:cubicBezTo>
                    <a:pt x="1964" y="2531"/>
                    <a:pt x="3282" y="1080"/>
                    <a:pt x="4909" y="1080"/>
                  </a:cubicBezTo>
                  <a:cubicBezTo>
                    <a:pt x="6536" y="1080"/>
                    <a:pt x="7855" y="2531"/>
                    <a:pt x="7855" y="4320"/>
                  </a:cubicBezTo>
                  <a:cubicBezTo>
                    <a:pt x="7855" y="6110"/>
                    <a:pt x="6536" y="7560"/>
                    <a:pt x="4909" y="7560"/>
                  </a:cubicBezTo>
                  <a:cubicBezTo>
                    <a:pt x="3282" y="7560"/>
                    <a:pt x="1964" y="6110"/>
                    <a:pt x="1964" y="4320"/>
                  </a:cubicBezTo>
                  <a:moveTo>
                    <a:pt x="9190" y="7560"/>
                  </a:moveTo>
                  <a:lnTo>
                    <a:pt x="7501" y="7560"/>
                  </a:lnTo>
                  <a:cubicBezTo>
                    <a:pt x="7839" y="7233"/>
                    <a:pt x="8122" y="6840"/>
                    <a:pt x="8342" y="6404"/>
                  </a:cubicBezTo>
                  <a:cubicBezTo>
                    <a:pt x="8562" y="6842"/>
                    <a:pt x="8851" y="7232"/>
                    <a:pt x="9190" y="7560"/>
                  </a:cubicBezTo>
                  <a:moveTo>
                    <a:pt x="11782" y="1080"/>
                  </a:moveTo>
                  <a:cubicBezTo>
                    <a:pt x="13409" y="1080"/>
                    <a:pt x="14727" y="2531"/>
                    <a:pt x="14727" y="4320"/>
                  </a:cubicBezTo>
                  <a:cubicBezTo>
                    <a:pt x="14727" y="6110"/>
                    <a:pt x="13409" y="7560"/>
                    <a:pt x="11782" y="7560"/>
                  </a:cubicBezTo>
                  <a:cubicBezTo>
                    <a:pt x="10155" y="7560"/>
                    <a:pt x="8836" y="6110"/>
                    <a:pt x="8836" y="4320"/>
                  </a:cubicBezTo>
                  <a:cubicBezTo>
                    <a:pt x="8836" y="2531"/>
                    <a:pt x="10155" y="1080"/>
                    <a:pt x="11782" y="1080"/>
                  </a:cubicBezTo>
                  <a:moveTo>
                    <a:pt x="21109" y="9720"/>
                  </a:moveTo>
                  <a:cubicBezTo>
                    <a:pt x="21030" y="9720"/>
                    <a:pt x="20958" y="9745"/>
                    <a:pt x="20892" y="9782"/>
                  </a:cubicBezTo>
                  <a:lnTo>
                    <a:pt x="20890" y="9777"/>
                  </a:lnTo>
                  <a:lnTo>
                    <a:pt x="16691" y="11625"/>
                  </a:lnTo>
                  <a:lnTo>
                    <a:pt x="16691" y="9720"/>
                  </a:lnTo>
                  <a:cubicBezTo>
                    <a:pt x="16691" y="8527"/>
                    <a:pt x="15812" y="7560"/>
                    <a:pt x="14727" y="7560"/>
                  </a:cubicBezTo>
                  <a:lnTo>
                    <a:pt x="14373" y="7560"/>
                  </a:lnTo>
                  <a:cubicBezTo>
                    <a:pt x="15191" y="6768"/>
                    <a:pt x="15709" y="5612"/>
                    <a:pt x="15709" y="4320"/>
                  </a:cubicBezTo>
                  <a:cubicBezTo>
                    <a:pt x="15709" y="1934"/>
                    <a:pt x="13951" y="0"/>
                    <a:pt x="11782" y="0"/>
                  </a:cubicBezTo>
                  <a:cubicBezTo>
                    <a:pt x="10302" y="0"/>
                    <a:pt x="9015" y="901"/>
                    <a:pt x="8345" y="2231"/>
                  </a:cubicBezTo>
                  <a:cubicBezTo>
                    <a:pt x="7676" y="901"/>
                    <a:pt x="6389" y="0"/>
                    <a:pt x="4909" y="0"/>
                  </a:cubicBezTo>
                  <a:cubicBezTo>
                    <a:pt x="2740" y="0"/>
                    <a:pt x="982" y="1934"/>
                    <a:pt x="982" y="4320"/>
                  </a:cubicBezTo>
                  <a:cubicBezTo>
                    <a:pt x="982" y="5612"/>
                    <a:pt x="1501" y="6768"/>
                    <a:pt x="2317" y="7560"/>
                  </a:cubicBezTo>
                  <a:lnTo>
                    <a:pt x="1964" y="7560"/>
                  </a:lnTo>
                  <a:cubicBezTo>
                    <a:pt x="879" y="7560"/>
                    <a:pt x="0" y="8527"/>
                    <a:pt x="0" y="9720"/>
                  </a:cubicBezTo>
                  <a:lnTo>
                    <a:pt x="0" y="19440"/>
                  </a:lnTo>
                  <a:cubicBezTo>
                    <a:pt x="0" y="20633"/>
                    <a:pt x="879" y="21600"/>
                    <a:pt x="1964" y="21600"/>
                  </a:cubicBezTo>
                  <a:lnTo>
                    <a:pt x="14727" y="21600"/>
                  </a:lnTo>
                  <a:cubicBezTo>
                    <a:pt x="15812" y="21600"/>
                    <a:pt x="16691" y="20633"/>
                    <a:pt x="16691" y="19440"/>
                  </a:cubicBezTo>
                  <a:lnTo>
                    <a:pt x="16691" y="17536"/>
                  </a:lnTo>
                  <a:lnTo>
                    <a:pt x="20890" y="19383"/>
                  </a:lnTo>
                  <a:lnTo>
                    <a:pt x="20891" y="19379"/>
                  </a:lnTo>
                  <a:cubicBezTo>
                    <a:pt x="20958" y="19415"/>
                    <a:pt x="21030" y="19440"/>
                    <a:pt x="21109" y="19440"/>
                  </a:cubicBezTo>
                  <a:cubicBezTo>
                    <a:pt x="21380" y="19440"/>
                    <a:pt x="21600" y="19199"/>
                    <a:pt x="21600" y="18900"/>
                  </a:cubicBezTo>
                  <a:lnTo>
                    <a:pt x="21600" y="10260"/>
                  </a:lnTo>
                  <a:cubicBezTo>
                    <a:pt x="21600" y="9962"/>
                    <a:pt x="21380" y="9720"/>
                    <a:pt x="21109" y="9720"/>
                  </a:cubicBezTo>
                  <a:moveTo>
                    <a:pt x="11782" y="5400"/>
                  </a:moveTo>
                  <a:cubicBezTo>
                    <a:pt x="12324" y="5400"/>
                    <a:pt x="12764" y="4916"/>
                    <a:pt x="12764" y="4320"/>
                  </a:cubicBezTo>
                  <a:cubicBezTo>
                    <a:pt x="12764" y="3724"/>
                    <a:pt x="12324" y="3240"/>
                    <a:pt x="11782" y="3240"/>
                  </a:cubicBezTo>
                  <a:cubicBezTo>
                    <a:pt x="11240" y="3240"/>
                    <a:pt x="10800" y="3724"/>
                    <a:pt x="10800" y="4320"/>
                  </a:cubicBezTo>
                  <a:cubicBezTo>
                    <a:pt x="10800" y="4916"/>
                    <a:pt x="11240" y="5400"/>
                    <a:pt x="11782" y="5400"/>
                  </a:cubicBezTo>
                  <a:moveTo>
                    <a:pt x="4909" y="5400"/>
                  </a:moveTo>
                  <a:cubicBezTo>
                    <a:pt x="5451" y="5400"/>
                    <a:pt x="5891" y="4916"/>
                    <a:pt x="5891" y="4320"/>
                  </a:cubicBezTo>
                  <a:cubicBezTo>
                    <a:pt x="5891" y="3724"/>
                    <a:pt x="5451" y="3240"/>
                    <a:pt x="4909" y="3240"/>
                  </a:cubicBezTo>
                  <a:cubicBezTo>
                    <a:pt x="4367" y="3240"/>
                    <a:pt x="3927" y="3724"/>
                    <a:pt x="3927" y="4320"/>
                  </a:cubicBezTo>
                  <a:cubicBezTo>
                    <a:pt x="3927" y="4916"/>
                    <a:pt x="4367" y="5400"/>
                    <a:pt x="4909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Shape 2643">
              <a:extLst>
                <a:ext uri="{FF2B5EF4-FFF2-40B4-BE49-F238E27FC236}">
                  <a16:creationId xmlns:a16="http://schemas.microsoft.com/office/drawing/2014/main" id="{72049E7D-F5C6-464E-AC04-4F71A7A201C4}"/>
                </a:ext>
              </a:extLst>
            </p:cNvPr>
            <p:cNvSpPr/>
            <p:nvPr/>
          </p:nvSpPr>
          <p:spPr bwMode="gray">
            <a:xfrm>
              <a:off x="3993500" y="1759045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0" y="1473"/>
                  </a:moveTo>
                  <a:lnTo>
                    <a:pt x="9900" y="1473"/>
                  </a:lnTo>
                  <a:cubicBezTo>
                    <a:pt x="9403" y="1473"/>
                    <a:pt x="9000" y="1692"/>
                    <a:pt x="9000" y="1964"/>
                  </a:cubicBezTo>
                  <a:cubicBezTo>
                    <a:pt x="9000" y="2235"/>
                    <a:pt x="9403" y="2455"/>
                    <a:pt x="9900" y="2455"/>
                  </a:cubicBezTo>
                  <a:lnTo>
                    <a:pt x="11700" y="2455"/>
                  </a:lnTo>
                  <a:cubicBezTo>
                    <a:pt x="12197" y="2455"/>
                    <a:pt x="12600" y="2235"/>
                    <a:pt x="12600" y="1964"/>
                  </a:cubicBezTo>
                  <a:cubicBezTo>
                    <a:pt x="12600" y="1692"/>
                    <a:pt x="12197" y="1473"/>
                    <a:pt x="11700" y="1473"/>
                  </a:cubicBezTo>
                  <a:moveTo>
                    <a:pt x="19800" y="2945"/>
                  </a:moveTo>
                  <a:lnTo>
                    <a:pt x="1800" y="2945"/>
                  </a:lnTo>
                  <a:lnTo>
                    <a:pt x="1800" y="1964"/>
                  </a:lnTo>
                  <a:cubicBezTo>
                    <a:pt x="1800" y="1422"/>
                    <a:pt x="2605" y="982"/>
                    <a:pt x="3600" y="982"/>
                  </a:cubicBezTo>
                  <a:lnTo>
                    <a:pt x="18000" y="982"/>
                  </a:lnTo>
                  <a:cubicBezTo>
                    <a:pt x="18993" y="982"/>
                    <a:pt x="19800" y="1422"/>
                    <a:pt x="19800" y="1964"/>
                  </a:cubicBezTo>
                  <a:cubicBezTo>
                    <a:pt x="19800" y="1964"/>
                    <a:pt x="19800" y="2945"/>
                    <a:pt x="19800" y="2945"/>
                  </a:cubicBezTo>
                  <a:close/>
                  <a:moveTo>
                    <a:pt x="19800" y="17673"/>
                  </a:moveTo>
                  <a:lnTo>
                    <a:pt x="1800" y="17673"/>
                  </a:lnTo>
                  <a:lnTo>
                    <a:pt x="1800" y="3927"/>
                  </a:lnTo>
                  <a:lnTo>
                    <a:pt x="19800" y="3927"/>
                  </a:lnTo>
                  <a:cubicBezTo>
                    <a:pt x="19800" y="3927"/>
                    <a:pt x="19800" y="17673"/>
                    <a:pt x="19800" y="17673"/>
                  </a:cubicBezTo>
                  <a:close/>
                  <a:moveTo>
                    <a:pt x="19800" y="19636"/>
                  </a:moveTo>
                  <a:cubicBezTo>
                    <a:pt x="19800" y="20179"/>
                    <a:pt x="18993" y="20618"/>
                    <a:pt x="18000" y="20618"/>
                  </a:cubicBezTo>
                  <a:lnTo>
                    <a:pt x="3600" y="20618"/>
                  </a:lnTo>
                  <a:cubicBezTo>
                    <a:pt x="2605" y="20618"/>
                    <a:pt x="1800" y="20179"/>
                    <a:pt x="1800" y="19636"/>
                  </a:cubicBezTo>
                  <a:lnTo>
                    <a:pt x="1800" y="18655"/>
                  </a:lnTo>
                  <a:lnTo>
                    <a:pt x="19800" y="18655"/>
                  </a:lnTo>
                  <a:cubicBezTo>
                    <a:pt x="19800" y="18655"/>
                    <a:pt x="19800" y="19636"/>
                    <a:pt x="19800" y="19636"/>
                  </a:cubicBezTo>
                  <a:close/>
                  <a:moveTo>
                    <a:pt x="18000" y="0"/>
                  </a:moveTo>
                  <a:lnTo>
                    <a:pt x="3600" y="0"/>
                  </a:lnTo>
                  <a:cubicBezTo>
                    <a:pt x="1612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612" y="21600"/>
                    <a:pt x="3600" y="21600"/>
                  </a:cubicBezTo>
                  <a:lnTo>
                    <a:pt x="18000" y="21600"/>
                  </a:lnTo>
                  <a:cubicBezTo>
                    <a:pt x="19988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19988" y="0"/>
                    <a:pt x="18000" y="0"/>
                  </a:cubicBezTo>
                  <a:moveTo>
                    <a:pt x="10800" y="20127"/>
                  </a:moveTo>
                  <a:cubicBezTo>
                    <a:pt x="11297" y="20127"/>
                    <a:pt x="11700" y="19908"/>
                    <a:pt x="11700" y="19636"/>
                  </a:cubicBezTo>
                  <a:cubicBezTo>
                    <a:pt x="11700" y="19366"/>
                    <a:pt x="11297" y="19145"/>
                    <a:pt x="10800" y="19145"/>
                  </a:cubicBezTo>
                  <a:cubicBezTo>
                    <a:pt x="10303" y="19145"/>
                    <a:pt x="9900" y="19366"/>
                    <a:pt x="9900" y="19636"/>
                  </a:cubicBezTo>
                  <a:cubicBezTo>
                    <a:pt x="9900" y="19908"/>
                    <a:pt x="10303" y="20127"/>
                    <a:pt x="10800" y="201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Shape 2644">
              <a:extLst>
                <a:ext uri="{FF2B5EF4-FFF2-40B4-BE49-F238E27FC236}">
                  <a16:creationId xmlns:a16="http://schemas.microsoft.com/office/drawing/2014/main" id="{1831D2FD-96EB-4450-92B2-58492C843F8D}"/>
                </a:ext>
              </a:extLst>
            </p:cNvPr>
            <p:cNvSpPr/>
            <p:nvPr/>
          </p:nvSpPr>
          <p:spPr bwMode="gray">
            <a:xfrm>
              <a:off x="4518941" y="175904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9636"/>
                  </a:moveTo>
                  <a:cubicBezTo>
                    <a:pt x="20250" y="20179"/>
                    <a:pt x="19645" y="20618"/>
                    <a:pt x="18900" y="20618"/>
                  </a:cubicBezTo>
                  <a:lnTo>
                    <a:pt x="2700" y="20618"/>
                  </a:lnTo>
                  <a:cubicBezTo>
                    <a:pt x="1954" y="20618"/>
                    <a:pt x="1350" y="20179"/>
                    <a:pt x="1350" y="19636"/>
                  </a:cubicBezTo>
                  <a:lnTo>
                    <a:pt x="1350" y="1964"/>
                  </a:lnTo>
                  <a:cubicBezTo>
                    <a:pt x="1350" y="1422"/>
                    <a:pt x="1954" y="982"/>
                    <a:pt x="2700" y="982"/>
                  </a:cubicBezTo>
                  <a:lnTo>
                    <a:pt x="18900" y="982"/>
                  </a:lnTo>
                  <a:cubicBezTo>
                    <a:pt x="19645" y="982"/>
                    <a:pt x="20250" y="1422"/>
                    <a:pt x="20250" y="1964"/>
                  </a:cubicBezTo>
                  <a:cubicBezTo>
                    <a:pt x="20250" y="1964"/>
                    <a:pt x="20250" y="19636"/>
                    <a:pt x="20250" y="19636"/>
                  </a:cubicBezTo>
                  <a:close/>
                  <a:moveTo>
                    <a:pt x="18900" y="0"/>
                  </a:moveTo>
                  <a:lnTo>
                    <a:pt x="2700" y="0"/>
                  </a:lnTo>
                  <a:cubicBezTo>
                    <a:pt x="120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209" y="21600"/>
                    <a:pt x="2700" y="21600"/>
                  </a:cubicBezTo>
                  <a:lnTo>
                    <a:pt x="18900" y="21600"/>
                  </a:lnTo>
                  <a:cubicBezTo>
                    <a:pt x="2039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391" y="0"/>
                    <a:pt x="18900" y="0"/>
                  </a:cubicBezTo>
                  <a:moveTo>
                    <a:pt x="4050" y="3927"/>
                  </a:moveTo>
                  <a:lnTo>
                    <a:pt x="17550" y="3927"/>
                  </a:lnTo>
                  <a:lnTo>
                    <a:pt x="17550" y="17673"/>
                  </a:lnTo>
                  <a:lnTo>
                    <a:pt x="4050" y="17673"/>
                  </a:lnTo>
                  <a:cubicBezTo>
                    <a:pt x="4050" y="17673"/>
                    <a:pt x="4050" y="3927"/>
                    <a:pt x="4050" y="3927"/>
                  </a:cubicBezTo>
                  <a:close/>
                  <a:moveTo>
                    <a:pt x="2700" y="18655"/>
                  </a:moveTo>
                  <a:lnTo>
                    <a:pt x="18900" y="18655"/>
                  </a:lnTo>
                  <a:lnTo>
                    <a:pt x="18900" y="2945"/>
                  </a:lnTo>
                  <a:lnTo>
                    <a:pt x="2700" y="2945"/>
                  </a:lnTo>
                  <a:cubicBezTo>
                    <a:pt x="2700" y="2945"/>
                    <a:pt x="2700" y="18655"/>
                    <a:pt x="2700" y="18655"/>
                  </a:cubicBezTo>
                  <a:close/>
                  <a:moveTo>
                    <a:pt x="10125" y="2455"/>
                  </a:moveTo>
                  <a:lnTo>
                    <a:pt x="11475" y="2455"/>
                  </a:lnTo>
                  <a:cubicBezTo>
                    <a:pt x="11848" y="2455"/>
                    <a:pt x="12150" y="2235"/>
                    <a:pt x="12150" y="1964"/>
                  </a:cubicBezTo>
                  <a:cubicBezTo>
                    <a:pt x="12150" y="1692"/>
                    <a:pt x="11848" y="1473"/>
                    <a:pt x="11475" y="1473"/>
                  </a:cubicBezTo>
                  <a:lnTo>
                    <a:pt x="10125" y="1473"/>
                  </a:lnTo>
                  <a:cubicBezTo>
                    <a:pt x="9752" y="1473"/>
                    <a:pt x="9450" y="1692"/>
                    <a:pt x="9450" y="1964"/>
                  </a:cubicBezTo>
                  <a:cubicBezTo>
                    <a:pt x="9450" y="2235"/>
                    <a:pt x="9752" y="2455"/>
                    <a:pt x="10125" y="2455"/>
                  </a:cubicBezTo>
                  <a:moveTo>
                    <a:pt x="10800" y="19145"/>
                  </a:moveTo>
                  <a:cubicBezTo>
                    <a:pt x="10427" y="19145"/>
                    <a:pt x="10125" y="19366"/>
                    <a:pt x="10125" y="19636"/>
                  </a:cubicBezTo>
                  <a:cubicBezTo>
                    <a:pt x="10125" y="19908"/>
                    <a:pt x="10427" y="20127"/>
                    <a:pt x="10800" y="20127"/>
                  </a:cubicBezTo>
                  <a:cubicBezTo>
                    <a:pt x="11173" y="20127"/>
                    <a:pt x="11475" y="19908"/>
                    <a:pt x="11475" y="19636"/>
                  </a:cubicBezTo>
                  <a:cubicBezTo>
                    <a:pt x="11475" y="19366"/>
                    <a:pt x="11173" y="19145"/>
                    <a:pt x="10800" y="191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Shape 2645">
              <a:extLst>
                <a:ext uri="{FF2B5EF4-FFF2-40B4-BE49-F238E27FC236}">
                  <a16:creationId xmlns:a16="http://schemas.microsoft.com/office/drawing/2014/main" id="{D9EC29D9-9A56-41C8-A6EF-D8AB945F25BF}"/>
                </a:ext>
              </a:extLst>
            </p:cNvPr>
            <p:cNvSpPr/>
            <p:nvPr/>
          </p:nvSpPr>
          <p:spPr bwMode="gray">
            <a:xfrm>
              <a:off x="5031247" y="179845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08" y="20250"/>
                  </a:moveTo>
                  <a:lnTo>
                    <a:pt x="2740" y="17504"/>
                  </a:lnTo>
                  <a:cubicBezTo>
                    <a:pt x="2807" y="17526"/>
                    <a:pt x="2874" y="17550"/>
                    <a:pt x="2945" y="17550"/>
                  </a:cubicBezTo>
                  <a:lnTo>
                    <a:pt x="18655" y="17550"/>
                  </a:lnTo>
                  <a:cubicBezTo>
                    <a:pt x="18726" y="17550"/>
                    <a:pt x="18793" y="17526"/>
                    <a:pt x="18860" y="17504"/>
                  </a:cubicBezTo>
                  <a:lnTo>
                    <a:pt x="20192" y="20250"/>
                  </a:lnTo>
                  <a:cubicBezTo>
                    <a:pt x="20192" y="20250"/>
                    <a:pt x="1408" y="20250"/>
                    <a:pt x="1408" y="20250"/>
                  </a:cubicBezTo>
                  <a:close/>
                  <a:moveTo>
                    <a:pt x="2945" y="1350"/>
                  </a:moveTo>
                  <a:lnTo>
                    <a:pt x="18655" y="1350"/>
                  </a:lnTo>
                  <a:lnTo>
                    <a:pt x="18655" y="16200"/>
                  </a:lnTo>
                  <a:lnTo>
                    <a:pt x="2945" y="16200"/>
                  </a:lnTo>
                  <a:cubicBezTo>
                    <a:pt x="2945" y="16200"/>
                    <a:pt x="2945" y="1350"/>
                    <a:pt x="2945" y="1350"/>
                  </a:cubicBezTo>
                  <a:close/>
                  <a:moveTo>
                    <a:pt x="21510" y="20558"/>
                  </a:moveTo>
                  <a:lnTo>
                    <a:pt x="21518" y="20551"/>
                  </a:lnTo>
                  <a:lnTo>
                    <a:pt x="19591" y="16577"/>
                  </a:lnTo>
                  <a:cubicBezTo>
                    <a:pt x="19617" y="16457"/>
                    <a:pt x="19636" y="16332"/>
                    <a:pt x="19636" y="16200"/>
                  </a:cubicBezTo>
                  <a:lnTo>
                    <a:pt x="19636" y="1350"/>
                  </a:lnTo>
                  <a:cubicBezTo>
                    <a:pt x="19636" y="605"/>
                    <a:pt x="19197" y="0"/>
                    <a:pt x="18655" y="0"/>
                  </a:cubicBezTo>
                  <a:lnTo>
                    <a:pt x="2945" y="0"/>
                  </a:lnTo>
                  <a:cubicBezTo>
                    <a:pt x="2403" y="0"/>
                    <a:pt x="1964" y="605"/>
                    <a:pt x="1964" y="1350"/>
                  </a:cubicBezTo>
                  <a:lnTo>
                    <a:pt x="1964" y="16200"/>
                  </a:lnTo>
                  <a:cubicBezTo>
                    <a:pt x="1964" y="16332"/>
                    <a:pt x="1983" y="16457"/>
                    <a:pt x="2009" y="16577"/>
                  </a:cubicBezTo>
                  <a:lnTo>
                    <a:pt x="82" y="20551"/>
                  </a:lnTo>
                  <a:lnTo>
                    <a:pt x="90" y="20558"/>
                  </a:lnTo>
                  <a:cubicBezTo>
                    <a:pt x="38" y="20665"/>
                    <a:pt x="0" y="20787"/>
                    <a:pt x="0" y="20925"/>
                  </a:cubicBezTo>
                  <a:cubicBezTo>
                    <a:pt x="0" y="21298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298"/>
                    <a:pt x="21600" y="20925"/>
                  </a:cubicBezTo>
                  <a:cubicBezTo>
                    <a:pt x="21600" y="20787"/>
                    <a:pt x="21562" y="20665"/>
                    <a:pt x="21510" y="2055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Shape 2646">
              <a:extLst>
                <a:ext uri="{FF2B5EF4-FFF2-40B4-BE49-F238E27FC236}">
                  <a16:creationId xmlns:a16="http://schemas.microsoft.com/office/drawing/2014/main" id="{DCA47A19-C94F-4CB9-B190-47F0690FE5BC}"/>
                </a:ext>
              </a:extLst>
            </p:cNvPr>
            <p:cNvSpPr/>
            <p:nvPr/>
          </p:nvSpPr>
          <p:spPr bwMode="gray">
            <a:xfrm>
              <a:off x="5582960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1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8" y="21600"/>
                    <a:pt x="14727" y="21381"/>
                    <a:pt x="14727" y="21109"/>
                  </a:cubicBezTo>
                  <a:cubicBezTo>
                    <a:pt x="14727" y="20838"/>
                    <a:pt x="14508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Shape 2647">
              <a:extLst>
                <a:ext uri="{FF2B5EF4-FFF2-40B4-BE49-F238E27FC236}">
                  <a16:creationId xmlns:a16="http://schemas.microsoft.com/office/drawing/2014/main" id="{6DEB15C3-74CC-476D-BA66-5D8BDFDF50CF}"/>
                </a:ext>
              </a:extLst>
            </p:cNvPr>
            <p:cNvSpPr/>
            <p:nvPr/>
          </p:nvSpPr>
          <p:spPr bwMode="gray">
            <a:xfrm>
              <a:off x="61753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773" y="5201"/>
                  </a:moveTo>
                  <a:cubicBezTo>
                    <a:pt x="10712" y="5093"/>
                    <a:pt x="10614" y="5023"/>
                    <a:pt x="10504" y="4986"/>
                  </a:cubicBezTo>
                  <a:lnTo>
                    <a:pt x="10517" y="4938"/>
                  </a:lnTo>
                  <a:cubicBezTo>
                    <a:pt x="10483" y="4941"/>
                    <a:pt x="10451" y="4949"/>
                    <a:pt x="10419" y="4957"/>
                  </a:cubicBezTo>
                  <a:lnTo>
                    <a:pt x="8464" y="4433"/>
                  </a:lnTo>
                  <a:cubicBezTo>
                    <a:pt x="8343" y="4400"/>
                    <a:pt x="8209" y="4414"/>
                    <a:pt x="8091" y="4482"/>
                  </a:cubicBezTo>
                  <a:cubicBezTo>
                    <a:pt x="7856" y="4618"/>
                    <a:pt x="7776" y="4918"/>
                    <a:pt x="7912" y="5153"/>
                  </a:cubicBezTo>
                  <a:cubicBezTo>
                    <a:pt x="7979" y="5270"/>
                    <a:pt x="8088" y="5349"/>
                    <a:pt x="8210" y="5381"/>
                  </a:cubicBezTo>
                  <a:lnTo>
                    <a:pt x="8965" y="5584"/>
                  </a:lnTo>
                  <a:cubicBezTo>
                    <a:pt x="8292" y="6116"/>
                    <a:pt x="7855" y="6927"/>
                    <a:pt x="7855" y="7855"/>
                  </a:cubicBezTo>
                  <a:cubicBezTo>
                    <a:pt x="7855" y="9081"/>
                    <a:pt x="8605" y="10131"/>
                    <a:pt x="9671" y="10574"/>
                  </a:cubicBezTo>
                  <a:lnTo>
                    <a:pt x="9934" y="9609"/>
                  </a:lnTo>
                  <a:cubicBezTo>
                    <a:pt x="9286" y="9288"/>
                    <a:pt x="8836" y="8627"/>
                    <a:pt x="8836" y="7855"/>
                  </a:cubicBezTo>
                  <a:cubicBezTo>
                    <a:pt x="8836" y="7221"/>
                    <a:pt x="9142" y="6665"/>
                    <a:pt x="9609" y="6309"/>
                  </a:cubicBezTo>
                  <a:lnTo>
                    <a:pt x="9336" y="7331"/>
                  </a:lnTo>
                  <a:cubicBezTo>
                    <a:pt x="9303" y="7453"/>
                    <a:pt x="9316" y="7586"/>
                    <a:pt x="9384" y="7704"/>
                  </a:cubicBezTo>
                  <a:cubicBezTo>
                    <a:pt x="9520" y="7938"/>
                    <a:pt x="9820" y="8019"/>
                    <a:pt x="10055" y="7884"/>
                  </a:cubicBezTo>
                  <a:cubicBezTo>
                    <a:pt x="10172" y="7815"/>
                    <a:pt x="10251" y="7706"/>
                    <a:pt x="10284" y="7585"/>
                  </a:cubicBezTo>
                  <a:lnTo>
                    <a:pt x="10823" y="5573"/>
                  </a:lnTo>
                  <a:cubicBezTo>
                    <a:pt x="10855" y="5452"/>
                    <a:pt x="10841" y="5318"/>
                    <a:pt x="10773" y="5201"/>
                  </a:cubicBezTo>
                  <a:moveTo>
                    <a:pt x="13421" y="10343"/>
                  </a:moveTo>
                  <a:lnTo>
                    <a:pt x="12630" y="10132"/>
                  </a:lnTo>
                  <a:cubicBezTo>
                    <a:pt x="13306" y="9598"/>
                    <a:pt x="13745" y="8785"/>
                    <a:pt x="13745" y="7855"/>
                  </a:cubicBezTo>
                  <a:cubicBezTo>
                    <a:pt x="13745" y="6643"/>
                    <a:pt x="13013" y="5604"/>
                    <a:pt x="11967" y="5152"/>
                  </a:cubicBezTo>
                  <a:lnTo>
                    <a:pt x="11702" y="6121"/>
                  </a:lnTo>
                  <a:cubicBezTo>
                    <a:pt x="12330" y="6448"/>
                    <a:pt x="12764" y="7098"/>
                    <a:pt x="12764" y="7855"/>
                  </a:cubicBezTo>
                  <a:cubicBezTo>
                    <a:pt x="12764" y="8468"/>
                    <a:pt x="12477" y="9008"/>
                    <a:pt x="12035" y="9366"/>
                  </a:cubicBezTo>
                  <a:lnTo>
                    <a:pt x="12295" y="8394"/>
                  </a:lnTo>
                  <a:cubicBezTo>
                    <a:pt x="12328" y="8273"/>
                    <a:pt x="12314" y="8139"/>
                    <a:pt x="12246" y="8021"/>
                  </a:cubicBezTo>
                  <a:cubicBezTo>
                    <a:pt x="12111" y="7786"/>
                    <a:pt x="11811" y="7706"/>
                    <a:pt x="11576" y="7842"/>
                  </a:cubicBezTo>
                  <a:cubicBezTo>
                    <a:pt x="11458" y="7910"/>
                    <a:pt x="11380" y="8019"/>
                    <a:pt x="11347" y="8140"/>
                  </a:cubicBezTo>
                  <a:lnTo>
                    <a:pt x="10808" y="10152"/>
                  </a:lnTo>
                  <a:lnTo>
                    <a:pt x="10808" y="10152"/>
                  </a:lnTo>
                  <a:cubicBezTo>
                    <a:pt x="10776" y="10273"/>
                    <a:pt x="10789" y="10407"/>
                    <a:pt x="10857" y="10524"/>
                  </a:cubicBezTo>
                  <a:cubicBezTo>
                    <a:pt x="10920" y="10634"/>
                    <a:pt x="11021" y="10706"/>
                    <a:pt x="11133" y="10742"/>
                  </a:cubicBezTo>
                  <a:lnTo>
                    <a:pt x="11126" y="10768"/>
                  </a:lnTo>
                  <a:cubicBezTo>
                    <a:pt x="11142" y="10766"/>
                    <a:pt x="11157" y="10761"/>
                    <a:pt x="11173" y="10758"/>
                  </a:cubicBezTo>
                  <a:lnTo>
                    <a:pt x="13167" y="11292"/>
                  </a:lnTo>
                  <a:cubicBezTo>
                    <a:pt x="13288" y="11324"/>
                    <a:pt x="13422" y="11311"/>
                    <a:pt x="13540" y="11243"/>
                  </a:cubicBezTo>
                  <a:cubicBezTo>
                    <a:pt x="13774" y="11107"/>
                    <a:pt x="13855" y="10807"/>
                    <a:pt x="13719" y="10572"/>
                  </a:cubicBezTo>
                  <a:cubicBezTo>
                    <a:pt x="13651" y="10455"/>
                    <a:pt x="13542" y="10376"/>
                    <a:pt x="13421" y="103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Shape 2648">
              <a:extLst>
                <a:ext uri="{FF2B5EF4-FFF2-40B4-BE49-F238E27FC236}">
                  <a16:creationId xmlns:a16="http://schemas.microsoft.com/office/drawing/2014/main" id="{159AFDF9-CBCC-4BCA-B9AB-30598DE55A10}"/>
                </a:ext>
              </a:extLst>
            </p:cNvPr>
            <p:cNvSpPr/>
            <p:nvPr/>
          </p:nvSpPr>
          <p:spPr bwMode="gray">
            <a:xfrm>
              <a:off x="116925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764" y="8836"/>
                  </a:moveTo>
                  <a:cubicBezTo>
                    <a:pt x="12628" y="8836"/>
                    <a:pt x="12505" y="8891"/>
                    <a:pt x="12417" y="8980"/>
                  </a:cubicBezTo>
                  <a:lnTo>
                    <a:pt x="11291" y="10106"/>
                  </a:lnTo>
                  <a:lnTo>
                    <a:pt x="11291" y="4419"/>
                  </a:lnTo>
                  <a:lnTo>
                    <a:pt x="11291" y="4418"/>
                  </a:ln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lnTo>
                    <a:pt x="10309" y="10106"/>
                  </a:lnTo>
                  <a:lnTo>
                    <a:pt x="9183" y="8980"/>
                  </a:lnTo>
                  <a:cubicBezTo>
                    <a:pt x="9095" y="8891"/>
                    <a:pt x="8972" y="8836"/>
                    <a:pt x="8836" y="8836"/>
                  </a:cubicBezTo>
                  <a:cubicBezTo>
                    <a:pt x="8566" y="8836"/>
                    <a:pt x="8345" y="9056"/>
                    <a:pt x="8345" y="9327"/>
                  </a:cubicBezTo>
                  <a:cubicBezTo>
                    <a:pt x="8345" y="9463"/>
                    <a:pt x="8400" y="9586"/>
                    <a:pt x="8489" y="9674"/>
                  </a:cubicBezTo>
                  <a:lnTo>
                    <a:pt x="10453" y="11638"/>
                  </a:lnTo>
                  <a:cubicBezTo>
                    <a:pt x="10542" y="11727"/>
                    <a:pt x="10665" y="11782"/>
                    <a:pt x="10800" y="11782"/>
                  </a:cubicBezTo>
                  <a:cubicBezTo>
                    <a:pt x="10935" y="11782"/>
                    <a:pt x="11058" y="11727"/>
                    <a:pt x="11147" y="11638"/>
                  </a:cubicBezTo>
                  <a:lnTo>
                    <a:pt x="13111" y="9674"/>
                  </a:lnTo>
                  <a:cubicBezTo>
                    <a:pt x="13200" y="9586"/>
                    <a:pt x="13255" y="9463"/>
                    <a:pt x="13255" y="9327"/>
                  </a:cubicBezTo>
                  <a:cubicBezTo>
                    <a:pt x="13255" y="9056"/>
                    <a:pt x="13034" y="8836"/>
                    <a:pt x="12764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Shape 2649">
              <a:extLst>
                <a:ext uri="{FF2B5EF4-FFF2-40B4-BE49-F238E27FC236}">
                  <a16:creationId xmlns:a16="http://schemas.microsoft.com/office/drawing/2014/main" id="{1241385F-23B0-4FBD-B7E5-65F8501E956A}"/>
                </a:ext>
              </a:extLst>
            </p:cNvPr>
            <p:cNvSpPr/>
            <p:nvPr/>
          </p:nvSpPr>
          <p:spPr bwMode="gray">
            <a:xfrm>
              <a:off x="1720965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1147" y="4071"/>
                  </a:moveTo>
                  <a:cubicBezTo>
                    <a:pt x="11058" y="3982"/>
                    <a:pt x="10935" y="3927"/>
                    <a:pt x="10800" y="3927"/>
                  </a:cubicBezTo>
                  <a:cubicBezTo>
                    <a:pt x="10665" y="3927"/>
                    <a:pt x="10542" y="3982"/>
                    <a:pt x="10453" y="4071"/>
                  </a:cubicBezTo>
                  <a:lnTo>
                    <a:pt x="8489" y="6035"/>
                  </a:lnTo>
                  <a:cubicBezTo>
                    <a:pt x="8400" y="6124"/>
                    <a:pt x="8345" y="6247"/>
                    <a:pt x="8345" y="6382"/>
                  </a:cubicBezTo>
                  <a:cubicBezTo>
                    <a:pt x="8345" y="6653"/>
                    <a:pt x="8566" y="6873"/>
                    <a:pt x="8836" y="6873"/>
                  </a:cubicBezTo>
                  <a:cubicBezTo>
                    <a:pt x="8972" y="6873"/>
                    <a:pt x="9095" y="6818"/>
                    <a:pt x="9183" y="6729"/>
                  </a:cubicBezTo>
                  <a:lnTo>
                    <a:pt x="10309" y="5603"/>
                  </a:lnTo>
                  <a:lnTo>
                    <a:pt x="10309" y="11291"/>
                  </a:lnTo>
                  <a:cubicBezTo>
                    <a:pt x="10309" y="11562"/>
                    <a:pt x="10529" y="11782"/>
                    <a:pt x="10800" y="11782"/>
                  </a:cubicBezTo>
                  <a:cubicBezTo>
                    <a:pt x="11071" y="11782"/>
                    <a:pt x="11291" y="11562"/>
                    <a:pt x="11291" y="11291"/>
                  </a:cubicBezTo>
                  <a:lnTo>
                    <a:pt x="11291" y="5603"/>
                  </a:lnTo>
                  <a:lnTo>
                    <a:pt x="12417" y="6729"/>
                  </a:lnTo>
                  <a:cubicBezTo>
                    <a:pt x="12505" y="6818"/>
                    <a:pt x="12628" y="6873"/>
                    <a:pt x="12764" y="6873"/>
                  </a:cubicBezTo>
                  <a:cubicBezTo>
                    <a:pt x="13034" y="6873"/>
                    <a:pt x="13255" y="6653"/>
                    <a:pt x="13255" y="6382"/>
                  </a:cubicBezTo>
                  <a:cubicBezTo>
                    <a:pt x="13255" y="6247"/>
                    <a:pt x="13200" y="6124"/>
                    <a:pt x="13111" y="6035"/>
                  </a:cubicBezTo>
                  <a:cubicBezTo>
                    <a:pt x="13111" y="6035"/>
                    <a:pt x="11147" y="4071"/>
                    <a:pt x="11147" y="407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Shape 2650">
              <a:extLst>
                <a:ext uri="{FF2B5EF4-FFF2-40B4-BE49-F238E27FC236}">
                  <a16:creationId xmlns:a16="http://schemas.microsoft.com/office/drawing/2014/main" id="{A8EF73DC-C2F6-4656-A9C1-AD1458680C60}"/>
                </a:ext>
              </a:extLst>
            </p:cNvPr>
            <p:cNvSpPr/>
            <p:nvPr/>
          </p:nvSpPr>
          <p:spPr bwMode="gray">
            <a:xfrm>
              <a:off x="227267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3" y="20618"/>
                    <a:pt x="6873" y="20838"/>
                    <a:pt x="6873" y="21109"/>
                  </a:cubicBezTo>
                  <a:cubicBezTo>
                    <a:pt x="6873" y="21381"/>
                    <a:pt x="7093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1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236" y="7364"/>
                  </a:moveTo>
                  <a:lnTo>
                    <a:pt x="8549" y="7364"/>
                  </a:lnTo>
                  <a:lnTo>
                    <a:pt x="9674" y="6238"/>
                  </a:lnTo>
                  <a:cubicBezTo>
                    <a:pt x="9763" y="6149"/>
                    <a:pt x="9818" y="6027"/>
                    <a:pt x="9818" y="5891"/>
                  </a:cubicBezTo>
                  <a:cubicBezTo>
                    <a:pt x="9818" y="5620"/>
                    <a:pt x="9598" y="5400"/>
                    <a:pt x="9327" y="5400"/>
                  </a:cubicBezTo>
                  <a:cubicBezTo>
                    <a:pt x="9192" y="5400"/>
                    <a:pt x="9069" y="5455"/>
                    <a:pt x="8980" y="5544"/>
                  </a:cubicBezTo>
                  <a:lnTo>
                    <a:pt x="7017" y="7507"/>
                  </a:lnTo>
                  <a:cubicBezTo>
                    <a:pt x="6928" y="7597"/>
                    <a:pt x="6873" y="7720"/>
                    <a:pt x="6873" y="7855"/>
                  </a:cubicBezTo>
                  <a:cubicBezTo>
                    <a:pt x="6873" y="7990"/>
                    <a:pt x="6928" y="8113"/>
                    <a:pt x="7017" y="8202"/>
                  </a:cubicBezTo>
                  <a:lnTo>
                    <a:pt x="8980" y="10165"/>
                  </a:lnTo>
                  <a:cubicBezTo>
                    <a:pt x="9069" y="10255"/>
                    <a:pt x="9192" y="10309"/>
                    <a:pt x="9327" y="10309"/>
                  </a:cubicBezTo>
                  <a:cubicBezTo>
                    <a:pt x="9598" y="10309"/>
                    <a:pt x="9818" y="10090"/>
                    <a:pt x="9818" y="9818"/>
                  </a:cubicBezTo>
                  <a:cubicBezTo>
                    <a:pt x="9818" y="9683"/>
                    <a:pt x="9763" y="9560"/>
                    <a:pt x="9674" y="9471"/>
                  </a:cubicBezTo>
                  <a:lnTo>
                    <a:pt x="8549" y="8345"/>
                  </a:lnTo>
                  <a:lnTo>
                    <a:pt x="14236" y="8345"/>
                  </a:lnTo>
                  <a:cubicBezTo>
                    <a:pt x="14507" y="8345"/>
                    <a:pt x="14727" y="8126"/>
                    <a:pt x="14727" y="7855"/>
                  </a:cubicBezTo>
                  <a:cubicBezTo>
                    <a:pt x="14727" y="7584"/>
                    <a:pt x="14507" y="7364"/>
                    <a:pt x="14236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Shape 2651">
              <a:extLst>
                <a:ext uri="{FF2B5EF4-FFF2-40B4-BE49-F238E27FC236}">
                  <a16:creationId xmlns:a16="http://schemas.microsoft.com/office/drawing/2014/main" id="{FE9E6BB9-E48D-42AA-852F-BD4AAC677B31}"/>
                </a:ext>
              </a:extLst>
            </p:cNvPr>
            <p:cNvSpPr/>
            <p:nvPr/>
          </p:nvSpPr>
          <p:spPr bwMode="gray">
            <a:xfrm>
              <a:off x="282439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83" y="7507"/>
                  </a:moveTo>
                  <a:lnTo>
                    <a:pt x="12620" y="5544"/>
                  </a:lnTo>
                  <a:cubicBezTo>
                    <a:pt x="12531" y="5455"/>
                    <a:pt x="12408" y="5400"/>
                    <a:pt x="12273" y="5400"/>
                  </a:cubicBezTo>
                  <a:cubicBezTo>
                    <a:pt x="12001" y="5400"/>
                    <a:pt x="11782" y="5620"/>
                    <a:pt x="11782" y="5891"/>
                  </a:cubicBezTo>
                  <a:cubicBezTo>
                    <a:pt x="11782" y="6027"/>
                    <a:pt x="11837" y="6149"/>
                    <a:pt x="11926" y="6238"/>
                  </a:cubicBezTo>
                  <a:lnTo>
                    <a:pt x="13051" y="7364"/>
                  </a:lnTo>
                  <a:lnTo>
                    <a:pt x="7364" y="7364"/>
                  </a:lnTo>
                  <a:cubicBezTo>
                    <a:pt x="7092" y="7364"/>
                    <a:pt x="6873" y="7584"/>
                    <a:pt x="6873" y="7855"/>
                  </a:cubicBezTo>
                  <a:cubicBezTo>
                    <a:pt x="6873" y="8126"/>
                    <a:pt x="7092" y="8345"/>
                    <a:pt x="7364" y="8345"/>
                  </a:cubicBezTo>
                  <a:lnTo>
                    <a:pt x="13051" y="8345"/>
                  </a:lnTo>
                  <a:lnTo>
                    <a:pt x="11926" y="9471"/>
                  </a:lnTo>
                  <a:cubicBezTo>
                    <a:pt x="11837" y="9560"/>
                    <a:pt x="11782" y="9683"/>
                    <a:pt x="11782" y="9818"/>
                  </a:cubicBezTo>
                  <a:cubicBezTo>
                    <a:pt x="11782" y="10090"/>
                    <a:pt x="12001" y="10309"/>
                    <a:pt x="12273" y="10309"/>
                  </a:cubicBezTo>
                  <a:cubicBezTo>
                    <a:pt x="12408" y="10309"/>
                    <a:pt x="12531" y="10255"/>
                    <a:pt x="12620" y="10165"/>
                  </a:cubicBezTo>
                  <a:lnTo>
                    <a:pt x="14583" y="8202"/>
                  </a:lnTo>
                  <a:cubicBezTo>
                    <a:pt x="14672" y="8113"/>
                    <a:pt x="14727" y="7990"/>
                    <a:pt x="14727" y="7855"/>
                  </a:cubicBezTo>
                  <a:cubicBezTo>
                    <a:pt x="14727" y="7720"/>
                    <a:pt x="14672" y="7597"/>
                    <a:pt x="14583" y="7507"/>
                  </a:cubicBezTo>
                  <a:close/>
                  <a:moveTo>
                    <a:pt x="20618" y="14727"/>
                  </a:moveTo>
                  <a:lnTo>
                    <a:pt x="982" y="14727"/>
                  </a:ln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4727"/>
                    <a:pt x="20618" y="14727"/>
                  </a:cubicBezTo>
                  <a:close/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1" y="17673"/>
                    <a:pt x="982" y="17233"/>
                    <a:pt x="982" y="16691"/>
                  </a:cubicBezTo>
                  <a:lnTo>
                    <a:pt x="982" y="15709"/>
                  </a:lnTo>
                  <a:lnTo>
                    <a:pt x="20618" y="15709"/>
                  </a:lnTo>
                  <a:cubicBezTo>
                    <a:pt x="20618" y="15709"/>
                    <a:pt x="20618" y="16691"/>
                    <a:pt x="20618" y="16691"/>
                  </a:cubicBezTo>
                  <a:close/>
                  <a:moveTo>
                    <a:pt x="11782" y="20618"/>
                  </a:moveTo>
                  <a:lnTo>
                    <a:pt x="9818" y="20618"/>
                  </a:lnTo>
                  <a:lnTo>
                    <a:pt x="9818" y="18655"/>
                  </a:lnTo>
                  <a:lnTo>
                    <a:pt x="11782" y="18655"/>
                  </a:lnTo>
                  <a:cubicBezTo>
                    <a:pt x="11782" y="18655"/>
                    <a:pt x="11782" y="20618"/>
                    <a:pt x="11782" y="20618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6691"/>
                  </a:lnTo>
                  <a:cubicBezTo>
                    <a:pt x="0" y="17775"/>
                    <a:pt x="879" y="18655"/>
                    <a:pt x="1964" y="18655"/>
                  </a:cubicBezTo>
                  <a:lnTo>
                    <a:pt x="8836" y="18655"/>
                  </a:lnTo>
                  <a:lnTo>
                    <a:pt x="8836" y="20618"/>
                  </a:lnTo>
                  <a:lnTo>
                    <a:pt x="7364" y="20618"/>
                  </a:lnTo>
                  <a:cubicBezTo>
                    <a:pt x="7092" y="20618"/>
                    <a:pt x="6873" y="20838"/>
                    <a:pt x="6873" y="21109"/>
                  </a:cubicBezTo>
                  <a:cubicBezTo>
                    <a:pt x="6873" y="21380"/>
                    <a:pt x="7092" y="21600"/>
                    <a:pt x="7364" y="21600"/>
                  </a:cubicBezTo>
                  <a:lnTo>
                    <a:pt x="14236" y="21600"/>
                  </a:lnTo>
                  <a:cubicBezTo>
                    <a:pt x="14507" y="21600"/>
                    <a:pt x="14727" y="21380"/>
                    <a:pt x="14727" y="21109"/>
                  </a:cubicBezTo>
                  <a:cubicBezTo>
                    <a:pt x="14727" y="20838"/>
                    <a:pt x="14507" y="20618"/>
                    <a:pt x="14236" y="20618"/>
                  </a:cubicBezTo>
                  <a:lnTo>
                    <a:pt x="12764" y="20618"/>
                  </a:lnTo>
                  <a:lnTo>
                    <a:pt x="12764" y="18655"/>
                  </a:lnTo>
                  <a:lnTo>
                    <a:pt x="19636" y="18655"/>
                  </a:lnTo>
                  <a:cubicBezTo>
                    <a:pt x="20721" y="18655"/>
                    <a:pt x="21600" y="17775"/>
                    <a:pt x="21600" y="16691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2652">
              <a:extLst>
                <a:ext uri="{FF2B5EF4-FFF2-40B4-BE49-F238E27FC236}">
                  <a16:creationId xmlns:a16="http://schemas.microsoft.com/office/drawing/2014/main" id="{221F195E-E44F-4D3F-BE06-0AB6388874BD}"/>
                </a:ext>
              </a:extLst>
            </p:cNvPr>
            <p:cNvSpPr/>
            <p:nvPr/>
          </p:nvSpPr>
          <p:spPr bwMode="gray">
            <a:xfrm>
              <a:off x="337610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4727"/>
                  </a:moveTo>
                  <a:cubicBezTo>
                    <a:pt x="7547" y="14727"/>
                    <a:pt x="4909" y="12969"/>
                    <a:pt x="4909" y="10800"/>
                  </a:cubicBezTo>
                  <a:cubicBezTo>
                    <a:pt x="4909" y="8631"/>
                    <a:pt x="7547" y="6873"/>
                    <a:pt x="10800" y="6873"/>
                  </a:cubicBezTo>
                  <a:cubicBezTo>
                    <a:pt x="11895" y="6873"/>
                    <a:pt x="12917" y="7076"/>
                    <a:pt x="13795" y="7423"/>
                  </a:cubicBezTo>
                  <a:lnTo>
                    <a:pt x="15709" y="5073"/>
                  </a:lnTo>
                  <a:lnTo>
                    <a:pt x="15709" y="8631"/>
                  </a:lnTo>
                  <a:cubicBezTo>
                    <a:pt x="16328" y="9253"/>
                    <a:pt x="16691" y="9998"/>
                    <a:pt x="16691" y="10800"/>
                  </a:cubicBezTo>
                  <a:cubicBezTo>
                    <a:pt x="16691" y="12969"/>
                    <a:pt x="14053" y="14727"/>
                    <a:pt x="10800" y="14727"/>
                  </a:cubicBezTo>
                  <a:moveTo>
                    <a:pt x="16691" y="1964"/>
                  </a:moveTo>
                  <a:lnTo>
                    <a:pt x="13360" y="6247"/>
                  </a:lnTo>
                  <a:cubicBezTo>
                    <a:pt x="12568" y="6020"/>
                    <a:pt x="11706" y="5891"/>
                    <a:pt x="10800" y="5891"/>
                  </a:cubicBezTo>
                  <a:cubicBezTo>
                    <a:pt x="7004" y="5891"/>
                    <a:pt x="3927" y="8089"/>
                    <a:pt x="3927" y="10800"/>
                  </a:cubicBezTo>
                  <a:cubicBezTo>
                    <a:pt x="3927" y="13511"/>
                    <a:pt x="7004" y="15709"/>
                    <a:pt x="10800" y="15709"/>
                  </a:cubicBezTo>
                  <a:cubicBezTo>
                    <a:pt x="14596" y="15709"/>
                    <a:pt x="17673" y="13511"/>
                    <a:pt x="17673" y="10800"/>
                  </a:cubicBezTo>
                  <a:cubicBezTo>
                    <a:pt x="17673" y="9878"/>
                    <a:pt x="17310" y="9018"/>
                    <a:pt x="16691" y="8281"/>
                  </a:cubicBezTo>
                  <a:cubicBezTo>
                    <a:pt x="16691" y="8281"/>
                    <a:pt x="16691" y="1964"/>
                    <a:pt x="16691" y="1964"/>
                  </a:cubicBezTo>
                  <a:close/>
                  <a:moveTo>
                    <a:pt x="19145" y="1964"/>
                  </a:moveTo>
                  <a:cubicBezTo>
                    <a:pt x="18874" y="1964"/>
                    <a:pt x="18655" y="2184"/>
                    <a:pt x="18655" y="2455"/>
                  </a:cubicBezTo>
                  <a:cubicBezTo>
                    <a:pt x="18655" y="2726"/>
                    <a:pt x="18874" y="2945"/>
                    <a:pt x="19145" y="2945"/>
                  </a:cubicBezTo>
                  <a:cubicBezTo>
                    <a:pt x="19417" y="2945"/>
                    <a:pt x="19636" y="2726"/>
                    <a:pt x="19636" y="2455"/>
                  </a:cubicBezTo>
                  <a:cubicBezTo>
                    <a:pt x="19636" y="2184"/>
                    <a:pt x="19417" y="1964"/>
                    <a:pt x="19145" y="1964"/>
                  </a:cubicBezTo>
                  <a:moveTo>
                    <a:pt x="20618" y="16691"/>
                  </a:moveTo>
                  <a:cubicBezTo>
                    <a:pt x="20618" y="17233"/>
                    <a:pt x="20178" y="17673"/>
                    <a:pt x="19636" y="17673"/>
                  </a:cubicBezTo>
                  <a:lnTo>
                    <a:pt x="1964" y="17673"/>
                  </a:lnTo>
                  <a:cubicBezTo>
                    <a:pt x="1422" y="17673"/>
                    <a:pt x="982" y="17233"/>
                    <a:pt x="982" y="16691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6691"/>
                    <a:pt x="20618" y="16691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8382"/>
                  </a:lnTo>
                  <a:cubicBezTo>
                    <a:pt x="1271" y="18551"/>
                    <a:pt x="1604" y="18655"/>
                    <a:pt x="1964" y="18655"/>
                  </a:cubicBezTo>
                  <a:lnTo>
                    <a:pt x="19636" y="18655"/>
                  </a:lnTo>
                  <a:cubicBezTo>
                    <a:pt x="19996" y="18655"/>
                    <a:pt x="20329" y="18551"/>
                    <a:pt x="20618" y="18382"/>
                  </a:cubicBezTo>
                  <a:cubicBezTo>
                    <a:pt x="20618" y="18382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0800" y="11291"/>
                  </a:moveTo>
                  <a:cubicBezTo>
                    <a:pt x="10258" y="11291"/>
                    <a:pt x="9818" y="11072"/>
                    <a:pt x="9818" y="10800"/>
                  </a:cubicBezTo>
                  <a:cubicBezTo>
                    <a:pt x="9818" y="10529"/>
                    <a:pt x="10258" y="10309"/>
                    <a:pt x="10800" y="10309"/>
                  </a:cubicBezTo>
                  <a:cubicBezTo>
                    <a:pt x="11342" y="10309"/>
                    <a:pt x="11782" y="10529"/>
                    <a:pt x="11782" y="10800"/>
                  </a:cubicBezTo>
                  <a:cubicBezTo>
                    <a:pt x="11782" y="11072"/>
                    <a:pt x="11342" y="11291"/>
                    <a:pt x="10800" y="11291"/>
                  </a:cubicBezTo>
                  <a:moveTo>
                    <a:pt x="10800" y="9327"/>
                  </a:moveTo>
                  <a:cubicBezTo>
                    <a:pt x="9716" y="9327"/>
                    <a:pt x="8836" y="9986"/>
                    <a:pt x="8836" y="10800"/>
                  </a:cubicBezTo>
                  <a:cubicBezTo>
                    <a:pt x="8836" y="11614"/>
                    <a:pt x="9716" y="12273"/>
                    <a:pt x="10800" y="12273"/>
                  </a:cubicBezTo>
                  <a:cubicBezTo>
                    <a:pt x="11884" y="12273"/>
                    <a:pt x="12764" y="11614"/>
                    <a:pt x="12764" y="10800"/>
                  </a:cubicBezTo>
                  <a:cubicBezTo>
                    <a:pt x="12764" y="9986"/>
                    <a:pt x="11884" y="9327"/>
                    <a:pt x="10800" y="9327"/>
                  </a:cubicBezTo>
                  <a:moveTo>
                    <a:pt x="19145" y="15709"/>
                  </a:moveTo>
                  <a:cubicBezTo>
                    <a:pt x="18874" y="15709"/>
                    <a:pt x="18655" y="15929"/>
                    <a:pt x="18655" y="16200"/>
                  </a:cubicBezTo>
                  <a:cubicBezTo>
                    <a:pt x="18655" y="16472"/>
                    <a:pt x="18874" y="16691"/>
                    <a:pt x="19145" y="16691"/>
                  </a:cubicBezTo>
                  <a:cubicBezTo>
                    <a:pt x="19417" y="16691"/>
                    <a:pt x="19636" y="16472"/>
                    <a:pt x="19636" y="16200"/>
                  </a:cubicBezTo>
                  <a:cubicBezTo>
                    <a:pt x="19636" y="15929"/>
                    <a:pt x="19417" y="15709"/>
                    <a:pt x="19145" y="15709"/>
                  </a:cubicBezTo>
                  <a:moveTo>
                    <a:pt x="2455" y="15709"/>
                  </a:moveTo>
                  <a:cubicBezTo>
                    <a:pt x="2183" y="15709"/>
                    <a:pt x="1964" y="15929"/>
                    <a:pt x="1964" y="16200"/>
                  </a:cubicBezTo>
                  <a:cubicBezTo>
                    <a:pt x="1964" y="16472"/>
                    <a:pt x="2183" y="16691"/>
                    <a:pt x="2455" y="16691"/>
                  </a:cubicBezTo>
                  <a:cubicBezTo>
                    <a:pt x="2726" y="16691"/>
                    <a:pt x="2945" y="16472"/>
                    <a:pt x="2945" y="16200"/>
                  </a:cubicBezTo>
                  <a:cubicBezTo>
                    <a:pt x="2945" y="15929"/>
                    <a:pt x="2726" y="15709"/>
                    <a:pt x="2455" y="15709"/>
                  </a:cubicBezTo>
                  <a:moveTo>
                    <a:pt x="5645" y="4418"/>
                  </a:moveTo>
                  <a:lnTo>
                    <a:pt x="12027" y="4418"/>
                  </a:lnTo>
                  <a:cubicBezTo>
                    <a:pt x="12434" y="4418"/>
                    <a:pt x="12764" y="4088"/>
                    <a:pt x="12764" y="3682"/>
                  </a:cubicBezTo>
                  <a:cubicBezTo>
                    <a:pt x="12764" y="3275"/>
                    <a:pt x="12434" y="2945"/>
                    <a:pt x="12027" y="2945"/>
                  </a:cubicBezTo>
                  <a:lnTo>
                    <a:pt x="5645" y="2945"/>
                  </a:lnTo>
                  <a:cubicBezTo>
                    <a:pt x="5239" y="2945"/>
                    <a:pt x="4909" y="3275"/>
                    <a:pt x="4909" y="3682"/>
                  </a:cubicBezTo>
                  <a:cubicBezTo>
                    <a:pt x="4909" y="4088"/>
                    <a:pt x="5239" y="4418"/>
                    <a:pt x="5645" y="4418"/>
                  </a:cubicBezTo>
                  <a:moveTo>
                    <a:pt x="2455" y="1964"/>
                  </a:moveTo>
                  <a:cubicBezTo>
                    <a:pt x="2183" y="1964"/>
                    <a:pt x="1964" y="2184"/>
                    <a:pt x="1964" y="2455"/>
                  </a:cubicBezTo>
                  <a:cubicBezTo>
                    <a:pt x="1964" y="2726"/>
                    <a:pt x="2183" y="2945"/>
                    <a:pt x="2455" y="2945"/>
                  </a:cubicBezTo>
                  <a:cubicBezTo>
                    <a:pt x="2726" y="2945"/>
                    <a:pt x="2945" y="2726"/>
                    <a:pt x="2945" y="2455"/>
                  </a:cubicBezTo>
                  <a:cubicBezTo>
                    <a:pt x="2945" y="2184"/>
                    <a:pt x="2726" y="1964"/>
                    <a:pt x="245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Shape 2653">
              <a:extLst>
                <a:ext uri="{FF2B5EF4-FFF2-40B4-BE49-F238E27FC236}">
                  <a16:creationId xmlns:a16="http://schemas.microsoft.com/office/drawing/2014/main" id="{B1CFDFB7-0DBE-4EB9-879F-B0B33B6C498E}"/>
                </a:ext>
              </a:extLst>
            </p:cNvPr>
            <p:cNvSpPr/>
            <p:nvPr/>
          </p:nvSpPr>
          <p:spPr bwMode="gray">
            <a:xfrm>
              <a:off x="392782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  <a:moveTo>
                    <a:pt x="6873" y="2945"/>
                  </a:moveTo>
                  <a:lnTo>
                    <a:pt x="10800" y="2945"/>
                  </a:lnTo>
                  <a:lnTo>
                    <a:pt x="10800" y="1964"/>
                  </a:lnTo>
                  <a:lnTo>
                    <a:pt x="6873" y="1964"/>
                  </a:lnTo>
                  <a:cubicBezTo>
                    <a:pt x="6873" y="1964"/>
                    <a:pt x="6873" y="2945"/>
                    <a:pt x="6873" y="29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6873" y="4909"/>
                  </a:moveTo>
                  <a:lnTo>
                    <a:pt x="9818" y="4909"/>
                  </a:lnTo>
                  <a:lnTo>
                    <a:pt x="9818" y="3927"/>
                  </a:lnTo>
                  <a:lnTo>
                    <a:pt x="6873" y="3927"/>
                  </a:lnTo>
                  <a:cubicBezTo>
                    <a:pt x="6873" y="3927"/>
                    <a:pt x="6873" y="4909"/>
                    <a:pt x="6873" y="49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Shape 2654">
              <a:extLst>
                <a:ext uri="{FF2B5EF4-FFF2-40B4-BE49-F238E27FC236}">
                  <a16:creationId xmlns:a16="http://schemas.microsoft.com/office/drawing/2014/main" id="{645E823D-D21A-4BE9-A9A2-46477A7A8B88}"/>
                </a:ext>
              </a:extLst>
            </p:cNvPr>
            <p:cNvSpPr/>
            <p:nvPr/>
          </p:nvSpPr>
          <p:spPr bwMode="gray">
            <a:xfrm>
              <a:off x="447953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6691"/>
                  </a:lnTo>
                  <a:lnTo>
                    <a:pt x="15709" y="16691"/>
                  </a:lnTo>
                  <a:cubicBezTo>
                    <a:pt x="15709" y="16691"/>
                    <a:pt x="15709" y="15709"/>
                    <a:pt x="15709" y="15709"/>
                  </a:cubicBezTo>
                  <a:close/>
                  <a:moveTo>
                    <a:pt x="15709" y="17673"/>
                  </a:moveTo>
                  <a:lnTo>
                    <a:pt x="5891" y="17673"/>
                  </a:lnTo>
                  <a:lnTo>
                    <a:pt x="5891" y="18655"/>
                  </a:lnTo>
                  <a:lnTo>
                    <a:pt x="15709" y="18655"/>
                  </a:lnTo>
                  <a:cubicBezTo>
                    <a:pt x="15709" y="18655"/>
                    <a:pt x="15709" y="17673"/>
                    <a:pt x="15709" y="17673"/>
                  </a:cubicBezTo>
                  <a:close/>
                  <a:moveTo>
                    <a:pt x="11782" y="13745"/>
                  </a:moveTo>
                  <a:lnTo>
                    <a:pt x="5891" y="13745"/>
                  </a:lnTo>
                  <a:lnTo>
                    <a:pt x="5891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8655" y="20618"/>
                  </a:lnTo>
                  <a:lnTo>
                    <a:pt x="18655" y="11782"/>
                  </a:lnTo>
                  <a:cubicBezTo>
                    <a:pt x="18655" y="11240"/>
                    <a:pt x="18214" y="10800"/>
                    <a:pt x="17673" y="10800"/>
                  </a:cubicBezTo>
                  <a:lnTo>
                    <a:pt x="3927" y="10800"/>
                  </a:lnTo>
                  <a:cubicBezTo>
                    <a:pt x="3385" y="10800"/>
                    <a:pt x="2945" y="11240"/>
                    <a:pt x="2945" y="11782"/>
                  </a:cubicBezTo>
                  <a:lnTo>
                    <a:pt x="2945" y="20618"/>
                  </a:ln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4909" y="982"/>
                  </a:lnTo>
                  <a:lnTo>
                    <a:pt x="4909" y="6873"/>
                  </a:lnTo>
                  <a:cubicBezTo>
                    <a:pt x="4909" y="7415"/>
                    <a:pt x="5348" y="7855"/>
                    <a:pt x="5891" y="7855"/>
                  </a:cubicBezTo>
                  <a:lnTo>
                    <a:pt x="15709" y="7855"/>
                  </a:lnTo>
                  <a:cubicBezTo>
                    <a:pt x="16251" y="7855"/>
                    <a:pt x="16691" y="7415"/>
                    <a:pt x="16691" y="6873"/>
                  </a:cubicBezTo>
                  <a:lnTo>
                    <a:pt x="16691" y="982"/>
                  </a:lnTo>
                  <a:lnTo>
                    <a:pt x="17182" y="982"/>
                  </a:lnTo>
                  <a:lnTo>
                    <a:pt x="20618" y="4418"/>
                  </a:lnTo>
                  <a:cubicBezTo>
                    <a:pt x="20618" y="4418"/>
                    <a:pt x="20618" y="19636"/>
                    <a:pt x="20618" y="19636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1782"/>
                  </a:lnTo>
                  <a:lnTo>
                    <a:pt x="17673" y="11782"/>
                  </a:lnTo>
                  <a:cubicBezTo>
                    <a:pt x="17673" y="11782"/>
                    <a:pt x="17673" y="20618"/>
                    <a:pt x="17673" y="20618"/>
                  </a:cubicBezTo>
                  <a:close/>
                  <a:moveTo>
                    <a:pt x="5891" y="982"/>
                  </a:moveTo>
                  <a:lnTo>
                    <a:pt x="15709" y="982"/>
                  </a:lnTo>
                  <a:lnTo>
                    <a:pt x="15709" y="6873"/>
                  </a:lnTo>
                  <a:lnTo>
                    <a:pt x="5891" y="6873"/>
                  </a:lnTo>
                  <a:cubicBezTo>
                    <a:pt x="5891" y="6873"/>
                    <a:pt x="5891" y="982"/>
                    <a:pt x="5891" y="982"/>
                  </a:cubicBezTo>
                  <a:close/>
                  <a:moveTo>
                    <a:pt x="17673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3927"/>
                  </a:lnTo>
                  <a:cubicBezTo>
                    <a:pt x="21600" y="3927"/>
                    <a:pt x="17673" y="0"/>
                    <a:pt x="17673" y="0"/>
                  </a:cubicBezTo>
                  <a:close/>
                  <a:moveTo>
                    <a:pt x="12764" y="5891"/>
                  </a:moveTo>
                  <a:lnTo>
                    <a:pt x="14727" y="5891"/>
                  </a:lnTo>
                  <a:lnTo>
                    <a:pt x="14727" y="1964"/>
                  </a:lnTo>
                  <a:lnTo>
                    <a:pt x="12764" y="1964"/>
                  </a:lnTo>
                  <a:cubicBezTo>
                    <a:pt x="12764" y="1964"/>
                    <a:pt x="12764" y="5891"/>
                    <a:pt x="12764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Shape 2655">
              <a:extLst>
                <a:ext uri="{FF2B5EF4-FFF2-40B4-BE49-F238E27FC236}">
                  <a16:creationId xmlns:a16="http://schemas.microsoft.com/office/drawing/2014/main" id="{8924DD9E-ACB3-414C-AC06-AE708013D9C4}"/>
                </a:ext>
              </a:extLst>
            </p:cNvPr>
            <p:cNvSpPr/>
            <p:nvPr/>
          </p:nvSpPr>
          <p:spPr bwMode="gray">
            <a:xfrm>
              <a:off x="5031247" y="2337031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400"/>
                  </a:moveTo>
                  <a:lnTo>
                    <a:pt x="16349" y="14400"/>
                  </a:lnTo>
                  <a:cubicBezTo>
                    <a:pt x="16227" y="14820"/>
                    <a:pt x="16076" y="15221"/>
                    <a:pt x="15897" y="15600"/>
                  </a:cubicBezTo>
                  <a:lnTo>
                    <a:pt x="20618" y="15600"/>
                  </a:lnTo>
                  <a:lnTo>
                    <a:pt x="20618" y="19200"/>
                  </a:lnTo>
                  <a:cubicBezTo>
                    <a:pt x="20618" y="19862"/>
                    <a:pt x="20178" y="20400"/>
                    <a:pt x="19636" y="20400"/>
                  </a:cubicBez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lnTo>
                    <a:pt x="982" y="15600"/>
                  </a:lnTo>
                  <a:lnTo>
                    <a:pt x="5704" y="15600"/>
                  </a:lnTo>
                  <a:cubicBezTo>
                    <a:pt x="5524" y="15221"/>
                    <a:pt x="5373" y="14820"/>
                    <a:pt x="5251" y="14400"/>
                  </a:cubicBezTo>
                  <a:lnTo>
                    <a:pt x="982" y="14400"/>
                  </a:lnTo>
                  <a:lnTo>
                    <a:pt x="982" y="4800"/>
                  </a:lnTo>
                  <a:cubicBezTo>
                    <a:pt x="982" y="4138"/>
                    <a:pt x="1422" y="3600"/>
                    <a:pt x="1964" y="3600"/>
                  </a:cubicBezTo>
                  <a:lnTo>
                    <a:pt x="3927" y="3600"/>
                  </a:lnTo>
                  <a:cubicBezTo>
                    <a:pt x="5891" y="3600"/>
                    <a:pt x="5891" y="1200"/>
                    <a:pt x="7364" y="1200"/>
                  </a:cubicBezTo>
                  <a:lnTo>
                    <a:pt x="10800" y="1200"/>
                  </a:lnTo>
                  <a:lnTo>
                    <a:pt x="14236" y="1200"/>
                  </a:lnTo>
                  <a:cubicBezTo>
                    <a:pt x="15709" y="1200"/>
                    <a:pt x="15709" y="3600"/>
                    <a:pt x="17673" y="3600"/>
                  </a:cubicBezTo>
                  <a:lnTo>
                    <a:pt x="19636" y="3600"/>
                  </a:lnTo>
                  <a:cubicBezTo>
                    <a:pt x="20178" y="3600"/>
                    <a:pt x="20618" y="4138"/>
                    <a:pt x="20618" y="4800"/>
                  </a:cubicBezTo>
                  <a:cubicBezTo>
                    <a:pt x="20618" y="4800"/>
                    <a:pt x="20618" y="14400"/>
                    <a:pt x="20618" y="14400"/>
                  </a:cubicBezTo>
                  <a:close/>
                  <a:moveTo>
                    <a:pt x="19636" y="2400"/>
                  </a:moveTo>
                  <a:lnTo>
                    <a:pt x="17673" y="2400"/>
                  </a:lnTo>
                  <a:cubicBezTo>
                    <a:pt x="16200" y="2400"/>
                    <a:pt x="16200" y="0"/>
                    <a:pt x="14236" y="0"/>
                  </a:cubicBezTo>
                  <a:lnTo>
                    <a:pt x="10800" y="0"/>
                  </a:lnTo>
                  <a:lnTo>
                    <a:pt x="7364" y="0"/>
                  </a:lnTo>
                  <a:cubicBezTo>
                    <a:pt x="5400" y="0"/>
                    <a:pt x="5400" y="2400"/>
                    <a:pt x="3927" y="2400"/>
                  </a:cubicBezTo>
                  <a:lnTo>
                    <a:pt x="1964" y="2400"/>
                  </a:lnTo>
                  <a:cubicBezTo>
                    <a:pt x="879" y="2400"/>
                    <a:pt x="0" y="3475"/>
                    <a:pt x="0" y="4800"/>
                  </a:cubicBezTo>
                  <a:lnTo>
                    <a:pt x="0" y="19200"/>
                  </a:ln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lnTo>
                    <a:pt x="21600" y="4800"/>
                  </a:lnTo>
                  <a:cubicBezTo>
                    <a:pt x="21600" y="3475"/>
                    <a:pt x="20721" y="2400"/>
                    <a:pt x="19636" y="2400"/>
                  </a:cubicBezTo>
                  <a:moveTo>
                    <a:pt x="18164" y="7200"/>
                  </a:moveTo>
                  <a:cubicBezTo>
                    <a:pt x="17892" y="7200"/>
                    <a:pt x="17673" y="6932"/>
                    <a:pt x="17673" y="6600"/>
                  </a:cubicBezTo>
                  <a:cubicBezTo>
                    <a:pt x="17673" y="6269"/>
                    <a:pt x="17892" y="6000"/>
                    <a:pt x="18164" y="6000"/>
                  </a:cubicBezTo>
                  <a:cubicBezTo>
                    <a:pt x="18435" y="6000"/>
                    <a:pt x="18655" y="6269"/>
                    <a:pt x="18655" y="6600"/>
                  </a:cubicBezTo>
                  <a:cubicBezTo>
                    <a:pt x="18655" y="6932"/>
                    <a:pt x="18435" y="7200"/>
                    <a:pt x="18164" y="7200"/>
                  </a:cubicBezTo>
                  <a:moveTo>
                    <a:pt x="18164" y="4800"/>
                  </a:moveTo>
                  <a:cubicBezTo>
                    <a:pt x="17351" y="4800"/>
                    <a:pt x="16691" y="5607"/>
                    <a:pt x="16691" y="6600"/>
                  </a:cubicBezTo>
                  <a:cubicBezTo>
                    <a:pt x="16691" y="7594"/>
                    <a:pt x="17351" y="8400"/>
                    <a:pt x="18164" y="8400"/>
                  </a:cubicBezTo>
                  <a:cubicBezTo>
                    <a:pt x="18977" y="8400"/>
                    <a:pt x="19636" y="7594"/>
                    <a:pt x="19636" y="6600"/>
                  </a:cubicBezTo>
                  <a:cubicBezTo>
                    <a:pt x="19636" y="5607"/>
                    <a:pt x="18977" y="4800"/>
                    <a:pt x="18164" y="4800"/>
                  </a:cubicBezTo>
                  <a:moveTo>
                    <a:pt x="18164" y="9600"/>
                  </a:moveTo>
                  <a:cubicBezTo>
                    <a:pt x="17892" y="9600"/>
                    <a:pt x="17673" y="9869"/>
                    <a:pt x="17673" y="10200"/>
                  </a:cubicBezTo>
                  <a:cubicBezTo>
                    <a:pt x="17673" y="10532"/>
                    <a:pt x="17892" y="10800"/>
                    <a:pt x="18164" y="10800"/>
                  </a:cubicBezTo>
                  <a:cubicBezTo>
                    <a:pt x="18435" y="10800"/>
                    <a:pt x="18655" y="10532"/>
                    <a:pt x="18655" y="10200"/>
                  </a:cubicBezTo>
                  <a:cubicBezTo>
                    <a:pt x="18655" y="9869"/>
                    <a:pt x="18435" y="9600"/>
                    <a:pt x="18164" y="9600"/>
                  </a:cubicBezTo>
                  <a:moveTo>
                    <a:pt x="10800" y="16800"/>
                  </a:moveTo>
                  <a:cubicBezTo>
                    <a:pt x="8631" y="16800"/>
                    <a:pt x="6873" y="14651"/>
                    <a:pt x="6873" y="12000"/>
                  </a:cubicBezTo>
                  <a:cubicBezTo>
                    <a:pt x="6873" y="9349"/>
                    <a:pt x="8631" y="7200"/>
                    <a:pt x="10800" y="7200"/>
                  </a:cubicBezTo>
                  <a:cubicBezTo>
                    <a:pt x="12969" y="7200"/>
                    <a:pt x="14727" y="9349"/>
                    <a:pt x="14727" y="12000"/>
                  </a:cubicBezTo>
                  <a:cubicBezTo>
                    <a:pt x="14727" y="14651"/>
                    <a:pt x="12969" y="16800"/>
                    <a:pt x="10800" y="16800"/>
                  </a:cubicBezTo>
                  <a:moveTo>
                    <a:pt x="10800" y="6000"/>
                  </a:moveTo>
                  <a:cubicBezTo>
                    <a:pt x="8088" y="6000"/>
                    <a:pt x="5891" y="8687"/>
                    <a:pt x="5891" y="12000"/>
                  </a:cubicBezTo>
                  <a:cubicBezTo>
                    <a:pt x="5891" y="15314"/>
                    <a:pt x="8088" y="18000"/>
                    <a:pt x="10800" y="18000"/>
                  </a:cubicBezTo>
                  <a:cubicBezTo>
                    <a:pt x="13512" y="18000"/>
                    <a:pt x="15709" y="15314"/>
                    <a:pt x="15709" y="12000"/>
                  </a:cubicBezTo>
                  <a:cubicBezTo>
                    <a:pt x="15709" y="8687"/>
                    <a:pt x="13512" y="6000"/>
                    <a:pt x="10800" y="6000"/>
                  </a:cubicBezTo>
                  <a:moveTo>
                    <a:pt x="10800" y="14400"/>
                  </a:moveTo>
                  <a:cubicBezTo>
                    <a:pt x="9716" y="14400"/>
                    <a:pt x="8836" y="13325"/>
                    <a:pt x="8836" y="12000"/>
                  </a:cubicBezTo>
                  <a:cubicBezTo>
                    <a:pt x="8836" y="10675"/>
                    <a:pt x="9716" y="9600"/>
                    <a:pt x="10800" y="9600"/>
                  </a:cubicBezTo>
                  <a:cubicBezTo>
                    <a:pt x="11884" y="9600"/>
                    <a:pt x="12764" y="10675"/>
                    <a:pt x="12764" y="12000"/>
                  </a:cubicBezTo>
                  <a:cubicBezTo>
                    <a:pt x="12764" y="13325"/>
                    <a:pt x="11884" y="14400"/>
                    <a:pt x="10800" y="14400"/>
                  </a:cubicBezTo>
                  <a:moveTo>
                    <a:pt x="10800" y="8400"/>
                  </a:moveTo>
                  <a:cubicBezTo>
                    <a:pt x="9173" y="8400"/>
                    <a:pt x="7855" y="10012"/>
                    <a:pt x="7855" y="12000"/>
                  </a:cubicBezTo>
                  <a:cubicBezTo>
                    <a:pt x="7855" y="13988"/>
                    <a:pt x="9173" y="15600"/>
                    <a:pt x="10800" y="15600"/>
                  </a:cubicBezTo>
                  <a:cubicBezTo>
                    <a:pt x="12426" y="15600"/>
                    <a:pt x="13745" y="13988"/>
                    <a:pt x="13745" y="12000"/>
                  </a:cubicBezTo>
                  <a:cubicBezTo>
                    <a:pt x="13745" y="10012"/>
                    <a:pt x="12426" y="8400"/>
                    <a:pt x="10800" y="8400"/>
                  </a:cubicBezTo>
                  <a:moveTo>
                    <a:pt x="8345" y="3600"/>
                  </a:moveTo>
                  <a:lnTo>
                    <a:pt x="13255" y="3600"/>
                  </a:lnTo>
                  <a:cubicBezTo>
                    <a:pt x="13526" y="3600"/>
                    <a:pt x="13745" y="3332"/>
                    <a:pt x="13745" y="3000"/>
                  </a:cubicBezTo>
                  <a:cubicBezTo>
                    <a:pt x="13745" y="2669"/>
                    <a:pt x="13526" y="2400"/>
                    <a:pt x="13255" y="2400"/>
                  </a:cubicBezTo>
                  <a:lnTo>
                    <a:pt x="8345" y="2400"/>
                  </a:lnTo>
                  <a:cubicBezTo>
                    <a:pt x="8074" y="2400"/>
                    <a:pt x="7855" y="2669"/>
                    <a:pt x="7855" y="3000"/>
                  </a:cubicBezTo>
                  <a:cubicBezTo>
                    <a:pt x="7855" y="3332"/>
                    <a:pt x="8074" y="3600"/>
                    <a:pt x="8345" y="36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Shape 2656">
              <a:extLst>
                <a:ext uri="{FF2B5EF4-FFF2-40B4-BE49-F238E27FC236}">
                  <a16:creationId xmlns:a16="http://schemas.microsoft.com/office/drawing/2014/main" id="{A86AF5A8-40B2-4BAB-BD7A-ED71FC47ACC0}"/>
                </a:ext>
              </a:extLst>
            </p:cNvPr>
            <p:cNvSpPr/>
            <p:nvPr/>
          </p:nvSpPr>
          <p:spPr bwMode="gray">
            <a:xfrm>
              <a:off x="5582960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0800"/>
                  </a:moveTo>
                  <a:cubicBezTo>
                    <a:pt x="14186" y="10800"/>
                    <a:pt x="13745" y="11240"/>
                    <a:pt x="13745" y="11782"/>
                  </a:cubicBezTo>
                  <a:cubicBezTo>
                    <a:pt x="13745" y="12324"/>
                    <a:pt x="14186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90" y="6382"/>
                    <a:pt x="4909" y="6162"/>
                    <a:pt x="4909" y="5891"/>
                  </a:cubicBezTo>
                  <a:lnTo>
                    <a:pt x="4909" y="982"/>
                  </a:lnTo>
                  <a:lnTo>
                    <a:pt x="20618" y="982"/>
                  </a:lnTo>
                  <a:lnTo>
                    <a:pt x="20618" y="12764"/>
                  </a:lnTo>
                  <a:lnTo>
                    <a:pt x="19145" y="12764"/>
                  </a:lnTo>
                  <a:cubicBezTo>
                    <a:pt x="18874" y="12764"/>
                    <a:pt x="18655" y="12984"/>
                    <a:pt x="18655" y="13255"/>
                  </a:cubicBezTo>
                  <a:cubicBezTo>
                    <a:pt x="18655" y="13526"/>
                    <a:pt x="18874" y="13745"/>
                    <a:pt x="19145" y="13745"/>
                  </a:cubicBezTo>
                  <a:lnTo>
                    <a:pt x="20618" y="13745"/>
                  </a:lnTo>
                  <a:lnTo>
                    <a:pt x="20618" y="16691"/>
                  </a:lnTo>
                  <a:lnTo>
                    <a:pt x="19145" y="16691"/>
                  </a:lnTo>
                  <a:cubicBezTo>
                    <a:pt x="18874" y="16691"/>
                    <a:pt x="18655" y="16911"/>
                    <a:pt x="18655" y="17182"/>
                  </a:cubicBezTo>
                  <a:cubicBezTo>
                    <a:pt x="18655" y="17453"/>
                    <a:pt x="18874" y="17673"/>
                    <a:pt x="19145" y="17673"/>
                  </a:cubicBezTo>
                  <a:lnTo>
                    <a:pt x="20618" y="17673"/>
                  </a:lnTo>
                  <a:cubicBezTo>
                    <a:pt x="21160" y="17673"/>
                    <a:pt x="21600" y="17234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9" y="14727"/>
                    <a:pt x="15218" y="14508"/>
                    <a:pt x="15218" y="14236"/>
                  </a:cubicBezTo>
                  <a:cubicBezTo>
                    <a:pt x="15218" y="13966"/>
                    <a:pt x="14999" y="13745"/>
                    <a:pt x="14727" y="13745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6"/>
                    <a:pt x="6668" y="18655"/>
                    <a:pt x="8836" y="18655"/>
                  </a:cubicBezTo>
                  <a:cubicBezTo>
                    <a:pt x="11005" y="18655"/>
                    <a:pt x="12764" y="16896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  <a:moveTo>
                    <a:pt x="8836" y="15709"/>
                  </a:moveTo>
                  <a:cubicBezTo>
                    <a:pt x="8295" y="15709"/>
                    <a:pt x="7855" y="15269"/>
                    <a:pt x="7855" y="14727"/>
                  </a:cubicBezTo>
                  <a:cubicBezTo>
                    <a:pt x="7855" y="14186"/>
                    <a:pt x="8295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Shape 2657">
              <a:extLst>
                <a:ext uri="{FF2B5EF4-FFF2-40B4-BE49-F238E27FC236}">
                  <a16:creationId xmlns:a16="http://schemas.microsoft.com/office/drawing/2014/main" id="{DF4A7A8E-E22D-4F34-A45A-E141A25DB796}"/>
                </a:ext>
              </a:extLst>
            </p:cNvPr>
            <p:cNvSpPr/>
            <p:nvPr/>
          </p:nvSpPr>
          <p:spPr bwMode="gray">
            <a:xfrm>
              <a:off x="617538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4909"/>
                  </a:moveTo>
                  <a:lnTo>
                    <a:pt x="6873" y="4909"/>
                  </a:lnTo>
                  <a:lnTo>
                    <a:pt x="6873" y="3927"/>
                  </a:lnTo>
                  <a:lnTo>
                    <a:pt x="5891" y="3927"/>
                  </a:lnTo>
                  <a:cubicBezTo>
                    <a:pt x="5891" y="3927"/>
                    <a:pt x="5891" y="4909"/>
                    <a:pt x="5891" y="4909"/>
                  </a:cubicBezTo>
                  <a:close/>
                  <a:moveTo>
                    <a:pt x="18655" y="13745"/>
                  </a:moveTo>
                  <a:lnTo>
                    <a:pt x="19636" y="13745"/>
                  </a:lnTo>
                  <a:lnTo>
                    <a:pt x="19636" y="12764"/>
                  </a:lnTo>
                  <a:lnTo>
                    <a:pt x="18655" y="12764"/>
                  </a:lnTo>
                  <a:cubicBezTo>
                    <a:pt x="18655" y="12764"/>
                    <a:pt x="18655" y="13745"/>
                    <a:pt x="18655" y="13745"/>
                  </a:cubicBezTo>
                  <a:close/>
                  <a:moveTo>
                    <a:pt x="6873" y="1964"/>
                  </a:moveTo>
                  <a:lnTo>
                    <a:pt x="5891" y="1964"/>
                  </a:lnTo>
                  <a:lnTo>
                    <a:pt x="5891" y="2945"/>
                  </a:lnTo>
                  <a:lnTo>
                    <a:pt x="6873" y="2945"/>
                  </a:lnTo>
                  <a:cubicBezTo>
                    <a:pt x="6873" y="2945"/>
                    <a:pt x="6873" y="1964"/>
                    <a:pt x="6873" y="1964"/>
                  </a:cubicBezTo>
                  <a:close/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cubicBezTo>
                    <a:pt x="3927" y="6162"/>
                    <a:pt x="4147" y="6382"/>
                    <a:pt x="4418" y="6382"/>
                  </a:cubicBezTo>
                  <a:cubicBezTo>
                    <a:pt x="4689" y="6382"/>
                    <a:pt x="4909" y="6162"/>
                    <a:pt x="4909" y="5891"/>
                  </a:cubicBezTo>
                  <a:lnTo>
                    <a:pt x="4909" y="1964"/>
                  </a:lnTo>
                  <a:cubicBezTo>
                    <a:pt x="4909" y="1422"/>
                    <a:pt x="5349" y="982"/>
                    <a:pt x="5891" y="982"/>
                  </a:cubicBezTo>
                  <a:lnTo>
                    <a:pt x="7855" y="982"/>
                  </a:lnTo>
                  <a:lnTo>
                    <a:pt x="7855" y="5400"/>
                  </a:lnTo>
                  <a:cubicBezTo>
                    <a:pt x="7855" y="5671"/>
                    <a:pt x="8075" y="5891"/>
                    <a:pt x="8345" y="5891"/>
                  </a:cubicBezTo>
                  <a:cubicBezTo>
                    <a:pt x="8616" y="5891"/>
                    <a:pt x="8836" y="5671"/>
                    <a:pt x="8836" y="5400"/>
                  </a:cubicBezTo>
                  <a:lnTo>
                    <a:pt x="8836" y="982"/>
                  </a:lnTo>
                  <a:lnTo>
                    <a:pt x="16691" y="982"/>
                  </a:lnTo>
                  <a:lnTo>
                    <a:pt x="16691" y="7364"/>
                  </a:lnTo>
                  <a:cubicBezTo>
                    <a:pt x="16691" y="7635"/>
                    <a:pt x="16911" y="7855"/>
                    <a:pt x="17182" y="7855"/>
                  </a:cubicBezTo>
                  <a:cubicBezTo>
                    <a:pt x="17453" y="7855"/>
                    <a:pt x="17673" y="7635"/>
                    <a:pt x="17673" y="7364"/>
                  </a:cubicBezTo>
                  <a:lnTo>
                    <a:pt x="17673" y="982"/>
                  </a:ln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lnTo>
                    <a:pt x="20618" y="8345"/>
                  </a:lnTo>
                  <a:lnTo>
                    <a:pt x="19145" y="8345"/>
                  </a:lnTo>
                  <a:cubicBezTo>
                    <a:pt x="18875" y="8345"/>
                    <a:pt x="18655" y="8566"/>
                    <a:pt x="18655" y="8836"/>
                  </a:cubicBezTo>
                  <a:cubicBezTo>
                    <a:pt x="18655" y="9108"/>
                    <a:pt x="18875" y="9327"/>
                    <a:pt x="19145" y="9327"/>
                  </a:cubicBezTo>
                  <a:lnTo>
                    <a:pt x="20618" y="9327"/>
                  </a:lnTo>
                  <a:lnTo>
                    <a:pt x="20618" y="15709"/>
                  </a:lnTo>
                  <a:cubicBezTo>
                    <a:pt x="20618" y="16252"/>
                    <a:pt x="20179" y="16691"/>
                    <a:pt x="19636" y="16691"/>
                  </a:cubicBezTo>
                  <a:lnTo>
                    <a:pt x="19145" y="16691"/>
                  </a:lnTo>
                  <a:cubicBezTo>
                    <a:pt x="18875" y="16691"/>
                    <a:pt x="18655" y="16911"/>
                    <a:pt x="18655" y="17182"/>
                  </a:cubicBezTo>
                  <a:cubicBezTo>
                    <a:pt x="18655" y="17453"/>
                    <a:pt x="18875" y="17673"/>
                    <a:pt x="19145" y="17673"/>
                  </a:cubicBezTo>
                  <a:lnTo>
                    <a:pt x="19145" y="17673"/>
                  </a:lnTo>
                  <a:lnTo>
                    <a:pt x="19636" y="17673"/>
                  </a:lnTo>
                  <a:lnTo>
                    <a:pt x="19636" y="17673"/>
                  </a:lnTo>
                  <a:lnTo>
                    <a:pt x="20618" y="17673"/>
                  </a:lnTo>
                  <a:cubicBezTo>
                    <a:pt x="21160" y="17673"/>
                    <a:pt x="21600" y="17233"/>
                    <a:pt x="21600" y="16691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9636" y="10800"/>
                  </a:moveTo>
                  <a:lnTo>
                    <a:pt x="18655" y="10800"/>
                  </a:lnTo>
                  <a:lnTo>
                    <a:pt x="18655" y="11782"/>
                  </a:lnTo>
                  <a:lnTo>
                    <a:pt x="19636" y="11782"/>
                  </a:lnTo>
                  <a:cubicBezTo>
                    <a:pt x="19636" y="11782"/>
                    <a:pt x="19636" y="10800"/>
                    <a:pt x="19636" y="10800"/>
                  </a:cubicBezTo>
                  <a:close/>
                  <a:moveTo>
                    <a:pt x="18655" y="6873"/>
                  </a:moveTo>
                  <a:lnTo>
                    <a:pt x="19636" y="6873"/>
                  </a:lnTo>
                  <a:lnTo>
                    <a:pt x="19636" y="5891"/>
                  </a:lnTo>
                  <a:lnTo>
                    <a:pt x="18655" y="5891"/>
                  </a:lnTo>
                  <a:cubicBezTo>
                    <a:pt x="18655" y="5891"/>
                    <a:pt x="18655" y="6873"/>
                    <a:pt x="18655" y="6873"/>
                  </a:cubicBezTo>
                  <a:close/>
                  <a:moveTo>
                    <a:pt x="18655" y="15709"/>
                  </a:moveTo>
                  <a:lnTo>
                    <a:pt x="19636" y="15709"/>
                  </a:lnTo>
                  <a:lnTo>
                    <a:pt x="19636" y="14727"/>
                  </a:lnTo>
                  <a:lnTo>
                    <a:pt x="18655" y="14727"/>
                  </a:lnTo>
                  <a:cubicBezTo>
                    <a:pt x="18655" y="14727"/>
                    <a:pt x="18655" y="15709"/>
                    <a:pt x="18655" y="15709"/>
                  </a:cubicBezTo>
                  <a:close/>
                  <a:moveTo>
                    <a:pt x="19636" y="1964"/>
                  </a:moveTo>
                  <a:lnTo>
                    <a:pt x="18655" y="1964"/>
                  </a:lnTo>
                  <a:lnTo>
                    <a:pt x="18655" y="2945"/>
                  </a:lnTo>
                  <a:lnTo>
                    <a:pt x="19636" y="2945"/>
                  </a:lnTo>
                  <a:cubicBezTo>
                    <a:pt x="19636" y="2945"/>
                    <a:pt x="19636" y="1964"/>
                    <a:pt x="19636" y="1964"/>
                  </a:cubicBezTo>
                  <a:close/>
                  <a:moveTo>
                    <a:pt x="18655" y="4909"/>
                  </a:moveTo>
                  <a:lnTo>
                    <a:pt x="19636" y="4909"/>
                  </a:lnTo>
                  <a:lnTo>
                    <a:pt x="19636" y="3927"/>
                  </a:lnTo>
                  <a:lnTo>
                    <a:pt x="18655" y="3927"/>
                  </a:lnTo>
                  <a:cubicBezTo>
                    <a:pt x="18655" y="3927"/>
                    <a:pt x="18655" y="4909"/>
                    <a:pt x="18655" y="4909"/>
                  </a:cubicBezTo>
                  <a:close/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7" y="10800"/>
                    <a:pt x="4909" y="12558"/>
                    <a:pt x="4909" y="14727"/>
                  </a:cubicBezTo>
                  <a:cubicBezTo>
                    <a:pt x="4909" y="16897"/>
                    <a:pt x="6667" y="18655"/>
                    <a:pt x="8836" y="18655"/>
                  </a:cubicBezTo>
                  <a:cubicBezTo>
                    <a:pt x="11006" y="18655"/>
                    <a:pt x="12764" y="16897"/>
                    <a:pt x="12764" y="14727"/>
                  </a:cubicBezTo>
                  <a:cubicBezTo>
                    <a:pt x="12764" y="12558"/>
                    <a:pt x="11006" y="10800"/>
                    <a:pt x="8836" y="10800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5"/>
                    <a:pt x="8294" y="13745"/>
                    <a:pt x="8836" y="13745"/>
                  </a:cubicBezTo>
                  <a:cubicBezTo>
                    <a:pt x="9378" y="13745"/>
                    <a:pt x="9818" y="14185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4"/>
                    <a:pt x="14185" y="12764"/>
                    <a:pt x="14727" y="12764"/>
                  </a:cubicBezTo>
                  <a:cubicBezTo>
                    <a:pt x="15269" y="12764"/>
                    <a:pt x="15709" y="12324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Shape 2658">
              <a:extLst>
                <a:ext uri="{FF2B5EF4-FFF2-40B4-BE49-F238E27FC236}">
                  <a16:creationId xmlns:a16="http://schemas.microsoft.com/office/drawing/2014/main" id="{686FACF2-97BB-4C98-8C81-C1EA99BCD757}"/>
                </a:ext>
              </a:extLst>
            </p:cNvPr>
            <p:cNvSpPr/>
            <p:nvPr/>
          </p:nvSpPr>
          <p:spPr bwMode="gray">
            <a:xfrm>
              <a:off x="116925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3745"/>
                  </a:moveTo>
                  <a:cubicBezTo>
                    <a:pt x="16420" y="13745"/>
                    <a:pt x="16200" y="13966"/>
                    <a:pt x="16200" y="14236"/>
                  </a:cubicBezTo>
                  <a:cubicBezTo>
                    <a:pt x="16200" y="14508"/>
                    <a:pt x="16420" y="14727"/>
                    <a:pt x="16691" y="14727"/>
                  </a:cubicBezTo>
                  <a:cubicBezTo>
                    <a:pt x="16962" y="14727"/>
                    <a:pt x="17182" y="14508"/>
                    <a:pt x="17182" y="14236"/>
                  </a:cubicBezTo>
                  <a:cubicBezTo>
                    <a:pt x="17182" y="13966"/>
                    <a:pt x="16962" y="13745"/>
                    <a:pt x="16691" y="13745"/>
                  </a:cubicBezTo>
                  <a:moveTo>
                    <a:pt x="16691" y="10800"/>
                  </a:moveTo>
                  <a:cubicBezTo>
                    <a:pt x="16149" y="10800"/>
                    <a:pt x="15709" y="11240"/>
                    <a:pt x="15709" y="11782"/>
                  </a:cubicBezTo>
                  <a:cubicBezTo>
                    <a:pt x="15709" y="12325"/>
                    <a:pt x="16149" y="12764"/>
                    <a:pt x="16691" y="12764"/>
                  </a:cubicBezTo>
                  <a:cubicBezTo>
                    <a:pt x="17233" y="12764"/>
                    <a:pt x="17673" y="12325"/>
                    <a:pt x="17673" y="11782"/>
                  </a:cubicBezTo>
                  <a:cubicBezTo>
                    <a:pt x="17673" y="11240"/>
                    <a:pt x="17233" y="10800"/>
                    <a:pt x="16691" y="10800"/>
                  </a:cubicBezTo>
                  <a:moveTo>
                    <a:pt x="14236" y="5891"/>
                  </a:moveTo>
                  <a:lnTo>
                    <a:pt x="17960" y="5891"/>
                  </a:lnTo>
                  <a:lnTo>
                    <a:pt x="16835" y="7017"/>
                  </a:lnTo>
                  <a:cubicBezTo>
                    <a:pt x="16746" y="7106"/>
                    <a:pt x="16691" y="7229"/>
                    <a:pt x="16691" y="7364"/>
                  </a:cubicBezTo>
                  <a:cubicBezTo>
                    <a:pt x="16691" y="7635"/>
                    <a:pt x="16911" y="7855"/>
                    <a:pt x="17182" y="7855"/>
                  </a:cubicBezTo>
                  <a:cubicBezTo>
                    <a:pt x="17317" y="7855"/>
                    <a:pt x="17440" y="7800"/>
                    <a:pt x="17529" y="7711"/>
                  </a:cubicBezTo>
                  <a:lnTo>
                    <a:pt x="19493" y="5748"/>
                  </a:lnTo>
                  <a:cubicBezTo>
                    <a:pt x="19581" y="5658"/>
                    <a:pt x="19636" y="5536"/>
                    <a:pt x="19636" y="5400"/>
                  </a:cubicBezTo>
                  <a:cubicBezTo>
                    <a:pt x="19636" y="5265"/>
                    <a:pt x="19581" y="5142"/>
                    <a:pt x="19493" y="5053"/>
                  </a:cubicBezTo>
                  <a:lnTo>
                    <a:pt x="17529" y="3089"/>
                  </a:lnTo>
                  <a:cubicBezTo>
                    <a:pt x="17440" y="3001"/>
                    <a:pt x="17317" y="2945"/>
                    <a:pt x="17182" y="2945"/>
                  </a:cubicBezTo>
                  <a:cubicBezTo>
                    <a:pt x="16911" y="2945"/>
                    <a:pt x="16691" y="3166"/>
                    <a:pt x="16691" y="3436"/>
                  </a:cubicBezTo>
                  <a:cubicBezTo>
                    <a:pt x="16691" y="3572"/>
                    <a:pt x="16746" y="3695"/>
                    <a:pt x="16835" y="3784"/>
                  </a:cubicBezTo>
                  <a:lnTo>
                    <a:pt x="17960" y="4909"/>
                  </a:lnTo>
                  <a:lnTo>
                    <a:pt x="14236" y="4909"/>
                  </a:lnTo>
                  <a:cubicBezTo>
                    <a:pt x="13966" y="4909"/>
                    <a:pt x="13745" y="5129"/>
                    <a:pt x="13745" y="5400"/>
                  </a:cubicBezTo>
                  <a:cubicBezTo>
                    <a:pt x="13745" y="5672"/>
                    <a:pt x="13966" y="5891"/>
                    <a:pt x="14236" y="5891"/>
                  </a:cubicBezTo>
                  <a:moveTo>
                    <a:pt x="10800" y="15709"/>
                  </a:moveTo>
                  <a:cubicBezTo>
                    <a:pt x="10258" y="15709"/>
                    <a:pt x="9818" y="15269"/>
                    <a:pt x="9818" y="14727"/>
                  </a:cubicBezTo>
                  <a:cubicBezTo>
                    <a:pt x="9818" y="14186"/>
                    <a:pt x="10258" y="13745"/>
                    <a:pt x="10800" y="13745"/>
                  </a:cubicBezTo>
                  <a:cubicBezTo>
                    <a:pt x="11342" y="13745"/>
                    <a:pt x="11782" y="14186"/>
                    <a:pt x="11782" y="14727"/>
                  </a:cubicBezTo>
                  <a:cubicBezTo>
                    <a:pt x="11782" y="15269"/>
                    <a:pt x="11342" y="15709"/>
                    <a:pt x="10800" y="15709"/>
                  </a:cubicBezTo>
                  <a:moveTo>
                    <a:pt x="10800" y="12764"/>
                  </a:moveTo>
                  <a:cubicBezTo>
                    <a:pt x="9716" y="12764"/>
                    <a:pt x="8836" y="13643"/>
                    <a:pt x="8836" y="14727"/>
                  </a:cubicBezTo>
                  <a:cubicBezTo>
                    <a:pt x="8836" y="15812"/>
                    <a:pt x="9716" y="16691"/>
                    <a:pt x="10800" y="16691"/>
                  </a:cubicBezTo>
                  <a:cubicBezTo>
                    <a:pt x="11884" y="16691"/>
                    <a:pt x="12764" y="15812"/>
                    <a:pt x="12764" y="14727"/>
                  </a:cubicBezTo>
                  <a:cubicBezTo>
                    <a:pt x="12764" y="13643"/>
                    <a:pt x="11884" y="12764"/>
                    <a:pt x="10800" y="12764"/>
                  </a:cubicBezTo>
                  <a:moveTo>
                    <a:pt x="4071" y="7711"/>
                  </a:moveTo>
                  <a:cubicBezTo>
                    <a:pt x="4160" y="7800"/>
                    <a:pt x="4283" y="7855"/>
                    <a:pt x="4418" y="7855"/>
                  </a:cubicBezTo>
                  <a:cubicBezTo>
                    <a:pt x="4689" y="7855"/>
                    <a:pt x="4909" y="7635"/>
                    <a:pt x="4909" y="7364"/>
                  </a:cubicBezTo>
                  <a:cubicBezTo>
                    <a:pt x="4909" y="7229"/>
                    <a:pt x="4854" y="7106"/>
                    <a:pt x="4765" y="7017"/>
                  </a:cubicBezTo>
                  <a:lnTo>
                    <a:pt x="3640" y="5891"/>
                  </a:lnTo>
                  <a:lnTo>
                    <a:pt x="7364" y="5891"/>
                  </a:lnTo>
                  <a:cubicBezTo>
                    <a:pt x="7634" y="5891"/>
                    <a:pt x="7855" y="5672"/>
                    <a:pt x="7855" y="5400"/>
                  </a:cubicBezTo>
                  <a:cubicBezTo>
                    <a:pt x="7855" y="5129"/>
                    <a:pt x="7634" y="4909"/>
                    <a:pt x="7364" y="4909"/>
                  </a:cubicBezTo>
                  <a:lnTo>
                    <a:pt x="3640" y="4909"/>
                  </a:lnTo>
                  <a:lnTo>
                    <a:pt x="4765" y="3784"/>
                  </a:lnTo>
                  <a:cubicBezTo>
                    <a:pt x="4854" y="3695"/>
                    <a:pt x="4909" y="3572"/>
                    <a:pt x="4909" y="3436"/>
                  </a:cubicBezTo>
                  <a:cubicBezTo>
                    <a:pt x="4909" y="3166"/>
                    <a:pt x="4689" y="2945"/>
                    <a:pt x="4418" y="2945"/>
                  </a:cubicBezTo>
                  <a:cubicBezTo>
                    <a:pt x="4283" y="2945"/>
                    <a:pt x="4160" y="3001"/>
                    <a:pt x="4071" y="3089"/>
                  </a:cubicBezTo>
                  <a:lnTo>
                    <a:pt x="2107" y="5053"/>
                  </a:lnTo>
                  <a:cubicBezTo>
                    <a:pt x="2019" y="5142"/>
                    <a:pt x="1964" y="5265"/>
                    <a:pt x="1964" y="5400"/>
                  </a:cubicBezTo>
                  <a:cubicBezTo>
                    <a:pt x="1964" y="5536"/>
                    <a:pt x="2019" y="5658"/>
                    <a:pt x="2107" y="5748"/>
                  </a:cubicBezTo>
                  <a:cubicBezTo>
                    <a:pt x="2107" y="5748"/>
                    <a:pt x="4071" y="7711"/>
                    <a:pt x="4071" y="7711"/>
                  </a:cubicBezTo>
                  <a:close/>
                  <a:moveTo>
                    <a:pt x="20618" y="15709"/>
                  </a:moveTo>
                  <a:lnTo>
                    <a:pt x="19636" y="15709"/>
                  </a:lnTo>
                  <a:lnTo>
                    <a:pt x="19636" y="10800"/>
                  </a:lnTo>
                  <a:cubicBezTo>
                    <a:pt x="19636" y="9716"/>
                    <a:pt x="18757" y="8836"/>
                    <a:pt x="17673" y="8836"/>
                  </a:cubicBezTo>
                  <a:lnTo>
                    <a:pt x="15709" y="8836"/>
                  </a:lnTo>
                  <a:cubicBezTo>
                    <a:pt x="14236" y="8836"/>
                    <a:pt x="14236" y="6873"/>
                    <a:pt x="12273" y="6873"/>
                  </a:cubicBezTo>
                  <a:lnTo>
                    <a:pt x="9327" y="6873"/>
                  </a:lnTo>
                  <a:cubicBezTo>
                    <a:pt x="7364" y="6873"/>
                    <a:pt x="7364" y="8836"/>
                    <a:pt x="5891" y="8836"/>
                  </a:cubicBezTo>
                  <a:lnTo>
                    <a:pt x="3927" y="8836"/>
                  </a:lnTo>
                  <a:cubicBezTo>
                    <a:pt x="2843" y="8836"/>
                    <a:pt x="1964" y="9716"/>
                    <a:pt x="1964" y="10800"/>
                  </a:cubicBezTo>
                  <a:lnTo>
                    <a:pt x="1964" y="15709"/>
                  </a:lnTo>
                  <a:lnTo>
                    <a:pt x="982" y="157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15709"/>
                    <a:pt x="20618" y="15709"/>
                  </a:cubicBezTo>
                  <a:close/>
                  <a:moveTo>
                    <a:pt x="18655" y="19636"/>
                  </a:moveTo>
                  <a:cubicBezTo>
                    <a:pt x="18655" y="20178"/>
                    <a:pt x="18215" y="20618"/>
                    <a:pt x="17673" y="20618"/>
                  </a:cubicBezTo>
                  <a:lnTo>
                    <a:pt x="3927" y="20618"/>
                  </a:lnTo>
                  <a:cubicBezTo>
                    <a:pt x="3385" y="20618"/>
                    <a:pt x="2945" y="20178"/>
                    <a:pt x="2945" y="19636"/>
                  </a:cubicBezTo>
                  <a:lnTo>
                    <a:pt x="2945" y="10800"/>
                  </a:lnTo>
                  <a:cubicBezTo>
                    <a:pt x="2945" y="10258"/>
                    <a:pt x="3385" y="9818"/>
                    <a:pt x="3927" y="9818"/>
                  </a:cubicBezTo>
                  <a:lnTo>
                    <a:pt x="5891" y="9818"/>
                  </a:lnTo>
                  <a:cubicBezTo>
                    <a:pt x="7855" y="9818"/>
                    <a:pt x="7855" y="7855"/>
                    <a:pt x="9327" y="7855"/>
                  </a:cubicBezTo>
                  <a:lnTo>
                    <a:pt x="10800" y="7855"/>
                  </a:lnTo>
                  <a:lnTo>
                    <a:pt x="12273" y="7855"/>
                  </a:lnTo>
                  <a:cubicBezTo>
                    <a:pt x="13745" y="7855"/>
                    <a:pt x="13745" y="9818"/>
                    <a:pt x="15709" y="9818"/>
                  </a:cubicBezTo>
                  <a:lnTo>
                    <a:pt x="17673" y="9818"/>
                  </a:lnTo>
                  <a:cubicBezTo>
                    <a:pt x="18215" y="9818"/>
                    <a:pt x="18655" y="10258"/>
                    <a:pt x="18655" y="10800"/>
                  </a:cubicBezTo>
                  <a:cubicBezTo>
                    <a:pt x="18655" y="10800"/>
                    <a:pt x="18655" y="19636"/>
                    <a:pt x="18655" y="19636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15709"/>
                  </a:lnTo>
                  <a:cubicBezTo>
                    <a:pt x="0" y="16252"/>
                    <a:pt x="440" y="16691"/>
                    <a:pt x="982" y="16691"/>
                  </a:cubicBezTo>
                  <a:lnTo>
                    <a:pt x="1964" y="16691"/>
                  </a:lnTo>
                  <a:lnTo>
                    <a:pt x="1964" y="19636"/>
                  </a:lnTo>
                  <a:cubicBezTo>
                    <a:pt x="1964" y="20721"/>
                    <a:pt x="2843" y="21600"/>
                    <a:pt x="3927" y="21600"/>
                  </a:cubicBezTo>
                  <a:lnTo>
                    <a:pt x="17673" y="21600"/>
                  </a:lnTo>
                  <a:cubicBezTo>
                    <a:pt x="18757" y="21600"/>
                    <a:pt x="19636" y="20721"/>
                    <a:pt x="19636" y="19636"/>
                  </a:cubicBezTo>
                  <a:lnTo>
                    <a:pt x="19636" y="16691"/>
                  </a:lnTo>
                  <a:lnTo>
                    <a:pt x="20618" y="16691"/>
                  </a:lnTo>
                  <a:cubicBezTo>
                    <a:pt x="21160" y="16691"/>
                    <a:pt x="21600" y="16252"/>
                    <a:pt x="21600" y="157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10800" y="17673"/>
                  </a:moveTo>
                  <a:cubicBezTo>
                    <a:pt x="9173" y="17673"/>
                    <a:pt x="7855" y="16354"/>
                    <a:pt x="7855" y="14727"/>
                  </a:cubicBezTo>
                  <a:cubicBezTo>
                    <a:pt x="7855" y="13101"/>
                    <a:pt x="9173" y="11782"/>
                    <a:pt x="10800" y="11782"/>
                  </a:cubicBezTo>
                  <a:cubicBezTo>
                    <a:pt x="12427" y="11782"/>
                    <a:pt x="13745" y="13101"/>
                    <a:pt x="13745" y="14727"/>
                  </a:cubicBezTo>
                  <a:cubicBezTo>
                    <a:pt x="13745" y="16354"/>
                    <a:pt x="12427" y="17673"/>
                    <a:pt x="10800" y="17673"/>
                  </a:cubicBezTo>
                  <a:moveTo>
                    <a:pt x="10800" y="10800"/>
                  </a:moveTo>
                  <a:cubicBezTo>
                    <a:pt x="8631" y="10800"/>
                    <a:pt x="6873" y="12558"/>
                    <a:pt x="6873" y="14727"/>
                  </a:cubicBezTo>
                  <a:cubicBezTo>
                    <a:pt x="6873" y="16897"/>
                    <a:pt x="8631" y="18655"/>
                    <a:pt x="10800" y="18655"/>
                  </a:cubicBezTo>
                  <a:cubicBezTo>
                    <a:pt x="12969" y="18655"/>
                    <a:pt x="14727" y="16897"/>
                    <a:pt x="14727" y="14727"/>
                  </a:cubicBezTo>
                  <a:cubicBezTo>
                    <a:pt x="14727" y="12558"/>
                    <a:pt x="12969" y="10800"/>
                    <a:pt x="108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Shape 2659">
              <a:extLst>
                <a:ext uri="{FF2B5EF4-FFF2-40B4-BE49-F238E27FC236}">
                  <a16:creationId xmlns:a16="http://schemas.microsoft.com/office/drawing/2014/main" id="{432841E2-61B9-478E-A140-5C10325F6133}"/>
                </a:ext>
              </a:extLst>
            </p:cNvPr>
            <p:cNvSpPr/>
            <p:nvPr/>
          </p:nvSpPr>
          <p:spPr bwMode="gray">
            <a:xfrm>
              <a:off x="172096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7855"/>
                  </a:moveTo>
                  <a:cubicBezTo>
                    <a:pt x="16052" y="7855"/>
                    <a:pt x="16376" y="7925"/>
                    <a:pt x="16682" y="8033"/>
                  </a:cubicBezTo>
                  <a:cubicBezTo>
                    <a:pt x="16684" y="7973"/>
                    <a:pt x="16691" y="7915"/>
                    <a:pt x="16691" y="7855"/>
                  </a:cubicBezTo>
                  <a:cubicBezTo>
                    <a:pt x="16691" y="5686"/>
                    <a:pt x="14932" y="3927"/>
                    <a:pt x="12764" y="3927"/>
                  </a:cubicBezTo>
                  <a:cubicBezTo>
                    <a:pt x="11311" y="3927"/>
                    <a:pt x="10045" y="4718"/>
                    <a:pt x="9366" y="5891"/>
                  </a:cubicBezTo>
                  <a:lnTo>
                    <a:pt x="10309" y="5891"/>
                  </a:lnTo>
                  <a:cubicBezTo>
                    <a:pt x="10401" y="5891"/>
                    <a:pt x="10481" y="5904"/>
                    <a:pt x="10567" y="5910"/>
                  </a:cubicBezTo>
                  <a:cubicBezTo>
                    <a:pt x="11107" y="5301"/>
                    <a:pt x="11886" y="4909"/>
                    <a:pt x="12764" y="4909"/>
                  </a:cubicBezTo>
                  <a:cubicBezTo>
                    <a:pt x="14390" y="4909"/>
                    <a:pt x="15709" y="6228"/>
                    <a:pt x="15709" y="7855"/>
                  </a:cubicBezTo>
                  <a:moveTo>
                    <a:pt x="11716" y="6199"/>
                  </a:moveTo>
                  <a:cubicBezTo>
                    <a:pt x="12102" y="6387"/>
                    <a:pt x="12403" y="6637"/>
                    <a:pt x="12649" y="6884"/>
                  </a:cubicBezTo>
                  <a:cubicBezTo>
                    <a:pt x="12687" y="6880"/>
                    <a:pt x="12724" y="6873"/>
                    <a:pt x="12764" y="6873"/>
                  </a:cubicBezTo>
                  <a:cubicBezTo>
                    <a:pt x="13306" y="6873"/>
                    <a:pt x="13745" y="7313"/>
                    <a:pt x="13745" y="7855"/>
                  </a:cubicBezTo>
                  <a:lnTo>
                    <a:pt x="14727" y="7855"/>
                  </a:lnTo>
                  <a:cubicBezTo>
                    <a:pt x="14727" y="6770"/>
                    <a:pt x="13848" y="5891"/>
                    <a:pt x="12764" y="5891"/>
                  </a:cubicBezTo>
                  <a:cubicBezTo>
                    <a:pt x="12377" y="5891"/>
                    <a:pt x="12020" y="6006"/>
                    <a:pt x="11716" y="6199"/>
                  </a:cubicBezTo>
                  <a:moveTo>
                    <a:pt x="19636" y="1964"/>
                  </a:moveTo>
                  <a:lnTo>
                    <a:pt x="17673" y="1964"/>
                  </a:lnTo>
                  <a:cubicBezTo>
                    <a:pt x="16200" y="1964"/>
                    <a:pt x="16200" y="0"/>
                    <a:pt x="14236" y="0"/>
                  </a:cubicBezTo>
                  <a:lnTo>
                    <a:pt x="11291" y="0"/>
                  </a:lnTo>
                  <a:cubicBezTo>
                    <a:pt x="9327" y="0"/>
                    <a:pt x="9327" y="1964"/>
                    <a:pt x="7855" y="1964"/>
                  </a:cubicBezTo>
                  <a:lnTo>
                    <a:pt x="5891" y="1964"/>
                  </a:lnTo>
                  <a:cubicBezTo>
                    <a:pt x="4806" y="1964"/>
                    <a:pt x="3927" y="2843"/>
                    <a:pt x="3927" y="3927"/>
                  </a:cubicBezTo>
                  <a:lnTo>
                    <a:pt x="3927" y="7855"/>
                  </a:lnTo>
                  <a:cubicBezTo>
                    <a:pt x="4125" y="7855"/>
                    <a:pt x="4236" y="7769"/>
                    <a:pt x="4627" y="7318"/>
                  </a:cubicBezTo>
                  <a:cubicBezTo>
                    <a:pt x="4712" y="7220"/>
                    <a:pt x="4807" y="7113"/>
                    <a:pt x="4909" y="7005"/>
                  </a:cubicBezTo>
                  <a:lnTo>
                    <a:pt x="4909" y="3927"/>
                  </a:lnTo>
                  <a:cubicBezTo>
                    <a:pt x="4909" y="3386"/>
                    <a:pt x="5349" y="2945"/>
                    <a:pt x="5891" y="2945"/>
                  </a:cubicBezTo>
                  <a:lnTo>
                    <a:pt x="7855" y="2945"/>
                  </a:lnTo>
                  <a:cubicBezTo>
                    <a:pt x="9818" y="2945"/>
                    <a:pt x="9818" y="982"/>
                    <a:pt x="11291" y="982"/>
                  </a:cubicBezTo>
                  <a:lnTo>
                    <a:pt x="12764" y="982"/>
                  </a:lnTo>
                  <a:lnTo>
                    <a:pt x="14236" y="982"/>
                  </a:lnTo>
                  <a:cubicBezTo>
                    <a:pt x="15709" y="982"/>
                    <a:pt x="15709" y="2945"/>
                    <a:pt x="17673" y="2945"/>
                  </a:cubicBezTo>
                  <a:lnTo>
                    <a:pt x="19636" y="2945"/>
                  </a:lnTo>
                  <a:cubicBezTo>
                    <a:pt x="20178" y="2945"/>
                    <a:pt x="20618" y="3386"/>
                    <a:pt x="20618" y="3927"/>
                  </a:cubicBezTo>
                  <a:lnTo>
                    <a:pt x="20618" y="12764"/>
                  </a:lnTo>
                  <a:cubicBezTo>
                    <a:pt x="20618" y="13306"/>
                    <a:pt x="20178" y="13745"/>
                    <a:pt x="19636" y="13745"/>
                  </a:cubicBezTo>
                  <a:lnTo>
                    <a:pt x="18655" y="13745"/>
                  </a:lnTo>
                  <a:lnTo>
                    <a:pt x="18655" y="14727"/>
                  </a:lnTo>
                  <a:lnTo>
                    <a:pt x="19636" y="14727"/>
                  </a:lnTo>
                  <a:cubicBezTo>
                    <a:pt x="20721" y="14727"/>
                    <a:pt x="21600" y="13849"/>
                    <a:pt x="21600" y="12764"/>
                  </a:cubicBezTo>
                  <a:lnTo>
                    <a:pt x="21600" y="3927"/>
                  </a:lnTo>
                  <a:cubicBezTo>
                    <a:pt x="21600" y="2843"/>
                    <a:pt x="20721" y="1964"/>
                    <a:pt x="19636" y="1964"/>
                  </a:cubicBezTo>
                  <a:moveTo>
                    <a:pt x="16691" y="19636"/>
                  </a:moveTo>
                  <a:cubicBezTo>
                    <a:pt x="16691" y="20178"/>
                    <a:pt x="16251" y="20618"/>
                    <a:pt x="15709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0800"/>
                  </a:lnTo>
                  <a:cubicBezTo>
                    <a:pt x="982" y="10258"/>
                    <a:pt x="1422" y="9818"/>
                    <a:pt x="1964" y="9818"/>
                  </a:cubicBezTo>
                  <a:lnTo>
                    <a:pt x="3927" y="9818"/>
                  </a:lnTo>
                  <a:cubicBezTo>
                    <a:pt x="5891" y="9818"/>
                    <a:pt x="5891" y="7855"/>
                    <a:pt x="7364" y="7855"/>
                  </a:cubicBezTo>
                  <a:lnTo>
                    <a:pt x="8836" y="7855"/>
                  </a:lnTo>
                  <a:lnTo>
                    <a:pt x="10309" y="7855"/>
                  </a:lnTo>
                  <a:cubicBezTo>
                    <a:pt x="11782" y="7855"/>
                    <a:pt x="11782" y="9818"/>
                    <a:pt x="13745" y="9818"/>
                  </a:cubicBezTo>
                  <a:lnTo>
                    <a:pt x="15709" y="9818"/>
                  </a:lnTo>
                  <a:cubicBezTo>
                    <a:pt x="16251" y="9818"/>
                    <a:pt x="16691" y="10258"/>
                    <a:pt x="16691" y="10800"/>
                  </a:cubicBezTo>
                  <a:cubicBezTo>
                    <a:pt x="16691" y="10800"/>
                    <a:pt x="16691" y="19636"/>
                    <a:pt x="16691" y="19636"/>
                  </a:cubicBezTo>
                  <a:close/>
                  <a:moveTo>
                    <a:pt x="15709" y="8836"/>
                  </a:moveTo>
                  <a:lnTo>
                    <a:pt x="13745" y="8836"/>
                  </a:lnTo>
                  <a:cubicBezTo>
                    <a:pt x="12273" y="8836"/>
                    <a:pt x="12273" y="6873"/>
                    <a:pt x="10309" y="6873"/>
                  </a:cubicBezTo>
                  <a:lnTo>
                    <a:pt x="7364" y="6873"/>
                  </a:lnTo>
                  <a:cubicBezTo>
                    <a:pt x="5400" y="6873"/>
                    <a:pt x="5400" y="8836"/>
                    <a:pt x="3927" y="8836"/>
                  </a:cubicBezTo>
                  <a:lnTo>
                    <a:pt x="1964" y="8836"/>
                  </a:lnTo>
                  <a:cubicBezTo>
                    <a:pt x="879" y="8836"/>
                    <a:pt x="0" y="9716"/>
                    <a:pt x="0" y="10800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5709" y="21600"/>
                  </a:lnTo>
                  <a:cubicBezTo>
                    <a:pt x="16794" y="21600"/>
                    <a:pt x="17673" y="20721"/>
                    <a:pt x="17673" y="19636"/>
                  </a:cubicBezTo>
                  <a:lnTo>
                    <a:pt x="17673" y="10800"/>
                  </a:lnTo>
                  <a:cubicBezTo>
                    <a:pt x="17673" y="9716"/>
                    <a:pt x="16794" y="8836"/>
                    <a:pt x="15709" y="8836"/>
                  </a:cubicBezTo>
                  <a:moveTo>
                    <a:pt x="19636" y="4909"/>
                  </a:moveTo>
                  <a:cubicBezTo>
                    <a:pt x="19636" y="4367"/>
                    <a:pt x="19197" y="3927"/>
                    <a:pt x="18655" y="3927"/>
                  </a:cubicBezTo>
                  <a:cubicBezTo>
                    <a:pt x="18113" y="3927"/>
                    <a:pt x="17673" y="4367"/>
                    <a:pt x="17673" y="4909"/>
                  </a:cubicBezTo>
                  <a:cubicBezTo>
                    <a:pt x="17673" y="5451"/>
                    <a:pt x="18113" y="5891"/>
                    <a:pt x="18655" y="5891"/>
                  </a:cubicBezTo>
                  <a:cubicBezTo>
                    <a:pt x="19197" y="5891"/>
                    <a:pt x="19636" y="5451"/>
                    <a:pt x="19636" y="4909"/>
                  </a:cubicBezTo>
                  <a:moveTo>
                    <a:pt x="19145" y="7364"/>
                  </a:moveTo>
                  <a:cubicBezTo>
                    <a:pt x="19145" y="7093"/>
                    <a:pt x="18925" y="6873"/>
                    <a:pt x="18655" y="6873"/>
                  </a:cubicBezTo>
                  <a:cubicBezTo>
                    <a:pt x="18384" y="6873"/>
                    <a:pt x="18164" y="7093"/>
                    <a:pt x="18164" y="7364"/>
                  </a:cubicBezTo>
                  <a:cubicBezTo>
                    <a:pt x="18164" y="7635"/>
                    <a:pt x="18384" y="7855"/>
                    <a:pt x="18655" y="7855"/>
                  </a:cubicBezTo>
                  <a:cubicBezTo>
                    <a:pt x="18925" y="7855"/>
                    <a:pt x="19145" y="7635"/>
                    <a:pt x="19145" y="7364"/>
                  </a:cubicBezTo>
                  <a:moveTo>
                    <a:pt x="8836" y="15709"/>
                  </a:moveTo>
                  <a:cubicBezTo>
                    <a:pt x="8294" y="15709"/>
                    <a:pt x="7855" y="15269"/>
                    <a:pt x="7855" y="14727"/>
                  </a:cubicBezTo>
                  <a:cubicBezTo>
                    <a:pt x="7855" y="14186"/>
                    <a:pt x="8294" y="13745"/>
                    <a:pt x="8836" y="13745"/>
                  </a:cubicBezTo>
                  <a:cubicBezTo>
                    <a:pt x="9378" y="13745"/>
                    <a:pt x="9818" y="14186"/>
                    <a:pt x="9818" y="14727"/>
                  </a:cubicBezTo>
                  <a:cubicBezTo>
                    <a:pt x="9818" y="15269"/>
                    <a:pt x="9378" y="15709"/>
                    <a:pt x="8836" y="15709"/>
                  </a:cubicBezTo>
                  <a:moveTo>
                    <a:pt x="8836" y="12764"/>
                  </a:moveTo>
                  <a:cubicBezTo>
                    <a:pt x="7752" y="12764"/>
                    <a:pt x="6873" y="13643"/>
                    <a:pt x="6873" y="14727"/>
                  </a:cubicBezTo>
                  <a:cubicBezTo>
                    <a:pt x="6873" y="15812"/>
                    <a:pt x="7752" y="16691"/>
                    <a:pt x="8836" y="16691"/>
                  </a:cubicBezTo>
                  <a:cubicBezTo>
                    <a:pt x="9921" y="16691"/>
                    <a:pt x="10800" y="15812"/>
                    <a:pt x="10800" y="14727"/>
                  </a:cubicBezTo>
                  <a:cubicBezTo>
                    <a:pt x="10800" y="13643"/>
                    <a:pt x="9921" y="12764"/>
                    <a:pt x="8836" y="12764"/>
                  </a:cubicBezTo>
                  <a:moveTo>
                    <a:pt x="14727" y="10800"/>
                  </a:moveTo>
                  <a:cubicBezTo>
                    <a:pt x="14185" y="10800"/>
                    <a:pt x="13745" y="11240"/>
                    <a:pt x="13745" y="11782"/>
                  </a:cubicBezTo>
                  <a:cubicBezTo>
                    <a:pt x="13745" y="12325"/>
                    <a:pt x="14185" y="12764"/>
                    <a:pt x="14727" y="12764"/>
                  </a:cubicBezTo>
                  <a:cubicBezTo>
                    <a:pt x="15269" y="12764"/>
                    <a:pt x="15709" y="12325"/>
                    <a:pt x="15709" y="11782"/>
                  </a:cubicBezTo>
                  <a:cubicBezTo>
                    <a:pt x="15709" y="11240"/>
                    <a:pt x="15269" y="10800"/>
                    <a:pt x="14727" y="10800"/>
                  </a:cubicBezTo>
                  <a:moveTo>
                    <a:pt x="14727" y="13745"/>
                  </a:moveTo>
                  <a:cubicBezTo>
                    <a:pt x="14456" y="13745"/>
                    <a:pt x="14236" y="13966"/>
                    <a:pt x="14236" y="14236"/>
                  </a:cubicBezTo>
                  <a:cubicBezTo>
                    <a:pt x="14236" y="14508"/>
                    <a:pt x="14456" y="14727"/>
                    <a:pt x="14727" y="14727"/>
                  </a:cubicBezTo>
                  <a:cubicBezTo>
                    <a:pt x="14998" y="14727"/>
                    <a:pt x="15218" y="14508"/>
                    <a:pt x="15218" y="14236"/>
                  </a:cubicBezTo>
                  <a:cubicBezTo>
                    <a:pt x="15218" y="13966"/>
                    <a:pt x="14998" y="13745"/>
                    <a:pt x="14727" y="13745"/>
                  </a:cubicBezTo>
                  <a:moveTo>
                    <a:pt x="8836" y="17673"/>
                  </a:moveTo>
                  <a:cubicBezTo>
                    <a:pt x="7210" y="17673"/>
                    <a:pt x="5891" y="16354"/>
                    <a:pt x="5891" y="14727"/>
                  </a:cubicBezTo>
                  <a:cubicBezTo>
                    <a:pt x="5891" y="13101"/>
                    <a:pt x="7210" y="11782"/>
                    <a:pt x="8836" y="11782"/>
                  </a:cubicBezTo>
                  <a:cubicBezTo>
                    <a:pt x="10463" y="11782"/>
                    <a:pt x="11782" y="13101"/>
                    <a:pt x="11782" y="14727"/>
                  </a:cubicBezTo>
                  <a:cubicBezTo>
                    <a:pt x="11782" y="16354"/>
                    <a:pt x="10463" y="17673"/>
                    <a:pt x="8836" y="17673"/>
                  </a:cubicBezTo>
                  <a:moveTo>
                    <a:pt x="8836" y="10800"/>
                  </a:moveTo>
                  <a:cubicBezTo>
                    <a:pt x="6668" y="10800"/>
                    <a:pt x="4909" y="12558"/>
                    <a:pt x="4909" y="14727"/>
                  </a:cubicBezTo>
                  <a:cubicBezTo>
                    <a:pt x="4909" y="16897"/>
                    <a:pt x="6668" y="18655"/>
                    <a:pt x="8836" y="18655"/>
                  </a:cubicBezTo>
                  <a:cubicBezTo>
                    <a:pt x="11005" y="18655"/>
                    <a:pt x="12764" y="16897"/>
                    <a:pt x="12764" y="14727"/>
                  </a:cubicBezTo>
                  <a:cubicBezTo>
                    <a:pt x="12764" y="12558"/>
                    <a:pt x="11005" y="10800"/>
                    <a:pt x="8836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Shape 2660">
              <a:extLst>
                <a:ext uri="{FF2B5EF4-FFF2-40B4-BE49-F238E27FC236}">
                  <a16:creationId xmlns:a16="http://schemas.microsoft.com/office/drawing/2014/main" id="{08A84CC5-4A75-4658-A49E-DA85DDE994B6}"/>
                </a:ext>
              </a:extLst>
            </p:cNvPr>
            <p:cNvSpPr/>
            <p:nvPr/>
          </p:nvSpPr>
          <p:spPr bwMode="gray">
            <a:xfrm>
              <a:off x="2272679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3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3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1"/>
                    <a:pt x="4147" y="21600"/>
                    <a:pt x="4418" y="21600"/>
                  </a:cubicBezTo>
                  <a:cubicBezTo>
                    <a:pt x="4689" y="21600"/>
                    <a:pt x="4909" y="21381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1"/>
                    <a:pt x="16911" y="21600"/>
                    <a:pt x="17182" y="21600"/>
                  </a:cubicBezTo>
                  <a:cubicBezTo>
                    <a:pt x="17453" y="21600"/>
                    <a:pt x="17673" y="21381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Shape 2661">
              <a:extLst>
                <a:ext uri="{FF2B5EF4-FFF2-40B4-BE49-F238E27FC236}">
                  <a16:creationId xmlns:a16="http://schemas.microsoft.com/office/drawing/2014/main" id="{06DA42D1-7AAF-412A-95A1-911DB7D6CD08}"/>
                </a:ext>
              </a:extLst>
            </p:cNvPr>
            <p:cNvSpPr/>
            <p:nvPr/>
          </p:nvSpPr>
          <p:spPr bwMode="gray">
            <a:xfrm>
              <a:off x="2824392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7855"/>
                  </a:moveTo>
                  <a:lnTo>
                    <a:pt x="7855" y="7855"/>
                  </a:lnTo>
                  <a:lnTo>
                    <a:pt x="7855" y="9818"/>
                  </a:lnTo>
                  <a:lnTo>
                    <a:pt x="9818" y="9818"/>
                  </a:lnTo>
                  <a:cubicBezTo>
                    <a:pt x="9818" y="9818"/>
                    <a:pt x="9818" y="7855"/>
                    <a:pt x="9818" y="7855"/>
                  </a:cubicBezTo>
                  <a:close/>
                  <a:moveTo>
                    <a:pt x="5891" y="7855"/>
                  </a:moveTo>
                  <a:lnTo>
                    <a:pt x="3927" y="7855"/>
                  </a:lnTo>
                  <a:lnTo>
                    <a:pt x="3927" y="9818"/>
                  </a:lnTo>
                  <a:lnTo>
                    <a:pt x="5891" y="9818"/>
                  </a:lnTo>
                  <a:cubicBezTo>
                    <a:pt x="5891" y="9818"/>
                    <a:pt x="5891" y="7855"/>
                    <a:pt x="5891" y="7855"/>
                  </a:cubicBezTo>
                  <a:close/>
                  <a:moveTo>
                    <a:pt x="13745" y="7855"/>
                  </a:moveTo>
                  <a:lnTo>
                    <a:pt x="11782" y="7855"/>
                  </a:lnTo>
                  <a:lnTo>
                    <a:pt x="11782" y="9818"/>
                  </a:lnTo>
                  <a:lnTo>
                    <a:pt x="13745" y="9818"/>
                  </a:lnTo>
                  <a:cubicBezTo>
                    <a:pt x="13745" y="9818"/>
                    <a:pt x="13745" y="7855"/>
                    <a:pt x="13745" y="7855"/>
                  </a:cubicBezTo>
                  <a:close/>
                  <a:moveTo>
                    <a:pt x="7855" y="13745"/>
                  </a:moveTo>
                  <a:lnTo>
                    <a:pt x="9818" y="13745"/>
                  </a:lnTo>
                  <a:lnTo>
                    <a:pt x="9818" y="11782"/>
                  </a:lnTo>
                  <a:lnTo>
                    <a:pt x="7855" y="11782"/>
                  </a:lnTo>
                  <a:cubicBezTo>
                    <a:pt x="7855" y="11782"/>
                    <a:pt x="7855" y="13745"/>
                    <a:pt x="7855" y="13745"/>
                  </a:cubicBezTo>
                  <a:close/>
                  <a:moveTo>
                    <a:pt x="13745" y="11782"/>
                  </a:moveTo>
                  <a:lnTo>
                    <a:pt x="15709" y="11782"/>
                  </a:lnTo>
                  <a:lnTo>
                    <a:pt x="15709" y="9818"/>
                  </a:lnTo>
                  <a:lnTo>
                    <a:pt x="13745" y="9818"/>
                  </a:lnTo>
                  <a:cubicBezTo>
                    <a:pt x="13745" y="9818"/>
                    <a:pt x="13745" y="11782"/>
                    <a:pt x="13745" y="11782"/>
                  </a:cubicBezTo>
                  <a:close/>
                  <a:moveTo>
                    <a:pt x="5891" y="11782"/>
                  </a:moveTo>
                  <a:lnTo>
                    <a:pt x="3927" y="11782"/>
                  </a:lnTo>
                  <a:lnTo>
                    <a:pt x="3927" y="13745"/>
                  </a:lnTo>
                  <a:lnTo>
                    <a:pt x="5891" y="13745"/>
                  </a:lnTo>
                  <a:cubicBezTo>
                    <a:pt x="5891" y="13745"/>
                    <a:pt x="5891" y="11782"/>
                    <a:pt x="5891" y="11782"/>
                  </a:cubicBezTo>
                  <a:close/>
                  <a:moveTo>
                    <a:pt x="11782" y="13745"/>
                  </a:moveTo>
                  <a:lnTo>
                    <a:pt x="13745" y="13745"/>
                  </a:lnTo>
                  <a:lnTo>
                    <a:pt x="13745" y="11782"/>
                  </a:lnTo>
                  <a:lnTo>
                    <a:pt x="11782" y="11782"/>
                  </a:lnTo>
                  <a:cubicBezTo>
                    <a:pt x="11782" y="11782"/>
                    <a:pt x="11782" y="13745"/>
                    <a:pt x="11782" y="13745"/>
                  </a:cubicBezTo>
                  <a:close/>
                  <a:moveTo>
                    <a:pt x="13745" y="15709"/>
                  </a:moveTo>
                  <a:lnTo>
                    <a:pt x="15709" y="15709"/>
                  </a:lnTo>
                  <a:lnTo>
                    <a:pt x="15709" y="13745"/>
                  </a:lnTo>
                  <a:lnTo>
                    <a:pt x="13745" y="13745"/>
                  </a:lnTo>
                  <a:cubicBezTo>
                    <a:pt x="13745" y="13745"/>
                    <a:pt x="13745" y="15709"/>
                    <a:pt x="13745" y="15709"/>
                  </a:cubicBezTo>
                  <a:close/>
                  <a:moveTo>
                    <a:pt x="17673" y="7855"/>
                  </a:moveTo>
                  <a:lnTo>
                    <a:pt x="19636" y="7855"/>
                  </a:lnTo>
                  <a:lnTo>
                    <a:pt x="19636" y="5891"/>
                  </a:lnTo>
                  <a:lnTo>
                    <a:pt x="17673" y="5891"/>
                  </a:lnTo>
                  <a:cubicBezTo>
                    <a:pt x="17673" y="5891"/>
                    <a:pt x="17673" y="7855"/>
                    <a:pt x="17673" y="7855"/>
                  </a:cubicBezTo>
                  <a:close/>
                  <a:moveTo>
                    <a:pt x="15709" y="9818"/>
                  </a:moveTo>
                  <a:lnTo>
                    <a:pt x="17673" y="9818"/>
                  </a:lnTo>
                  <a:lnTo>
                    <a:pt x="17673" y="7855"/>
                  </a:lnTo>
                  <a:lnTo>
                    <a:pt x="15709" y="7855"/>
                  </a:lnTo>
                  <a:cubicBezTo>
                    <a:pt x="15709" y="7855"/>
                    <a:pt x="15709" y="9818"/>
                    <a:pt x="15709" y="9818"/>
                  </a:cubicBezTo>
                  <a:close/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4" y="18655"/>
                  </a:lnTo>
                  <a:cubicBezTo>
                    <a:pt x="1422" y="18655"/>
                    <a:pt x="982" y="18215"/>
                    <a:pt x="982" y="17673"/>
                  </a:cubicBezTo>
                  <a:lnTo>
                    <a:pt x="982" y="5891"/>
                  </a:lnTo>
                  <a:cubicBezTo>
                    <a:pt x="982" y="5349"/>
                    <a:pt x="1422" y="4909"/>
                    <a:pt x="1964" y="4909"/>
                  </a:cubicBezTo>
                  <a:lnTo>
                    <a:pt x="19636" y="4909"/>
                  </a:lnTo>
                  <a:cubicBezTo>
                    <a:pt x="20178" y="4909"/>
                    <a:pt x="20618" y="5349"/>
                    <a:pt x="20618" y="5891"/>
                  </a:cubicBezTo>
                  <a:cubicBezTo>
                    <a:pt x="20618" y="5891"/>
                    <a:pt x="20618" y="17673"/>
                    <a:pt x="20618" y="17673"/>
                  </a:cubicBezTo>
                  <a:close/>
                  <a:moveTo>
                    <a:pt x="19636" y="3927"/>
                  </a:moveTo>
                  <a:lnTo>
                    <a:pt x="12476" y="3927"/>
                  </a:ln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5" y="0"/>
                    <a:pt x="13745" y="440"/>
                    <a:pt x="13745" y="982"/>
                  </a:cubicBezTo>
                  <a:cubicBezTo>
                    <a:pt x="13745" y="1069"/>
                    <a:pt x="13761" y="1152"/>
                    <a:pt x="13782" y="1233"/>
                  </a:cubicBezTo>
                  <a:lnTo>
                    <a:pt x="11088" y="3927"/>
                  </a:lnTo>
                  <a:lnTo>
                    <a:pt x="10513" y="3927"/>
                  </a:lnTo>
                  <a:lnTo>
                    <a:pt x="7818" y="1233"/>
                  </a:lnTo>
                  <a:cubicBezTo>
                    <a:pt x="7839" y="1152"/>
                    <a:pt x="7855" y="1069"/>
                    <a:pt x="7855" y="982"/>
                  </a:cubicBezTo>
                  <a:cubicBezTo>
                    <a:pt x="7855" y="440"/>
                    <a:pt x="7415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124" y="3927"/>
                  </a:lnTo>
                  <a:lnTo>
                    <a:pt x="1964" y="3927"/>
                  </a:lnTo>
                  <a:cubicBezTo>
                    <a:pt x="879" y="3927"/>
                    <a:pt x="0" y="4806"/>
                    <a:pt x="0" y="5891"/>
                  </a:cubicBezTo>
                  <a:lnTo>
                    <a:pt x="0" y="17673"/>
                  </a:lnTo>
                  <a:cubicBezTo>
                    <a:pt x="0" y="18757"/>
                    <a:pt x="879" y="19637"/>
                    <a:pt x="1964" y="19637"/>
                  </a:cubicBezTo>
                  <a:lnTo>
                    <a:pt x="3927" y="19637"/>
                  </a:lnTo>
                  <a:lnTo>
                    <a:pt x="3927" y="21109"/>
                  </a:lnTo>
                  <a:cubicBezTo>
                    <a:pt x="3927" y="21380"/>
                    <a:pt x="4147" y="21600"/>
                    <a:pt x="4418" y="21600"/>
                  </a:cubicBezTo>
                  <a:cubicBezTo>
                    <a:pt x="4689" y="21600"/>
                    <a:pt x="4909" y="21380"/>
                    <a:pt x="4909" y="21109"/>
                  </a:cubicBezTo>
                  <a:lnTo>
                    <a:pt x="4909" y="20618"/>
                  </a:lnTo>
                  <a:lnTo>
                    <a:pt x="16691" y="20618"/>
                  </a:lnTo>
                  <a:lnTo>
                    <a:pt x="16691" y="21109"/>
                  </a:lnTo>
                  <a:cubicBezTo>
                    <a:pt x="16691" y="21380"/>
                    <a:pt x="16911" y="21600"/>
                    <a:pt x="17182" y="21600"/>
                  </a:cubicBez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19637"/>
                  </a:lnTo>
                  <a:lnTo>
                    <a:pt x="19636" y="19637"/>
                  </a:lnTo>
                  <a:cubicBezTo>
                    <a:pt x="20721" y="19637"/>
                    <a:pt x="21600" y="18757"/>
                    <a:pt x="21600" y="17673"/>
                  </a:cubicBezTo>
                  <a:lnTo>
                    <a:pt x="21600" y="5891"/>
                  </a:lnTo>
                  <a:cubicBezTo>
                    <a:pt x="21600" y="4806"/>
                    <a:pt x="20721" y="3927"/>
                    <a:pt x="19636" y="3927"/>
                  </a:cubicBezTo>
                  <a:moveTo>
                    <a:pt x="5891" y="15709"/>
                  </a:moveTo>
                  <a:lnTo>
                    <a:pt x="7855" y="15709"/>
                  </a:lnTo>
                  <a:lnTo>
                    <a:pt x="7855" y="13745"/>
                  </a:lnTo>
                  <a:lnTo>
                    <a:pt x="5891" y="13745"/>
                  </a:lnTo>
                  <a:cubicBezTo>
                    <a:pt x="5891" y="13745"/>
                    <a:pt x="5891" y="15709"/>
                    <a:pt x="5891" y="15709"/>
                  </a:cubicBezTo>
                  <a:close/>
                  <a:moveTo>
                    <a:pt x="9818" y="15709"/>
                  </a:moveTo>
                  <a:lnTo>
                    <a:pt x="11782" y="15709"/>
                  </a:lnTo>
                  <a:lnTo>
                    <a:pt x="11782" y="13745"/>
                  </a:lnTo>
                  <a:lnTo>
                    <a:pt x="9818" y="13745"/>
                  </a:lnTo>
                  <a:cubicBezTo>
                    <a:pt x="9818" y="13745"/>
                    <a:pt x="9818" y="15709"/>
                    <a:pt x="9818" y="15709"/>
                  </a:cubicBezTo>
                  <a:close/>
                  <a:moveTo>
                    <a:pt x="7855" y="9818"/>
                  </a:moveTo>
                  <a:lnTo>
                    <a:pt x="5891" y="9818"/>
                  </a:lnTo>
                  <a:lnTo>
                    <a:pt x="5891" y="11782"/>
                  </a:lnTo>
                  <a:lnTo>
                    <a:pt x="7855" y="11782"/>
                  </a:lnTo>
                  <a:cubicBezTo>
                    <a:pt x="7855" y="11782"/>
                    <a:pt x="7855" y="9818"/>
                    <a:pt x="7855" y="9818"/>
                  </a:cubicBezTo>
                  <a:close/>
                  <a:moveTo>
                    <a:pt x="15709" y="13745"/>
                  </a:moveTo>
                  <a:lnTo>
                    <a:pt x="17673" y="13745"/>
                  </a:lnTo>
                  <a:lnTo>
                    <a:pt x="17673" y="11782"/>
                  </a:lnTo>
                  <a:lnTo>
                    <a:pt x="15709" y="11782"/>
                  </a:lnTo>
                  <a:cubicBezTo>
                    <a:pt x="15709" y="11782"/>
                    <a:pt x="15709" y="13745"/>
                    <a:pt x="15709" y="13745"/>
                  </a:cubicBezTo>
                  <a:close/>
                  <a:moveTo>
                    <a:pt x="1964" y="7855"/>
                  </a:moveTo>
                  <a:lnTo>
                    <a:pt x="3927" y="7855"/>
                  </a:lnTo>
                  <a:lnTo>
                    <a:pt x="3927" y="5891"/>
                  </a:lnTo>
                  <a:lnTo>
                    <a:pt x="1964" y="5891"/>
                  </a:lnTo>
                  <a:cubicBezTo>
                    <a:pt x="1964" y="5891"/>
                    <a:pt x="1964" y="7855"/>
                    <a:pt x="1964" y="7855"/>
                  </a:cubicBezTo>
                  <a:close/>
                  <a:moveTo>
                    <a:pt x="3927" y="17673"/>
                  </a:moveTo>
                  <a:lnTo>
                    <a:pt x="5891" y="17673"/>
                  </a:lnTo>
                  <a:lnTo>
                    <a:pt x="5891" y="15709"/>
                  </a:lnTo>
                  <a:lnTo>
                    <a:pt x="3927" y="15709"/>
                  </a:lnTo>
                  <a:cubicBezTo>
                    <a:pt x="3927" y="15709"/>
                    <a:pt x="3927" y="17673"/>
                    <a:pt x="3927" y="17673"/>
                  </a:cubicBezTo>
                  <a:close/>
                  <a:moveTo>
                    <a:pt x="11782" y="5891"/>
                  </a:moveTo>
                  <a:lnTo>
                    <a:pt x="9818" y="5891"/>
                  </a:lnTo>
                  <a:lnTo>
                    <a:pt x="9818" y="7855"/>
                  </a:lnTo>
                  <a:lnTo>
                    <a:pt x="11782" y="7855"/>
                  </a:lnTo>
                  <a:cubicBezTo>
                    <a:pt x="11782" y="7855"/>
                    <a:pt x="11782" y="5891"/>
                    <a:pt x="11782" y="5891"/>
                  </a:cubicBezTo>
                  <a:close/>
                  <a:moveTo>
                    <a:pt x="7855" y="5891"/>
                  </a:moveTo>
                  <a:lnTo>
                    <a:pt x="5891" y="5891"/>
                  </a:lnTo>
                  <a:lnTo>
                    <a:pt x="5891" y="7855"/>
                  </a:lnTo>
                  <a:lnTo>
                    <a:pt x="7855" y="7855"/>
                  </a:lnTo>
                  <a:cubicBezTo>
                    <a:pt x="7855" y="7855"/>
                    <a:pt x="7855" y="5891"/>
                    <a:pt x="7855" y="5891"/>
                  </a:cubicBezTo>
                  <a:close/>
                  <a:moveTo>
                    <a:pt x="1964" y="15709"/>
                  </a:moveTo>
                  <a:lnTo>
                    <a:pt x="3927" y="15709"/>
                  </a:lnTo>
                  <a:lnTo>
                    <a:pt x="3927" y="13745"/>
                  </a:lnTo>
                  <a:lnTo>
                    <a:pt x="1964" y="13745"/>
                  </a:lnTo>
                  <a:cubicBezTo>
                    <a:pt x="1964" y="13745"/>
                    <a:pt x="1964" y="15709"/>
                    <a:pt x="1964" y="15709"/>
                  </a:cubicBezTo>
                  <a:close/>
                  <a:moveTo>
                    <a:pt x="1964" y="11782"/>
                  </a:moveTo>
                  <a:lnTo>
                    <a:pt x="3927" y="11782"/>
                  </a:lnTo>
                  <a:lnTo>
                    <a:pt x="3927" y="9818"/>
                  </a:lnTo>
                  <a:lnTo>
                    <a:pt x="1964" y="9818"/>
                  </a:lnTo>
                  <a:cubicBezTo>
                    <a:pt x="1964" y="9818"/>
                    <a:pt x="1964" y="11782"/>
                    <a:pt x="1964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5709"/>
                  </a:lnTo>
                  <a:lnTo>
                    <a:pt x="7855" y="15709"/>
                  </a:lnTo>
                  <a:cubicBezTo>
                    <a:pt x="7855" y="15709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1782" y="15709"/>
                  </a:lnTo>
                  <a:cubicBezTo>
                    <a:pt x="11782" y="15709"/>
                    <a:pt x="11782" y="17673"/>
                    <a:pt x="11782" y="17673"/>
                  </a:cubicBezTo>
                  <a:close/>
                  <a:moveTo>
                    <a:pt x="15709" y="17673"/>
                  </a:moveTo>
                  <a:lnTo>
                    <a:pt x="17673" y="17673"/>
                  </a:lnTo>
                  <a:lnTo>
                    <a:pt x="17673" y="15709"/>
                  </a:lnTo>
                  <a:lnTo>
                    <a:pt x="15709" y="15709"/>
                  </a:lnTo>
                  <a:cubicBezTo>
                    <a:pt x="15709" y="15709"/>
                    <a:pt x="15709" y="17673"/>
                    <a:pt x="15709" y="17673"/>
                  </a:cubicBezTo>
                  <a:close/>
                  <a:moveTo>
                    <a:pt x="11782" y="9818"/>
                  </a:moveTo>
                  <a:lnTo>
                    <a:pt x="9818" y="9818"/>
                  </a:lnTo>
                  <a:lnTo>
                    <a:pt x="9818" y="11782"/>
                  </a:lnTo>
                  <a:lnTo>
                    <a:pt x="11782" y="11782"/>
                  </a:lnTo>
                  <a:cubicBezTo>
                    <a:pt x="11782" y="11782"/>
                    <a:pt x="11782" y="9818"/>
                    <a:pt x="11782" y="9818"/>
                  </a:cubicBezTo>
                  <a:close/>
                  <a:moveTo>
                    <a:pt x="19636" y="9818"/>
                  </a:moveTo>
                  <a:lnTo>
                    <a:pt x="17673" y="9818"/>
                  </a:lnTo>
                  <a:lnTo>
                    <a:pt x="17673" y="11782"/>
                  </a:lnTo>
                  <a:lnTo>
                    <a:pt x="19636" y="11782"/>
                  </a:lnTo>
                  <a:cubicBezTo>
                    <a:pt x="19636" y="11782"/>
                    <a:pt x="19636" y="9818"/>
                    <a:pt x="19636" y="9818"/>
                  </a:cubicBezTo>
                  <a:close/>
                  <a:moveTo>
                    <a:pt x="19636" y="13745"/>
                  </a:moveTo>
                  <a:lnTo>
                    <a:pt x="17673" y="13745"/>
                  </a:lnTo>
                  <a:lnTo>
                    <a:pt x="17673" y="15709"/>
                  </a:lnTo>
                  <a:lnTo>
                    <a:pt x="19636" y="15709"/>
                  </a:lnTo>
                  <a:cubicBezTo>
                    <a:pt x="19636" y="15709"/>
                    <a:pt x="19636" y="13745"/>
                    <a:pt x="19636" y="13745"/>
                  </a:cubicBezTo>
                  <a:close/>
                  <a:moveTo>
                    <a:pt x="15709" y="5891"/>
                  </a:moveTo>
                  <a:lnTo>
                    <a:pt x="13745" y="5891"/>
                  </a:lnTo>
                  <a:lnTo>
                    <a:pt x="13745" y="7855"/>
                  </a:lnTo>
                  <a:lnTo>
                    <a:pt x="15709" y="7855"/>
                  </a:lnTo>
                  <a:cubicBezTo>
                    <a:pt x="15709" y="7855"/>
                    <a:pt x="15709" y="5891"/>
                    <a:pt x="15709" y="589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Shape 2662">
              <a:extLst>
                <a:ext uri="{FF2B5EF4-FFF2-40B4-BE49-F238E27FC236}">
                  <a16:creationId xmlns:a16="http://schemas.microsoft.com/office/drawing/2014/main" id="{08A351C0-B459-4694-B5AF-1A98B72C848D}"/>
                </a:ext>
              </a:extLst>
            </p:cNvPr>
            <p:cNvSpPr/>
            <p:nvPr/>
          </p:nvSpPr>
          <p:spPr bwMode="gray">
            <a:xfrm>
              <a:off x="3376106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782"/>
                  </a:moveTo>
                  <a:cubicBezTo>
                    <a:pt x="18383" y="11782"/>
                    <a:pt x="18164" y="12002"/>
                    <a:pt x="18164" y="12273"/>
                  </a:cubicBezTo>
                  <a:cubicBezTo>
                    <a:pt x="18164" y="12544"/>
                    <a:pt x="18383" y="12764"/>
                    <a:pt x="18655" y="12764"/>
                  </a:cubicBezTo>
                  <a:cubicBezTo>
                    <a:pt x="18926" y="12764"/>
                    <a:pt x="19145" y="12544"/>
                    <a:pt x="19145" y="12273"/>
                  </a:cubicBezTo>
                  <a:cubicBezTo>
                    <a:pt x="19145" y="12002"/>
                    <a:pt x="18926" y="11782"/>
                    <a:pt x="18655" y="11782"/>
                  </a:cubicBezTo>
                  <a:moveTo>
                    <a:pt x="18655" y="13745"/>
                  </a:moveTo>
                  <a:cubicBezTo>
                    <a:pt x="18383" y="13745"/>
                    <a:pt x="18164" y="13966"/>
                    <a:pt x="18164" y="14236"/>
                  </a:cubicBezTo>
                  <a:cubicBezTo>
                    <a:pt x="18164" y="14508"/>
                    <a:pt x="18383" y="14727"/>
                    <a:pt x="18655" y="14727"/>
                  </a:cubicBezTo>
                  <a:cubicBezTo>
                    <a:pt x="18926" y="14727"/>
                    <a:pt x="19145" y="14508"/>
                    <a:pt x="19145" y="14236"/>
                  </a:cubicBezTo>
                  <a:cubicBezTo>
                    <a:pt x="19145" y="13966"/>
                    <a:pt x="18926" y="13745"/>
                    <a:pt x="18655" y="13745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6691" y="20618"/>
                  </a:lnTo>
                  <a:lnTo>
                    <a:pt x="16691" y="6873"/>
                  </a:ln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7855"/>
                  </a:lnTo>
                  <a:cubicBezTo>
                    <a:pt x="982" y="7313"/>
                    <a:pt x="1422" y="6873"/>
                    <a:pt x="1964" y="6873"/>
                  </a:cubicBezTo>
                  <a:lnTo>
                    <a:pt x="15709" y="6873"/>
                  </a:lnTo>
                  <a:cubicBezTo>
                    <a:pt x="15709" y="6873"/>
                    <a:pt x="15709" y="20618"/>
                    <a:pt x="15709" y="20618"/>
                  </a:cubicBezTo>
                  <a:close/>
                  <a:moveTo>
                    <a:pt x="19636" y="5891"/>
                  </a:moveTo>
                  <a:lnTo>
                    <a:pt x="13205" y="5891"/>
                  </a:lnTo>
                  <a:cubicBezTo>
                    <a:pt x="13069" y="5222"/>
                    <a:pt x="12657" y="4657"/>
                    <a:pt x="12097" y="4306"/>
                  </a:cubicBezTo>
                  <a:lnTo>
                    <a:pt x="14476" y="1927"/>
                  </a:lnTo>
                  <a:cubicBezTo>
                    <a:pt x="14557" y="1949"/>
                    <a:pt x="14640" y="1964"/>
                    <a:pt x="14727" y="1964"/>
                  </a:cubicBezTo>
                  <a:cubicBezTo>
                    <a:pt x="15269" y="1964"/>
                    <a:pt x="15709" y="1524"/>
                    <a:pt x="15709" y="982"/>
                  </a:cubicBezTo>
                  <a:cubicBezTo>
                    <a:pt x="15709" y="440"/>
                    <a:pt x="15269" y="0"/>
                    <a:pt x="14727" y="0"/>
                  </a:cubicBezTo>
                  <a:cubicBezTo>
                    <a:pt x="14186" y="0"/>
                    <a:pt x="13745" y="440"/>
                    <a:pt x="13745" y="982"/>
                  </a:cubicBezTo>
                  <a:cubicBezTo>
                    <a:pt x="13745" y="1070"/>
                    <a:pt x="13761" y="1153"/>
                    <a:pt x="13782" y="1233"/>
                  </a:cubicBezTo>
                  <a:lnTo>
                    <a:pt x="11061" y="3954"/>
                  </a:lnTo>
                  <a:cubicBezTo>
                    <a:pt x="10975" y="3945"/>
                    <a:pt x="10889" y="3927"/>
                    <a:pt x="10800" y="3927"/>
                  </a:cubicBezTo>
                  <a:cubicBezTo>
                    <a:pt x="10711" y="3927"/>
                    <a:pt x="10625" y="3945"/>
                    <a:pt x="10539" y="3954"/>
                  </a:cubicBezTo>
                  <a:lnTo>
                    <a:pt x="7818" y="1233"/>
                  </a:lnTo>
                  <a:cubicBezTo>
                    <a:pt x="7839" y="1153"/>
                    <a:pt x="7855" y="1070"/>
                    <a:pt x="7855" y="982"/>
                  </a:cubicBezTo>
                  <a:cubicBezTo>
                    <a:pt x="7855" y="440"/>
                    <a:pt x="7414" y="0"/>
                    <a:pt x="6873" y="0"/>
                  </a:cubicBezTo>
                  <a:cubicBezTo>
                    <a:pt x="6331" y="0"/>
                    <a:pt x="5891" y="440"/>
                    <a:pt x="5891" y="982"/>
                  </a:cubicBezTo>
                  <a:cubicBezTo>
                    <a:pt x="5891" y="1524"/>
                    <a:pt x="6331" y="1964"/>
                    <a:pt x="6873" y="1964"/>
                  </a:cubicBezTo>
                  <a:cubicBezTo>
                    <a:pt x="6960" y="1964"/>
                    <a:pt x="7043" y="1949"/>
                    <a:pt x="7124" y="1927"/>
                  </a:cubicBezTo>
                  <a:lnTo>
                    <a:pt x="9503" y="4306"/>
                  </a:lnTo>
                  <a:cubicBezTo>
                    <a:pt x="8943" y="4657"/>
                    <a:pt x="8531" y="5222"/>
                    <a:pt x="8395" y="5891"/>
                  </a:cubicBez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2764" y="17673"/>
                  </a:moveTo>
                  <a:lnTo>
                    <a:pt x="3927" y="17673"/>
                  </a:lnTo>
                  <a:lnTo>
                    <a:pt x="3927" y="9818"/>
                  </a:lnTo>
                  <a:lnTo>
                    <a:pt x="12764" y="9818"/>
                  </a:lnTo>
                  <a:cubicBezTo>
                    <a:pt x="12764" y="9818"/>
                    <a:pt x="12764" y="17673"/>
                    <a:pt x="12764" y="17673"/>
                  </a:cubicBezTo>
                  <a:close/>
                  <a:moveTo>
                    <a:pt x="13745" y="8836"/>
                  </a:moveTo>
                  <a:lnTo>
                    <a:pt x="2945" y="8836"/>
                  </a:lnTo>
                  <a:lnTo>
                    <a:pt x="2945" y="18655"/>
                  </a:lnTo>
                  <a:lnTo>
                    <a:pt x="13745" y="18655"/>
                  </a:lnTo>
                  <a:cubicBezTo>
                    <a:pt x="13745" y="18655"/>
                    <a:pt x="13745" y="8836"/>
                    <a:pt x="13745" y="8836"/>
                  </a:cubicBezTo>
                  <a:close/>
                  <a:moveTo>
                    <a:pt x="18655" y="8836"/>
                  </a:moveTo>
                  <a:cubicBezTo>
                    <a:pt x="18113" y="8836"/>
                    <a:pt x="17673" y="9276"/>
                    <a:pt x="17673" y="9818"/>
                  </a:cubicBezTo>
                  <a:cubicBezTo>
                    <a:pt x="17673" y="10360"/>
                    <a:pt x="18113" y="10800"/>
                    <a:pt x="18655" y="10800"/>
                  </a:cubicBezTo>
                  <a:cubicBezTo>
                    <a:pt x="19196" y="10800"/>
                    <a:pt x="19636" y="10360"/>
                    <a:pt x="19636" y="9818"/>
                  </a:cubicBezTo>
                  <a:cubicBezTo>
                    <a:pt x="19636" y="9276"/>
                    <a:pt x="19196" y="8836"/>
                    <a:pt x="18655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Shape 2663">
              <a:extLst>
                <a:ext uri="{FF2B5EF4-FFF2-40B4-BE49-F238E27FC236}">
                  <a16:creationId xmlns:a16="http://schemas.microsoft.com/office/drawing/2014/main" id="{24AF21C4-2868-4FA1-9341-6F05727A4FAC}"/>
                </a:ext>
              </a:extLst>
            </p:cNvPr>
            <p:cNvSpPr/>
            <p:nvPr/>
          </p:nvSpPr>
          <p:spPr bwMode="gray">
            <a:xfrm>
              <a:off x="392782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0800" y="5400"/>
                  </a:moveTo>
                  <a:lnTo>
                    <a:pt x="3927" y="10800"/>
                  </a:lnTo>
                  <a:lnTo>
                    <a:pt x="8836" y="10800"/>
                  </a:lnTo>
                  <a:lnTo>
                    <a:pt x="9818" y="16200"/>
                  </a:lnTo>
                  <a:lnTo>
                    <a:pt x="16691" y="10800"/>
                  </a:lnTo>
                  <a:lnTo>
                    <a:pt x="11782" y="10800"/>
                  </a:lnTo>
                  <a:cubicBezTo>
                    <a:pt x="11782" y="10800"/>
                    <a:pt x="10800" y="5400"/>
                    <a:pt x="10800" y="54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Shape 2664">
              <a:extLst>
                <a:ext uri="{FF2B5EF4-FFF2-40B4-BE49-F238E27FC236}">
                  <a16:creationId xmlns:a16="http://schemas.microsoft.com/office/drawing/2014/main" id="{BDF4345E-8558-4EAF-A3D3-666CCE929047}"/>
                </a:ext>
              </a:extLst>
            </p:cNvPr>
            <p:cNvSpPr/>
            <p:nvPr/>
          </p:nvSpPr>
          <p:spPr bwMode="gray">
            <a:xfrm>
              <a:off x="4479533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1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1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Shape 2665">
              <a:extLst>
                <a:ext uri="{FF2B5EF4-FFF2-40B4-BE49-F238E27FC236}">
                  <a16:creationId xmlns:a16="http://schemas.microsoft.com/office/drawing/2014/main" id="{D7699A40-1A10-4811-8E93-2B5297FBFA8C}"/>
                </a:ext>
              </a:extLst>
            </p:cNvPr>
            <p:cNvSpPr/>
            <p:nvPr/>
          </p:nvSpPr>
          <p:spPr bwMode="gray">
            <a:xfrm>
              <a:off x="5031247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6873" y="18000"/>
                  </a:lnTo>
                  <a:lnTo>
                    <a:pt x="6873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Shape 2666">
              <a:extLst>
                <a:ext uri="{FF2B5EF4-FFF2-40B4-BE49-F238E27FC236}">
                  <a16:creationId xmlns:a16="http://schemas.microsoft.com/office/drawing/2014/main" id="{0DABFB97-9B68-4C2B-B1F9-3C68EE0E2B88}"/>
                </a:ext>
              </a:extLst>
            </p:cNvPr>
            <p:cNvSpPr/>
            <p:nvPr/>
          </p:nvSpPr>
          <p:spPr bwMode="gray">
            <a:xfrm>
              <a:off x="5582960" y="2928152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18000"/>
                  </a:moveTo>
                  <a:cubicBezTo>
                    <a:pt x="19636" y="18995"/>
                    <a:pt x="19196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5"/>
                    <a:pt x="982" y="18000"/>
                  </a:cubicBezTo>
                  <a:lnTo>
                    <a:pt x="982" y="3600"/>
                  </a:lnTo>
                  <a:cubicBezTo>
                    <a:pt x="982" y="2607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6" y="1800"/>
                    <a:pt x="19636" y="2607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9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9"/>
                    <a:pt x="20618" y="18000"/>
                  </a:cubicBezTo>
                  <a:lnTo>
                    <a:pt x="20618" y="14400"/>
                  </a:lnTo>
                  <a:cubicBezTo>
                    <a:pt x="21160" y="14400"/>
                    <a:pt x="21600" y="13595"/>
                    <a:pt x="21600" y="12600"/>
                  </a:cubicBezTo>
                  <a:lnTo>
                    <a:pt x="21600" y="9000"/>
                  </a:lnTo>
                  <a:cubicBezTo>
                    <a:pt x="21600" y="8007"/>
                    <a:pt x="21160" y="7200"/>
                    <a:pt x="20618" y="7200"/>
                  </a:cubicBezTo>
                  <a:moveTo>
                    <a:pt x="1964" y="18000"/>
                  </a:moveTo>
                  <a:lnTo>
                    <a:pt x="10800" y="18000"/>
                  </a:lnTo>
                  <a:lnTo>
                    <a:pt x="10800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 2667">
              <a:extLst>
                <a:ext uri="{FF2B5EF4-FFF2-40B4-BE49-F238E27FC236}">
                  <a16:creationId xmlns:a16="http://schemas.microsoft.com/office/drawing/2014/main" id="{D80EF58B-D630-4EEC-B276-D71BEB404A70}"/>
                </a:ext>
              </a:extLst>
            </p:cNvPr>
            <p:cNvSpPr/>
            <p:nvPr/>
          </p:nvSpPr>
          <p:spPr bwMode="gray">
            <a:xfrm>
              <a:off x="617538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4727" y="18000"/>
                  </a:lnTo>
                  <a:lnTo>
                    <a:pt x="14727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 2668">
              <a:extLst>
                <a:ext uri="{FF2B5EF4-FFF2-40B4-BE49-F238E27FC236}">
                  <a16:creationId xmlns:a16="http://schemas.microsoft.com/office/drawing/2014/main" id="{4EFE4E6F-393F-423D-8871-1414997A7841}"/>
                </a:ext>
              </a:extLst>
            </p:cNvPr>
            <p:cNvSpPr/>
            <p:nvPr/>
          </p:nvSpPr>
          <p:spPr bwMode="gray">
            <a:xfrm>
              <a:off x="1169252" y="3479866"/>
              <a:ext cx="288993" cy="157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8000"/>
                  </a:moveTo>
                  <a:lnTo>
                    <a:pt x="18655" y="18000"/>
                  </a:lnTo>
                  <a:lnTo>
                    <a:pt x="18655" y="3600"/>
                  </a:lnTo>
                  <a:lnTo>
                    <a:pt x="1964" y="3600"/>
                  </a:lnTo>
                  <a:cubicBezTo>
                    <a:pt x="1964" y="3600"/>
                    <a:pt x="1964" y="18000"/>
                    <a:pt x="1964" y="18000"/>
                  </a:cubicBezTo>
                  <a:close/>
                  <a:moveTo>
                    <a:pt x="19636" y="18000"/>
                  </a:moveTo>
                  <a:cubicBezTo>
                    <a:pt x="19636" y="18994"/>
                    <a:pt x="19197" y="19800"/>
                    <a:pt x="18655" y="19800"/>
                  </a:cubicBezTo>
                  <a:lnTo>
                    <a:pt x="1964" y="19800"/>
                  </a:lnTo>
                  <a:cubicBezTo>
                    <a:pt x="1422" y="19800"/>
                    <a:pt x="982" y="18994"/>
                    <a:pt x="982" y="18000"/>
                  </a:cubicBezTo>
                  <a:lnTo>
                    <a:pt x="982" y="3600"/>
                  </a:lnTo>
                  <a:cubicBezTo>
                    <a:pt x="982" y="2606"/>
                    <a:pt x="1422" y="1800"/>
                    <a:pt x="1964" y="1800"/>
                  </a:cubicBezTo>
                  <a:lnTo>
                    <a:pt x="18655" y="1800"/>
                  </a:lnTo>
                  <a:cubicBezTo>
                    <a:pt x="19197" y="1800"/>
                    <a:pt x="19636" y="2606"/>
                    <a:pt x="19636" y="3600"/>
                  </a:cubicBezTo>
                  <a:cubicBezTo>
                    <a:pt x="19636" y="3600"/>
                    <a:pt x="19636" y="18000"/>
                    <a:pt x="19636" y="18000"/>
                  </a:cubicBezTo>
                  <a:close/>
                  <a:moveTo>
                    <a:pt x="20618" y="7200"/>
                  </a:moveTo>
                  <a:lnTo>
                    <a:pt x="20618" y="3600"/>
                  </a:lnTo>
                  <a:cubicBezTo>
                    <a:pt x="20618" y="1612"/>
                    <a:pt x="19739" y="0"/>
                    <a:pt x="18655" y="0"/>
                  </a:cubicBezTo>
                  <a:lnTo>
                    <a:pt x="1964" y="0"/>
                  </a:lnTo>
                  <a:cubicBezTo>
                    <a:pt x="879" y="0"/>
                    <a:pt x="0" y="1612"/>
                    <a:pt x="0" y="3600"/>
                  </a:cubicBezTo>
                  <a:lnTo>
                    <a:pt x="0" y="18000"/>
                  </a:lnTo>
                  <a:cubicBezTo>
                    <a:pt x="0" y="19988"/>
                    <a:pt x="879" y="21600"/>
                    <a:pt x="1964" y="21600"/>
                  </a:cubicBezTo>
                  <a:lnTo>
                    <a:pt x="18655" y="21600"/>
                  </a:lnTo>
                  <a:cubicBezTo>
                    <a:pt x="19739" y="21600"/>
                    <a:pt x="20618" y="19988"/>
                    <a:pt x="20618" y="18000"/>
                  </a:cubicBezTo>
                  <a:lnTo>
                    <a:pt x="20618" y="14401"/>
                  </a:lnTo>
                  <a:cubicBezTo>
                    <a:pt x="21160" y="14401"/>
                    <a:pt x="21600" y="13594"/>
                    <a:pt x="21600" y="12600"/>
                  </a:cubicBezTo>
                  <a:lnTo>
                    <a:pt x="21600" y="9000"/>
                  </a:lnTo>
                  <a:cubicBezTo>
                    <a:pt x="21600" y="8006"/>
                    <a:pt x="21160" y="7200"/>
                    <a:pt x="20618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69">
              <a:extLst>
                <a:ext uri="{FF2B5EF4-FFF2-40B4-BE49-F238E27FC236}">
                  <a16:creationId xmlns:a16="http://schemas.microsoft.com/office/drawing/2014/main" id="{2DC3BB58-A59E-484D-B0AB-D44C7476E07D}"/>
                </a:ext>
              </a:extLst>
            </p:cNvPr>
            <p:cNvSpPr/>
            <p:nvPr/>
          </p:nvSpPr>
          <p:spPr bwMode="gray">
            <a:xfrm>
              <a:off x="1734101" y="3414186"/>
              <a:ext cx="262721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2161"/>
                  </a:moveTo>
                  <a:lnTo>
                    <a:pt x="12960" y="2178"/>
                  </a:lnTo>
                  <a:cubicBezTo>
                    <a:pt x="12662" y="2178"/>
                    <a:pt x="12420" y="2398"/>
                    <a:pt x="12420" y="2669"/>
                  </a:cubicBezTo>
                  <a:cubicBezTo>
                    <a:pt x="12420" y="2940"/>
                    <a:pt x="12662" y="3160"/>
                    <a:pt x="12960" y="3160"/>
                  </a:cubicBezTo>
                  <a:lnTo>
                    <a:pt x="12960" y="3172"/>
                  </a:lnTo>
                  <a:cubicBezTo>
                    <a:pt x="17287" y="4066"/>
                    <a:pt x="20520" y="7577"/>
                    <a:pt x="20520" y="11782"/>
                  </a:cubicBezTo>
                  <a:cubicBezTo>
                    <a:pt x="20520" y="16662"/>
                    <a:pt x="16168" y="20618"/>
                    <a:pt x="10800" y="20618"/>
                  </a:cubicBezTo>
                  <a:cubicBezTo>
                    <a:pt x="5432" y="20618"/>
                    <a:pt x="1080" y="16662"/>
                    <a:pt x="1080" y="11782"/>
                  </a:cubicBezTo>
                  <a:cubicBezTo>
                    <a:pt x="1080" y="7577"/>
                    <a:pt x="4313" y="4066"/>
                    <a:pt x="8640" y="3172"/>
                  </a:cubicBezTo>
                  <a:lnTo>
                    <a:pt x="8640" y="3160"/>
                  </a:lnTo>
                  <a:cubicBezTo>
                    <a:pt x="8938" y="3160"/>
                    <a:pt x="9180" y="2940"/>
                    <a:pt x="9180" y="2669"/>
                  </a:cubicBezTo>
                  <a:cubicBezTo>
                    <a:pt x="9180" y="2398"/>
                    <a:pt x="8938" y="2178"/>
                    <a:pt x="8640" y="2178"/>
                  </a:cubicBezTo>
                  <a:lnTo>
                    <a:pt x="8640" y="2161"/>
                  </a:lnTo>
                  <a:cubicBezTo>
                    <a:pt x="3710" y="3071"/>
                    <a:pt x="0" y="7031"/>
                    <a:pt x="0" y="11782"/>
                  </a:cubicBezTo>
                  <a:cubicBezTo>
                    <a:pt x="0" y="17204"/>
                    <a:pt x="4835" y="21600"/>
                    <a:pt x="10800" y="21600"/>
                  </a:cubicBezTo>
                  <a:cubicBezTo>
                    <a:pt x="16765" y="21600"/>
                    <a:pt x="21600" y="17204"/>
                    <a:pt x="21600" y="11782"/>
                  </a:cubicBezTo>
                  <a:cubicBezTo>
                    <a:pt x="21600" y="7031"/>
                    <a:pt x="17890" y="3071"/>
                    <a:pt x="12960" y="2161"/>
                  </a:cubicBezTo>
                  <a:moveTo>
                    <a:pt x="10800" y="12763"/>
                  </a:moveTo>
                  <a:cubicBezTo>
                    <a:pt x="11098" y="12763"/>
                    <a:pt x="11340" y="12544"/>
                    <a:pt x="11340" y="12272"/>
                  </a:cubicBezTo>
                  <a:lnTo>
                    <a:pt x="11340" y="491"/>
                  </a:lnTo>
                  <a:cubicBezTo>
                    <a:pt x="11340" y="220"/>
                    <a:pt x="11098" y="0"/>
                    <a:pt x="10800" y="0"/>
                  </a:cubicBezTo>
                  <a:cubicBezTo>
                    <a:pt x="10502" y="0"/>
                    <a:pt x="10260" y="220"/>
                    <a:pt x="10260" y="491"/>
                  </a:cubicBezTo>
                  <a:lnTo>
                    <a:pt x="10260" y="12272"/>
                  </a:lnTo>
                  <a:cubicBezTo>
                    <a:pt x="10260" y="12544"/>
                    <a:pt x="10502" y="12763"/>
                    <a:pt x="10800" y="1276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 2670">
              <a:extLst>
                <a:ext uri="{FF2B5EF4-FFF2-40B4-BE49-F238E27FC236}">
                  <a16:creationId xmlns:a16="http://schemas.microsoft.com/office/drawing/2014/main" id="{EC17473A-39F7-4054-8424-0863EB178271}"/>
                </a:ext>
              </a:extLst>
            </p:cNvPr>
            <p:cNvSpPr/>
            <p:nvPr/>
          </p:nvSpPr>
          <p:spPr bwMode="gray">
            <a:xfrm>
              <a:off x="2272679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 2671">
              <a:extLst>
                <a:ext uri="{FF2B5EF4-FFF2-40B4-BE49-F238E27FC236}">
                  <a16:creationId xmlns:a16="http://schemas.microsoft.com/office/drawing/2014/main" id="{8C64A06F-047F-4C8D-8344-721D815522EE}"/>
                </a:ext>
              </a:extLst>
            </p:cNvPr>
            <p:cNvSpPr/>
            <p:nvPr/>
          </p:nvSpPr>
          <p:spPr bwMode="gray">
            <a:xfrm>
              <a:off x="2824392" y="3414186"/>
              <a:ext cx="288993" cy="289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15421"/>
                  </a:moveTo>
                  <a:cubicBezTo>
                    <a:pt x="10666" y="15276"/>
                    <a:pt x="10995" y="15082"/>
                    <a:pt x="11291" y="14845"/>
                  </a:cubicBezTo>
                  <a:lnTo>
                    <a:pt x="11291" y="8719"/>
                  </a:lnTo>
                  <a:cubicBezTo>
                    <a:pt x="10995" y="8482"/>
                    <a:pt x="10666" y="8287"/>
                    <a:pt x="10309" y="8143"/>
                  </a:cubicBezTo>
                  <a:cubicBezTo>
                    <a:pt x="10309" y="8143"/>
                    <a:pt x="10309" y="15421"/>
                    <a:pt x="10309" y="15421"/>
                  </a:cubicBezTo>
                  <a:close/>
                  <a:moveTo>
                    <a:pt x="12273" y="13681"/>
                  </a:moveTo>
                  <a:cubicBezTo>
                    <a:pt x="12585" y="13118"/>
                    <a:pt x="12764" y="12471"/>
                    <a:pt x="12764" y="11782"/>
                  </a:cubicBezTo>
                  <a:cubicBezTo>
                    <a:pt x="12764" y="11092"/>
                    <a:pt x="12585" y="10445"/>
                    <a:pt x="12273" y="9882"/>
                  </a:cubicBezTo>
                  <a:cubicBezTo>
                    <a:pt x="12273" y="9882"/>
                    <a:pt x="12273" y="13681"/>
                    <a:pt x="12273" y="13681"/>
                  </a:cubicBezTo>
                  <a:close/>
                  <a:moveTo>
                    <a:pt x="5891" y="14373"/>
                  </a:moveTo>
                  <a:lnTo>
                    <a:pt x="5891" y="9190"/>
                  </a:lnTo>
                  <a:cubicBezTo>
                    <a:pt x="5282" y="9882"/>
                    <a:pt x="4909" y="10788"/>
                    <a:pt x="4909" y="11782"/>
                  </a:cubicBezTo>
                  <a:cubicBezTo>
                    <a:pt x="4909" y="12776"/>
                    <a:pt x="5282" y="13681"/>
                    <a:pt x="5891" y="14373"/>
                  </a:cubicBezTo>
                  <a:moveTo>
                    <a:pt x="6873" y="8384"/>
                  </a:moveTo>
                  <a:lnTo>
                    <a:pt x="6873" y="15179"/>
                  </a:lnTo>
                  <a:cubicBezTo>
                    <a:pt x="7451" y="15514"/>
                    <a:pt x="8120" y="15709"/>
                    <a:pt x="8836" y="15709"/>
                  </a:cubicBezTo>
                  <a:cubicBezTo>
                    <a:pt x="9003" y="15709"/>
                    <a:pt x="9166" y="15696"/>
                    <a:pt x="9327" y="15675"/>
                  </a:cubicBezTo>
                  <a:lnTo>
                    <a:pt x="9327" y="7888"/>
                  </a:lnTo>
                  <a:cubicBezTo>
                    <a:pt x="9166" y="7868"/>
                    <a:pt x="9003" y="7854"/>
                    <a:pt x="8836" y="7854"/>
                  </a:cubicBezTo>
                  <a:cubicBezTo>
                    <a:pt x="8120" y="7854"/>
                    <a:pt x="7451" y="8049"/>
                    <a:pt x="6873" y="8384"/>
                  </a:cubicBezTo>
                  <a:moveTo>
                    <a:pt x="20618" y="0"/>
                  </a:moveTo>
                  <a:lnTo>
                    <a:pt x="19636" y="0"/>
                  </a:lnTo>
                  <a:lnTo>
                    <a:pt x="19636" y="15709"/>
                  </a:ln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8836" y="17672"/>
                  </a:moveTo>
                  <a:cubicBezTo>
                    <a:pt x="5583" y="17672"/>
                    <a:pt x="2945" y="15035"/>
                    <a:pt x="2945" y="11782"/>
                  </a:cubicBezTo>
                  <a:cubicBezTo>
                    <a:pt x="2945" y="8528"/>
                    <a:pt x="5583" y="5891"/>
                    <a:pt x="8836" y="5891"/>
                  </a:cubicBezTo>
                  <a:cubicBezTo>
                    <a:pt x="12090" y="5891"/>
                    <a:pt x="14727" y="8528"/>
                    <a:pt x="14727" y="11782"/>
                  </a:cubicBezTo>
                  <a:cubicBezTo>
                    <a:pt x="14727" y="15035"/>
                    <a:pt x="12090" y="17672"/>
                    <a:pt x="8836" y="17672"/>
                  </a:cubicBezTo>
                  <a:moveTo>
                    <a:pt x="14027" y="16277"/>
                  </a:moveTo>
                  <a:cubicBezTo>
                    <a:pt x="15072" y="15072"/>
                    <a:pt x="15709" y="13503"/>
                    <a:pt x="15709" y="11782"/>
                  </a:cubicBezTo>
                  <a:cubicBezTo>
                    <a:pt x="15709" y="7986"/>
                    <a:pt x="12632" y="4909"/>
                    <a:pt x="8836" y="4909"/>
                  </a:cubicBezTo>
                  <a:cubicBezTo>
                    <a:pt x="5041" y="4909"/>
                    <a:pt x="1964" y="7986"/>
                    <a:pt x="1964" y="11782"/>
                  </a:cubicBezTo>
                  <a:cubicBezTo>
                    <a:pt x="1964" y="15577"/>
                    <a:pt x="5041" y="18654"/>
                    <a:pt x="8836" y="18654"/>
                  </a:cubicBezTo>
                  <a:cubicBezTo>
                    <a:pt x="10557" y="18654"/>
                    <a:pt x="12127" y="18017"/>
                    <a:pt x="13333" y="16972"/>
                  </a:cubicBezTo>
                  <a:lnTo>
                    <a:pt x="17817" y="21456"/>
                  </a:lnTo>
                  <a:cubicBezTo>
                    <a:pt x="17905" y="21545"/>
                    <a:pt x="18028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cubicBezTo>
                    <a:pt x="18655" y="20974"/>
                    <a:pt x="18600" y="20851"/>
                    <a:pt x="18511" y="20762"/>
                  </a:cubicBezTo>
                  <a:cubicBezTo>
                    <a:pt x="18511" y="20762"/>
                    <a:pt x="14027" y="16277"/>
                    <a:pt x="14027" y="16277"/>
                  </a:cubicBezTo>
                  <a:close/>
                  <a:moveTo>
                    <a:pt x="17673" y="15709"/>
                  </a:moveTo>
                  <a:lnTo>
                    <a:pt x="18655" y="15709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15709"/>
                    <a:pt x="17673" y="15709"/>
                  </a:cubicBezTo>
                  <a:close/>
                  <a:moveTo>
                    <a:pt x="16691" y="15709"/>
                  </a:moveTo>
                  <a:lnTo>
                    <a:pt x="16691" y="11783"/>
                  </a:lnTo>
                  <a:cubicBezTo>
                    <a:pt x="16691" y="13214"/>
                    <a:pt x="16301" y="14553"/>
                    <a:pt x="15631" y="15709"/>
                  </a:cubicBezTo>
                  <a:cubicBezTo>
                    <a:pt x="15631" y="15709"/>
                    <a:pt x="16691" y="15709"/>
                    <a:pt x="16691" y="15709"/>
                  </a:cubicBezTo>
                  <a:close/>
                  <a:moveTo>
                    <a:pt x="16691" y="0"/>
                  </a:moveTo>
                  <a:lnTo>
                    <a:pt x="14236" y="0"/>
                  </a:lnTo>
                  <a:lnTo>
                    <a:pt x="14236" y="6088"/>
                  </a:lnTo>
                  <a:cubicBezTo>
                    <a:pt x="15745" y="7519"/>
                    <a:pt x="16691" y="9538"/>
                    <a:pt x="16691" y="11781"/>
                  </a:cubicBezTo>
                  <a:cubicBezTo>
                    <a:pt x="16691" y="11781"/>
                    <a:pt x="16691" y="0"/>
                    <a:pt x="16691" y="0"/>
                  </a:cubicBezTo>
                  <a:close/>
                  <a:moveTo>
                    <a:pt x="11291" y="0"/>
                  </a:moveTo>
                  <a:lnTo>
                    <a:pt x="10309" y="0"/>
                  </a:lnTo>
                  <a:lnTo>
                    <a:pt x="10309" y="4070"/>
                  </a:lnTo>
                  <a:cubicBezTo>
                    <a:pt x="10645" y="4134"/>
                    <a:pt x="10972" y="4219"/>
                    <a:pt x="11291" y="4324"/>
                  </a:cubicBezTo>
                  <a:cubicBezTo>
                    <a:pt x="11291" y="4324"/>
                    <a:pt x="11291" y="0"/>
                    <a:pt x="11291" y="0"/>
                  </a:cubicBezTo>
                  <a:close/>
                  <a:moveTo>
                    <a:pt x="1964" y="15709"/>
                  </a:moveTo>
                  <a:lnTo>
                    <a:pt x="2041" y="15709"/>
                  </a:lnTo>
                  <a:cubicBezTo>
                    <a:pt x="2016" y="15666"/>
                    <a:pt x="1988" y="15625"/>
                    <a:pt x="1964" y="15581"/>
                  </a:cubicBezTo>
                  <a:cubicBezTo>
                    <a:pt x="1964" y="15581"/>
                    <a:pt x="1964" y="15709"/>
                    <a:pt x="1964" y="15709"/>
                  </a:cubicBezTo>
                  <a:close/>
                  <a:moveTo>
                    <a:pt x="13255" y="0"/>
                  </a:moveTo>
                  <a:lnTo>
                    <a:pt x="12273" y="0"/>
                  </a:lnTo>
                  <a:lnTo>
                    <a:pt x="12273" y="4727"/>
                  </a:lnTo>
                  <a:cubicBezTo>
                    <a:pt x="12613" y="4894"/>
                    <a:pt x="12944" y="5077"/>
                    <a:pt x="13255" y="5289"/>
                  </a:cubicBezTo>
                  <a:cubicBezTo>
                    <a:pt x="13255" y="5289"/>
                    <a:pt x="13255" y="0"/>
                    <a:pt x="13255" y="0"/>
                  </a:cubicBezTo>
                  <a:close/>
                  <a:moveTo>
                    <a:pt x="9327" y="3952"/>
                  </a:moveTo>
                  <a:lnTo>
                    <a:pt x="9327" y="0"/>
                  </a:lnTo>
                  <a:lnTo>
                    <a:pt x="6873" y="0"/>
                  </a:lnTo>
                  <a:lnTo>
                    <a:pt x="6873" y="4185"/>
                  </a:lnTo>
                  <a:cubicBezTo>
                    <a:pt x="7501" y="4023"/>
                    <a:pt x="8157" y="3927"/>
                    <a:pt x="8836" y="3927"/>
                  </a:cubicBezTo>
                  <a:cubicBezTo>
                    <a:pt x="9002" y="3927"/>
                    <a:pt x="9164" y="3942"/>
                    <a:pt x="9327" y="3952"/>
                  </a:cubicBezTo>
                  <a:moveTo>
                    <a:pt x="5891" y="0"/>
                  </a:moveTo>
                  <a:lnTo>
                    <a:pt x="4909" y="0"/>
                  </a:lnTo>
                  <a:lnTo>
                    <a:pt x="4909" y="4987"/>
                  </a:lnTo>
                  <a:cubicBezTo>
                    <a:pt x="5224" y="4804"/>
                    <a:pt x="5551" y="4641"/>
                    <a:pt x="5891" y="4504"/>
                  </a:cubicBezTo>
                  <a:cubicBezTo>
                    <a:pt x="5891" y="4504"/>
                    <a:pt x="5891" y="0"/>
                    <a:pt x="5891" y="0"/>
                  </a:cubicBezTo>
                  <a:close/>
                  <a:moveTo>
                    <a:pt x="0" y="982"/>
                  </a:move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moveTo>
                    <a:pt x="3927" y="5656"/>
                  </a:moveTo>
                  <a:lnTo>
                    <a:pt x="3927" y="0"/>
                  </a:lnTo>
                  <a:lnTo>
                    <a:pt x="1964" y="0"/>
                  </a:lnTo>
                  <a:lnTo>
                    <a:pt x="1964" y="7982"/>
                  </a:lnTo>
                  <a:cubicBezTo>
                    <a:pt x="2462" y="7084"/>
                    <a:pt x="3131" y="6294"/>
                    <a:pt x="3927" y="56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Shape 2672">
              <a:extLst>
                <a:ext uri="{FF2B5EF4-FFF2-40B4-BE49-F238E27FC236}">
                  <a16:creationId xmlns:a16="http://schemas.microsoft.com/office/drawing/2014/main" id="{88FFEE56-6342-433A-974E-C2D95747AD58}"/>
                </a:ext>
              </a:extLst>
            </p:cNvPr>
            <p:cNvSpPr/>
            <p:nvPr/>
          </p:nvSpPr>
          <p:spPr bwMode="gray">
            <a:xfrm>
              <a:off x="3376106" y="3453594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18" y="21600"/>
                  </a:moveTo>
                  <a:lnTo>
                    <a:pt x="11782" y="21600"/>
                  </a:lnTo>
                  <a:lnTo>
                    <a:pt x="11782" y="17550"/>
                  </a:lnTo>
                  <a:lnTo>
                    <a:pt x="9818" y="17550"/>
                  </a:lnTo>
                  <a:cubicBezTo>
                    <a:pt x="9818" y="17550"/>
                    <a:pt x="9818" y="21600"/>
                    <a:pt x="9818" y="21600"/>
                  </a:cubicBezTo>
                  <a:close/>
                  <a:moveTo>
                    <a:pt x="7855" y="21600"/>
                  </a:moveTo>
                  <a:lnTo>
                    <a:pt x="8836" y="21600"/>
                  </a:lnTo>
                  <a:lnTo>
                    <a:pt x="8836" y="17550"/>
                  </a:lnTo>
                  <a:lnTo>
                    <a:pt x="7855" y="17550"/>
                  </a:lnTo>
                  <a:cubicBezTo>
                    <a:pt x="7855" y="17550"/>
                    <a:pt x="7855" y="21600"/>
                    <a:pt x="7855" y="21600"/>
                  </a:cubicBezTo>
                  <a:close/>
                  <a:moveTo>
                    <a:pt x="2945" y="21600"/>
                  </a:moveTo>
                  <a:lnTo>
                    <a:pt x="3927" y="21600"/>
                  </a:lnTo>
                  <a:lnTo>
                    <a:pt x="3927" y="17550"/>
                  </a:lnTo>
                  <a:lnTo>
                    <a:pt x="2945" y="17550"/>
                  </a:lnTo>
                  <a:cubicBezTo>
                    <a:pt x="2945" y="17550"/>
                    <a:pt x="2945" y="21600"/>
                    <a:pt x="2945" y="21600"/>
                  </a:cubicBezTo>
                  <a:close/>
                  <a:moveTo>
                    <a:pt x="4909" y="21600"/>
                  </a:moveTo>
                  <a:lnTo>
                    <a:pt x="6873" y="21600"/>
                  </a:lnTo>
                  <a:lnTo>
                    <a:pt x="6873" y="17550"/>
                  </a:lnTo>
                  <a:lnTo>
                    <a:pt x="4909" y="17550"/>
                  </a:lnTo>
                  <a:cubicBezTo>
                    <a:pt x="4909" y="17550"/>
                    <a:pt x="4909" y="21600"/>
                    <a:pt x="4909" y="21600"/>
                  </a:cubicBezTo>
                  <a:close/>
                  <a:moveTo>
                    <a:pt x="12764" y="21600"/>
                  </a:moveTo>
                  <a:lnTo>
                    <a:pt x="13745" y="21600"/>
                  </a:lnTo>
                  <a:lnTo>
                    <a:pt x="13745" y="17550"/>
                  </a:lnTo>
                  <a:lnTo>
                    <a:pt x="12764" y="17550"/>
                  </a:lnTo>
                  <a:cubicBezTo>
                    <a:pt x="12764" y="17550"/>
                    <a:pt x="12764" y="21600"/>
                    <a:pt x="12764" y="21600"/>
                  </a:cubicBezTo>
                  <a:close/>
                  <a:moveTo>
                    <a:pt x="20618" y="14850"/>
                  </a:moveTo>
                  <a:lnTo>
                    <a:pt x="982" y="14850"/>
                  </a:lnTo>
                  <a:lnTo>
                    <a:pt x="982" y="13500"/>
                  </a:lnTo>
                  <a:lnTo>
                    <a:pt x="20618" y="13500"/>
                  </a:lnTo>
                  <a:cubicBezTo>
                    <a:pt x="20618" y="13500"/>
                    <a:pt x="20618" y="14850"/>
                    <a:pt x="20618" y="14850"/>
                  </a:cubicBezTo>
                  <a:close/>
                  <a:moveTo>
                    <a:pt x="20618" y="12150"/>
                  </a:moveTo>
                  <a:lnTo>
                    <a:pt x="982" y="12150"/>
                  </a:lnTo>
                  <a:cubicBezTo>
                    <a:pt x="440" y="12150"/>
                    <a:pt x="0" y="12755"/>
                    <a:pt x="0" y="13500"/>
                  </a:cubicBezTo>
                  <a:lnTo>
                    <a:pt x="0" y="14850"/>
                  </a:lnTo>
                  <a:cubicBezTo>
                    <a:pt x="0" y="15595"/>
                    <a:pt x="440" y="16200"/>
                    <a:pt x="982" y="16200"/>
                  </a:cubicBezTo>
                  <a:lnTo>
                    <a:pt x="20618" y="16200"/>
                  </a:lnTo>
                  <a:cubicBezTo>
                    <a:pt x="21160" y="16200"/>
                    <a:pt x="21600" y="15595"/>
                    <a:pt x="21600" y="14850"/>
                  </a:cubicBezTo>
                  <a:lnTo>
                    <a:pt x="21600" y="13500"/>
                  </a:lnTo>
                  <a:cubicBezTo>
                    <a:pt x="21600" y="12755"/>
                    <a:pt x="21160" y="12150"/>
                    <a:pt x="20618" y="12150"/>
                  </a:cubicBezTo>
                  <a:moveTo>
                    <a:pt x="982" y="20250"/>
                  </a:moveTo>
                  <a:cubicBezTo>
                    <a:pt x="982" y="20996"/>
                    <a:pt x="1422" y="21600"/>
                    <a:pt x="1964" y="21600"/>
                  </a:cubicBezTo>
                  <a:lnTo>
                    <a:pt x="1964" y="17550"/>
                  </a:lnTo>
                  <a:lnTo>
                    <a:pt x="982" y="17550"/>
                  </a:lnTo>
                  <a:cubicBezTo>
                    <a:pt x="982" y="17550"/>
                    <a:pt x="982" y="20250"/>
                    <a:pt x="982" y="20250"/>
                  </a:cubicBezTo>
                  <a:close/>
                  <a:moveTo>
                    <a:pt x="16691" y="21600"/>
                  </a:moveTo>
                  <a:lnTo>
                    <a:pt x="17673" y="21600"/>
                  </a:lnTo>
                  <a:lnTo>
                    <a:pt x="17673" y="17550"/>
                  </a:lnTo>
                  <a:lnTo>
                    <a:pt x="16691" y="17550"/>
                  </a:lnTo>
                  <a:cubicBezTo>
                    <a:pt x="16691" y="17550"/>
                    <a:pt x="16691" y="21600"/>
                    <a:pt x="16691" y="21600"/>
                  </a:cubicBezTo>
                  <a:close/>
                  <a:moveTo>
                    <a:pt x="14727" y="21600"/>
                  </a:moveTo>
                  <a:lnTo>
                    <a:pt x="15709" y="21600"/>
                  </a:lnTo>
                  <a:lnTo>
                    <a:pt x="15709" y="17550"/>
                  </a:lnTo>
                  <a:lnTo>
                    <a:pt x="14727" y="17550"/>
                  </a:lnTo>
                  <a:cubicBezTo>
                    <a:pt x="14727" y="17550"/>
                    <a:pt x="14727" y="21600"/>
                    <a:pt x="14727" y="21600"/>
                  </a:cubicBezTo>
                  <a:close/>
                  <a:moveTo>
                    <a:pt x="18655" y="21600"/>
                  </a:moveTo>
                  <a:lnTo>
                    <a:pt x="19636" y="21600"/>
                  </a:lnTo>
                  <a:cubicBezTo>
                    <a:pt x="20178" y="21600"/>
                    <a:pt x="20618" y="20996"/>
                    <a:pt x="20618" y="20250"/>
                  </a:cubicBezTo>
                  <a:lnTo>
                    <a:pt x="20618" y="17550"/>
                  </a:lnTo>
                  <a:lnTo>
                    <a:pt x="18655" y="17550"/>
                  </a:lnTo>
                  <a:cubicBezTo>
                    <a:pt x="18655" y="17550"/>
                    <a:pt x="18655" y="21600"/>
                    <a:pt x="18655" y="21600"/>
                  </a:cubicBezTo>
                  <a:close/>
                  <a:moveTo>
                    <a:pt x="15709" y="0"/>
                  </a:moveTo>
                  <a:lnTo>
                    <a:pt x="14727" y="0"/>
                  </a:lnTo>
                  <a:lnTo>
                    <a:pt x="14727" y="10800"/>
                  </a:lnTo>
                  <a:lnTo>
                    <a:pt x="15709" y="10800"/>
                  </a:lnTo>
                  <a:cubicBezTo>
                    <a:pt x="15709" y="10800"/>
                    <a:pt x="15709" y="0"/>
                    <a:pt x="15709" y="0"/>
                  </a:cubicBezTo>
                  <a:close/>
                  <a:moveTo>
                    <a:pt x="20618" y="1350"/>
                  </a:moveTo>
                  <a:cubicBezTo>
                    <a:pt x="20618" y="605"/>
                    <a:pt x="20178" y="0"/>
                    <a:pt x="19636" y="0"/>
                  </a:cubicBezTo>
                  <a:lnTo>
                    <a:pt x="18655" y="0"/>
                  </a:lnTo>
                  <a:lnTo>
                    <a:pt x="18655" y="10800"/>
                  </a:lnTo>
                  <a:lnTo>
                    <a:pt x="20618" y="10800"/>
                  </a:lnTo>
                  <a:cubicBezTo>
                    <a:pt x="20618" y="10800"/>
                    <a:pt x="20618" y="1350"/>
                    <a:pt x="20618" y="1350"/>
                  </a:cubicBezTo>
                  <a:close/>
                  <a:moveTo>
                    <a:pt x="13745" y="0"/>
                  </a:moveTo>
                  <a:lnTo>
                    <a:pt x="12764" y="0"/>
                  </a:lnTo>
                  <a:lnTo>
                    <a:pt x="12764" y="10800"/>
                  </a:lnTo>
                  <a:lnTo>
                    <a:pt x="13745" y="10800"/>
                  </a:lnTo>
                  <a:cubicBezTo>
                    <a:pt x="13745" y="10800"/>
                    <a:pt x="13745" y="0"/>
                    <a:pt x="13745" y="0"/>
                  </a:cubicBezTo>
                  <a:close/>
                  <a:moveTo>
                    <a:pt x="17673" y="0"/>
                  </a:moveTo>
                  <a:lnTo>
                    <a:pt x="16691" y="0"/>
                  </a:lnTo>
                  <a:lnTo>
                    <a:pt x="16691" y="10800"/>
                  </a:lnTo>
                  <a:lnTo>
                    <a:pt x="17673" y="10800"/>
                  </a:lnTo>
                  <a:cubicBezTo>
                    <a:pt x="17673" y="10800"/>
                    <a:pt x="17673" y="0"/>
                    <a:pt x="17673" y="0"/>
                  </a:cubicBezTo>
                  <a:close/>
                  <a:moveTo>
                    <a:pt x="1964" y="0"/>
                  </a:moveTo>
                  <a:cubicBezTo>
                    <a:pt x="1422" y="0"/>
                    <a:pt x="982" y="605"/>
                    <a:pt x="982" y="1350"/>
                  </a:cubicBezTo>
                  <a:lnTo>
                    <a:pt x="982" y="10800"/>
                  </a:lnTo>
                  <a:lnTo>
                    <a:pt x="1964" y="10800"/>
                  </a:lnTo>
                  <a:cubicBezTo>
                    <a:pt x="1964" y="10800"/>
                    <a:pt x="1964" y="0"/>
                    <a:pt x="1964" y="0"/>
                  </a:cubicBezTo>
                  <a:close/>
                  <a:moveTo>
                    <a:pt x="3927" y="0"/>
                  </a:moveTo>
                  <a:lnTo>
                    <a:pt x="2945" y="0"/>
                  </a:lnTo>
                  <a:lnTo>
                    <a:pt x="2945" y="10800"/>
                  </a:lnTo>
                  <a:lnTo>
                    <a:pt x="3927" y="10800"/>
                  </a:lnTo>
                  <a:cubicBezTo>
                    <a:pt x="3927" y="10800"/>
                    <a:pt x="3927" y="0"/>
                    <a:pt x="3927" y="0"/>
                  </a:cubicBezTo>
                  <a:close/>
                  <a:moveTo>
                    <a:pt x="6873" y="0"/>
                  </a:moveTo>
                  <a:lnTo>
                    <a:pt x="4909" y="0"/>
                  </a:lnTo>
                  <a:lnTo>
                    <a:pt x="4909" y="10800"/>
                  </a:lnTo>
                  <a:lnTo>
                    <a:pt x="6873" y="10800"/>
                  </a:lnTo>
                  <a:cubicBezTo>
                    <a:pt x="6873" y="10800"/>
                    <a:pt x="6873" y="0"/>
                    <a:pt x="6873" y="0"/>
                  </a:cubicBezTo>
                  <a:close/>
                  <a:moveTo>
                    <a:pt x="8836" y="0"/>
                  </a:moveTo>
                  <a:lnTo>
                    <a:pt x="7855" y="0"/>
                  </a:lnTo>
                  <a:lnTo>
                    <a:pt x="7855" y="10800"/>
                  </a:lnTo>
                  <a:lnTo>
                    <a:pt x="8836" y="10800"/>
                  </a:lnTo>
                  <a:cubicBezTo>
                    <a:pt x="8836" y="10800"/>
                    <a:pt x="8836" y="0"/>
                    <a:pt x="8836" y="0"/>
                  </a:cubicBezTo>
                  <a:close/>
                  <a:moveTo>
                    <a:pt x="11782" y="0"/>
                  </a:moveTo>
                  <a:lnTo>
                    <a:pt x="9818" y="0"/>
                  </a:lnTo>
                  <a:lnTo>
                    <a:pt x="9818" y="10800"/>
                  </a:lnTo>
                  <a:lnTo>
                    <a:pt x="11782" y="10800"/>
                  </a:lnTo>
                  <a:cubicBezTo>
                    <a:pt x="11782" y="10800"/>
                    <a:pt x="11782" y="0"/>
                    <a:pt x="11782" y="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73">
              <a:extLst>
                <a:ext uri="{FF2B5EF4-FFF2-40B4-BE49-F238E27FC236}">
                  <a16:creationId xmlns:a16="http://schemas.microsoft.com/office/drawing/2014/main" id="{C380D221-491E-4BBE-8FEB-F00E1A6F649D}"/>
                </a:ext>
              </a:extLst>
            </p:cNvPr>
            <p:cNvSpPr/>
            <p:nvPr/>
          </p:nvSpPr>
          <p:spPr bwMode="gray">
            <a:xfrm>
              <a:off x="3927820" y="3414186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55" y="10309"/>
                  </a:moveTo>
                  <a:cubicBezTo>
                    <a:pt x="2726" y="10309"/>
                    <a:pt x="2945" y="10090"/>
                    <a:pt x="2945" y="9818"/>
                  </a:cubicBezTo>
                  <a:cubicBezTo>
                    <a:pt x="2945" y="9547"/>
                    <a:pt x="2726" y="9327"/>
                    <a:pt x="2455" y="9327"/>
                  </a:cubicBezTo>
                  <a:cubicBezTo>
                    <a:pt x="2183" y="9327"/>
                    <a:pt x="1964" y="9547"/>
                    <a:pt x="1964" y="9818"/>
                  </a:cubicBezTo>
                  <a:cubicBezTo>
                    <a:pt x="1964" y="10090"/>
                    <a:pt x="2183" y="10309"/>
                    <a:pt x="2455" y="10309"/>
                  </a:cubicBezTo>
                  <a:moveTo>
                    <a:pt x="20618" y="11782"/>
                  </a:moveTo>
                  <a:lnTo>
                    <a:pt x="982" y="11782"/>
                  </a:lnTo>
                  <a:lnTo>
                    <a:pt x="982" y="7855"/>
                  </a:lnTo>
                  <a:lnTo>
                    <a:pt x="20618" y="7855"/>
                  </a:lnTo>
                  <a:cubicBezTo>
                    <a:pt x="20618" y="7855"/>
                    <a:pt x="20618" y="11782"/>
                    <a:pt x="20618" y="11782"/>
                  </a:cubicBezTo>
                  <a:close/>
                  <a:moveTo>
                    <a:pt x="2945" y="982"/>
                  </a:moveTo>
                  <a:lnTo>
                    <a:pt x="14727" y="982"/>
                  </a:lnTo>
                  <a:lnTo>
                    <a:pt x="14727" y="4418"/>
                  </a:lnTo>
                  <a:cubicBezTo>
                    <a:pt x="14727" y="4690"/>
                    <a:pt x="14947" y="4909"/>
                    <a:pt x="15218" y="4909"/>
                  </a:cubicBezTo>
                  <a:lnTo>
                    <a:pt x="18655" y="4909"/>
                  </a:lnTo>
                  <a:lnTo>
                    <a:pt x="18655" y="6873"/>
                  </a:lnTo>
                  <a:lnTo>
                    <a:pt x="2945" y="6873"/>
                  </a:lnTo>
                  <a:cubicBezTo>
                    <a:pt x="2945" y="6873"/>
                    <a:pt x="2945" y="982"/>
                    <a:pt x="2945" y="982"/>
                  </a:cubicBezTo>
                  <a:close/>
                  <a:moveTo>
                    <a:pt x="15709" y="1473"/>
                  </a:moveTo>
                  <a:lnTo>
                    <a:pt x="18164" y="3927"/>
                  </a:lnTo>
                  <a:lnTo>
                    <a:pt x="15709" y="3927"/>
                  </a:lnTo>
                  <a:cubicBezTo>
                    <a:pt x="15709" y="3927"/>
                    <a:pt x="15709" y="1473"/>
                    <a:pt x="15709" y="1473"/>
                  </a:cubicBezTo>
                  <a:close/>
                  <a:moveTo>
                    <a:pt x="20618" y="6873"/>
                  </a:moveTo>
                  <a:lnTo>
                    <a:pt x="19636" y="6873"/>
                  </a:lnTo>
                  <a:lnTo>
                    <a:pt x="19636" y="3927"/>
                  </a:lnTo>
                  <a:lnTo>
                    <a:pt x="15709" y="0"/>
                  </a:lnTo>
                  <a:lnTo>
                    <a:pt x="2945" y="0"/>
                  </a:lnTo>
                  <a:cubicBezTo>
                    <a:pt x="2403" y="0"/>
                    <a:pt x="1964" y="440"/>
                    <a:pt x="1964" y="982"/>
                  </a:cubicBezTo>
                  <a:lnTo>
                    <a:pt x="1964" y="6873"/>
                  </a:lnTo>
                  <a:lnTo>
                    <a:pt x="982" y="6873"/>
                  </a:lnTo>
                  <a:cubicBezTo>
                    <a:pt x="439" y="6873"/>
                    <a:pt x="0" y="7313"/>
                    <a:pt x="0" y="7855"/>
                  </a:cubicBezTo>
                  <a:lnTo>
                    <a:pt x="0" y="11782"/>
                  </a:lnTo>
                  <a:cubicBezTo>
                    <a:pt x="0" y="12324"/>
                    <a:pt x="439" y="12764"/>
                    <a:pt x="982" y="12764"/>
                  </a:cubicBezTo>
                  <a:lnTo>
                    <a:pt x="1964" y="12764"/>
                  </a:lnTo>
                  <a:lnTo>
                    <a:pt x="1964" y="21109"/>
                  </a:lnTo>
                  <a:cubicBezTo>
                    <a:pt x="1964" y="21381"/>
                    <a:pt x="2183" y="21600"/>
                    <a:pt x="2455" y="21600"/>
                  </a:cubicBezTo>
                  <a:cubicBezTo>
                    <a:pt x="2726" y="21600"/>
                    <a:pt x="2945" y="21381"/>
                    <a:pt x="2945" y="21109"/>
                  </a:cubicBezTo>
                  <a:lnTo>
                    <a:pt x="2945" y="12764"/>
                  </a:lnTo>
                  <a:lnTo>
                    <a:pt x="3927" y="12764"/>
                  </a:lnTo>
                  <a:lnTo>
                    <a:pt x="3927" y="18164"/>
                  </a:lnTo>
                  <a:cubicBezTo>
                    <a:pt x="3927" y="18435"/>
                    <a:pt x="4147" y="18655"/>
                    <a:pt x="4418" y="18655"/>
                  </a:cubicBezTo>
                  <a:cubicBezTo>
                    <a:pt x="4690" y="18655"/>
                    <a:pt x="4909" y="18435"/>
                    <a:pt x="4909" y="18164"/>
                  </a:cubicBezTo>
                  <a:lnTo>
                    <a:pt x="4909" y="12764"/>
                  </a:lnTo>
                  <a:lnTo>
                    <a:pt x="5891" y="12764"/>
                  </a:lnTo>
                  <a:lnTo>
                    <a:pt x="5891" y="15218"/>
                  </a:lnTo>
                  <a:cubicBezTo>
                    <a:pt x="5891" y="15490"/>
                    <a:pt x="6110" y="15709"/>
                    <a:pt x="6382" y="15709"/>
                  </a:cubicBezTo>
                  <a:cubicBezTo>
                    <a:pt x="6653" y="15709"/>
                    <a:pt x="6873" y="15490"/>
                    <a:pt x="6873" y="15218"/>
                  </a:cubicBezTo>
                  <a:lnTo>
                    <a:pt x="6873" y="12764"/>
                  </a:lnTo>
                  <a:lnTo>
                    <a:pt x="7855" y="12764"/>
                  </a:lnTo>
                  <a:lnTo>
                    <a:pt x="7855" y="20127"/>
                  </a:lnTo>
                  <a:cubicBezTo>
                    <a:pt x="7855" y="20399"/>
                    <a:pt x="8074" y="20618"/>
                    <a:pt x="8345" y="20618"/>
                  </a:cubicBezTo>
                  <a:cubicBezTo>
                    <a:pt x="8617" y="20618"/>
                    <a:pt x="8836" y="20399"/>
                    <a:pt x="8836" y="20127"/>
                  </a:cubicBezTo>
                  <a:lnTo>
                    <a:pt x="8836" y="12764"/>
                  </a:lnTo>
                  <a:lnTo>
                    <a:pt x="10309" y="12764"/>
                  </a:lnTo>
                  <a:lnTo>
                    <a:pt x="10309" y="19145"/>
                  </a:lnTo>
                  <a:cubicBezTo>
                    <a:pt x="10309" y="19417"/>
                    <a:pt x="10529" y="19636"/>
                    <a:pt x="10800" y="19636"/>
                  </a:cubicBezTo>
                  <a:cubicBezTo>
                    <a:pt x="11071" y="19636"/>
                    <a:pt x="11291" y="19417"/>
                    <a:pt x="11291" y="19145"/>
                  </a:cubicBezTo>
                  <a:lnTo>
                    <a:pt x="11291" y="12764"/>
                  </a:lnTo>
                  <a:lnTo>
                    <a:pt x="12764" y="12764"/>
                  </a:lnTo>
                  <a:lnTo>
                    <a:pt x="12764" y="16200"/>
                  </a:lnTo>
                  <a:cubicBezTo>
                    <a:pt x="12764" y="16472"/>
                    <a:pt x="12983" y="16691"/>
                    <a:pt x="13255" y="16691"/>
                  </a:cubicBezTo>
                  <a:cubicBezTo>
                    <a:pt x="13526" y="16691"/>
                    <a:pt x="13745" y="16472"/>
                    <a:pt x="13745" y="16200"/>
                  </a:cubicBezTo>
                  <a:lnTo>
                    <a:pt x="13745" y="12764"/>
                  </a:lnTo>
                  <a:lnTo>
                    <a:pt x="14727" y="12764"/>
                  </a:lnTo>
                  <a:lnTo>
                    <a:pt x="14727" y="17182"/>
                  </a:lnTo>
                  <a:cubicBezTo>
                    <a:pt x="14727" y="17453"/>
                    <a:pt x="14947" y="17673"/>
                    <a:pt x="15218" y="17673"/>
                  </a:cubicBezTo>
                  <a:cubicBezTo>
                    <a:pt x="15490" y="17673"/>
                    <a:pt x="15709" y="17453"/>
                    <a:pt x="15709" y="17182"/>
                  </a:cubicBezTo>
                  <a:lnTo>
                    <a:pt x="15709" y="12764"/>
                  </a:lnTo>
                  <a:lnTo>
                    <a:pt x="16691" y="12764"/>
                  </a:lnTo>
                  <a:lnTo>
                    <a:pt x="16691" y="20127"/>
                  </a:lnTo>
                  <a:cubicBezTo>
                    <a:pt x="16691" y="20399"/>
                    <a:pt x="16910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2764"/>
                  </a:lnTo>
                  <a:lnTo>
                    <a:pt x="18655" y="12764"/>
                  </a:lnTo>
                  <a:lnTo>
                    <a:pt x="18655" y="19145"/>
                  </a:lnTo>
                  <a:cubicBezTo>
                    <a:pt x="18655" y="19417"/>
                    <a:pt x="18874" y="19636"/>
                    <a:pt x="19145" y="19636"/>
                  </a:cubicBezTo>
                  <a:cubicBezTo>
                    <a:pt x="19417" y="19636"/>
                    <a:pt x="19636" y="19417"/>
                    <a:pt x="19636" y="19145"/>
                  </a:cubicBezTo>
                  <a:lnTo>
                    <a:pt x="19636" y="12764"/>
                  </a:lnTo>
                  <a:lnTo>
                    <a:pt x="20618" y="12764"/>
                  </a:lnTo>
                  <a:cubicBezTo>
                    <a:pt x="21160" y="12764"/>
                    <a:pt x="21600" y="12324"/>
                    <a:pt x="21600" y="11782"/>
                  </a:cubicBezTo>
                  <a:lnTo>
                    <a:pt x="21600" y="7855"/>
                  </a:lnTo>
                  <a:cubicBezTo>
                    <a:pt x="21600" y="7313"/>
                    <a:pt x="21160" y="6873"/>
                    <a:pt x="20618" y="6873"/>
                  </a:cubicBezTo>
                  <a:moveTo>
                    <a:pt x="4418" y="10309"/>
                  </a:moveTo>
                  <a:cubicBezTo>
                    <a:pt x="4690" y="10309"/>
                    <a:pt x="4909" y="10090"/>
                    <a:pt x="4909" y="9818"/>
                  </a:cubicBezTo>
                  <a:cubicBezTo>
                    <a:pt x="4909" y="9547"/>
                    <a:pt x="4690" y="9327"/>
                    <a:pt x="4418" y="9327"/>
                  </a:cubicBezTo>
                  <a:cubicBezTo>
                    <a:pt x="4147" y="9327"/>
                    <a:pt x="3927" y="9547"/>
                    <a:pt x="3927" y="9818"/>
                  </a:cubicBezTo>
                  <a:cubicBezTo>
                    <a:pt x="3927" y="10090"/>
                    <a:pt x="4147" y="10309"/>
                    <a:pt x="4418" y="10309"/>
                  </a:cubicBezTo>
                  <a:moveTo>
                    <a:pt x="12273" y="3927"/>
                  </a:moveTo>
                  <a:lnTo>
                    <a:pt x="5400" y="3927"/>
                  </a:lnTo>
                  <a:cubicBezTo>
                    <a:pt x="5129" y="3927"/>
                    <a:pt x="4909" y="4147"/>
                    <a:pt x="4909" y="4418"/>
                  </a:cubicBezTo>
                  <a:cubicBezTo>
                    <a:pt x="4909" y="4690"/>
                    <a:pt x="5129" y="4909"/>
                    <a:pt x="5400" y="4909"/>
                  </a:cubicBezTo>
                  <a:lnTo>
                    <a:pt x="12273" y="4909"/>
                  </a:lnTo>
                  <a:cubicBezTo>
                    <a:pt x="12544" y="4909"/>
                    <a:pt x="12764" y="4690"/>
                    <a:pt x="12764" y="4418"/>
                  </a:cubicBezTo>
                  <a:cubicBezTo>
                    <a:pt x="12764" y="4147"/>
                    <a:pt x="12544" y="3927"/>
                    <a:pt x="12273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Shape 2674">
              <a:extLst>
                <a:ext uri="{FF2B5EF4-FFF2-40B4-BE49-F238E27FC236}">
                  <a16:creationId xmlns:a16="http://schemas.microsoft.com/office/drawing/2014/main" id="{9FDFF0C9-8088-4342-9BE3-DC76DBE6B627}"/>
                </a:ext>
              </a:extLst>
            </p:cNvPr>
            <p:cNvSpPr/>
            <p:nvPr/>
          </p:nvSpPr>
          <p:spPr bwMode="gray">
            <a:xfrm>
              <a:off x="4492669" y="3414186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1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7" y="1042"/>
                    <a:pt x="11190" y="987"/>
                    <a:pt x="11337" y="987"/>
                  </a:cubicBezTo>
                  <a:cubicBezTo>
                    <a:pt x="11637" y="987"/>
                    <a:pt x="11880" y="1208"/>
                    <a:pt x="11880" y="1479"/>
                  </a:cubicBezTo>
                  <a:cubicBezTo>
                    <a:pt x="11880" y="1479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6"/>
                  </a:lnTo>
                  <a:lnTo>
                    <a:pt x="4562" y="6407"/>
                  </a:lnTo>
                  <a:lnTo>
                    <a:pt x="4559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5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8"/>
                    <a:pt x="12238" y="0"/>
                    <a:pt x="11339" y="0"/>
                  </a:cubicBezTo>
                  <a:cubicBezTo>
                    <a:pt x="10880" y="0"/>
                    <a:pt x="10467" y="174"/>
                    <a:pt x="10170" y="451"/>
                  </a:cubicBezTo>
                  <a:lnTo>
                    <a:pt x="3565" y="5905"/>
                  </a:lnTo>
                  <a:cubicBezTo>
                    <a:pt x="1578" y="6050"/>
                    <a:pt x="0" y="8183"/>
                    <a:pt x="0" y="10800"/>
                  </a:cubicBezTo>
                  <a:cubicBezTo>
                    <a:pt x="0" y="13425"/>
                    <a:pt x="1588" y="15563"/>
                    <a:pt x="3585" y="15696"/>
                  </a:cubicBezTo>
                  <a:lnTo>
                    <a:pt x="10170" y="21149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2"/>
                    <a:pt x="12960" y="20073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  <a:moveTo>
                    <a:pt x="19124" y="10800"/>
                  </a:moveTo>
                  <a:lnTo>
                    <a:pt x="21442" y="8693"/>
                  </a:lnTo>
                  <a:cubicBezTo>
                    <a:pt x="21540" y="8604"/>
                    <a:pt x="21600" y="8481"/>
                    <a:pt x="21600" y="8345"/>
                  </a:cubicBezTo>
                  <a:cubicBezTo>
                    <a:pt x="21600" y="8074"/>
                    <a:pt x="21358" y="7855"/>
                    <a:pt x="21060" y="7855"/>
                  </a:cubicBezTo>
                  <a:cubicBezTo>
                    <a:pt x="20911" y="7855"/>
                    <a:pt x="20776" y="7909"/>
                    <a:pt x="20678" y="7998"/>
                  </a:cubicBezTo>
                  <a:lnTo>
                    <a:pt x="18360" y="10106"/>
                  </a:lnTo>
                  <a:lnTo>
                    <a:pt x="16042" y="7998"/>
                  </a:lnTo>
                  <a:cubicBezTo>
                    <a:pt x="15944" y="7909"/>
                    <a:pt x="15809" y="7855"/>
                    <a:pt x="15660" y="7855"/>
                  </a:cubicBezTo>
                  <a:cubicBezTo>
                    <a:pt x="15362" y="7855"/>
                    <a:pt x="15120" y="8074"/>
                    <a:pt x="15120" y="8345"/>
                  </a:cubicBezTo>
                  <a:cubicBezTo>
                    <a:pt x="15120" y="8481"/>
                    <a:pt x="15180" y="8604"/>
                    <a:pt x="15278" y="8693"/>
                  </a:cubicBezTo>
                  <a:lnTo>
                    <a:pt x="17596" y="10800"/>
                  </a:lnTo>
                  <a:lnTo>
                    <a:pt x="15278" y="12907"/>
                  </a:lnTo>
                  <a:cubicBezTo>
                    <a:pt x="15180" y="12996"/>
                    <a:pt x="15120" y="13119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5809" y="13745"/>
                    <a:pt x="15944" y="13691"/>
                    <a:pt x="16042" y="13602"/>
                  </a:cubicBezTo>
                  <a:lnTo>
                    <a:pt x="18360" y="11494"/>
                  </a:lnTo>
                  <a:lnTo>
                    <a:pt x="20678" y="13602"/>
                  </a:lnTo>
                  <a:cubicBezTo>
                    <a:pt x="20776" y="13691"/>
                    <a:pt x="20911" y="13745"/>
                    <a:pt x="21060" y="13745"/>
                  </a:cubicBezTo>
                  <a:cubicBezTo>
                    <a:pt x="21358" y="13745"/>
                    <a:pt x="21600" y="13526"/>
                    <a:pt x="21600" y="13255"/>
                  </a:cubicBezTo>
                  <a:cubicBezTo>
                    <a:pt x="21600" y="13119"/>
                    <a:pt x="21540" y="12996"/>
                    <a:pt x="21442" y="12907"/>
                  </a:cubicBezTo>
                  <a:cubicBezTo>
                    <a:pt x="21442" y="12907"/>
                    <a:pt x="19124" y="10800"/>
                    <a:pt x="19124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Shape 2675">
              <a:extLst>
                <a:ext uri="{FF2B5EF4-FFF2-40B4-BE49-F238E27FC236}">
                  <a16:creationId xmlns:a16="http://schemas.microsoft.com/office/drawing/2014/main" id="{8D3504C8-02D2-454F-B0C3-E80523982908}"/>
                </a:ext>
              </a:extLst>
            </p:cNvPr>
            <p:cNvSpPr/>
            <p:nvPr/>
          </p:nvSpPr>
          <p:spPr bwMode="gray">
            <a:xfrm>
              <a:off x="5096927" y="3414186"/>
              <a:ext cx="157710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90" y="20121"/>
                  </a:moveTo>
                  <a:cubicBezTo>
                    <a:pt x="19790" y="20393"/>
                    <a:pt x="19385" y="20612"/>
                    <a:pt x="18886" y="20612"/>
                  </a:cubicBezTo>
                  <a:cubicBezTo>
                    <a:pt x="18626" y="20612"/>
                    <a:pt x="18396" y="20552"/>
                    <a:pt x="18231" y="20457"/>
                  </a:cubicBezTo>
                  <a:lnTo>
                    <a:pt x="18227" y="20459"/>
                  </a:lnTo>
                  <a:lnTo>
                    <a:pt x="17991" y="20342"/>
                  </a:lnTo>
                  <a:lnTo>
                    <a:pt x="17991" y="1256"/>
                  </a:lnTo>
                  <a:lnTo>
                    <a:pt x="18255" y="1126"/>
                  </a:lnTo>
                  <a:lnTo>
                    <a:pt x="18258" y="1127"/>
                  </a:lnTo>
                  <a:cubicBezTo>
                    <a:pt x="18421" y="1042"/>
                    <a:pt x="18641" y="987"/>
                    <a:pt x="18886" y="987"/>
                  </a:cubicBezTo>
                  <a:cubicBezTo>
                    <a:pt x="19385" y="987"/>
                    <a:pt x="19790" y="1208"/>
                    <a:pt x="19790" y="1479"/>
                  </a:cubicBezTo>
                  <a:cubicBezTo>
                    <a:pt x="19790" y="1479"/>
                    <a:pt x="19790" y="20121"/>
                    <a:pt x="19790" y="20121"/>
                  </a:cubicBezTo>
                  <a:close/>
                  <a:moveTo>
                    <a:pt x="16192" y="19448"/>
                  </a:moveTo>
                  <a:lnTo>
                    <a:pt x="7196" y="14978"/>
                  </a:lnTo>
                  <a:lnTo>
                    <a:pt x="7196" y="6607"/>
                  </a:lnTo>
                  <a:lnTo>
                    <a:pt x="7599" y="6407"/>
                  </a:lnTo>
                  <a:lnTo>
                    <a:pt x="7595" y="6406"/>
                  </a:lnTo>
                  <a:lnTo>
                    <a:pt x="16192" y="2147"/>
                  </a:lnTo>
                  <a:cubicBezTo>
                    <a:pt x="16192" y="2147"/>
                    <a:pt x="16192" y="19448"/>
                    <a:pt x="16192" y="19448"/>
                  </a:cubicBezTo>
                  <a:close/>
                  <a:moveTo>
                    <a:pt x="5397" y="14648"/>
                  </a:moveTo>
                  <a:cubicBezTo>
                    <a:pt x="3344" y="14284"/>
                    <a:pt x="1799" y="12700"/>
                    <a:pt x="1799" y="10800"/>
                  </a:cubicBezTo>
                  <a:cubicBezTo>
                    <a:pt x="1799" y="8900"/>
                    <a:pt x="3344" y="7315"/>
                    <a:pt x="5397" y="6952"/>
                  </a:cubicBezTo>
                  <a:cubicBezTo>
                    <a:pt x="5397" y="6952"/>
                    <a:pt x="5397" y="14648"/>
                    <a:pt x="5397" y="14648"/>
                  </a:cubicBezTo>
                  <a:close/>
                  <a:moveTo>
                    <a:pt x="21589" y="1527"/>
                  </a:moveTo>
                  <a:cubicBezTo>
                    <a:pt x="21591" y="1508"/>
                    <a:pt x="21600" y="1490"/>
                    <a:pt x="21600" y="1472"/>
                  </a:cubicBezTo>
                  <a:cubicBezTo>
                    <a:pt x="21600" y="658"/>
                    <a:pt x="20386" y="0"/>
                    <a:pt x="18889" y="0"/>
                  </a:cubicBezTo>
                  <a:cubicBezTo>
                    <a:pt x="18123" y="0"/>
                    <a:pt x="17435" y="174"/>
                    <a:pt x="16942" y="451"/>
                  </a:cubicBezTo>
                  <a:lnTo>
                    <a:pt x="5939" y="5905"/>
                  </a:lnTo>
                  <a:cubicBezTo>
                    <a:pt x="2628" y="6050"/>
                    <a:pt x="0" y="8183"/>
                    <a:pt x="0" y="10800"/>
                  </a:cubicBezTo>
                  <a:cubicBezTo>
                    <a:pt x="0" y="13425"/>
                    <a:pt x="2646" y="15563"/>
                    <a:pt x="5972" y="15696"/>
                  </a:cubicBezTo>
                  <a:lnTo>
                    <a:pt x="16942" y="21148"/>
                  </a:lnTo>
                  <a:cubicBezTo>
                    <a:pt x="17434" y="21426"/>
                    <a:pt x="18123" y="21600"/>
                    <a:pt x="18889" y="21600"/>
                  </a:cubicBezTo>
                  <a:cubicBezTo>
                    <a:pt x="20386" y="21600"/>
                    <a:pt x="21600" y="20941"/>
                    <a:pt x="21600" y="20129"/>
                  </a:cubicBezTo>
                  <a:cubicBezTo>
                    <a:pt x="21600" y="20110"/>
                    <a:pt x="21591" y="20092"/>
                    <a:pt x="21589" y="20073"/>
                  </a:cubicBezTo>
                  <a:cubicBezTo>
                    <a:pt x="21589" y="20073"/>
                    <a:pt x="21589" y="1527"/>
                    <a:pt x="21589" y="15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Shape 2676">
              <a:extLst>
                <a:ext uri="{FF2B5EF4-FFF2-40B4-BE49-F238E27FC236}">
                  <a16:creationId xmlns:a16="http://schemas.microsoft.com/office/drawing/2014/main" id="{C06962B4-2499-4968-83DC-E0F0D012656E}"/>
                </a:ext>
              </a:extLst>
            </p:cNvPr>
            <p:cNvSpPr/>
            <p:nvPr/>
          </p:nvSpPr>
          <p:spPr bwMode="gray">
            <a:xfrm>
              <a:off x="5622368" y="3414186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50" y="20121"/>
                  </a:moveTo>
                  <a:cubicBezTo>
                    <a:pt x="14850" y="20393"/>
                    <a:pt x="14546" y="20612"/>
                    <a:pt x="14171" y="20612"/>
                  </a:cubicBezTo>
                  <a:cubicBezTo>
                    <a:pt x="13977" y="20612"/>
                    <a:pt x="13804" y="20552"/>
                    <a:pt x="13680" y="20457"/>
                  </a:cubicBezTo>
                  <a:lnTo>
                    <a:pt x="13677" y="20459"/>
                  </a:lnTo>
                  <a:lnTo>
                    <a:pt x="13500" y="20342"/>
                  </a:lnTo>
                  <a:lnTo>
                    <a:pt x="13500" y="1256"/>
                  </a:lnTo>
                  <a:lnTo>
                    <a:pt x="13698" y="1126"/>
                  </a:lnTo>
                  <a:lnTo>
                    <a:pt x="13700" y="1127"/>
                  </a:lnTo>
                  <a:cubicBezTo>
                    <a:pt x="13822" y="1042"/>
                    <a:pt x="13988" y="987"/>
                    <a:pt x="14171" y="987"/>
                  </a:cubicBezTo>
                  <a:cubicBezTo>
                    <a:pt x="14546" y="987"/>
                    <a:pt x="14850" y="1208"/>
                    <a:pt x="14850" y="1479"/>
                  </a:cubicBezTo>
                  <a:cubicBezTo>
                    <a:pt x="14850" y="1479"/>
                    <a:pt x="14850" y="20121"/>
                    <a:pt x="14850" y="20121"/>
                  </a:cubicBezTo>
                  <a:close/>
                  <a:moveTo>
                    <a:pt x="12150" y="19448"/>
                  </a:moveTo>
                  <a:lnTo>
                    <a:pt x="5400" y="14978"/>
                  </a:lnTo>
                  <a:lnTo>
                    <a:pt x="5400" y="6607"/>
                  </a:lnTo>
                  <a:lnTo>
                    <a:pt x="5702" y="6407"/>
                  </a:lnTo>
                  <a:lnTo>
                    <a:pt x="5699" y="6406"/>
                  </a:lnTo>
                  <a:lnTo>
                    <a:pt x="12150" y="2147"/>
                  </a:lnTo>
                  <a:cubicBezTo>
                    <a:pt x="12150" y="2147"/>
                    <a:pt x="12150" y="19448"/>
                    <a:pt x="12150" y="19448"/>
                  </a:cubicBezTo>
                  <a:close/>
                  <a:moveTo>
                    <a:pt x="4050" y="14648"/>
                  </a:moveTo>
                  <a:cubicBezTo>
                    <a:pt x="2509" y="14284"/>
                    <a:pt x="1350" y="12700"/>
                    <a:pt x="1350" y="10800"/>
                  </a:cubicBezTo>
                  <a:cubicBezTo>
                    <a:pt x="1350" y="8900"/>
                    <a:pt x="2509" y="7315"/>
                    <a:pt x="4050" y="6952"/>
                  </a:cubicBezTo>
                  <a:cubicBezTo>
                    <a:pt x="4050" y="6952"/>
                    <a:pt x="4050" y="14648"/>
                    <a:pt x="4050" y="14648"/>
                  </a:cubicBezTo>
                  <a:close/>
                  <a:moveTo>
                    <a:pt x="16208" y="1472"/>
                  </a:moveTo>
                  <a:cubicBezTo>
                    <a:pt x="16208" y="658"/>
                    <a:pt x="15297" y="0"/>
                    <a:pt x="14174" y="0"/>
                  </a:cubicBezTo>
                  <a:cubicBezTo>
                    <a:pt x="13599" y="0"/>
                    <a:pt x="13083" y="174"/>
                    <a:pt x="12713" y="451"/>
                  </a:cubicBezTo>
                  <a:lnTo>
                    <a:pt x="4456" y="5905"/>
                  </a:lnTo>
                  <a:cubicBezTo>
                    <a:pt x="1972" y="6050"/>
                    <a:pt x="0" y="8183"/>
                    <a:pt x="0" y="10800"/>
                  </a:cubicBezTo>
                  <a:cubicBezTo>
                    <a:pt x="0" y="13425"/>
                    <a:pt x="1985" y="15563"/>
                    <a:pt x="4481" y="15696"/>
                  </a:cubicBezTo>
                  <a:lnTo>
                    <a:pt x="12713" y="21148"/>
                  </a:lnTo>
                  <a:cubicBezTo>
                    <a:pt x="13083" y="21426"/>
                    <a:pt x="13599" y="21600"/>
                    <a:pt x="14174" y="21600"/>
                  </a:cubicBezTo>
                  <a:cubicBezTo>
                    <a:pt x="15297" y="21600"/>
                    <a:pt x="16208" y="20941"/>
                    <a:pt x="16208" y="20129"/>
                  </a:cubicBezTo>
                  <a:cubicBezTo>
                    <a:pt x="16208" y="20110"/>
                    <a:pt x="16201" y="20092"/>
                    <a:pt x="16200" y="20073"/>
                  </a:cubicBezTo>
                  <a:lnTo>
                    <a:pt x="16200" y="1527"/>
                  </a:lnTo>
                  <a:cubicBezTo>
                    <a:pt x="16201" y="1508"/>
                    <a:pt x="16208" y="1490"/>
                    <a:pt x="16208" y="1472"/>
                  </a:cubicBezTo>
                  <a:moveTo>
                    <a:pt x="18225" y="7855"/>
                  </a:moveTo>
                  <a:cubicBezTo>
                    <a:pt x="17852" y="7855"/>
                    <a:pt x="17550" y="8074"/>
                    <a:pt x="17550" y="8345"/>
                  </a:cubicBezTo>
                  <a:cubicBezTo>
                    <a:pt x="17550" y="8617"/>
                    <a:pt x="17852" y="8836"/>
                    <a:pt x="18225" y="8836"/>
                  </a:cubicBezTo>
                  <a:cubicBezTo>
                    <a:pt x="19344" y="8836"/>
                    <a:pt x="20250" y="9716"/>
                    <a:pt x="20250" y="10800"/>
                  </a:cubicBezTo>
                  <a:cubicBezTo>
                    <a:pt x="20250" y="11884"/>
                    <a:pt x="19344" y="12764"/>
                    <a:pt x="18225" y="12764"/>
                  </a:cubicBezTo>
                  <a:cubicBezTo>
                    <a:pt x="17852" y="12764"/>
                    <a:pt x="17550" y="12983"/>
                    <a:pt x="17550" y="13255"/>
                  </a:cubicBezTo>
                  <a:cubicBezTo>
                    <a:pt x="17550" y="13526"/>
                    <a:pt x="17852" y="13745"/>
                    <a:pt x="18225" y="13745"/>
                  </a:cubicBezTo>
                  <a:cubicBezTo>
                    <a:pt x="20089" y="13745"/>
                    <a:pt x="21600" y="12426"/>
                    <a:pt x="21600" y="10800"/>
                  </a:cubicBezTo>
                  <a:cubicBezTo>
                    <a:pt x="21600" y="9173"/>
                    <a:pt x="20089" y="7855"/>
                    <a:pt x="18225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Shape 2677">
              <a:extLst>
                <a:ext uri="{FF2B5EF4-FFF2-40B4-BE49-F238E27FC236}">
                  <a16:creationId xmlns:a16="http://schemas.microsoft.com/office/drawing/2014/main" id="{67B8A3B2-5D0F-4173-BB8C-AD152EEC63B4}"/>
                </a:ext>
              </a:extLst>
            </p:cNvPr>
            <p:cNvSpPr/>
            <p:nvPr/>
          </p:nvSpPr>
          <p:spPr bwMode="gray">
            <a:xfrm>
              <a:off x="6213590" y="17590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7855"/>
                  </a:moveTo>
                  <a:cubicBezTo>
                    <a:pt x="15362" y="7855"/>
                    <a:pt x="15120" y="8075"/>
                    <a:pt x="15120" y="8345"/>
                  </a:cubicBezTo>
                  <a:cubicBezTo>
                    <a:pt x="15120" y="8617"/>
                    <a:pt x="15362" y="8836"/>
                    <a:pt x="15660" y="8836"/>
                  </a:cubicBezTo>
                  <a:cubicBezTo>
                    <a:pt x="16555" y="8836"/>
                    <a:pt x="17280" y="9716"/>
                    <a:pt x="17280" y="10800"/>
                  </a:cubicBezTo>
                  <a:cubicBezTo>
                    <a:pt x="17280" y="11884"/>
                    <a:pt x="16555" y="12764"/>
                    <a:pt x="15660" y="12764"/>
                  </a:cubicBezTo>
                  <a:cubicBezTo>
                    <a:pt x="15362" y="12764"/>
                    <a:pt x="15120" y="12984"/>
                    <a:pt x="15120" y="13255"/>
                  </a:cubicBezTo>
                  <a:cubicBezTo>
                    <a:pt x="15120" y="13526"/>
                    <a:pt x="15362" y="13745"/>
                    <a:pt x="15660" y="13745"/>
                  </a:cubicBezTo>
                  <a:cubicBezTo>
                    <a:pt x="17151" y="13745"/>
                    <a:pt x="18360" y="12427"/>
                    <a:pt x="18360" y="10800"/>
                  </a:cubicBezTo>
                  <a:cubicBezTo>
                    <a:pt x="18360" y="9174"/>
                    <a:pt x="17151" y="7855"/>
                    <a:pt x="15660" y="7855"/>
                  </a:cubicBezTo>
                  <a:moveTo>
                    <a:pt x="18472" y="5611"/>
                  </a:moveTo>
                  <a:lnTo>
                    <a:pt x="18463" y="5625"/>
                  </a:lnTo>
                  <a:cubicBezTo>
                    <a:pt x="18383" y="5584"/>
                    <a:pt x="18296" y="5554"/>
                    <a:pt x="18198" y="5554"/>
                  </a:cubicBezTo>
                  <a:cubicBezTo>
                    <a:pt x="17900" y="5554"/>
                    <a:pt x="17660" y="5774"/>
                    <a:pt x="17660" y="6044"/>
                  </a:cubicBezTo>
                  <a:cubicBezTo>
                    <a:pt x="17660" y="6216"/>
                    <a:pt x="17763" y="6361"/>
                    <a:pt x="17910" y="6449"/>
                  </a:cubicBezTo>
                  <a:lnTo>
                    <a:pt x="17909" y="6451"/>
                  </a:lnTo>
                  <a:cubicBezTo>
                    <a:pt x="19460" y="7271"/>
                    <a:pt x="20520" y="8909"/>
                    <a:pt x="20520" y="10800"/>
                  </a:cubicBezTo>
                  <a:cubicBezTo>
                    <a:pt x="20520" y="12689"/>
                    <a:pt x="19463" y="14325"/>
                    <a:pt x="17915" y="15147"/>
                  </a:cubicBezTo>
                  <a:lnTo>
                    <a:pt x="17919" y="15152"/>
                  </a:lnTo>
                  <a:cubicBezTo>
                    <a:pt x="17771" y="15239"/>
                    <a:pt x="17668" y="15384"/>
                    <a:pt x="17668" y="15556"/>
                  </a:cubicBezTo>
                  <a:cubicBezTo>
                    <a:pt x="17668" y="15827"/>
                    <a:pt x="17910" y="16046"/>
                    <a:pt x="18208" y="16046"/>
                  </a:cubicBezTo>
                  <a:cubicBezTo>
                    <a:pt x="18306" y="16046"/>
                    <a:pt x="18393" y="16016"/>
                    <a:pt x="18473" y="15975"/>
                  </a:cubicBezTo>
                  <a:lnTo>
                    <a:pt x="18480" y="15985"/>
                  </a:lnTo>
                  <a:cubicBezTo>
                    <a:pt x="20338" y="14990"/>
                    <a:pt x="21600" y="13041"/>
                    <a:pt x="21600" y="10800"/>
                  </a:cubicBezTo>
                  <a:cubicBezTo>
                    <a:pt x="21600" y="8556"/>
                    <a:pt x="20334" y="6606"/>
                    <a:pt x="18472" y="5611"/>
                  </a:cubicBezTo>
                  <a:moveTo>
                    <a:pt x="11880" y="20121"/>
                  </a:moveTo>
                  <a:cubicBezTo>
                    <a:pt x="11880" y="20393"/>
                    <a:pt x="11637" y="20612"/>
                    <a:pt x="11337" y="20612"/>
                  </a:cubicBezTo>
                  <a:cubicBezTo>
                    <a:pt x="11181" y="20612"/>
                    <a:pt x="11043" y="20552"/>
                    <a:pt x="10944" y="20457"/>
                  </a:cubicBezTo>
                  <a:lnTo>
                    <a:pt x="10942" y="20459"/>
                  </a:lnTo>
                  <a:lnTo>
                    <a:pt x="10800" y="20342"/>
                  </a:lnTo>
                  <a:lnTo>
                    <a:pt x="10800" y="1256"/>
                  </a:lnTo>
                  <a:lnTo>
                    <a:pt x="10958" y="1126"/>
                  </a:lnTo>
                  <a:lnTo>
                    <a:pt x="10960" y="1127"/>
                  </a:lnTo>
                  <a:cubicBezTo>
                    <a:pt x="11058" y="1042"/>
                    <a:pt x="11190" y="988"/>
                    <a:pt x="11337" y="988"/>
                  </a:cubicBezTo>
                  <a:cubicBezTo>
                    <a:pt x="11637" y="988"/>
                    <a:pt x="11880" y="1208"/>
                    <a:pt x="11880" y="1480"/>
                  </a:cubicBezTo>
                  <a:cubicBezTo>
                    <a:pt x="11880" y="1480"/>
                    <a:pt x="11880" y="20121"/>
                    <a:pt x="11880" y="20121"/>
                  </a:cubicBezTo>
                  <a:close/>
                  <a:moveTo>
                    <a:pt x="9720" y="19448"/>
                  </a:moveTo>
                  <a:lnTo>
                    <a:pt x="4320" y="14979"/>
                  </a:lnTo>
                  <a:lnTo>
                    <a:pt x="4320" y="6607"/>
                  </a:lnTo>
                  <a:lnTo>
                    <a:pt x="4561" y="6407"/>
                  </a:lnTo>
                  <a:lnTo>
                    <a:pt x="4560" y="6406"/>
                  </a:lnTo>
                  <a:lnTo>
                    <a:pt x="9720" y="2147"/>
                  </a:lnTo>
                  <a:cubicBezTo>
                    <a:pt x="9720" y="2147"/>
                    <a:pt x="9720" y="19448"/>
                    <a:pt x="9720" y="19448"/>
                  </a:cubicBezTo>
                  <a:close/>
                  <a:moveTo>
                    <a:pt x="3240" y="14649"/>
                  </a:moveTo>
                  <a:cubicBezTo>
                    <a:pt x="2008" y="14285"/>
                    <a:pt x="1080" y="12700"/>
                    <a:pt x="1080" y="10800"/>
                  </a:cubicBezTo>
                  <a:cubicBezTo>
                    <a:pt x="1080" y="8900"/>
                    <a:pt x="2008" y="7316"/>
                    <a:pt x="3240" y="6952"/>
                  </a:cubicBezTo>
                  <a:cubicBezTo>
                    <a:pt x="3240" y="6952"/>
                    <a:pt x="3240" y="14649"/>
                    <a:pt x="3240" y="14649"/>
                  </a:cubicBezTo>
                  <a:close/>
                  <a:moveTo>
                    <a:pt x="12966" y="1472"/>
                  </a:moveTo>
                  <a:cubicBezTo>
                    <a:pt x="12966" y="659"/>
                    <a:pt x="12238" y="0"/>
                    <a:pt x="11339" y="0"/>
                  </a:cubicBezTo>
                  <a:cubicBezTo>
                    <a:pt x="10879" y="0"/>
                    <a:pt x="10466" y="175"/>
                    <a:pt x="10170" y="451"/>
                  </a:cubicBezTo>
                  <a:lnTo>
                    <a:pt x="3565" y="5905"/>
                  </a:lnTo>
                  <a:cubicBezTo>
                    <a:pt x="1578" y="6051"/>
                    <a:pt x="0" y="8183"/>
                    <a:pt x="0" y="10800"/>
                  </a:cubicBezTo>
                  <a:cubicBezTo>
                    <a:pt x="0" y="13426"/>
                    <a:pt x="1588" y="15564"/>
                    <a:pt x="3585" y="15697"/>
                  </a:cubicBezTo>
                  <a:lnTo>
                    <a:pt x="10170" y="21148"/>
                  </a:lnTo>
                  <a:cubicBezTo>
                    <a:pt x="10466" y="21426"/>
                    <a:pt x="10879" y="21600"/>
                    <a:pt x="11339" y="21600"/>
                  </a:cubicBezTo>
                  <a:cubicBezTo>
                    <a:pt x="12238" y="21600"/>
                    <a:pt x="12966" y="20941"/>
                    <a:pt x="12966" y="20129"/>
                  </a:cubicBezTo>
                  <a:cubicBezTo>
                    <a:pt x="12966" y="20110"/>
                    <a:pt x="12961" y="20093"/>
                    <a:pt x="12960" y="20074"/>
                  </a:cubicBezTo>
                  <a:lnTo>
                    <a:pt x="12960" y="1527"/>
                  </a:lnTo>
                  <a:cubicBezTo>
                    <a:pt x="12961" y="1508"/>
                    <a:pt x="12966" y="1490"/>
                    <a:pt x="12966" y="147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78">
              <a:extLst>
                <a:ext uri="{FF2B5EF4-FFF2-40B4-BE49-F238E27FC236}">
                  <a16:creationId xmlns:a16="http://schemas.microsoft.com/office/drawing/2014/main" id="{4F891DEF-E9F4-4C5D-88BA-CFE99F7EEB85}"/>
                </a:ext>
              </a:extLst>
            </p:cNvPr>
            <p:cNvSpPr/>
            <p:nvPr/>
          </p:nvSpPr>
          <p:spPr bwMode="gray">
            <a:xfrm>
              <a:off x="6752168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121"/>
                  </a:moveTo>
                  <a:cubicBezTo>
                    <a:pt x="10800" y="20393"/>
                    <a:pt x="10579" y="20612"/>
                    <a:pt x="10306" y="20612"/>
                  </a:cubicBezTo>
                  <a:cubicBezTo>
                    <a:pt x="10165" y="20612"/>
                    <a:pt x="10039" y="20552"/>
                    <a:pt x="9949" y="20457"/>
                  </a:cubicBezTo>
                  <a:lnTo>
                    <a:pt x="9947" y="20459"/>
                  </a:lnTo>
                  <a:lnTo>
                    <a:pt x="9818" y="20342"/>
                  </a:lnTo>
                  <a:lnTo>
                    <a:pt x="9818" y="1256"/>
                  </a:lnTo>
                  <a:lnTo>
                    <a:pt x="9962" y="1126"/>
                  </a:lnTo>
                  <a:lnTo>
                    <a:pt x="9963" y="1127"/>
                  </a:lnTo>
                  <a:cubicBezTo>
                    <a:pt x="10052" y="1042"/>
                    <a:pt x="10173" y="987"/>
                    <a:pt x="10306" y="987"/>
                  </a:cubicBezTo>
                  <a:cubicBezTo>
                    <a:pt x="10579" y="987"/>
                    <a:pt x="10800" y="1208"/>
                    <a:pt x="10800" y="1479"/>
                  </a:cubicBezTo>
                  <a:cubicBezTo>
                    <a:pt x="10800" y="1479"/>
                    <a:pt x="10800" y="20121"/>
                    <a:pt x="10800" y="20121"/>
                  </a:cubicBezTo>
                  <a:close/>
                  <a:moveTo>
                    <a:pt x="8836" y="19448"/>
                  </a:moveTo>
                  <a:lnTo>
                    <a:pt x="3927" y="14979"/>
                  </a:lnTo>
                  <a:lnTo>
                    <a:pt x="3927" y="6607"/>
                  </a:lnTo>
                  <a:lnTo>
                    <a:pt x="4147" y="6407"/>
                  </a:lnTo>
                  <a:lnTo>
                    <a:pt x="4145" y="6406"/>
                  </a:lnTo>
                  <a:lnTo>
                    <a:pt x="8836" y="2147"/>
                  </a:lnTo>
                  <a:cubicBezTo>
                    <a:pt x="8836" y="2147"/>
                    <a:pt x="8836" y="19448"/>
                    <a:pt x="8836" y="19448"/>
                  </a:cubicBezTo>
                  <a:close/>
                  <a:moveTo>
                    <a:pt x="2945" y="14649"/>
                  </a:moveTo>
                  <a:cubicBezTo>
                    <a:pt x="1825" y="14285"/>
                    <a:pt x="982" y="12700"/>
                    <a:pt x="982" y="10800"/>
                  </a:cubicBezTo>
                  <a:cubicBezTo>
                    <a:pt x="982" y="8900"/>
                    <a:pt x="1825" y="7315"/>
                    <a:pt x="2945" y="6952"/>
                  </a:cubicBezTo>
                  <a:cubicBezTo>
                    <a:pt x="2945" y="6952"/>
                    <a:pt x="2945" y="14649"/>
                    <a:pt x="2945" y="14649"/>
                  </a:cubicBezTo>
                  <a:close/>
                  <a:moveTo>
                    <a:pt x="11787" y="1472"/>
                  </a:moveTo>
                  <a:cubicBezTo>
                    <a:pt x="11787" y="658"/>
                    <a:pt x="11126" y="0"/>
                    <a:pt x="10308" y="0"/>
                  </a:cubicBezTo>
                  <a:cubicBezTo>
                    <a:pt x="9890" y="0"/>
                    <a:pt x="9515" y="174"/>
                    <a:pt x="9246" y="451"/>
                  </a:cubicBezTo>
                  <a:lnTo>
                    <a:pt x="3241" y="5905"/>
                  </a:lnTo>
                  <a:cubicBezTo>
                    <a:pt x="1434" y="6051"/>
                    <a:pt x="0" y="8183"/>
                    <a:pt x="0" y="10800"/>
                  </a:cubicBezTo>
                  <a:cubicBezTo>
                    <a:pt x="0" y="13425"/>
                    <a:pt x="1444" y="15563"/>
                    <a:pt x="3259" y="15696"/>
                  </a:cubicBezTo>
                  <a:lnTo>
                    <a:pt x="9245" y="21148"/>
                  </a:lnTo>
                  <a:cubicBezTo>
                    <a:pt x="9514" y="21426"/>
                    <a:pt x="9890" y="21600"/>
                    <a:pt x="10308" y="21600"/>
                  </a:cubicBezTo>
                  <a:cubicBezTo>
                    <a:pt x="11126" y="21600"/>
                    <a:pt x="11787" y="20941"/>
                    <a:pt x="11787" y="20129"/>
                  </a:cubicBezTo>
                  <a:cubicBezTo>
                    <a:pt x="11787" y="20110"/>
                    <a:pt x="11782" y="20092"/>
                    <a:pt x="11782" y="20073"/>
                  </a:cubicBezTo>
                  <a:lnTo>
                    <a:pt x="11782" y="1527"/>
                  </a:lnTo>
                  <a:cubicBezTo>
                    <a:pt x="11782" y="1508"/>
                    <a:pt x="11787" y="1490"/>
                    <a:pt x="11787" y="1472"/>
                  </a:cubicBezTo>
                  <a:moveTo>
                    <a:pt x="13255" y="7855"/>
                  </a:moveTo>
                  <a:cubicBezTo>
                    <a:pt x="12984" y="7855"/>
                    <a:pt x="12764" y="8074"/>
                    <a:pt x="12764" y="8345"/>
                  </a:cubicBezTo>
                  <a:cubicBezTo>
                    <a:pt x="12764" y="8617"/>
                    <a:pt x="12984" y="8836"/>
                    <a:pt x="13255" y="8836"/>
                  </a:cubicBezTo>
                  <a:cubicBezTo>
                    <a:pt x="14068" y="8836"/>
                    <a:pt x="14727" y="9716"/>
                    <a:pt x="14727" y="10800"/>
                  </a:cubicBezTo>
                  <a:cubicBezTo>
                    <a:pt x="14727" y="11884"/>
                    <a:pt x="14068" y="12764"/>
                    <a:pt x="13255" y="12764"/>
                  </a:cubicBezTo>
                  <a:cubicBezTo>
                    <a:pt x="12984" y="12764"/>
                    <a:pt x="12764" y="12983"/>
                    <a:pt x="12764" y="13255"/>
                  </a:cubicBezTo>
                  <a:cubicBezTo>
                    <a:pt x="12764" y="13526"/>
                    <a:pt x="12984" y="13745"/>
                    <a:pt x="13255" y="13745"/>
                  </a:cubicBezTo>
                  <a:cubicBezTo>
                    <a:pt x="14610" y="13745"/>
                    <a:pt x="15709" y="12427"/>
                    <a:pt x="15709" y="10800"/>
                  </a:cubicBezTo>
                  <a:cubicBezTo>
                    <a:pt x="15709" y="9173"/>
                    <a:pt x="14610" y="7855"/>
                    <a:pt x="13255" y="7855"/>
                  </a:cubicBezTo>
                  <a:moveTo>
                    <a:pt x="17948" y="3495"/>
                  </a:moveTo>
                  <a:lnTo>
                    <a:pt x="17938" y="3509"/>
                  </a:lnTo>
                  <a:cubicBezTo>
                    <a:pt x="17860" y="3458"/>
                    <a:pt x="17773" y="3421"/>
                    <a:pt x="17674" y="3421"/>
                  </a:cubicBezTo>
                  <a:cubicBezTo>
                    <a:pt x="17403" y="3421"/>
                    <a:pt x="17184" y="3641"/>
                    <a:pt x="17184" y="3912"/>
                  </a:cubicBezTo>
                  <a:cubicBezTo>
                    <a:pt x="17184" y="4073"/>
                    <a:pt x="17266" y="4209"/>
                    <a:pt x="17386" y="4298"/>
                  </a:cubicBezTo>
                  <a:cubicBezTo>
                    <a:pt x="19336" y="5711"/>
                    <a:pt x="20618" y="8095"/>
                    <a:pt x="20618" y="10800"/>
                  </a:cubicBezTo>
                  <a:cubicBezTo>
                    <a:pt x="20618" y="13505"/>
                    <a:pt x="19336" y="15889"/>
                    <a:pt x="17385" y="17302"/>
                  </a:cubicBezTo>
                  <a:lnTo>
                    <a:pt x="17389" y="17309"/>
                  </a:lnTo>
                  <a:cubicBezTo>
                    <a:pt x="17275" y="17398"/>
                    <a:pt x="17197" y="17531"/>
                    <a:pt x="17197" y="17688"/>
                  </a:cubicBezTo>
                  <a:cubicBezTo>
                    <a:pt x="17197" y="17959"/>
                    <a:pt x="17417" y="18179"/>
                    <a:pt x="17688" y="18179"/>
                  </a:cubicBezTo>
                  <a:cubicBezTo>
                    <a:pt x="17788" y="18179"/>
                    <a:pt x="17875" y="18142"/>
                    <a:pt x="17952" y="18091"/>
                  </a:cubicBezTo>
                  <a:lnTo>
                    <a:pt x="17957" y="18098"/>
                  </a:lnTo>
                  <a:cubicBezTo>
                    <a:pt x="17982" y="18080"/>
                    <a:pt x="18004" y="18057"/>
                    <a:pt x="18029" y="18039"/>
                  </a:cubicBezTo>
                  <a:cubicBezTo>
                    <a:pt x="18031" y="18037"/>
                    <a:pt x="18034" y="18035"/>
                    <a:pt x="18037" y="18033"/>
                  </a:cubicBezTo>
                  <a:cubicBezTo>
                    <a:pt x="20189" y="16435"/>
                    <a:pt x="21600" y="13794"/>
                    <a:pt x="21600" y="10800"/>
                  </a:cubicBezTo>
                  <a:cubicBezTo>
                    <a:pt x="21600" y="7763"/>
                    <a:pt x="20152" y="5085"/>
                    <a:pt x="17948" y="3495"/>
                  </a:cubicBezTo>
                  <a:moveTo>
                    <a:pt x="15811" y="5611"/>
                  </a:moveTo>
                  <a:lnTo>
                    <a:pt x="15802" y="5625"/>
                  </a:lnTo>
                  <a:cubicBezTo>
                    <a:pt x="15730" y="5584"/>
                    <a:pt x="15651" y="5553"/>
                    <a:pt x="15562" y="5553"/>
                  </a:cubicBezTo>
                  <a:cubicBezTo>
                    <a:pt x="15291" y="5553"/>
                    <a:pt x="15072" y="5773"/>
                    <a:pt x="15072" y="6044"/>
                  </a:cubicBezTo>
                  <a:cubicBezTo>
                    <a:pt x="15072" y="6216"/>
                    <a:pt x="15166" y="6361"/>
                    <a:pt x="15300" y="6448"/>
                  </a:cubicBezTo>
                  <a:lnTo>
                    <a:pt x="15299" y="6450"/>
                  </a:lnTo>
                  <a:cubicBezTo>
                    <a:pt x="16709" y="7270"/>
                    <a:pt x="17673" y="8909"/>
                    <a:pt x="17673" y="10800"/>
                  </a:cubicBezTo>
                  <a:cubicBezTo>
                    <a:pt x="17673" y="12688"/>
                    <a:pt x="16712" y="14325"/>
                    <a:pt x="15305" y="15146"/>
                  </a:cubicBezTo>
                  <a:lnTo>
                    <a:pt x="15309" y="15151"/>
                  </a:lnTo>
                  <a:cubicBezTo>
                    <a:pt x="15174" y="15239"/>
                    <a:pt x="15080" y="15384"/>
                    <a:pt x="15080" y="15555"/>
                  </a:cubicBezTo>
                  <a:cubicBezTo>
                    <a:pt x="15080" y="15827"/>
                    <a:pt x="15300" y="16046"/>
                    <a:pt x="15571" y="16046"/>
                  </a:cubicBezTo>
                  <a:cubicBezTo>
                    <a:pt x="15660" y="16046"/>
                    <a:pt x="15740" y="16016"/>
                    <a:pt x="15812" y="15975"/>
                  </a:cubicBezTo>
                  <a:lnTo>
                    <a:pt x="15819" y="15985"/>
                  </a:lnTo>
                  <a:cubicBezTo>
                    <a:pt x="17507" y="14989"/>
                    <a:pt x="18655" y="13041"/>
                    <a:pt x="18655" y="10800"/>
                  </a:cubicBezTo>
                  <a:cubicBezTo>
                    <a:pt x="18655" y="8556"/>
                    <a:pt x="17504" y="6606"/>
                    <a:pt x="15811" y="561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Shape 2679">
              <a:extLst>
                <a:ext uri="{FF2B5EF4-FFF2-40B4-BE49-F238E27FC236}">
                  <a16:creationId xmlns:a16="http://schemas.microsoft.com/office/drawing/2014/main" id="{AB7EE7B7-CC46-4725-84BA-743FB67DB8CB}"/>
                </a:ext>
              </a:extLst>
            </p:cNvPr>
            <p:cNvSpPr/>
            <p:nvPr/>
          </p:nvSpPr>
          <p:spPr bwMode="gray">
            <a:xfrm>
              <a:off x="7303882" y="1772181"/>
              <a:ext cx="288993" cy="2627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7182" y="13452"/>
                  </a:moveTo>
                  <a:cubicBezTo>
                    <a:pt x="16640" y="13452"/>
                    <a:pt x="16200" y="13935"/>
                    <a:pt x="16200" y="14529"/>
                  </a:cubicBezTo>
                  <a:cubicBezTo>
                    <a:pt x="16200" y="15123"/>
                    <a:pt x="16640" y="15605"/>
                    <a:pt x="17182" y="15605"/>
                  </a:cubicBezTo>
                  <a:cubicBezTo>
                    <a:pt x="17724" y="15605"/>
                    <a:pt x="18164" y="15123"/>
                    <a:pt x="18164" y="14529"/>
                  </a:cubicBezTo>
                  <a:cubicBezTo>
                    <a:pt x="18164" y="13935"/>
                    <a:pt x="17724" y="13452"/>
                    <a:pt x="17182" y="13452"/>
                  </a:cubicBezTo>
                  <a:moveTo>
                    <a:pt x="15218" y="15605"/>
                  </a:moveTo>
                  <a:cubicBezTo>
                    <a:pt x="14676" y="15605"/>
                    <a:pt x="14236" y="16087"/>
                    <a:pt x="14236" y="16681"/>
                  </a:cubicBezTo>
                  <a:cubicBezTo>
                    <a:pt x="14236" y="17276"/>
                    <a:pt x="14676" y="17757"/>
                    <a:pt x="15218" y="17757"/>
                  </a:cubicBezTo>
                  <a:cubicBezTo>
                    <a:pt x="15760" y="17757"/>
                    <a:pt x="16200" y="17276"/>
                    <a:pt x="16200" y="16681"/>
                  </a:cubicBezTo>
                  <a:cubicBezTo>
                    <a:pt x="16200" y="16087"/>
                    <a:pt x="15760" y="15605"/>
                    <a:pt x="15218" y="15605"/>
                  </a:cubicBezTo>
                  <a:moveTo>
                    <a:pt x="16200" y="20448"/>
                  </a:moveTo>
                  <a:cubicBezTo>
                    <a:pt x="14668" y="20448"/>
                    <a:pt x="13319" y="19593"/>
                    <a:pt x="12527" y="18295"/>
                  </a:cubicBezTo>
                  <a:lnTo>
                    <a:pt x="9073" y="18295"/>
                  </a:lnTo>
                  <a:cubicBezTo>
                    <a:pt x="8281" y="19593"/>
                    <a:pt x="6932" y="20448"/>
                    <a:pt x="5400" y="20448"/>
                  </a:cubicBezTo>
                  <a:cubicBezTo>
                    <a:pt x="2960" y="20448"/>
                    <a:pt x="982" y="18280"/>
                    <a:pt x="982" y="15605"/>
                  </a:cubicBezTo>
                  <a:cubicBezTo>
                    <a:pt x="982" y="12930"/>
                    <a:pt x="2960" y="10762"/>
                    <a:pt x="5400" y="10762"/>
                  </a:cubicBezTo>
                  <a:lnTo>
                    <a:pt x="16200" y="10762"/>
                  </a:lnTo>
                  <a:cubicBezTo>
                    <a:pt x="18640" y="10762"/>
                    <a:pt x="20618" y="12930"/>
                    <a:pt x="20618" y="15605"/>
                  </a:cubicBezTo>
                  <a:cubicBezTo>
                    <a:pt x="20618" y="18280"/>
                    <a:pt x="18640" y="20448"/>
                    <a:pt x="16200" y="20448"/>
                  </a:cubicBezTo>
                  <a:moveTo>
                    <a:pt x="16200" y="9686"/>
                  </a:moveTo>
                  <a:lnTo>
                    <a:pt x="11319" y="9686"/>
                  </a:lnTo>
                  <a:cubicBezTo>
                    <a:pt x="10837" y="8713"/>
                    <a:pt x="11227" y="8217"/>
                    <a:pt x="11943" y="7448"/>
                  </a:cubicBezTo>
                  <a:cubicBezTo>
                    <a:pt x="12528" y="6820"/>
                    <a:pt x="13255" y="6038"/>
                    <a:pt x="13255" y="4843"/>
                  </a:cubicBezTo>
                  <a:cubicBezTo>
                    <a:pt x="13255" y="1854"/>
                    <a:pt x="10169" y="128"/>
                    <a:pt x="10038" y="56"/>
                  </a:cubicBezTo>
                  <a:cubicBezTo>
                    <a:pt x="9796" y="-76"/>
                    <a:pt x="9501" y="32"/>
                    <a:pt x="9379" y="297"/>
                  </a:cubicBezTo>
                  <a:cubicBezTo>
                    <a:pt x="9258" y="562"/>
                    <a:pt x="9356" y="886"/>
                    <a:pt x="9598" y="1019"/>
                  </a:cubicBezTo>
                  <a:cubicBezTo>
                    <a:pt x="9625" y="1034"/>
                    <a:pt x="12273" y="2523"/>
                    <a:pt x="12273" y="4843"/>
                  </a:cubicBezTo>
                  <a:cubicBezTo>
                    <a:pt x="12273" y="5586"/>
                    <a:pt x="11779" y="6117"/>
                    <a:pt x="11255" y="6679"/>
                  </a:cubicBezTo>
                  <a:cubicBezTo>
                    <a:pt x="10584" y="7401"/>
                    <a:pt x="9775" y="8296"/>
                    <a:pt x="10277" y="9686"/>
                  </a:cubicBezTo>
                  <a:lnTo>
                    <a:pt x="5400" y="9686"/>
                  </a:lnTo>
                  <a:cubicBezTo>
                    <a:pt x="2418" y="9686"/>
                    <a:pt x="0" y="12336"/>
                    <a:pt x="0" y="15605"/>
                  </a:cubicBezTo>
                  <a:cubicBezTo>
                    <a:pt x="0" y="18874"/>
                    <a:pt x="2418" y="21524"/>
                    <a:pt x="5400" y="21524"/>
                  </a:cubicBezTo>
                  <a:cubicBezTo>
                    <a:pt x="7077" y="21524"/>
                    <a:pt x="8575" y="20686"/>
                    <a:pt x="9565" y="19372"/>
                  </a:cubicBezTo>
                  <a:lnTo>
                    <a:pt x="12035" y="19372"/>
                  </a:lnTo>
                  <a:cubicBezTo>
                    <a:pt x="13025" y="20686"/>
                    <a:pt x="14523" y="21524"/>
                    <a:pt x="16200" y="21524"/>
                  </a:cubicBezTo>
                  <a:cubicBezTo>
                    <a:pt x="19182" y="21524"/>
                    <a:pt x="21600" y="18874"/>
                    <a:pt x="21600" y="15605"/>
                  </a:cubicBezTo>
                  <a:cubicBezTo>
                    <a:pt x="21600" y="12336"/>
                    <a:pt x="19182" y="9686"/>
                    <a:pt x="16200" y="9686"/>
                  </a:cubicBezTo>
                  <a:moveTo>
                    <a:pt x="6873" y="15067"/>
                  </a:moveTo>
                  <a:lnTo>
                    <a:pt x="5891" y="15067"/>
                  </a:lnTo>
                  <a:lnTo>
                    <a:pt x="5891" y="13990"/>
                  </a:lnTo>
                  <a:cubicBezTo>
                    <a:pt x="5891" y="13694"/>
                    <a:pt x="5671" y="13452"/>
                    <a:pt x="5400" y="13452"/>
                  </a:cubicBezTo>
                  <a:cubicBezTo>
                    <a:pt x="5129" y="13452"/>
                    <a:pt x="4909" y="13694"/>
                    <a:pt x="4909" y="13990"/>
                  </a:cubicBezTo>
                  <a:lnTo>
                    <a:pt x="4909" y="15067"/>
                  </a:lnTo>
                  <a:lnTo>
                    <a:pt x="3927" y="15067"/>
                  </a:lnTo>
                  <a:cubicBezTo>
                    <a:pt x="3656" y="15067"/>
                    <a:pt x="3436" y="15307"/>
                    <a:pt x="3436" y="15605"/>
                  </a:cubicBezTo>
                  <a:cubicBezTo>
                    <a:pt x="3436" y="15903"/>
                    <a:pt x="3656" y="16143"/>
                    <a:pt x="3927" y="16143"/>
                  </a:cubicBezTo>
                  <a:lnTo>
                    <a:pt x="4909" y="16143"/>
                  </a:lnTo>
                  <a:lnTo>
                    <a:pt x="4909" y="17219"/>
                  </a:lnTo>
                  <a:cubicBezTo>
                    <a:pt x="4909" y="17517"/>
                    <a:pt x="5129" y="17757"/>
                    <a:pt x="5400" y="17757"/>
                  </a:cubicBezTo>
                  <a:cubicBezTo>
                    <a:pt x="5671" y="17757"/>
                    <a:pt x="5891" y="17517"/>
                    <a:pt x="5891" y="17219"/>
                  </a:cubicBezTo>
                  <a:lnTo>
                    <a:pt x="5891" y="16143"/>
                  </a:lnTo>
                  <a:lnTo>
                    <a:pt x="6873" y="16143"/>
                  </a:lnTo>
                  <a:cubicBezTo>
                    <a:pt x="7144" y="16143"/>
                    <a:pt x="7364" y="15903"/>
                    <a:pt x="7364" y="15605"/>
                  </a:cubicBezTo>
                  <a:cubicBezTo>
                    <a:pt x="7364" y="15307"/>
                    <a:pt x="7144" y="15067"/>
                    <a:pt x="6873" y="15067"/>
                  </a:cubicBezTo>
                  <a:moveTo>
                    <a:pt x="12273" y="12376"/>
                  </a:moveTo>
                  <a:cubicBezTo>
                    <a:pt x="12002" y="12376"/>
                    <a:pt x="11782" y="12617"/>
                    <a:pt x="11782" y="12914"/>
                  </a:cubicBezTo>
                  <a:cubicBezTo>
                    <a:pt x="11782" y="13212"/>
                    <a:pt x="12002" y="13452"/>
                    <a:pt x="12273" y="13452"/>
                  </a:cubicBezTo>
                  <a:cubicBezTo>
                    <a:pt x="12544" y="13452"/>
                    <a:pt x="12764" y="13212"/>
                    <a:pt x="12764" y="12914"/>
                  </a:cubicBezTo>
                  <a:cubicBezTo>
                    <a:pt x="12764" y="12617"/>
                    <a:pt x="12544" y="12376"/>
                    <a:pt x="12273" y="12376"/>
                  </a:cubicBezTo>
                  <a:moveTo>
                    <a:pt x="9327" y="12376"/>
                  </a:moveTo>
                  <a:cubicBezTo>
                    <a:pt x="9056" y="12376"/>
                    <a:pt x="8836" y="12617"/>
                    <a:pt x="8836" y="12914"/>
                  </a:cubicBezTo>
                  <a:cubicBezTo>
                    <a:pt x="8836" y="13212"/>
                    <a:pt x="9056" y="13452"/>
                    <a:pt x="9327" y="13452"/>
                  </a:cubicBezTo>
                  <a:cubicBezTo>
                    <a:pt x="9598" y="13452"/>
                    <a:pt x="9818" y="13212"/>
                    <a:pt x="9818" y="12914"/>
                  </a:cubicBezTo>
                  <a:cubicBezTo>
                    <a:pt x="9818" y="12617"/>
                    <a:pt x="9598" y="12376"/>
                    <a:pt x="9327" y="12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Shape 2680">
              <a:extLst>
                <a:ext uri="{FF2B5EF4-FFF2-40B4-BE49-F238E27FC236}">
                  <a16:creationId xmlns:a16="http://schemas.microsoft.com/office/drawing/2014/main" id="{D0B71B89-64C6-4457-99ED-86451A899137}"/>
                </a:ext>
              </a:extLst>
            </p:cNvPr>
            <p:cNvSpPr/>
            <p:nvPr/>
          </p:nvSpPr>
          <p:spPr bwMode="gray">
            <a:xfrm>
              <a:off x="7855595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55" y="15709"/>
                  </a:moveTo>
                  <a:lnTo>
                    <a:pt x="10309" y="15709"/>
                  </a:lnTo>
                  <a:cubicBezTo>
                    <a:pt x="10038" y="15709"/>
                    <a:pt x="9818" y="15929"/>
                    <a:pt x="9818" y="16200"/>
                  </a:cubicBezTo>
                  <a:cubicBezTo>
                    <a:pt x="9818" y="16472"/>
                    <a:pt x="10038" y="16691"/>
                    <a:pt x="10309" y="16691"/>
                  </a:cubicBezTo>
                  <a:lnTo>
                    <a:pt x="13255" y="16691"/>
                  </a:lnTo>
                  <a:cubicBezTo>
                    <a:pt x="13525" y="16691"/>
                    <a:pt x="13745" y="16472"/>
                    <a:pt x="13745" y="16200"/>
                  </a:cubicBezTo>
                  <a:cubicBezTo>
                    <a:pt x="13745" y="15929"/>
                    <a:pt x="13525" y="15709"/>
                    <a:pt x="13255" y="15709"/>
                  </a:cubicBezTo>
                  <a:moveTo>
                    <a:pt x="9818" y="12273"/>
                  </a:moveTo>
                  <a:cubicBezTo>
                    <a:pt x="9818" y="12112"/>
                    <a:pt x="9736" y="11976"/>
                    <a:pt x="9617" y="11887"/>
                  </a:cubicBezTo>
                  <a:lnTo>
                    <a:pt x="9622" y="11880"/>
                  </a:lnTo>
                  <a:lnTo>
                    <a:pt x="5695" y="8935"/>
                  </a:lnTo>
                  <a:lnTo>
                    <a:pt x="5690" y="8941"/>
                  </a:lnTo>
                  <a:cubicBezTo>
                    <a:pt x="5608" y="8880"/>
                    <a:pt x="5511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88"/>
                    <a:pt x="4991" y="9624"/>
                    <a:pt x="5110" y="9713"/>
                  </a:cubicBezTo>
                  <a:lnTo>
                    <a:pt x="5105" y="9720"/>
                  </a:lnTo>
                  <a:lnTo>
                    <a:pt x="8509" y="12273"/>
                  </a:lnTo>
                  <a:lnTo>
                    <a:pt x="5105" y="14826"/>
                  </a:lnTo>
                  <a:lnTo>
                    <a:pt x="5110" y="14832"/>
                  </a:lnTo>
                  <a:cubicBezTo>
                    <a:pt x="4991" y="14922"/>
                    <a:pt x="4909" y="15058"/>
                    <a:pt x="4909" y="15218"/>
                  </a:cubicBezTo>
                  <a:cubicBezTo>
                    <a:pt x="4909" y="15490"/>
                    <a:pt x="5129" y="15709"/>
                    <a:pt x="5400" y="15709"/>
                  </a:cubicBezTo>
                  <a:cubicBezTo>
                    <a:pt x="5511" y="15709"/>
                    <a:pt x="5607" y="15666"/>
                    <a:pt x="5690" y="15604"/>
                  </a:cubicBezTo>
                  <a:lnTo>
                    <a:pt x="5695" y="15611"/>
                  </a:lnTo>
                  <a:lnTo>
                    <a:pt x="9622" y="12666"/>
                  </a:lnTo>
                  <a:lnTo>
                    <a:pt x="9617" y="12659"/>
                  </a:lnTo>
                  <a:cubicBezTo>
                    <a:pt x="9736" y="12569"/>
                    <a:pt x="9818" y="12433"/>
                    <a:pt x="9818" y="12273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Shape 2681">
              <a:extLst>
                <a:ext uri="{FF2B5EF4-FFF2-40B4-BE49-F238E27FC236}">
                  <a16:creationId xmlns:a16="http://schemas.microsoft.com/office/drawing/2014/main" id="{065E3362-1E7C-466D-89D0-20D0C95A6CDB}"/>
                </a:ext>
              </a:extLst>
            </p:cNvPr>
            <p:cNvSpPr/>
            <p:nvPr/>
          </p:nvSpPr>
          <p:spPr bwMode="gray">
            <a:xfrm>
              <a:off x="8407309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82" y="19636"/>
                  </a:moveTo>
                  <a:lnTo>
                    <a:pt x="11291" y="19636"/>
                  </a:lnTo>
                  <a:cubicBezTo>
                    <a:pt x="11562" y="19636"/>
                    <a:pt x="11782" y="19416"/>
                    <a:pt x="11782" y="19146"/>
                  </a:cubicBezTo>
                  <a:cubicBezTo>
                    <a:pt x="11782" y="18874"/>
                    <a:pt x="11562" y="18655"/>
                    <a:pt x="11291" y="18655"/>
                  </a:cubicBezTo>
                  <a:lnTo>
                    <a:pt x="6382" y="18655"/>
                  </a:lnTo>
                  <a:cubicBezTo>
                    <a:pt x="6111" y="18655"/>
                    <a:pt x="5891" y="18874"/>
                    <a:pt x="5891" y="19146"/>
                  </a:cubicBezTo>
                  <a:cubicBezTo>
                    <a:pt x="5891" y="19416"/>
                    <a:pt x="6111" y="19636"/>
                    <a:pt x="6382" y="196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lnTo>
                    <a:pt x="20618" y="17673"/>
                  </a:ln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2822" y="10800"/>
                  </a:moveTo>
                  <a:lnTo>
                    <a:pt x="18778" y="10800"/>
                  </a:lnTo>
                  <a:lnTo>
                    <a:pt x="20461" y="16691"/>
                  </a:lnTo>
                  <a:lnTo>
                    <a:pt x="1139" y="16691"/>
                  </a:lnTo>
                  <a:cubicBezTo>
                    <a:pt x="1139" y="16691"/>
                    <a:pt x="2822" y="10800"/>
                    <a:pt x="2822" y="10800"/>
                  </a:cubicBezTo>
                  <a:close/>
                  <a:moveTo>
                    <a:pt x="21600" y="17182"/>
                  </a:moveTo>
                  <a:cubicBezTo>
                    <a:pt x="21600" y="17118"/>
                    <a:pt x="21586" y="17057"/>
                    <a:pt x="21563" y="17000"/>
                  </a:cubicBezTo>
                  <a:lnTo>
                    <a:pt x="21565" y="17000"/>
                  </a:lnTo>
                  <a:lnTo>
                    <a:pt x="19602" y="10127"/>
                  </a:lnTo>
                  <a:lnTo>
                    <a:pt x="19599" y="10128"/>
                  </a:lnTo>
                  <a:cubicBezTo>
                    <a:pt x="19527" y="9947"/>
                    <a:pt x="19352" y="9818"/>
                    <a:pt x="19145" y="9818"/>
                  </a:cubicBezTo>
                  <a:lnTo>
                    <a:pt x="18164" y="9818"/>
                  </a:lnTo>
                  <a:lnTo>
                    <a:pt x="18164" y="3927"/>
                  </a:lnTo>
                  <a:cubicBezTo>
                    <a:pt x="18164" y="3656"/>
                    <a:pt x="17944" y="3436"/>
                    <a:pt x="17673" y="3436"/>
                  </a:cubicBezTo>
                  <a:cubicBezTo>
                    <a:pt x="17402" y="3436"/>
                    <a:pt x="17182" y="3656"/>
                    <a:pt x="17182" y="3927"/>
                  </a:cubicBezTo>
                  <a:lnTo>
                    <a:pt x="17182" y="9818"/>
                  </a:lnTo>
                  <a:lnTo>
                    <a:pt x="4418" y="9818"/>
                  </a:lnTo>
                  <a:lnTo>
                    <a:pt x="4418" y="3927"/>
                  </a:lnTo>
                  <a:cubicBezTo>
                    <a:pt x="4418" y="3656"/>
                    <a:pt x="4198" y="3436"/>
                    <a:pt x="3927" y="3436"/>
                  </a:cubicBezTo>
                  <a:cubicBezTo>
                    <a:pt x="3656" y="3436"/>
                    <a:pt x="3436" y="3656"/>
                    <a:pt x="3436" y="3927"/>
                  </a:cubicBezTo>
                  <a:lnTo>
                    <a:pt x="3436" y="9818"/>
                  </a:lnTo>
                  <a:lnTo>
                    <a:pt x="2455" y="9818"/>
                  </a:lnTo>
                  <a:cubicBezTo>
                    <a:pt x="2248" y="9818"/>
                    <a:pt x="2073" y="9947"/>
                    <a:pt x="2001" y="10128"/>
                  </a:cubicBezTo>
                  <a:lnTo>
                    <a:pt x="1998" y="10127"/>
                  </a:lnTo>
                  <a:lnTo>
                    <a:pt x="35" y="17000"/>
                  </a:lnTo>
                  <a:lnTo>
                    <a:pt x="37" y="17001"/>
                  </a:lnTo>
                  <a:cubicBezTo>
                    <a:pt x="14" y="17057"/>
                    <a:pt x="0" y="17118"/>
                    <a:pt x="0" y="17182"/>
                  </a:cubicBezTo>
                  <a:lnTo>
                    <a:pt x="0" y="18164"/>
                  </a:lnTo>
                  <a:lnTo>
                    <a:pt x="68" y="18164"/>
                  </a:lnTo>
                  <a:cubicBezTo>
                    <a:pt x="25" y="18320"/>
                    <a:pt x="0" y="18484"/>
                    <a:pt x="0" y="186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8655"/>
                  </a:lnTo>
                  <a:cubicBezTo>
                    <a:pt x="21600" y="18484"/>
                    <a:pt x="21575" y="18320"/>
                    <a:pt x="21532" y="18164"/>
                  </a:cubicBezTo>
                  <a:lnTo>
                    <a:pt x="21600" y="18164"/>
                  </a:lnTo>
                  <a:cubicBezTo>
                    <a:pt x="21600" y="18164"/>
                    <a:pt x="21600" y="17182"/>
                    <a:pt x="21600" y="17182"/>
                  </a:cubicBezTo>
                  <a:close/>
                  <a:moveTo>
                    <a:pt x="4418" y="19636"/>
                  </a:moveTo>
                  <a:cubicBezTo>
                    <a:pt x="4689" y="19636"/>
                    <a:pt x="4909" y="19416"/>
                    <a:pt x="4909" y="19146"/>
                  </a:cubicBezTo>
                  <a:cubicBezTo>
                    <a:pt x="4909" y="18874"/>
                    <a:pt x="4689" y="18655"/>
                    <a:pt x="4418" y="18655"/>
                  </a:cubicBezTo>
                  <a:cubicBezTo>
                    <a:pt x="4147" y="18655"/>
                    <a:pt x="3927" y="18874"/>
                    <a:pt x="3927" y="19146"/>
                  </a:cubicBezTo>
                  <a:cubicBezTo>
                    <a:pt x="3927" y="19416"/>
                    <a:pt x="4147" y="19636"/>
                    <a:pt x="4418" y="19636"/>
                  </a:cubicBezTo>
                  <a:moveTo>
                    <a:pt x="2455" y="19636"/>
                  </a:moveTo>
                  <a:cubicBezTo>
                    <a:pt x="2725" y="19636"/>
                    <a:pt x="2945" y="19416"/>
                    <a:pt x="2945" y="19146"/>
                  </a:cubicBezTo>
                  <a:cubicBezTo>
                    <a:pt x="2945" y="18874"/>
                    <a:pt x="2725" y="18655"/>
                    <a:pt x="2455" y="18655"/>
                  </a:cubicBezTo>
                  <a:cubicBezTo>
                    <a:pt x="2184" y="18655"/>
                    <a:pt x="1964" y="18874"/>
                    <a:pt x="1964" y="19146"/>
                  </a:cubicBezTo>
                  <a:cubicBezTo>
                    <a:pt x="1964" y="19416"/>
                    <a:pt x="2184" y="19636"/>
                    <a:pt x="2455" y="19636"/>
                  </a:cubicBezTo>
                  <a:moveTo>
                    <a:pt x="12003" y="3573"/>
                  </a:moveTo>
                  <a:lnTo>
                    <a:pt x="12664" y="2838"/>
                  </a:lnTo>
                  <a:cubicBezTo>
                    <a:pt x="12214" y="2308"/>
                    <a:pt x="11550" y="1964"/>
                    <a:pt x="10800" y="1964"/>
                  </a:cubicBezTo>
                  <a:cubicBezTo>
                    <a:pt x="9997" y="1964"/>
                    <a:pt x="9290" y="2355"/>
                    <a:pt x="8842" y="2952"/>
                  </a:cubicBezTo>
                  <a:lnTo>
                    <a:pt x="9546" y="3655"/>
                  </a:lnTo>
                  <a:cubicBezTo>
                    <a:pt x="9805" y="3231"/>
                    <a:pt x="10267" y="2945"/>
                    <a:pt x="10800" y="2945"/>
                  </a:cubicBezTo>
                  <a:cubicBezTo>
                    <a:pt x="11298" y="2945"/>
                    <a:pt x="11736" y="3194"/>
                    <a:pt x="12003" y="3573"/>
                  </a:cubicBezTo>
                  <a:moveTo>
                    <a:pt x="10309" y="4418"/>
                  </a:move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cubicBezTo>
                    <a:pt x="11291" y="4147"/>
                    <a:pt x="11071" y="3927"/>
                    <a:pt x="10800" y="3927"/>
                  </a:cubicBezTo>
                  <a:cubicBezTo>
                    <a:pt x="10529" y="3927"/>
                    <a:pt x="10309" y="4147"/>
                    <a:pt x="10309" y="4418"/>
                  </a:cubicBezTo>
                  <a:moveTo>
                    <a:pt x="10800" y="982"/>
                  </a:moveTo>
                  <a:cubicBezTo>
                    <a:pt x="11802" y="982"/>
                    <a:pt x="12701" y="1414"/>
                    <a:pt x="13330" y="2098"/>
                  </a:cubicBezTo>
                  <a:lnTo>
                    <a:pt x="13989" y="1366"/>
                  </a:lnTo>
                  <a:cubicBezTo>
                    <a:pt x="13185" y="525"/>
                    <a:pt x="12055" y="0"/>
                    <a:pt x="10800" y="0"/>
                  </a:cubicBezTo>
                  <a:cubicBezTo>
                    <a:pt x="9455" y="0"/>
                    <a:pt x="8252" y="603"/>
                    <a:pt x="7442" y="1551"/>
                  </a:cubicBezTo>
                  <a:lnTo>
                    <a:pt x="8138" y="2246"/>
                  </a:lnTo>
                  <a:cubicBezTo>
                    <a:pt x="8768" y="1475"/>
                    <a:pt x="9726" y="982"/>
                    <a:pt x="10800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Shape 2682">
              <a:extLst>
                <a:ext uri="{FF2B5EF4-FFF2-40B4-BE49-F238E27FC236}">
                  <a16:creationId xmlns:a16="http://schemas.microsoft.com/office/drawing/2014/main" id="{6A2A021A-2DFF-4FB9-9A35-67956E3FFD44}"/>
                </a:ext>
              </a:extLst>
            </p:cNvPr>
            <p:cNvSpPr/>
            <p:nvPr/>
          </p:nvSpPr>
          <p:spPr bwMode="gray">
            <a:xfrm>
              <a:off x="8959022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6691"/>
                  </a:moveTo>
                  <a:cubicBezTo>
                    <a:pt x="20618" y="17775"/>
                    <a:pt x="19739" y="18655"/>
                    <a:pt x="18655" y="18655"/>
                  </a:cubicBezTo>
                  <a:lnTo>
                    <a:pt x="17673" y="18655"/>
                  </a:lnTo>
                  <a:lnTo>
                    <a:pt x="17673" y="14727"/>
                  </a:lnTo>
                  <a:cubicBezTo>
                    <a:pt x="17673" y="14186"/>
                    <a:pt x="17233" y="13745"/>
                    <a:pt x="16691" y="13745"/>
                  </a:cubicBezTo>
                  <a:lnTo>
                    <a:pt x="4909" y="13745"/>
                  </a:lnTo>
                  <a:cubicBezTo>
                    <a:pt x="4367" y="13745"/>
                    <a:pt x="3927" y="14186"/>
                    <a:pt x="3927" y="14727"/>
                  </a:cubicBezTo>
                  <a:lnTo>
                    <a:pt x="3927" y="18655"/>
                  </a:lnTo>
                  <a:lnTo>
                    <a:pt x="2945" y="18655"/>
                  </a:lnTo>
                  <a:cubicBezTo>
                    <a:pt x="1861" y="18655"/>
                    <a:pt x="982" y="17775"/>
                    <a:pt x="982" y="16691"/>
                  </a:cubicBezTo>
                  <a:lnTo>
                    <a:pt x="982" y="8836"/>
                  </a:lnTo>
                  <a:cubicBezTo>
                    <a:pt x="982" y="7752"/>
                    <a:pt x="1861" y="6873"/>
                    <a:pt x="2945" y="6873"/>
                  </a:cubicBezTo>
                  <a:lnTo>
                    <a:pt x="18655" y="6873"/>
                  </a:lnTo>
                  <a:cubicBezTo>
                    <a:pt x="19739" y="6873"/>
                    <a:pt x="20618" y="7752"/>
                    <a:pt x="20618" y="8836"/>
                  </a:cubicBezTo>
                  <a:cubicBezTo>
                    <a:pt x="20618" y="8836"/>
                    <a:pt x="20618" y="16691"/>
                    <a:pt x="20618" y="16691"/>
                  </a:cubicBezTo>
                  <a:close/>
                  <a:moveTo>
                    <a:pt x="16691" y="20618"/>
                  </a:moveTo>
                  <a:lnTo>
                    <a:pt x="4909" y="20618"/>
                  </a:lnTo>
                  <a:lnTo>
                    <a:pt x="4909" y="14727"/>
                  </a:lnTo>
                  <a:lnTo>
                    <a:pt x="16691" y="14727"/>
                  </a:lnTo>
                  <a:cubicBezTo>
                    <a:pt x="16691" y="14727"/>
                    <a:pt x="16691" y="20618"/>
                    <a:pt x="16691" y="20618"/>
                  </a:cubicBezTo>
                  <a:close/>
                  <a:moveTo>
                    <a:pt x="4909" y="982"/>
                  </a:moveTo>
                  <a:lnTo>
                    <a:pt x="16691" y="982"/>
                  </a:lnTo>
                  <a:lnTo>
                    <a:pt x="16691" y="5891"/>
                  </a:lnTo>
                  <a:lnTo>
                    <a:pt x="4909" y="5891"/>
                  </a:lnTo>
                  <a:cubicBezTo>
                    <a:pt x="4909" y="5891"/>
                    <a:pt x="4909" y="982"/>
                    <a:pt x="4909" y="982"/>
                  </a:cubicBezTo>
                  <a:close/>
                  <a:moveTo>
                    <a:pt x="18655" y="5891"/>
                  </a:moveTo>
                  <a:lnTo>
                    <a:pt x="17673" y="5891"/>
                  </a:lnTo>
                  <a:lnTo>
                    <a:pt x="17673" y="982"/>
                  </a:lnTo>
                  <a:cubicBezTo>
                    <a:pt x="17673" y="440"/>
                    <a:pt x="17233" y="0"/>
                    <a:pt x="16691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5891"/>
                  </a:lnTo>
                  <a:lnTo>
                    <a:pt x="2945" y="5891"/>
                  </a:lnTo>
                  <a:cubicBezTo>
                    <a:pt x="1318" y="5891"/>
                    <a:pt x="0" y="7210"/>
                    <a:pt x="0" y="8836"/>
                  </a:cubicBezTo>
                  <a:lnTo>
                    <a:pt x="0" y="16691"/>
                  </a:lnTo>
                  <a:cubicBezTo>
                    <a:pt x="0" y="18318"/>
                    <a:pt x="1318" y="19636"/>
                    <a:pt x="2945" y="19636"/>
                  </a:cubicBezTo>
                  <a:lnTo>
                    <a:pt x="3927" y="19636"/>
                  </a:lnTo>
                  <a:lnTo>
                    <a:pt x="3927" y="20618"/>
                  </a:lnTo>
                  <a:cubicBezTo>
                    <a:pt x="3927" y="21161"/>
                    <a:pt x="4367" y="21600"/>
                    <a:pt x="4909" y="21600"/>
                  </a:cubicBezTo>
                  <a:lnTo>
                    <a:pt x="16691" y="21600"/>
                  </a:lnTo>
                  <a:cubicBezTo>
                    <a:pt x="17233" y="21600"/>
                    <a:pt x="17673" y="21161"/>
                    <a:pt x="17673" y="20618"/>
                  </a:cubicBezTo>
                  <a:lnTo>
                    <a:pt x="17673" y="19636"/>
                  </a:lnTo>
                  <a:lnTo>
                    <a:pt x="18655" y="19636"/>
                  </a:lnTo>
                  <a:cubicBezTo>
                    <a:pt x="20282" y="19636"/>
                    <a:pt x="21600" y="18318"/>
                    <a:pt x="21600" y="16691"/>
                  </a:cubicBezTo>
                  <a:lnTo>
                    <a:pt x="21600" y="8836"/>
                  </a:lnTo>
                  <a:cubicBezTo>
                    <a:pt x="21600" y="7210"/>
                    <a:pt x="20282" y="5891"/>
                    <a:pt x="18655" y="5891"/>
                  </a:cubicBezTo>
                  <a:moveTo>
                    <a:pt x="17673" y="8836"/>
                  </a:moveTo>
                  <a:cubicBezTo>
                    <a:pt x="17131" y="8836"/>
                    <a:pt x="16691" y="9276"/>
                    <a:pt x="16691" y="9818"/>
                  </a:cubicBezTo>
                  <a:cubicBezTo>
                    <a:pt x="16691" y="10360"/>
                    <a:pt x="17131" y="10800"/>
                    <a:pt x="17673" y="10800"/>
                  </a:cubicBezTo>
                  <a:cubicBezTo>
                    <a:pt x="18214" y="10800"/>
                    <a:pt x="18655" y="10360"/>
                    <a:pt x="18655" y="9818"/>
                  </a:cubicBezTo>
                  <a:cubicBezTo>
                    <a:pt x="18655" y="9276"/>
                    <a:pt x="18214" y="8836"/>
                    <a:pt x="17673" y="8836"/>
                  </a:cubicBezTo>
                  <a:moveTo>
                    <a:pt x="14727" y="8836"/>
                  </a:moveTo>
                  <a:cubicBezTo>
                    <a:pt x="14186" y="8836"/>
                    <a:pt x="13745" y="9276"/>
                    <a:pt x="13745" y="9818"/>
                  </a:cubicBezTo>
                  <a:cubicBezTo>
                    <a:pt x="13745" y="10360"/>
                    <a:pt x="14186" y="10800"/>
                    <a:pt x="14727" y="10800"/>
                  </a:cubicBezTo>
                  <a:cubicBezTo>
                    <a:pt x="15269" y="10800"/>
                    <a:pt x="15709" y="10360"/>
                    <a:pt x="15709" y="9818"/>
                  </a:cubicBezTo>
                  <a:cubicBezTo>
                    <a:pt x="15709" y="9276"/>
                    <a:pt x="15269" y="8836"/>
                    <a:pt x="14727" y="8836"/>
                  </a:cubicBezTo>
                  <a:moveTo>
                    <a:pt x="7364" y="16691"/>
                  </a:moveTo>
                  <a:lnTo>
                    <a:pt x="12273" y="16691"/>
                  </a:lnTo>
                  <a:cubicBezTo>
                    <a:pt x="12544" y="16691"/>
                    <a:pt x="12764" y="16472"/>
                    <a:pt x="12764" y="16200"/>
                  </a:cubicBezTo>
                  <a:cubicBezTo>
                    <a:pt x="12764" y="15929"/>
                    <a:pt x="12544" y="15709"/>
                    <a:pt x="12273" y="15709"/>
                  </a:cubicBezTo>
                  <a:lnTo>
                    <a:pt x="7364" y="15709"/>
                  </a:lnTo>
                  <a:cubicBezTo>
                    <a:pt x="7092" y="15709"/>
                    <a:pt x="6873" y="15929"/>
                    <a:pt x="6873" y="16200"/>
                  </a:cubicBezTo>
                  <a:cubicBezTo>
                    <a:pt x="6873" y="16472"/>
                    <a:pt x="7092" y="16691"/>
                    <a:pt x="7364" y="16691"/>
                  </a:cubicBezTo>
                  <a:moveTo>
                    <a:pt x="7364" y="18655"/>
                  </a:moveTo>
                  <a:lnTo>
                    <a:pt x="14236" y="18655"/>
                  </a:lnTo>
                  <a:cubicBezTo>
                    <a:pt x="14508" y="18655"/>
                    <a:pt x="14727" y="18435"/>
                    <a:pt x="14727" y="18164"/>
                  </a:cubicBezTo>
                  <a:cubicBezTo>
                    <a:pt x="14727" y="17893"/>
                    <a:pt x="14508" y="17673"/>
                    <a:pt x="14236" y="17673"/>
                  </a:cubicBezTo>
                  <a:lnTo>
                    <a:pt x="7364" y="17673"/>
                  </a:lnTo>
                  <a:cubicBezTo>
                    <a:pt x="7092" y="17673"/>
                    <a:pt x="6873" y="17893"/>
                    <a:pt x="6873" y="18164"/>
                  </a:cubicBezTo>
                  <a:cubicBezTo>
                    <a:pt x="6873" y="18435"/>
                    <a:pt x="7092" y="18655"/>
                    <a:pt x="7364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Shape 2683">
              <a:extLst>
                <a:ext uri="{FF2B5EF4-FFF2-40B4-BE49-F238E27FC236}">
                  <a16:creationId xmlns:a16="http://schemas.microsoft.com/office/drawing/2014/main" id="{002581EE-420C-4E4E-9DC2-15C5781DC0EC}"/>
                </a:ext>
              </a:extLst>
            </p:cNvPr>
            <p:cNvSpPr/>
            <p:nvPr/>
          </p:nvSpPr>
          <p:spPr bwMode="gray">
            <a:xfrm>
              <a:off x="9550144" y="1759045"/>
              <a:ext cx="210175" cy="288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5" h="21528" extrusionOk="0">
                  <a:moveTo>
                    <a:pt x="13441" y="9294"/>
                  </a:moveTo>
                  <a:lnTo>
                    <a:pt x="13441" y="9784"/>
                  </a:lnTo>
                  <a:lnTo>
                    <a:pt x="1344" y="9784"/>
                  </a:lnTo>
                  <a:lnTo>
                    <a:pt x="1344" y="9294"/>
                  </a:lnTo>
                  <a:cubicBezTo>
                    <a:pt x="1344" y="7028"/>
                    <a:pt x="3696" y="5163"/>
                    <a:pt x="6720" y="4919"/>
                  </a:cubicBezTo>
                  <a:lnTo>
                    <a:pt x="6720" y="9784"/>
                  </a:lnTo>
                  <a:lnTo>
                    <a:pt x="8065" y="9784"/>
                  </a:lnTo>
                  <a:lnTo>
                    <a:pt x="8065" y="4919"/>
                  </a:lnTo>
                  <a:cubicBezTo>
                    <a:pt x="11089" y="5163"/>
                    <a:pt x="13441" y="7028"/>
                    <a:pt x="13441" y="9294"/>
                  </a:cubicBezTo>
                  <a:moveTo>
                    <a:pt x="13441" y="16145"/>
                  </a:moveTo>
                  <a:cubicBezTo>
                    <a:pt x="13441" y="18578"/>
                    <a:pt x="10733" y="20549"/>
                    <a:pt x="7393" y="20549"/>
                  </a:cubicBezTo>
                  <a:cubicBezTo>
                    <a:pt x="4052" y="20549"/>
                    <a:pt x="1344" y="18578"/>
                    <a:pt x="1344" y="16145"/>
                  </a:cubicBezTo>
                  <a:lnTo>
                    <a:pt x="1344" y="10762"/>
                  </a:lnTo>
                  <a:lnTo>
                    <a:pt x="13441" y="10762"/>
                  </a:lnTo>
                  <a:cubicBezTo>
                    <a:pt x="13441" y="10762"/>
                    <a:pt x="13441" y="16145"/>
                    <a:pt x="13441" y="16145"/>
                  </a:cubicBezTo>
                  <a:close/>
                  <a:moveTo>
                    <a:pt x="21134" y="48"/>
                  </a:moveTo>
                  <a:cubicBezTo>
                    <a:pt x="20801" y="-72"/>
                    <a:pt x="20436" y="41"/>
                    <a:pt x="20232" y="268"/>
                  </a:cubicBezTo>
                  <a:cubicBezTo>
                    <a:pt x="18723" y="1944"/>
                    <a:pt x="16716" y="3504"/>
                    <a:pt x="13069" y="2006"/>
                  </a:cubicBezTo>
                  <a:cubicBezTo>
                    <a:pt x="10993" y="1153"/>
                    <a:pt x="9603" y="1431"/>
                    <a:pt x="8642" y="1862"/>
                  </a:cubicBezTo>
                  <a:cubicBezTo>
                    <a:pt x="7655" y="2307"/>
                    <a:pt x="6969" y="3089"/>
                    <a:pt x="6778" y="3935"/>
                  </a:cubicBezTo>
                  <a:cubicBezTo>
                    <a:pt x="2984" y="4162"/>
                    <a:pt x="0" y="6473"/>
                    <a:pt x="0" y="9294"/>
                  </a:cubicBezTo>
                  <a:lnTo>
                    <a:pt x="0" y="16145"/>
                  </a:lnTo>
                  <a:cubicBezTo>
                    <a:pt x="0" y="19118"/>
                    <a:pt x="3310" y="21528"/>
                    <a:pt x="7393" y="21528"/>
                  </a:cubicBezTo>
                  <a:cubicBezTo>
                    <a:pt x="11475" y="21528"/>
                    <a:pt x="14785" y="19118"/>
                    <a:pt x="14785" y="16145"/>
                  </a:cubicBezTo>
                  <a:lnTo>
                    <a:pt x="14785" y="9294"/>
                  </a:lnTo>
                  <a:cubicBezTo>
                    <a:pt x="14785" y="6507"/>
                    <a:pt x="11875" y="4215"/>
                    <a:pt x="8146" y="3940"/>
                  </a:cubicBezTo>
                  <a:cubicBezTo>
                    <a:pt x="8301" y="3479"/>
                    <a:pt x="8690" y="2991"/>
                    <a:pt x="9348" y="2695"/>
                  </a:cubicBezTo>
                  <a:cubicBezTo>
                    <a:pt x="10308" y="2263"/>
                    <a:pt x="10946" y="2328"/>
                    <a:pt x="12468" y="2882"/>
                  </a:cubicBezTo>
                  <a:cubicBezTo>
                    <a:pt x="15022" y="3811"/>
                    <a:pt x="16657" y="3572"/>
                    <a:pt x="17947" y="3206"/>
                  </a:cubicBezTo>
                  <a:cubicBezTo>
                    <a:pt x="19526" y="2759"/>
                    <a:pt x="20650" y="1847"/>
                    <a:pt x="21434" y="705"/>
                  </a:cubicBezTo>
                  <a:cubicBezTo>
                    <a:pt x="21600" y="463"/>
                    <a:pt x="21466" y="170"/>
                    <a:pt x="21134" y="48"/>
                  </a:cubicBezTo>
                  <a:moveTo>
                    <a:pt x="7393" y="18592"/>
                  </a:moveTo>
                  <a:cubicBezTo>
                    <a:pt x="8134" y="18592"/>
                    <a:pt x="8737" y="18153"/>
                    <a:pt x="8737" y="17613"/>
                  </a:cubicBezTo>
                  <a:cubicBezTo>
                    <a:pt x="8737" y="17073"/>
                    <a:pt x="8134" y="16635"/>
                    <a:pt x="7393" y="16635"/>
                  </a:cubicBezTo>
                  <a:cubicBezTo>
                    <a:pt x="6650" y="16635"/>
                    <a:pt x="6048" y="17073"/>
                    <a:pt x="6048" y="17613"/>
                  </a:cubicBezTo>
                  <a:cubicBezTo>
                    <a:pt x="6048" y="18153"/>
                    <a:pt x="6650" y="18592"/>
                    <a:pt x="7393" y="1859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Shape 2684">
              <a:extLst>
                <a:ext uri="{FF2B5EF4-FFF2-40B4-BE49-F238E27FC236}">
                  <a16:creationId xmlns:a16="http://schemas.microsoft.com/office/drawing/2014/main" id="{FB2B7680-4126-4F7C-9D9E-A45328B151C7}"/>
                </a:ext>
              </a:extLst>
            </p:cNvPr>
            <p:cNvSpPr/>
            <p:nvPr/>
          </p:nvSpPr>
          <p:spPr bwMode="gray">
            <a:xfrm>
              <a:off x="10062449" y="1759045"/>
              <a:ext cx="288993" cy="289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Shape 2685">
              <a:extLst>
                <a:ext uri="{FF2B5EF4-FFF2-40B4-BE49-F238E27FC236}">
                  <a16:creationId xmlns:a16="http://schemas.microsoft.com/office/drawing/2014/main" id="{16E368D0-7FC9-4150-B113-78BFD6033072}"/>
                </a:ext>
              </a:extLst>
            </p:cNvPr>
            <p:cNvSpPr/>
            <p:nvPr/>
          </p:nvSpPr>
          <p:spPr bwMode="gray">
            <a:xfrm>
              <a:off x="10614163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145"/>
                  </a:moveTo>
                  <a:cubicBezTo>
                    <a:pt x="20618" y="19959"/>
                    <a:pt x="19959" y="20618"/>
                    <a:pt x="19145" y="20618"/>
                  </a:cubicBezTo>
                  <a:cubicBezTo>
                    <a:pt x="18332" y="20618"/>
                    <a:pt x="17673" y="19959"/>
                    <a:pt x="17673" y="19145"/>
                  </a:cubicBezTo>
                  <a:lnTo>
                    <a:pt x="17673" y="14236"/>
                  </a:lnTo>
                  <a:cubicBezTo>
                    <a:pt x="17673" y="13424"/>
                    <a:pt x="18332" y="12764"/>
                    <a:pt x="19145" y="12764"/>
                  </a:cubicBezTo>
                  <a:cubicBezTo>
                    <a:pt x="19959" y="12764"/>
                    <a:pt x="20618" y="13424"/>
                    <a:pt x="20618" y="14236"/>
                  </a:cubicBezTo>
                  <a:cubicBezTo>
                    <a:pt x="20618" y="14236"/>
                    <a:pt x="20618" y="19145"/>
                    <a:pt x="20618" y="19145"/>
                  </a:cubicBezTo>
                  <a:close/>
                  <a:moveTo>
                    <a:pt x="3927" y="14236"/>
                  </a:moveTo>
                  <a:lnTo>
                    <a:pt x="3927" y="19145"/>
                  </a:lnTo>
                  <a:cubicBezTo>
                    <a:pt x="3927" y="19959"/>
                    <a:pt x="3268" y="20618"/>
                    <a:pt x="2455" y="20618"/>
                  </a:cubicBezTo>
                  <a:cubicBezTo>
                    <a:pt x="1641" y="20618"/>
                    <a:pt x="982" y="19959"/>
                    <a:pt x="982" y="19145"/>
                  </a:cubicBezTo>
                  <a:lnTo>
                    <a:pt x="982" y="14236"/>
                  </a:lnTo>
                  <a:cubicBezTo>
                    <a:pt x="982" y="13424"/>
                    <a:pt x="1641" y="12764"/>
                    <a:pt x="2455" y="12764"/>
                  </a:cubicBezTo>
                  <a:cubicBezTo>
                    <a:pt x="3268" y="12764"/>
                    <a:pt x="3927" y="13424"/>
                    <a:pt x="3927" y="14236"/>
                  </a:cubicBezTo>
                  <a:moveTo>
                    <a:pt x="19636" y="11831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1831"/>
                  </a:lnTo>
                  <a:cubicBezTo>
                    <a:pt x="843" y="12059"/>
                    <a:pt x="0" y="13049"/>
                    <a:pt x="0" y="14236"/>
                  </a:cubicBezTo>
                  <a:lnTo>
                    <a:pt x="0" y="19145"/>
                  </a:lnTo>
                  <a:cubicBezTo>
                    <a:pt x="0" y="20501"/>
                    <a:pt x="1099" y="21600"/>
                    <a:pt x="2455" y="21600"/>
                  </a:cubicBezTo>
                  <a:cubicBezTo>
                    <a:pt x="3810" y="21600"/>
                    <a:pt x="4909" y="20501"/>
                    <a:pt x="4909" y="19145"/>
                  </a:cubicBezTo>
                  <a:lnTo>
                    <a:pt x="4909" y="14236"/>
                  </a:lnTo>
                  <a:cubicBezTo>
                    <a:pt x="4909" y="13049"/>
                    <a:pt x="4066" y="12059"/>
                    <a:pt x="2945" y="11831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7" y="982"/>
                    <a:pt x="18655" y="3180"/>
                    <a:pt x="18655" y="5891"/>
                  </a:cubicBezTo>
                  <a:lnTo>
                    <a:pt x="18655" y="11831"/>
                  </a:lnTo>
                  <a:cubicBezTo>
                    <a:pt x="17534" y="12059"/>
                    <a:pt x="16691" y="13049"/>
                    <a:pt x="16691" y="14236"/>
                  </a:cubicBezTo>
                  <a:lnTo>
                    <a:pt x="16691" y="19145"/>
                  </a:lnTo>
                  <a:cubicBezTo>
                    <a:pt x="16691" y="20501"/>
                    <a:pt x="17790" y="21600"/>
                    <a:pt x="19145" y="21600"/>
                  </a:cubicBezTo>
                  <a:cubicBezTo>
                    <a:pt x="20501" y="21600"/>
                    <a:pt x="21600" y="20501"/>
                    <a:pt x="21600" y="19145"/>
                  </a:cubicBezTo>
                  <a:lnTo>
                    <a:pt x="21600" y="14236"/>
                  </a:lnTo>
                  <a:cubicBezTo>
                    <a:pt x="21600" y="13049"/>
                    <a:pt x="20757" y="12059"/>
                    <a:pt x="19636" y="1183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 2686">
              <a:extLst>
                <a:ext uri="{FF2B5EF4-FFF2-40B4-BE49-F238E27FC236}">
                  <a16:creationId xmlns:a16="http://schemas.microsoft.com/office/drawing/2014/main" id="{148526E0-8AA2-4546-9B0C-8AAE0D0CFBA2}"/>
                </a:ext>
              </a:extLst>
            </p:cNvPr>
            <p:cNvSpPr/>
            <p:nvPr/>
          </p:nvSpPr>
          <p:spPr bwMode="gray">
            <a:xfrm>
              <a:off x="11165877" y="17590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7673"/>
                  </a:moveTo>
                  <a:cubicBezTo>
                    <a:pt x="20618" y="18215"/>
                    <a:pt x="20178" y="18655"/>
                    <a:pt x="19636" y="18655"/>
                  </a:cubicBezTo>
                  <a:lnTo>
                    <a:pt x="19636" y="14727"/>
                  </a:lnTo>
                  <a:cubicBezTo>
                    <a:pt x="20178" y="14727"/>
                    <a:pt x="20618" y="15167"/>
                    <a:pt x="20618" y="15709"/>
                  </a:cubicBez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8655" y="19145"/>
                  </a:moveTo>
                  <a:cubicBezTo>
                    <a:pt x="18655" y="19959"/>
                    <a:pt x="17995" y="20618"/>
                    <a:pt x="17182" y="20618"/>
                  </a:cubicBezTo>
                  <a:cubicBezTo>
                    <a:pt x="16368" y="20618"/>
                    <a:pt x="15709" y="19959"/>
                    <a:pt x="15709" y="19145"/>
                  </a:cubicBezTo>
                  <a:lnTo>
                    <a:pt x="15709" y="14236"/>
                  </a:lnTo>
                  <a:cubicBezTo>
                    <a:pt x="15709" y="13424"/>
                    <a:pt x="16368" y="12764"/>
                    <a:pt x="17182" y="12764"/>
                  </a:cubicBezTo>
                  <a:cubicBezTo>
                    <a:pt x="17995" y="12764"/>
                    <a:pt x="18655" y="13424"/>
                    <a:pt x="18655" y="14236"/>
                  </a:cubicBezTo>
                  <a:cubicBezTo>
                    <a:pt x="18655" y="14236"/>
                    <a:pt x="18655" y="19145"/>
                    <a:pt x="18655" y="19145"/>
                  </a:cubicBezTo>
                  <a:close/>
                  <a:moveTo>
                    <a:pt x="4418" y="12764"/>
                  </a:moveTo>
                  <a:cubicBezTo>
                    <a:pt x="5231" y="12764"/>
                    <a:pt x="5891" y="13424"/>
                    <a:pt x="5891" y="14236"/>
                  </a:cubicBezTo>
                  <a:lnTo>
                    <a:pt x="5891" y="19145"/>
                  </a:lnTo>
                  <a:cubicBezTo>
                    <a:pt x="5891" y="19959"/>
                    <a:pt x="5231" y="20618"/>
                    <a:pt x="4418" y="20618"/>
                  </a:cubicBezTo>
                  <a:cubicBezTo>
                    <a:pt x="3605" y="20618"/>
                    <a:pt x="2945" y="19959"/>
                    <a:pt x="2945" y="19145"/>
                  </a:cubicBezTo>
                  <a:lnTo>
                    <a:pt x="2945" y="14236"/>
                  </a:lnTo>
                  <a:cubicBezTo>
                    <a:pt x="2945" y="13424"/>
                    <a:pt x="3605" y="12764"/>
                    <a:pt x="4418" y="12764"/>
                  </a:cubicBezTo>
                  <a:moveTo>
                    <a:pt x="1964" y="18655"/>
                  </a:moveTo>
                  <a:cubicBezTo>
                    <a:pt x="1422" y="18655"/>
                    <a:pt x="982" y="18215"/>
                    <a:pt x="982" y="17673"/>
                  </a:cubicBezTo>
                  <a:lnTo>
                    <a:pt x="982" y="15709"/>
                  </a:lnTo>
                  <a:cubicBezTo>
                    <a:pt x="982" y="15167"/>
                    <a:pt x="1422" y="14727"/>
                    <a:pt x="1964" y="14727"/>
                  </a:cubicBezTo>
                  <a:cubicBezTo>
                    <a:pt x="1964" y="14727"/>
                    <a:pt x="1964" y="18655"/>
                    <a:pt x="1964" y="18655"/>
                  </a:cubicBezTo>
                  <a:close/>
                  <a:moveTo>
                    <a:pt x="19636" y="13745"/>
                  </a:moveTo>
                  <a:lnTo>
                    <a:pt x="19636" y="5891"/>
                  </a:lnTo>
                  <a:cubicBezTo>
                    <a:pt x="19636" y="2638"/>
                    <a:pt x="16999" y="0"/>
                    <a:pt x="13745" y="0"/>
                  </a:cubicBezTo>
                  <a:lnTo>
                    <a:pt x="7855" y="0"/>
                  </a:lnTo>
                  <a:cubicBezTo>
                    <a:pt x="4601" y="0"/>
                    <a:pt x="1964" y="2638"/>
                    <a:pt x="1964" y="5891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3" y="11782"/>
                    <a:pt x="3357" y="11973"/>
                    <a:pt x="2945" y="12284"/>
                  </a:cubicBezTo>
                  <a:lnTo>
                    <a:pt x="2945" y="5891"/>
                  </a:lnTo>
                  <a:cubicBezTo>
                    <a:pt x="2945" y="3180"/>
                    <a:pt x="5144" y="982"/>
                    <a:pt x="7855" y="982"/>
                  </a:cubicBezTo>
                  <a:lnTo>
                    <a:pt x="13745" y="982"/>
                  </a:lnTo>
                  <a:cubicBezTo>
                    <a:pt x="16456" y="982"/>
                    <a:pt x="18655" y="3180"/>
                    <a:pt x="18655" y="5891"/>
                  </a:cubicBezTo>
                  <a:lnTo>
                    <a:pt x="18655" y="12284"/>
                  </a:lnTo>
                  <a:cubicBezTo>
                    <a:pt x="18243" y="11973"/>
                    <a:pt x="17737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59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 2687">
              <a:extLst>
                <a:ext uri="{FF2B5EF4-FFF2-40B4-BE49-F238E27FC236}">
                  <a16:creationId xmlns:a16="http://schemas.microsoft.com/office/drawing/2014/main" id="{EEA5EBD6-E8C0-4862-A2ED-F9EE9A7E9DFC}"/>
                </a:ext>
              </a:extLst>
            </p:cNvPr>
            <p:cNvSpPr/>
            <p:nvPr/>
          </p:nvSpPr>
          <p:spPr bwMode="gray">
            <a:xfrm>
              <a:off x="6200454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6200"/>
                  </a:moveTo>
                  <a:lnTo>
                    <a:pt x="15709" y="16200"/>
                  </a:lnTo>
                  <a:lnTo>
                    <a:pt x="15709" y="14727"/>
                  </a:lnTo>
                  <a:lnTo>
                    <a:pt x="18655" y="14727"/>
                  </a:lnTo>
                  <a:cubicBezTo>
                    <a:pt x="18655" y="14727"/>
                    <a:pt x="18655" y="16200"/>
                    <a:pt x="18655" y="16200"/>
                  </a:cubicBezTo>
                  <a:close/>
                  <a:moveTo>
                    <a:pt x="18655" y="18655"/>
                  </a:moveTo>
                  <a:lnTo>
                    <a:pt x="15709" y="18655"/>
                  </a:lnTo>
                  <a:lnTo>
                    <a:pt x="15709" y="17182"/>
                  </a:lnTo>
                  <a:lnTo>
                    <a:pt x="18655" y="17182"/>
                  </a:lnTo>
                  <a:cubicBezTo>
                    <a:pt x="18655" y="17182"/>
                    <a:pt x="18655" y="18655"/>
                    <a:pt x="18655" y="18655"/>
                  </a:cubicBezTo>
                  <a:close/>
                  <a:moveTo>
                    <a:pt x="17182" y="20618"/>
                  </a:moveTo>
                  <a:cubicBezTo>
                    <a:pt x="16542" y="20618"/>
                    <a:pt x="16002" y="20207"/>
                    <a:pt x="15799" y="19636"/>
                  </a:cubicBezTo>
                  <a:lnTo>
                    <a:pt x="18564" y="19636"/>
                  </a:lnTo>
                  <a:cubicBezTo>
                    <a:pt x="18361" y="20207"/>
                    <a:pt x="17822" y="20618"/>
                    <a:pt x="17182" y="20618"/>
                  </a:cubicBezTo>
                  <a:moveTo>
                    <a:pt x="17182" y="12764"/>
                  </a:moveTo>
                  <a:cubicBezTo>
                    <a:pt x="17822" y="12764"/>
                    <a:pt x="18361" y="13175"/>
                    <a:pt x="18564" y="13745"/>
                  </a:cubicBezTo>
                  <a:lnTo>
                    <a:pt x="15799" y="13745"/>
                  </a:lnTo>
                  <a:cubicBezTo>
                    <a:pt x="16002" y="13175"/>
                    <a:pt x="16542" y="12764"/>
                    <a:pt x="17182" y="12764"/>
                  </a:cubicBezTo>
                  <a:moveTo>
                    <a:pt x="5891" y="16200"/>
                  </a:moveTo>
                  <a:lnTo>
                    <a:pt x="2945" y="16200"/>
                  </a:lnTo>
                  <a:lnTo>
                    <a:pt x="2945" y="14727"/>
                  </a:lnTo>
                  <a:lnTo>
                    <a:pt x="5891" y="14727"/>
                  </a:lnTo>
                  <a:cubicBezTo>
                    <a:pt x="5891" y="14727"/>
                    <a:pt x="5891" y="16200"/>
                    <a:pt x="5891" y="16200"/>
                  </a:cubicBezTo>
                  <a:close/>
                  <a:moveTo>
                    <a:pt x="4418" y="12764"/>
                  </a:moveTo>
                  <a:cubicBezTo>
                    <a:pt x="5058" y="12764"/>
                    <a:pt x="5598" y="13175"/>
                    <a:pt x="5801" y="13745"/>
                  </a:cubicBezTo>
                  <a:lnTo>
                    <a:pt x="3036" y="13745"/>
                  </a:lnTo>
                  <a:cubicBezTo>
                    <a:pt x="3239" y="13175"/>
                    <a:pt x="3778" y="12764"/>
                    <a:pt x="4418" y="12764"/>
                  </a:cubicBezTo>
                  <a:moveTo>
                    <a:pt x="5891" y="18655"/>
                  </a:moveTo>
                  <a:lnTo>
                    <a:pt x="2945" y="18655"/>
                  </a:lnTo>
                  <a:lnTo>
                    <a:pt x="2945" y="17182"/>
                  </a:lnTo>
                  <a:lnTo>
                    <a:pt x="5891" y="17182"/>
                  </a:lnTo>
                  <a:cubicBezTo>
                    <a:pt x="5891" y="17182"/>
                    <a:pt x="5891" y="18655"/>
                    <a:pt x="5891" y="18655"/>
                  </a:cubicBezTo>
                  <a:close/>
                  <a:moveTo>
                    <a:pt x="4418" y="20618"/>
                  </a:moveTo>
                  <a:cubicBezTo>
                    <a:pt x="3778" y="20618"/>
                    <a:pt x="3239" y="20207"/>
                    <a:pt x="3036" y="19636"/>
                  </a:cubicBezTo>
                  <a:lnTo>
                    <a:pt x="5801" y="19636"/>
                  </a:lnTo>
                  <a:cubicBezTo>
                    <a:pt x="5598" y="20207"/>
                    <a:pt x="5058" y="20618"/>
                    <a:pt x="4418" y="20618"/>
                  </a:cubicBezTo>
                  <a:moveTo>
                    <a:pt x="19636" y="13745"/>
                  </a:moveTo>
                  <a:lnTo>
                    <a:pt x="19636" y="8836"/>
                  </a:lnTo>
                  <a:cubicBezTo>
                    <a:pt x="19636" y="3956"/>
                    <a:pt x="15680" y="0"/>
                    <a:pt x="10800" y="0"/>
                  </a:cubicBezTo>
                  <a:cubicBezTo>
                    <a:pt x="5920" y="0"/>
                    <a:pt x="1964" y="3956"/>
                    <a:pt x="1964" y="8836"/>
                  </a:cubicBezTo>
                  <a:lnTo>
                    <a:pt x="1964" y="13745"/>
                  </a:lnTo>
                  <a:cubicBezTo>
                    <a:pt x="879" y="13745"/>
                    <a:pt x="0" y="14625"/>
                    <a:pt x="0" y="15709"/>
                  </a:cubicBezTo>
                  <a:lnTo>
                    <a:pt x="0" y="17673"/>
                  </a:lnTo>
                  <a:cubicBezTo>
                    <a:pt x="0" y="18757"/>
                    <a:pt x="879" y="19636"/>
                    <a:pt x="1964" y="19636"/>
                  </a:cubicBezTo>
                  <a:lnTo>
                    <a:pt x="2013" y="19636"/>
                  </a:lnTo>
                  <a:cubicBezTo>
                    <a:pt x="2241" y="20757"/>
                    <a:pt x="3231" y="21600"/>
                    <a:pt x="4418" y="21600"/>
                  </a:cubicBezTo>
                  <a:cubicBezTo>
                    <a:pt x="5774" y="21600"/>
                    <a:pt x="6873" y="20501"/>
                    <a:pt x="6873" y="19145"/>
                  </a:cubicBezTo>
                  <a:lnTo>
                    <a:pt x="6873" y="14236"/>
                  </a:lnTo>
                  <a:cubicBezTo>
                    <a:pt x="6873" y="12881"/>
                    <a:pt x="5774" y="11782"/>
                    <a:pt x="4418" y="11782"/>
                  </a:cubicBezTo>
                  <a:cubicBezTo>
                    <a:pt x="3864" y="11782"/>
                    <a:pt x="3356" y="11971"/>
                    <a:pt x="2945" y="12282"/>
                  </a:cubicBezTo>
                  <a:lnTo>
                    <a:pt x="2945" y="8836"/>
                  </a:lnTo>
                  <a:cubicBezTo>
                    <a:pt x="2945" y="4499"/>
                    <a:pt x="6462" y="982"/>
                    <a:pt x="10800" y="982"/>
                  </a:cubicBezTo>
                  <a:cubicBezTo>
                    <a:pt x="15138" y="982"/>
                    <a:pt x="18655" y="4499"/>
                    <a:pt x="18655" y="8836"/>
                  </a:cubicBezTo>
                  <a:lnTo>
                    <a:pt x="18655" y="12282"/>
                  </a:lnTo>
                  <a:cubicBezTo>
                    <a:pt x="18244" y="11971"/>
                    <a:pt x="17736" y="11782"/>
                    <a:pt x="17182" y="11782"/>
                  </a:cubicBezTo>
                  <a:cubicBezTo>
                    <a:pt x="15826" y="11782"/>
                    <a:pt x="14727" y="12881"/>
                    <a:pt x="14727" y="14236"/>
                  </a:cubicBezTo>
                  <a:lnTo>
                    <a:pt x="14727" y="19145"/>
                  </a:lnTo>
                  <a:cubicBezTo>
                    <a:pt x="14727" y="20501"/>
                    <a:pt x="15826" y="21600"/>
                    <a:pt x="17182" y="21600"/>
                  </a:cubicBezTo>
                  <a:cubicBezTo>
                    <a:pt x="18369" y="21600"/>
                    <a:pt x="19360" y="20757"/>
                    <a:pt x="19587" y="19636"/>
                  </a:cubicBezTo>
                  <a:lnTo>
                    <a:pt x="19636" y="19636"/>
                  </a:lnTo>
                  <a:cubicBezTo>
                    <a:pt x="20721" y="19636"/>
                    <a:pt x="21600" y="18757"/>
                    <a:pt x="21600" y="17673"/>
                  </a:cubicBezTo>
                  <a:lnTo>
                    <a:pt x="21600" y="15709"/>
                  </a:lnTo>
                  <a:cubicBezTo>
                    <a:pt x="21600" y="14625"/>
                    <a:pt x="20721" y="13745"/>
                    <a:pt x="19636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 2688">
              <a:extLst>
                <a:ext uri="{FF2B5EF4-FFF2-40B4-BE49-F238E27FC236}">
                  <a16:creationId xmlns:a16="http://schemas.microsoft.com/office/drawing/2014/main" id="{C1F64E23-D771-4F34-BD5B-D673763FEE2A}"/>
                </a:ext>
              </a:extLst>
            </p:cNvPr>
            <p:cNvSpPr/>
            <p:nvPr/>
          </p:nvSpPr>
          <p:spPr bwMode="gray">
            <a:xfrm>
              <a:off x="6752168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0309"/>
                  </a:moveTo>
                  <a:cubicBezTo>
                    <a:pt x="20618" y="10851"/>
                    <a:pt x="20178" y="11291"/>
                    <a:pt x="19636" y="11291"/>
                  </a:cubicBezTo>
                  <a:lnTo>
                    <a:pt x="19636" y="7364"/>
                  </a:lnTo>
                  <a:cubicBezTo>
                    <a:pt x="20178" y="7364"/>
                    <a:pt x="20618" y="7804"/>
                    <a:pt x="20618" y="8345"/>
                  </a:cubicBezTo>
                  <a:cubicBezTo>
                    <a:pt x="20618" y="8345"/>
                    <a:pt x="20618" y="10309"/>
                    <a:pt x="20618" y="10309"/>
                  </a:cubicBezTo>
                  <a:close/>
                  <a:moveTo>
                    <a:pt x="18655" y="17182"/>
                  </a:moveTo>
                  <a:cubicBezTo>
                    <a:pt x="18655" y="17453"/>
                    <a:pt x="18434" y="17673"/>
                    <a:pt x="18164" y="17673"/>
                  </a:cubicBezTo>
                  <a:cubicBezTo>
                    <a:pt x="17893" y="17673"/>
                    <a:pt x="17673" y="17453"/>
                    <a:pt x="17673" y="17182"/>
                  </a:cubicBezTo>
                  <a:lnTo>
                    <a:pt x="17673" y="1473"/>
                  </a:lnTo>
                  <a:cubicBezTo>
                    <a:pt x="17673" y="1202"/>
                    <a:pt x="17893" y="982"/>
                    <a:pt x="18164" y="982"/>
                  </a:cubicBezTo>
                  <a:cubicBezTo>
                    <a:pt x="18434" y="982"/>
                    <a:pt x="18655" y="1202"/>
                    <a:pt x="18655" y="1473"/>
                  </a:cubicBezTo>
                  <a:cubicBezTo>
                    <a:pt x="18655" y="1473"/>
                    <a:pt x="18655" y="17182"/>
                    <a:pt x="18655" y="17182"/>
                  </a:cubicBezTo>
                  <a:close/>
                  <a:moveTo>
                    <a:pt x="16691" y="15788"/>
                  </a:moveTo>
                  <a:lnTo>
                    <a:pt x="2945" y="11745"/>
                  </a:lnTo>
                  <a:lnTo>
                    <a:pt x="2945" y="6910"/>
                  </a:lnTo>
                  <a:lnTo>
                    <a:pt x="16691" y="2867"/>
                  </a:lnTo>
                  <a:cubicBezTo>
                    <a:pt x="16691" y="2867"/>
                    <a:pt x="16691" y="15788"/>
                    <a:pt x="16691" y="15788"/>
                  </a:cubicBezTo>
                  <a:close/>
                  <a:moveTo>
                    <a:pt x="8251" y="18655"/>
                  </a:moveTo>
                  <a:lnTo>
                    <a:pt x="5357" y="18655"/>
                  </a:lnTo>
                  <a:lnTo>
                    <a:pt x="4126" y="13116"/>
                  </a:lnTo>
                  <a:lnTo>
                    <a:pt x="7167" y="14010"/>
                  </a:lnTo>
                  <a:cubicBezTo>
                    <a:pt x="7167" y="14010"/>
                    <a:pt x="8251" y="18655"/>
                    <a:pt x="8251" y="18655"/>
                  </a:cubicBezTo>
                  <a:close/>
                  <a:moveTo>
                    <a:pt x="8709" y="20618"/>
                  </a:moveTo>
                  <a:lnTo>
                    <a:pt x="5794" y="20618"/>
                  </a:lnTo>
                  <a:lnTo>
                    <a:pt x="5576" y="19636"/>
                  </a:lnTo>
                  <a:lnTo>
                    <a:pt x="8479" y="19636"/>
                  </a:lnTo>
                  <a:cubicBezTo>
                    <a:pt x="8479" y="19636"/>
                    <a:pt x="8709" y="20618"/>
                    <a:pt x="8709" y="20618"/>
                  </a:cubicBezTo>
                  <a:close/>
                  <a:moveTo>
                    <a:pt x="1964" y="11782"/>
                  </a:moveTo>
                  <a:lnTo>
                    <a:pt x="982" y="11782"/>
                  </a:lnTo>
                  <a:lnTo>
                    <a:pt x="982" y="6873"/>
                  </a:lnTo>
                  <a:lnTo>
                    <a:pt x="1964" y="6873"/>
                  </a:lnTo>
                  <a:cubicBezTo>
                    <a:pt x="1964" y="6873"/>
                    <a:pt x="1964" y="11782"/>
                    <a:pt x="1964" y="11782"/>
                  </a:cubicBezTo>
                  <a:close/>
                  <a:moveTo>
                    <a:pt x="19636" y="6382"/>
                  </a:moveTo>
                  <a:lnTo>
                    <a:pt x="19636" y="1473"/>
                  </a:lnTo>
                  <a:cubicBezTo>
                    <a:pt x="19636" y="659"/>
                    <a:pt x="18977" y="0"/>
                    <a:pt x="18164" y="0"/>
                  </a:cubicBezTo>
                  <a:cubicBezTo>
                    <a:pt x="17350" y="0"/>
                    <a:pt x="16691" y="659"/>
                    <a:pt x="16691" y="1473"/>
                  </a:cubicBezTo>
                  <a:lnTo>
                    <a:pt x="16691" y="1844"/>
                  </a:lnTo>
                  <a:lnTo>
                    <a:pt x="2459" y="6029"/>
                  </a:lnTo>
                  <a:cubicBezTo>
                    <a:pt x="2313" y="5944"/>
                    <a:pt x="2145" y="5891"/>
                    <a:pt x="1964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11782"/>
                  </a:lnTo>
                  <a:cubicBezTo>
                    <a:pt x="0" y="12324"/>
                    <a:pt x="440" y="12764"/>
                    <a:pt x="982" y="12764"/>
                  </a:cubicBezTo>
                  <a:lnTo>
                    <a:pt x="1964" y="12764"/>
                  </a:lnTo>
                  <a:cubicBezTo>
                    <a:pt x="2145" y="12764"/>
                    <a:pt x="2313" y="12711"/>
                    <a:pt x="2458" y="12626"/>
                  </a:cubicBezTo>
                  <a:lnTo>
                    <a:pt x="3050" y="12799"/>
                  </a:lnTo>
                  <a:lnTo>
                    <a:pt x="4921" y="21216"/>
                  </a:lnTo>
                  <a:lnTo>
                    <a:pt x="4930" y="21214"/>
                  </a:lnTo>
                  <a:cubicBezTo>
                    <a:pt x="4979" y="21433"/>
                    <a:pt x="5166" y="21600"/>
                    <a:pt x="5400" y="21600"/>
                  </a:cubicBezTo>
                  <a:lnTo>
                    <a:pt x="9327" y="21600"/>
                  </a:lnTo>
                  <a:cubicBezTo>
                    <a:pt x="9598" y="21600"/>
                    <a:pt x="9818" y="21381"/>
                    <a:pt x="9818" y="21109"/>
                  </a:cubicBezTo>
                  <a:cubicBezTo>
                    <a:pt x="9818" y="21072"/>
                    <a:pt x="9805" y="21039"/>
                    <a:pt x="9797" y="21005"/>
                  </a:cubicBezTo>
                  <a:lnTo>
                    <a:pt x="9806" y="21003"/>
                  </a:lnTo>
                  <a:lnTo>
                    <a:pt x="8249" y="14329"/>
                  </a:lnTo>
                  <a:lnTo>
                    <a:pt x="16691" y="16811"/>
                  </a:lnTo>
                  <a:lnTo>
                    <a:pt x="16691" y="17182"/>
                  </a:lnTo>
                  <a:cubicBezTo>
                    <a:pt x="16691" y="17995"/>
                    <a:pt x="17350" y="18655"/>
                    <a:pt x="18164" y="18655"/>
                  </a:cubicBezTo>
                  <a:cubicBezTo>
                    <a:pt x="18977" y="18655"/>
                    <a:pt x="19636" y="17995"/>
                    <a:pt x="19636" y="17182"/>
                  </a:cubicBezTo>
                  <a:lnTo>
                    <a:pt x="19636" y="12273"/>
                  </a:lnTo>
                  <a:cubicBezTo>
                    <a:pt x="20721" y="12273"/>
                    <a:pt x="21600" y="11394"/>
                    <a:pt x="21600" y="10309"/>
                  </a:cubicBezTo>
                  <a:lnTo>
                    <a:pt x="21600" y="8345"/>
                  </a:lnTo>
                  <a:cubicBezTo>
                    <a:pt x="21600" y="7261"/>
                    <a:pt x="20721" y="6382"/>
                    <a:pt x="19636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 2689">
              <a:extLst>
                <a:ext uri="{FF2B5EF4-FFF2-40B4-BE49-F238E27FC236}">
                  <a16:creationId xmlns:a16="http://schemas.microsoft.com/office/drawing/2014/main" id="{D671029C-12CF-4BBE-B44B-7A73077433CE}"/>
                </a:ext>
              </a:extLst>
            </p:cNvPr>
            <p:cNvSpPr/>
            <p:nvPr/>
          </p:nvSpPr>
          <p:spPr bwMode="gray">
            <a:xfrm>
              <a:off x="7303882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1291"/>
                  </a:moveTo>
                  <a:lnTo>
                    <a:pt x="18655" y="7364"/>
                  </a:lnTo>
                  <a:cubicBezTo>
                    <a:pt x="19739" y="7364"/>
                    <a:pt x="20618" y="8243"/>
                    <a:pt x="20618" y="9327"/>
                  </a:cubicBezTo>
                  <a:cubicBezTo>
                    <a:pt x="20618" y="10412"/>
                    <a:pt x="19739" y="11291"/>
                    <a:pt x="18655" y="11291"/>
                  </a:cubicBezTo>
                  <a:moveTo>
                    <a:pt x="17673" y="17182"/>
                  </a:moveTo>
                  <a:cubicBezTo>
                    <a:pt x="17673" y="17453"/>
                    <a:pt x="17453" y="17673"/>
                    <a:pt x="17182" y="17673"/>
                  </a:cubicBezTo>
                  <a:cubicBezTo>
                    <a:pt x="16911" y="17673"/>
                    <a:pt x="16691" y="17453"/>
                    <a:pt x="16691" y="17182"/>
                  </a:cubicBezTo>
                  <a:lnTo>
                    <a:pt x="16691" y="1473"/>
                  </a:lnTo>
                  <a:cubicBezTo>
                    <a:pt x="16691" y="1202"/>
                    <a:pt x="16911" y="982"/>
                    <a:pt x="17182" y="982"/>
                  </a:cubicBezTo>
                  <a:cubicBezTo>
                    <a:pt x="17453" y="982"/>
                    <a:pt x="17673" y="1202"/>
                    <a:pt x="17673" y="1473"/>
                  </a:cubicBezTo>
                  <a:cubicBezTo>
                    <a:pt x="17673" y="1473"/>
                    <a:pt x="17673" y="17182"/>
                    <a:pt x="17673" y="17182"/>
                  </a:cubicBezTo>
                  <a:close/>
                  <a:moveTo>
                    <a:pt x="15709" y="15780"/>
                  </a:moveTo>
                  <a:lnTo>
                    <a:pt x="8836" y="13718"/>
                  </a:lnTo>
                  <a:lnTo>
                    <a:pt x="8836" y="4937"/>
                  </a:lnTo>
                  <a:lnTo>
                    <a:pt x="15709" y="2875"/>
                  </a:lnTo>
                  <a:cubicBezTo>
                    <a:pt x="15709" y="2875"/>
                    <a:pt x="15709" y="15780"/>
                    <a:pt x="15709" y="15780"/>
                  </a:cubicBezTo>
                  <a:close/>
                  <a:moveTo>
                    <a:pt x="9479" y="19636"/>
                  </a:moveTo>
                  <a:lnTo>
                    <a:pt x="9697" y="20618"/>
                  </a:lnTo>
                  <a:lnTo>
                    <a:pt x="6775" y="20618"/>
                  </a:lnTo>
                  <a:lnTo>
                    <a:pt x="6558" y="19636"/>
                  </a:lnTo>
                  <a:cubicBezTo>
                    <a:pt x="6558" y="19636"/>
                    <a:pt x="9479" y="19636"/>
                    <a:pt x="9479" y="19636"/>
                  </a:cubicBezTo>
                  <a:close/>
                  <a:moveTo>
                    <a:pt x="6339" y="18655"/>
                  </a:moveTo>
                  <a:lnTo>
                    <a:pt x="5356" y="14232"/>
                  </a:lnTo>
                  <a:lnTo>
                    <a:pt x="8176" y="14545"/>
                  </a:lnTo>
                  <a:lnTo>
                    <a:pt x="8360" y="14600"/>
                  </a:lnTo>
                  <a:lnTo>
                    <a:pt x="9260" y="18655"/>
                  </a:lnTo>
                  <a:cubicBezTo>
                    <a:pt x="9260" y="18655"/>
                    <a:pt x="6339" y="18655"/>
                    <a:pt x="6339" y="18655"/>
                  </a:cubicBezTo>
                  <a:close/>
                  <a:moveTo>
                    <a:pt x="982" y="12764"/>
                  </a:moveTo>
                  <a:lnTo>
                    <a:pt x="982" y="10800"/>
                  </a:lnTo>
                  <a:lnTo>
                    <a:pt x="3436" y="10800"/>
                  </a:lnTo>
                  <a:cubicBezTo>
                    <a:pt x="3707" y="10800"/>
                    <a:pt x="3927" y="10581"/>
                    <a:pt x="3927" y="10309"/>
                  </a:cubicBezTo>
                  <a:cubicBezTo>
                    <a:pt x="3927" y="10038"/>
                    <a:pt x="3707" y="9818"/>
                    <a:pt x="3436" y="9818"/>
                  </a:cubicBezTo>
                  <a:lnTo>
                    <a:pt x="982" y="9818"/>
                  </a:lnTo>
                  <a:lnTo>
                    <a:pt x="982" y="8836"/>
                  </a:lnTo>
                  <a:lnTo>
                    <a:pt x="2455" y="8836"/>
                  </a:lnTo>
                  <a:cubicBezTo>
                    <a:pt x="2725" y="8836"/>
                    <a:pt x="2945" y="8617"/>
                    <a:pt x="2945" y="8345"/>
                  </a:cubicBezTo>
                  <a:cubicBezTo>
                    <a:pt x="2945" y="8075"/>
                    <a:pt x="2725" y="7855"/>
                    <a:pt x="2455" y="7855"/>
                  </a:cubicBezTo>
                  <a:lnTo>
                    <a:pt x="982" y="7855"/>
                  </a:lnTo>
                  <a:lnTo>
                    <a:pt x="982" y="5891"/>
                  </a:lnTo>
                  <a:lnTo>
                    <a:pt x="7855" y="5128"/>
                  </a:lnTo>
                  <a:lnTo>
                    <a:pt x="7855" y="13528"/>
                  </a:lnTo>
                  <a:cubicBezTo>
                    <a:pt x="7855" y="13528"/>
                    <a:pt x="982" y="12764"/>
                    <a:pt x="982" y="12764"/>
                  </a:cubicBezTo>
                  <a:close/>
                  <a:moveTo>
                    <a:pt x="18655" y="6382"/>
                  </a:moveTo>
                  <a:lnTo>
                    <a:pt x="18655" y="1473"/>
                  </a:lnTo>
                  <a:cubicBezTo>
                    <a:pt x="18655" y="659"/>
                    <a:pt x="17995" y="0"/>
                    <a:pt x="17182" y="0"/>
                  </a:cubicBezTo>
                  <a:cubicBezTo>
                    <a:pt x="16368" y="0"/>
                    <a:pt x="15709" y="659"/>
                    <a:pt x="15709" y="1473"/>
                  </a:cubicBezTo>
                  <a:lnTo>
                    <a:pt x="15709" y="1850"/>
                  </a:lnTo>
                  <a:lnTo>
                    <a:pt x="8175" y="4110"/>
                  </a:lnTo>
                  <a:lnTo>
                    <a:pt x="982" y="4909"/>
                  </a:lnTo>
                  <a:cubicBezTo>
                    <a:pt x="440" y="4909"/>
                    <a:pt x="0" y="5349"/>
                    <a:pt x="0" y="5891"/>
                  </a:cubicBezTo>
                  <a:lnTo>
                    <a:pt x="0" y="12764"/>
                  </a:lnTo>
                  <a:cubicBezTo>
                    <a:pt x="0" y="13306"/>
                    <a:pt x="440" y="13745"/>
                    <a:pt x="982" y="13745"/>
                  </a:cubicBezTo>
                  <a:lnTo>
                    <a:pt x="4325" y="14117"/>
                  </a:lnTo>
                  <a:lnTo>
                    <a:pt x="5903" y="21216"/>
                  </a:lnTo>
                  <a:lnTo>
                    <a:pt x="5912" y="21214"/>
                  </a:lnTo>
                  <a:cubicBezTo>
                    <a:pt x="5961" y="21433"/>
                    <a:pt x="6148" y="21600"/>
                    <a:pt x="6382" y="21600"/>
                  </a:cubicBezTo>
                  <a:lnTo>
                    <a:pt x="10309" y="21600"/>
                  </a:lnTo>
                  <a:cubicBezTo>
                    <a:pt x="10580" y="21600"/>
                    <a:pt x="10800" y="21381"/>
                    <a:pt x="10800" y="21109"/>
                  </a:cubicBezTo>
                  <a:cubicBezTo>
                    <a:pt x="10800" y="21072"/>
                    <a:pt x="10787" y="21039"/>
                    <a:pt x="10779" y="21005"/>
                  </a:cubicBezTo>
                  <a:lnTo>
                    <a:pt x="10788" y="21003"/>
                  </a:lnTo>
                  <a:lnTo>
                    <a:pt x="9437" y="14923"/>
                  </a:lnTo>
                  <a:lnTo>
                    <a:pt x="15709" y="16805"/>
                  </a:lnTo>
                  <a:lnTo>
                    <a:pt x="15709" y="17182"/>
                  </a:lnTo>
                  <a:cubicBezTo>
                    <a:pt x="15709" y="17995"/>
                    <a:pt x="16368" y="18655"/>
                    <a:pt x="17182" y="18655"/>
                  </a:cubicBezTo>
                  <a:cubicBezTo>
                    <a:pt x="17995" y="18655"/>
                    <a:pt x="18655" y="17995"/>
                    <a:pt x="18655" y="17182"/>
                  </a:cubicBezTo>
                  <a:lnTo>
                    <a:pt x="18655" y="12273"/>
                  </a:lnTo>
                  <a:cubicBezTo>
                    <a:pt x="20281" y="12273"/>
                    <a:pt x="21600" y="10954"/>
                    <a:pt x="21600" y="9327"/>
                  </a:cubicBezTo>
                  <a:cubicBezTo>
                    <a:pt x="21600" y="7701"/>
                    <a:pt x="20281" y="6382"/>
                    <a:pt x="18655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 2690">
              <a:extLst>
                <a:ext uri="{FF2B5EF4-FFF2-40B4-BE49-F238E27FC236}">
                  <a16:creationId xmlns:a16="http://schemas.microsoft.com/office/drawing/2014/main" id="{203CF94B-B8A8-4069-8F60-08F7DE078D87}"/>
                </a:ext>
              </a:extLst>
            </p:cNvPr>
            <p:cNvSpPr/>
            <p:nvPr/>
          </p:nvSpPr>
          <p:spPr bwMode="gray">
            <a:xfrm>
              <a:off x="7855595" y="2323895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880"/>
                  </a:moveTo>
                  <a:cubicBezTo>
                    <a:pt x="20618" y="12476"/>
                    <a:pt x="20178" y="12960"/>
                    <a:pt x="19636" y="12960"/>
                  </a:cubicBezTo>
                  <a:lnTo>
                    <a:pt x="19636" y="8640"/>
                  </a:lnTo>
                  <a:cubicBezTo>
                    <a:pt x="20178" y="8640"/>
                    <a:pt x="20618" y="9124"/>
                    <a:pt x="20618" y="9720"/>
                  </a:cubicBezTo>
                  <a:cubicBezTo>
                    <a:pt x="20618" y="9720"/>
                    <a:pt x="20618" y="11880"/>
                    <a:pt x="20618" y="11880"/>
                  </a:cubicBezTo>
                  <a:close/>
                  <a:moveTo>
                    <a:pt x="18655" y="19980"/>
                  </a:moveTo>
                  <a:cubicBezTo>
                    <a:pt x="18655" y="20279"/>
                    <a:pt x="18434" y="20520"/>
                    <a:pt x="18164" y="20520"/>
                  </a:cubicBezTo>
                  <a:cubicBezTo>
                    <a:pt x="17893" y="20520"/>
                    <a:pt x="17673" y="20279"/>
                    <a:pt x="17673" y="19980"/>
                  </a:cubicBezTo>
                  <a:lnTo>
                    <a:pt x="17673" y="1620"/>
                  </a:lnTo>
                  <a:cubicBezTo>
                    <a:pt x="17673" y="1322"/>
                    <a:pt x="17893" y="1080"/>
                    <a:pt x="18164" y="1080"/>
                  </a:cubicBezTo>
                  <a:cubicBezTo>
                    <a:pt x="18434" y="1080"/>
                    <a:pt x="18655" y="1322"/>
                    <a:pt x="18655" y="1620"/>
                  </a:cubicBezTo>
                  <a:cubicBezTo>
                    <a:pt x="18655" y="1620"/>
                    <a:pt x="18655" y="19980"/>
                    <a:pt x="18655" y="19980"/>
                  </a:cubicBezTo>
                  <a:close/>
                  <a:moveTo>
                    <a:pt x="16691" y="18404"/>
                  </a:moveTo>
                  <a:lnTo>
                    <a:pt x="2944" y="13512"/>
                  </a:lnTo>
                  <a:cubicBezTo>
                    <a:pt x="2944" y="13508"/>
                    <a:pt x="2945" y="13504"/>
                    <a:pt x="2945" y="13500"/>
                  </a:cubicBezTo>
                  <a:lnTo>
                    <a:pt x="2945" y="8100"/>
                  </a:lnTo>
                  <a:cubicBezTo>
                    <a:pt x="2945" y="8096"/>
                    <a:pt x="2944" y="8093"/>
                    <a:pt x="2944" y="8089"/>
                  </a:cubicBezTo>
                  <a:lnTo>
                    <a:pt x="16691" y="3197"/>
                  </a:lnTo>
                  <a:cubicBezTo>
                    <a:pt x="16691" y="3197"/>
                    <a:pt x="16691" y="18404"/>
                    <a:pt x="16691" y="18404"/>
                  </a:cubicBezTo>
                  <a:close/>
                  <a:moveTo>
                    <a:pt x="12480" y="18725"/>
                  </a:moveTo>
                  <a:cubicBezTo>
                    <a:pt x="12316" y="19294"/>
                    <a:pt x="11764" y="19608"/>
                    <a:pt x="11247" y="19428"/>
                  </a:cubicBezTo>
                  <a:lnTo>
                    <a:pt x="6102" y="17625"/>
                  </a:lnTo>
                  <a:cubicBezTo>
                    <a:pt x="5585" y="17444"/>
                    <a:pt x="5299" y="16837"/>
                    <a:pt x="5464" y="16269"/>
                  </a:cubicBezTo>
                  <a:lnTo>
                    <a:pt x="5654" y="15610"/>
                  </a:lnTo>
                  <a:lnTo>
                    <a:pt x="12661" y="18104"/>
                  </a:lnTo>
                  <a:cubicBezTo>
                    <a:pt x="12661" y="18104"/>
                    <a:pt x="12480" y="18725"/>
                    <a:pt x="12480" y="18725"/>
                  </a:cubicBezTo>
                  <a:close/>
                  <a:moveTo>
                    <a:pt x="1964" y="13500"/>
                  </a:moveTo>
                  <a:lnTo>
                    <a:pt x="982" y="13500"/>
                  </a:lnTo>
                  <a:lnTo>
                    <a:pt x="982" y="8100"/>
                  </a:lnTo>
                  <a:lnTo>
                    <a:pt x="1964" y="8100"/>
                  </a:lnTo>
                  <a:cubicBezTo>
                    <a:pt x="1964" y="8100"/>
                    <a:pt x="1964" y="13500"/>
                    <a:pt x="1964" y="13500"/>
                  </a:cubicBezTo>
                  <a:close/>
                  <a:moveTo>
                    <a:pt x="19636" y="7560"/>
                  </a:moveTo>
                  <a:lnTo>
                    <a:pt x="19636" y="1620"/>
                  </a:lnTo>
                  <a:cubicBezTo>
                    <a:pt x="19636" y="725"/>
                    <a:pt x="18977" y="0"/>
                    <a:pt x="18164" y="0"/>
                  </a:cubicBezTo>
                  <a:cubicBezTo>
                    <a:pt x="17350" y="0"/>
                    <a:pt x="16691" y="725"/>
                    <a:pt x="16691" y="1620"/>
                  </a:cubicBezTo>
                  <a:lnTo>
                    <a:pt x="16691" y="2062"/>
                  </a:lnTo>
                  <a:lnTo>
                    <a:pt x="2411" y="7144"/>
                  </a:lnTo>
                  <a:cubicBezTo>
                    <a:pt x="2276" y="7067"/>
                    <a:pt x="2126" y="7020"/>
                    <a:pt x="1964" y="7020"/>
                  </a:cubicBezTo>
                  <a:lnTo>
                    <a:pt x="982" y="7020"/>
                  </a:lnTo>
                  <a:cubicBezTo>
                    <a:pt x="440" y="7020"/>
                    <a:pt x="0" y="7504"/>
                    <a:pt x="0" y="8100"/>
                  </a:cubicBezTo>
                  <a:lnTo>
                    <a:pt x="0" y="13500"/>
                  </a:lnTo>
                  <a:cubicBezTo>
                    <a:pt x="0" y="14097"/>
                    <a:pt x="440" y="14580"/>
                    <a:pt x="982" y="14580"/>
                  </a:cubicBezTo>
                  <a:lnTo>
                    <a:pt x="1964" y="14580"/>
                  </a:lnTo>
                  <a:cubicBezTo>
                    <a:pt x="2126" y="14580"/>
                    <a:pt x="2276" y="14533"/>
                    <a:pt x="2411" y="14457"/>
                  </a:cubicBezTo>
                  <a:lnTo>
                    <a:pt x="4720" y="15278"/>
                  </a:lnTo>
                  <a:lnTo>
                    <a:pt x="4529" y="15941"/>
                  </a:lnTo>
                  <a:cubicBezTo>
                    <a:pt x="4199" y="17078"/>
                    <a:pt x="4770" y="18292"/>
                    <a:pt x="5803" y="18654"/>
                  </a:cubicBezTo>
                  <a:lnTo>
                    <a:pt x="10949" y="20456"/>
                  </a:lnTo>
                  <a:cubicBezTo>
                    <a:pt x="11983" y="20819"/>
                    <a:pt x="13087" y="20190"/>
                    <a:pt x="13416" y="19053"/>
                  </a:cubicBezTo>
                  <a:lnTo>
                    <a:pt x="13595" y="18437"/>
                  </a:lnTo>
                  <a:lnTo>
                    <a:pt x="16691" y="19538"/>
                  </a:lnTo>
                  <a:lnTo>
                    <a:pt x="16691" y="19980"/>
                  </a:lnTo>
                  <a:cubicBezTo>
                    <a:pt x="16691" y="20875"/>
                    <a:pt x="17350" y="21600"/>
                    <a:pt x="18164" y="21600"/>
                  </a:cubicBezTo>
                  <a:cubicBezTo>
                    <a:pt x="18977" y="21600"/>
                    <a:pt x="19636" y="20875"/>
                    <a:pt x="19636" y="19980"/>
                  </a:cubicBezTo>
                  <a:lnTo>
                    <a:pt x="19636" y="14040"/>
                  </a:lnTo>
                  <a:cubicBezTo>
                    <a:pt x="20721" y="14040"/>
                    <a:pt x="21600" y="13073"/>
                    <a:pt x="21600" y="11880"/>
                  </a:cubicBezTo>
                  <a:lnTo>
                    <a:pt x="21600" y="9720"/>
                  </a:lnTo>
                  <a:cubicBezTo>
                    <a:pt x="21600" y="8527"/>
                    <a:pt x="20721" y="7560"/>
                    <a:pt x="19636" y="756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Shape 2691">
              <a:extLst>
                <a:ext uri="{FF2B5EF4-FFF2-40B4-BE49-F238E27FC236}">
                  <a16:creationId xmlns:a16="http://schemas.microsoft.com/office/drawing/2014/main" id="{512EEA4A-54C8-41E2-9504-79195D13461F}"/>
                </a:ext>
              </a:extLst>
            </p:cNvPr>
            <p:cNvSpPr/>
            <p:nvPr/>
          </p:nvSpPr>
          <p:spPr bwMode="gray">
            <a:xfrm>
              <a:off x="8472989" y="2310759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9924"/>
                  </a:moveTo>
                  <a:lnTo>
                    <a:pt x="12600" y="12476"/>
                  </a:lnTo>
                  <a:lnTo>
                    <a:pt x="19427" y="16200"/>
                  </a:lnTo>
                  <a:cubicBezTo>
                    <a:pt x="19427" y="16200"/>
                    <a:pt x="12600" y="19924"/>
                    <a:pt x="12600" y="19924"/>
                  </a:cubicBezTo>
                  <a:close/>
                  <a:moveTo>
                    <a:pt x="12600" y="1676"/>
                  </a:moveTo>
                  <a:lnTo>
                    <a:pt x="19427" y="5400"/>
                  </a:lnTo>
                  <a:lnTo>
                    <a:pt x="12600" y="9124"/>
                  </a:lnTo>
                  <a:cubicBezTo>
                    <a:pt x="12600" y="9124"/>
                    <a:pt x="12600" y="1676"/>
                    <a:pt x="12600" y="1676"/>
                  </a:cubicBezTo>
                  <a:close/>
                  <a:moveTo>
                    <a:pt x="21352" y="15862"/>
                  </a:moveTo>
                  <a:lnTo>
                    <a:pt x="21337" y="15854"/>
                  </a:lnTo>
                  <a:cubicBezTo>
                    <a:pt x="21336" y="15853"/>
                    <a:pt x="21335" y="15853"/>
                    <a:pt x="21335" y="15852"/>
                  </a:cubicBezTo>
                  <a:lnTo>
                    <a:pt x="12600" y="11088"/>
                  </a:lnTo>
                  <a:lnTo>
                    <a:pt x="12600" y="10512"/>
                  </a:lnTo>
                  <a:lnTo>
                    <a:pt x="21335" y="5748"/>
                  </a:lnTo>
                  <a:lnTo>
                    <a:pt x="21336" y="5747"/>
                  </a:lnTo>
                  <a:lnTo>
                    <a:pt x="21352" y="5739"/>
                  </a:lnTo>
                  <a:lnTo>
                    <a:pt x="21349" y="5738"/>
                  </a:lnTo>
                  <a:cubicBezTo>
                    <a:pt x="21503" y="5649"/>
                    <a:pt x="21600" y="5532"/>
                    <a:pt x="21600" y="5400"/>
                  </a:cubicBezTo>
                  <a:cubicBezTo>
                    <a:pt x="21600" y="5265"/>
                    <a:pt x="21499" y="5142"/>
                    <a:pt x="21336" y="5053"/>
                  </a:cubicBezTo>
                  <a:lnTo>
                    <a:pt x="12336" y="144"/>
                  </a:lnTo>
                  <a:cubicBezTo>
                    <a:pt x="12173" y="55"/>
                    <a:pt x="11948" y="0"/>
                    <a:pt x="11700" y="0"/>
                  </a:cubicBezTo>
                  <a:cubicBezTo>
                    <a:pt x="11203" y="0"/>
                    <a:pt x="10800" y="220"/>
                    <a:pt x="10800" y="491"/>
                  </a:cubicBezTo>
                  <a:lnTo>
                    <a:pt x="10800" y="10106"/>
                  </a:lnTo>
                  <a:lnTo>
                    <a:pt x="1552" y="5062"/>
                  </a:lnTo>
                  <a:lnTo>
                    <a:pt x="1549" y="5063"/>
                  </a:lnTo>
                  <a:cubicBezTo>
                    <a:pt x="1385" y="4969"/>
                    <a:pt x="1157" y="4909"/>
                    <a:pt x="900" y="4909"/>
                  </a:cubicBezTo>
                  <a:cubicBezTo>
                    <a:pt x="403" y="4909"/>
                    <a:pt x="0" y="5129"/>
                    <a:pt x="0" y="5400"/>
                  </a:cubicBezTo>
                  <a:cubicBezTo>
                    <a:pt x="0" y="5532"/>
                    <a:pt x="97" y="5649"/>
                    <a:pt x="251" y="5738"/>
                  </a:cubicBezTo>
                  <a:lnTo>
                    <a:pt x="248" y="5739"/>
                  </a:lnTo>
                  <a:lnTo>
                    <a:pt x="264" y="5747"/>
                  </a:lnTo>
                  <a:lnTo>
                    <a:pt x="264" y="5748"/>
                  </a:lnTo>
                  <a:lnTo>
                    <a:pt x="9527" y="10800"/>
                  </a:lnTo>
                  <a:lnTo>
                    <a:pt x="265" y="15852"/>
                  </a:lnTo>
                  <a:cubicBezTo>
                    <a:pt x="265" y="15853"/>
                    <a:pt x="264" y="15853"/>
                    <a:pt x="263" y="15854"/>
                  </a:cubicBezTo>
                  <a:lnTo>
                    <a:pt x="248" y="15862"/>
                  </a:lnTo>
                  <a:lnTo>
                    <a:pt x="251" y="15863"/>
                  </a:lnTo>
                  <a:cubicBezTo>
                    <a:pt x="97" y="15951"/>
                    <a:pt x="0" y="16069"/>
                    <a:pt x="0" y="16200"/>
                  </a:cubicBezTo>
                  <a:cubicBezTo>
                    <a:pt x="0" y="16471"/>
                    <a:pt x="403" y="16691"/>
                    <a:pt x="900" y="16691"/>
                  </a:cubicBezTo>
                  <a:cubicBezTo>
                    <a:pt x="1157" y="16691"/>
                    <a:pt x="1385" y="16631"/>
                    <a:pt x="1549" y="16537"/>
                  </a:cubicBezTo>
                  <a:lnTo>
                    <a:pt x="1552" y="16539"/>
                  </a:lnTo>
                  <a:lnTo>
                    <a:pt x="10800" y="11494"/>
                  </a:lnTo>
                  <a:lnTo>
                    <a:pt x="10800" y="21109"/>
                  </a:lnTo>
                  <a:cubicBezTo>
                    <a:pt x="10800" y="21380"/>
                    <a:pt x="11203" y="21600"/>
                    <a:pt x="11700" y="21600"/>
                  </a:cubicBezTo>
                  <a:cubicBezTo>
                    <a:pt x="11948" y="21600"/>
                    <a:pt x="12173" y="21546"/>
                    <a:pt x="12336" y="21456"/>
                  </a:cubicBezTo>
                  <a:lnTo>
                    <a:pt x="21336" y="16547"/>
                  </a:lnTo>
                  <a:cubicBezTo>
                    <a:pt x="21499" y="16458"/>
                    <a:pt x="21600" y="16336"/>
                    <a:pt x="21600" y="16200"/>
                  </a:cubicBezTo>
                  <a:cubicBezTo>
                    <a:pt x="21600" y="16069"/>
                    <a:pt x="21503" y="15951"/>
                    <a:pt x="21349" y="15863"/>
                  </a:cubicBezTo>
                  <a:cubicBezTo>
                    <a:pt x="21349" y="15863"/>
                    <a:pt x="21352" y="15862"/>
                    <a:pt x="21352" y="1586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Shape 2692">
              <a:extLst>
                <a:ext uri="{FF2B5EF4-FFF2-40B4-BE49-F238E27FC236}">
                  <a16:creationId xmlns:a16="http://schemas.microsoft.com/office/drawing/2014/main" id="{B0048639-C30F-4064-929A-92E4072B6EDE}"/>
                </a:ext>
              </a:extLst>
            </p:cNvPr>
            <p:cNvSpPr/>
            <p:nvPr/>
          </p:nvSpPr>
          <p:spPr bwMode="gray">
            <a:xfrm>
              <a:off x="8985294" y="2310759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00" y="16691"/>
                  </a:moveTo>
                  <a:lnTo>
                    <a:pt x="15600" y="16691"/>
                  </a:lnTo>
                  <a:lnTo>
                    <a:pt x="15600" y="14727"/>
                  </a:lnTo>
                  <a:lnTo>
                    <a:pt x="13200" y="14727"/>
                  </a:lnTo>
                  <a:cubicBezTo>
                    <a:pt x="13200" y="14727"/>
                    <a:pt x="13200" y="16691"/>
                    <a:pt x="13200" y="16691"/>
                  </a:cubicBezTo>
                  <a:close/>
                  <a:moveTo>
                    <a:pt x="9600" y="10800"/>
                  </a:moveTo>
                  <a:lnTo>
                    <a:pt x="12000" y="10800"/>
                  </a:lnTo>
                  <a:lnTo>
                    <a:pt x="12000" y="8836"/>
                  </a:lnTo>
                  <a:lnTo>
                    <a:pt x="9600" y="8836"/>
                  </a:lnTo>
                  <a:cubicBezTo>
                    <a:pt x="9600" y="8836"/>
                    <a:pt x="9600" y="10800"/>
                    <a:pt x="9600" y="10800"/>
                  </a:cubicBezTo>
                  <a:close/>
                  <a:moveTo>
                    <a:pt x="13200" y="19636"/>
                  </a:moveTo>
                  <a:lnTo>
                    <a:pt x="15600" y="19636"/>
                  </a:lnTo>
                  <a:lnTo>
                    <a:pt x="15600" y="17673"/>
                  </a:lnTo>
                  <a:lnTo>
                    <a:pt x="13200" y="17673"/>
                  </a:lnTo>
                  <a:cubicBezTo>
                    <a:pt x="13200" y="17673"/>
                    <a:pt x="13200" y="19636"/>
                    <a:pt x="13200" y="19636"/>
                  </a:cubicBezTo>
                  <a:close/>
                  <a:moveTo>
                    <a:pt x="13200" y="13745"/>
                  </a:moveTo>
                  <a:lnTo>
                    <a:pt x="15600" y="13745"/>
                  </a:lnTo>
                  <a:lnTo>
                    <a:pt x="15600" y="11782"/>
                  </a:lnTo>
                  <a:lnTo>
                    <a:pt x="13200" y="11782"/>
                  </a:lnTo>
                  <a:cubicBezTo>
                    <a:pt x="13200" y="11782"/>
                    <a:pt x="13200" y="13745"/>
                    <a:pt x="13200" y="13745"/>
                  </a:cubicBezTo>
                  <a:close/>
                  <a:moveTo>
                    <a:pt x="16800" y="10800"/>
                  </a:moveTo>
                  <a:lnTo>
                    <a:pt x="19200" y="10800"/>
                  </a:lnTo>
                  <a:lnTo>
                    <a:pt x="19200" y="8836"/>
                  </a:lnTo>
                  <a:lnTo>
                    <a:pt x="16800" y="8836"/>
                  </a:lnTo>
                  <a:cubicBezTo>
                    <a:pt x="16800" y="8836"/>
                    <a:pt x="16800" y="10800"/>
                    <a:pt x="16800" y="10800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13200" y="10800"/>
                  </a:moveTo>
                  <a:lnTo>
                    <a:pt x="15600" y="10800"/>
                  </a:lnTo>
                  <a:lnTo>
                    <a:pt x="15600" y="8836"/>
                  </a:lnTo>
                  <a:lnTo>
                    <a:pt x="13200" y="8836"/>
                  </a:lnTo>
                  <a:cubicBezTo>
                    <a:pt x="13200" y="8836"/>
                    <a:pt x="13200" y="10800"/>
                    <a:pt x="13200" y="10800"/>
                  </a:cubicBezTo>
                  <a:close/>
                  <a:moveTo>
                    <a:pt x="3600" y="2945"/>
                  </a:moveTo>
                  <a:lnTo>
                    <a:pt x="18000" y="2945"/>
                  </a:lnTo>
                  <a:lnTo>
                    <a:pt x="18000" y="6873"/>
                  </a:lnTo>
                  <a:lnTo>
                    <a:pt x="3600" y="6873"/>
                  </a:lnTo>
                  <a:cubicBezTo>
                    <a:pt x="3600" y="6873"/>
                    <a:pt x="3600" y="2945"/>
                    <a:pt x="3600" y="2945"/>
                  </a:cubicBezTo>
                  <a:close/>
                  <a:moveTo>
                    <a:pt x="2400" y="7855"/>
                  </a:moveTo>
                  <a:lnTo>
                    <a:pt x="19200" y="7855"/>
                  </a:lnTo>
                  <a:lnTo>
                    <a:pt x="19200" y="1964"/>
                  </a:lnTo>
                  <a:lnTo>
                    <a:pt x="2400" y="1964"/>
                  </a:lnTo>
                  <a:cubicBezTo>
                    <a:pt x="2400" y="1964"/>
                    <a:pt x="2400" y="7855"/>
                    <a:pt x="2400" y="7855"/>
                  </a:cubicBezTo>
                  <a:close/>
                  <a:moveTo>
                    <a:pt x="9600" y="13745"/>
                  </a:moveTo>
                  <a:lnTo>
                    <a:pt x="12000" y="13745"/>
                  </a:lnTo>
                  <a:lnTo>
                    <a:pt x="12000" y="11782"/>
                  </a:lnTo>
                  <a:lnTo>
                    <a:pt x="9600" y="11782"/>
                  </a:lnTo>
                  <a:cubicBezTo>
                    <a:pt x="9600" y="11782"/>
                    <a:pt x="9600" y="13745"/>
                    <a:pt x="9600" y="13745"/>
                  </a:cubicBezTo>
                  <a:close/>
                  <a:moveTo>
                    <a:pt x="16800" y="19636"/>
                  </a:moveTo>
                  <a:lnTo>
                    <a:pt x="19200" y="19636"/>
                  </a:lnTo>
                  <a:lnTo>
                    <a:pt x="19200" y="11782"/>
                  </a:lnTo>
                  <a:lnTo>
                    <a:pt x="16800" y="11782"/>
                  </a:lnTo>
                  <a:cubicBezTo>
                    <a:pt x="16800" y="11782"/>
                    <a:pt x="16800" y="19636"/>
                    <a:pt x="16800" y="19636"/>
                  </a:cubicBezTo>
                  <a:close/>
                  <a:moveTo>
                    <a:pt x="2400" y="16691"/>
                  </a:moveTo>
                  <a:lnTo>
                    <a:pt x="4800" y="16691"/>
                  </a:lnTo>
                  <a:lnTo>
                    <a:pt x="4800" y="14727"/>
                  </a:lnTo>
                  <a:lnTo>
                    <a:pt x="2400" y="14727"/>
                  </a:lnTo>
                  <a:cubicBezTo>
                    <a:pt x="2400" y="14727"/>
                    <a:pt x="2400" y="16691"/>
                    <a:pt x="2400" y="16691"/>
                  </a:cubicBezTo>
                  <a:close/>
                  <a:moveTo>
                    <a:pt x="2400" y="10800"/>
                  </a:moveTo>
                  <a:lnTo>
                    <a:pt x="4800" y="10800"/>
                  </a:lnTo>
                  <a:lnTo>
                    <a:pt x="4800" y="8836"/>
                  </a:lnTo>
                  <a:lnTo>
                    <a:pt x="2400" y="8836"/>
                  </a:lnTo>
                  <a:cubicBezTo>
                    <a:pt x="2400" y="8836"/>
                    <a:pt x="2400" y="10800"/>
                    <a:pt x="2400" y="10800"/>
                  </a:cubicBezTo>
                  <a:close/>
                  <a:moveTo>
                    <a:pt x="2400" y="19636"/>
                  </a:moveTo>
                  <a:lnTo>
                    <a:pt x="4800" y="19636"/>
                  </a:lnTo>
                  <a:lnTo>
                    <a:pt x="4800" y="17673"/>
                  </a:lnTo>
                  <a:lnTo>
                    <a:pt x="2400" y="17673"/>
                  </a:lnTo>
                  <a:cubicBezTo>
                    <a:pt x="2400" y="17673"/>
                    <a:pt x="2400" y="19636"/>
                    <a:pt x="2400" y="19636"/>
                  </a:cubicBezTo>
                  <a:close/>
                  <a:moveTo>
                    <a:pt x="2400" y="13745"/>
                  </a:moveTo>
                  <a:lnTo>
                    <a:pt x="4800" y="13745"/>
                  </a:lnTo>
                  <a:lnTo>
                    <a:pt x="4800" y="11782"/>
                  </a:lnTo>
                  <a:lnTo>
                    <a:pt x="2400" y="11782"/>
                  </a:lnTo>
                  <a:cubicBezTo>
                    <a:pt x="2400" y="11782"/>
                    <a:pt x="2400" y="13745"/>
                    <a:pt x="2400" y="13745"/>
                  </a:cubicBezTo>
                  <a:close/>
                  <a:moveTo>
                    <a:pt x="9600" y="16691"/>
                  </a:moveTo>
                  <a:lnTo>
                    <a:pt x="12000" y="16691"/>
                  </a:lnTo>
                  <a:lnTo>
                    <a:pt x="12000" y="14727"/>
                  </a:lnTo>
                  <a:lnTo>
                    <a:pt x="9600" y="14727"/>
                  </a:lnTo>
                  <a:cubicBezTo>
                    <a:pt x="9600" y="14727"/>
                    <a:pt x="9600" y="16691"/>
                    <a:pt x="9600" y="16691"/>
                  </a:cubicBezTo>
                  <a:close/>
                  <a:moveTo>
                    <a:pt x="6000" y="19636"/>
                  </a:moveTo>
                  <a:lnTo>
                    <a:pt x="8400" y="19636"/>
                  </a:lnTo>
                  <a:lnTo>
                    <a:pt x="8400" y="17673"/>
                  </a:lnTo>
                  <a:lnTo>
                    <a:pt x="6000" y="17673"/>
                  </a:lnTo>
                  <a:cubicBezTo>
                    <a:pt x="6000" y="17673"/>
                    <a:pt x="6000" y="19636"/>
                    <a:pt x="6000" y="19636"/>
                  </a:cubicBezTo>
                  <a:close/>
                  <a:moveTo>
                    <a:pt x="9600" y="19636"/>
                  </a:moveTo>
                  <a:lnTo>
                    <a:pt x="12000" y="19636"/>
                  </a:lnTo>
                  <a:lnTo>
                    <a:pt x="12000" y="17673"/>
                  </a:lnTo>
                  <a:lnTo>
                    <a:pt x="9600" y="17673"/>
                  </a:lnTo>
                  <a:cubicBezTo>
                    <a:pt x="9600" y="17673"/>
                    <a:pt x="9600" y="19636"/>
                    <a:pt x="9600" y="19636"/>
                  </a:cubicBezTo>
                  <a:close/>
                  <a:moveTo>
                    <a:pt x="6000" y="16691"/>
                  </a:moveTo>
                  <a:lnTo>
                    <a:pt x="8400" y="16691"/>
                  </a:lnTo>
                  <a:lnTo>
                    <a:pt x="8400" y="14727"/>
                  </a:lnTo>
                  <a:lnTo>
                    <a:pt x="6000" y="14727"/>
                  </a:lnTo>
                  <a:cubicBezTo>
                    <a:pt x="6000" y="14727"/>
                    <a:pt x="6000" y="16691"/>
                    <a:pt x="6000" y="16691"/>
                  </a:cubicBezTo>
                  <a:close/>
                  <a:moveTo>
                    <a:pt x="6000" y="13745"/>
                  </a:moveTo>
                  <a:lnTo>
                    <a:pt x="8400" y="13745"/>
                  </a:lnTo>
                  <a:lnTo>
                    <a:pt x="8400" y="11782"/>
                  </a:lnTo>
                  <a:lnTo>
                    <a:pt x="6000" y="11782"/>
                  </a:lnTo>
                  <a:cubicBezTo>
                    <a:pt x="6000" y="11782"/>
                    <a:pt x="6000" y="13745"/>
                    <a:pt x="6000" y="13745"/>
                  </a:cubicBezTo>
                  <a:close/>
                  <a:moveTo>
                    <a:pt x="6000" y="10800"/>
                  </a:moveTo>
                  <a:lnTo>
                    <a:pt x="8400" y="10800"/>
                  </a:lnTo>
                  <a:lnTo>
                    <a:pt x="8400" y="8836"/>
                  </a:lnTo>
                  <a:lnTo>
                    <a:pt x="6000" y="8836"/>
                  </a:lnTo>
                  <a:cubicBezTo>
                    <a:pt x="6000" y="8836"/>
                    <a:pt x="6000" y="10800"/>
                    <a:pt x="6000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Shape 2693">
              <a:extLst>
                <a:ext uri="{FF2B5EF4-FFF2-40B4-BE49-F238E27FC236}">
                  <a16:creationId xmlns:a16="http://schemas.microsoft.com/office/drawing/2014/main" id="{7AF84F0E-31D1-4A8B-9B25-9F3740609E10}"/>
                </a:ext>
              </a:extLst>
            </p:cNvPr>
            <p:cNvSpPr/>
            <p:nvPr/>
          </p:nvSpPr>
          <p:spPr bwMode="gray">
            <a:xfrm>
              <a:off x="9510736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1782"/>
                  </a:moveTo>
                  <a:lnTo>
                    <a:pt x="9818" y="11782"/>
                  </a:lnTo>
                  <a:lnTo>
                    <a:pt x="9818" y="13745"/>
                  </a:lnTo>
                  <a:lnTo>
                    <a:pt x="11782" y="13745"/>
                  </a:lnTo>
                  <a:cubicBezTo>
                    <a:pt x="11782" y="13745"/>
                    <a:pt x="11782" y="11782"/>
                    <a:pt x="11782" y="11782"/>
                  </a:cubicBezTo>
                  <a:close/>
                  <a:moveTo>
                    <a:pt x="7855" y="17673"/>
                  </a:moveTo>
                  <a:lnTo>
                    <a:pt x="9818" y="17673"/>
                  </a:lnTo>
                  <a:lnTo>
                    <a:pt x="9818" y="16691"/>
                  </a:lnTo>
                  <a:lnTo>
                    <a:pt x="7855" y="16691"/>
                  </a:lnTo>
                  <a:cubicBezTo>
                    <a:pt x="7855" y="16691"/>
                    <a:pt x="7855" y="17673"/>
                    <a:pt x="7855" y="17673"/>
                  </a:cubicBezTo>
                  <a:close/>
                  <a:moveTo>
                    <a:pt x="11782" y="17673"/>
                  </a:moveTo>
                  <a:lnTo>
                    <a:pt x="13745" y="17673"/>
                  </a:lnTo>
                  <a:lnTo>
                    <a:pt x="13745" y="16691"/>
                  </a:lnTo>
                  <a:lnTo>
                    <a:pt x="11782" y="16691"/>
                  </a:lnTo>
                  <a:cubicBezTo>
                    <a:pt x="11782" y="16691"/>
                    <a:pt x="11782" y="17673"/>
                    <a:pt x="11782" y="17673"/>
                  </a:cubicBezTo>
                  <a:close/>
                  <a:moveTo>
                    <a:pt x="12764" y="8836"/>
                  </a:moveTo>
                  <a:cubicBezTo>
                    <a:pt x="12492" y="8836"/>
                    <a:pt x="12273" y="9056"/>
                    <a:pt x="12273" y="9327"/>
                  </a:cubicBezTo>
                  <a:cubicBezTo>
                    <a:pt x="12273" y="9599"/>
                    <a:pt x="12492" y="9818"/>
                    <a:pt x="12764" y="9818"/>
                  </a:cubicBezTo>
                  <a:cubicBezTo>
                    <a:pt x="13035" y="9818"/>
                    <a:pt x="13255" y="9599"/>
                    <a:pt x="13255" y="9327"/>
                  </a:cubicBezTo>
                  <a:cubicBezTo>
                    <a:pt x="13255" y="9056"/>
                    <a:pt x="13035" y="8836"/>
                    <a:pt x="12764" y="8836"/>
                  </a:cubicBezTo>
                  <a:moveTo>
                    <a:pt x="3927" y="12764"/>
                  </a:moveTo>
                  <a:cubicBezTo>
                    <a:pt x="3927" y="11679"/>
                    <a:pt x="4806" y="10800"/>
                    <a:pt x="5891" y="10800"/>
                  </a:cubicBezTo>
                  <a:cubicBezTo>
                    <a:pt x="6975" y="10800"/>
                    <a:pt x="7855" y="11679"/>
                    <a:pt x="7855" y="12764"/>
                  </a:cubicBezTo>
                  <a:cubicBezTo>
                    <a:pt x="7855" y="13848"/>
                    <a:pt x="6975" y="14727"/>
                    <a:pt x="5891" y="14727"/>
                  </a:cubicBezTo>
                  <a:cubicBezTo>
                    <a:pt x="4806" y="14727"/>
                    <a:pt x="3927" y="13848"/>
                    <a:pt x="3927" y="12764"/>
                  </a:cubicBezTo>
                  <a:moveTo>
                    <a:pt x="17673" y="12764"/>
                  </a:moveTo>
                  <a:cubicBezTo>
                    <a:pt x="17673" y="13848"/>
                    <a:pt x="16794" y="14727"/>
                    <a:pt x="15709" y="14727"/>
                  </a:cubicBezTo>
                  <a:cubicBezTo>
                    <a:pt x="14625" y="14727"/>
                    <a:pt x="13745" y="13848"/>
                    <a:pt x="13745" y="12764"/>
                  </a:cubicBezTo>
                  <a:cubicBezTo>
                    <a:pt x="13745" y="11679"/>
                    <a:pt x="14625" y="10800"/>
                    <a:pt x="15709" y="10800"/>
                  </a:cubicBezTo>
                  <a:cubicBezTo>
                    <a:pt x="16794" y="10800"/>
                    <a:pt x="17673" y="11679"/>
                    <a:pt x="17673" y="12764"/>
                  </a:cubicBezTo>
                  <a:moveTo>
                    <a:pt x="20618" y="8836"/>
                  </a:moveTo>
                  <a:lnTo>
                    <a:pt x="19145" y="8836"/>
                  </a:lnTo>
                  <a:cubicBezTo>
                    <a:pt x="18874" y="8836"/>
                    <a:pt x="18655" y="9056"/>
                    <a:pt x="18655" y="9327"/>
                  </a:cubicBezTo>
                  <a:cubicBezTo>
                    <a:pt x="18655" y="9599"/>
                    <a:pt x="18874" y="9818"/>
                    <a:pt x="19145" y="9818"/>
                  </a:cubicBezTo>
                  <a:lnTo>
                    <a:pt x="20618" y="9818"/>
                  </a:lnTo>
                  <a:lnTo>
                    <a:pt x="20618" y="12273"/>
                  </a:lnTo>
                  <a:lnTo>
                    <a:pt x="18605" y="12273"/>
                  </a:lnTo>
                  <a:cubicBezTo>
                    <a:pt x="18370" y="10881"/>
                    <a:pt x="17167" y="9818"/>
                    <a:pt x="15709" y="9818"/>
                  </a:cubicBezTo>
                  <a:cubicBezTo>
                    <a:pt x="14082" y="9818"/>
                    <a:pt x="12764" y="11137"/>
                    <a:pt x="12764" y="12764"/>
                  </a:cubicBezTo>
                  <a:cubicBezTo>
                    <a:pt x="12764" y="14390"/>
                    <a:pt x="14082" y="15709"/>
                    <a:pt x="15709" y="15709"/>
                  </a:cubicBezTo>
                  <a:cubicBezTo>
                    <a:pt x="17167" y="15709"/>
                    <a:pt x="18370" y="14646"/>
                    <a:pt x="18605" y="13255"/>
                  </a:cubicBezTo>
                  <a:lnTo>
                    <a:pt x="20618" y="13255"/>
                  </a:lnTo>
                  <a:lnTo>
                    <a:pt x="20618" y="18655"/>
                  </a:lnTo>
                  <a:lnTo>
                    <a:pt x="982" y="18655"/>
                  </a:lnTo>
                  <a:lnTo>
                    <a:pt x="982" y="13255"/>
                  </a:lnTo>
                  <a:lnTo>
                    <a:pt x="2995" y="13255"/>
                  </a:lnTo>
                  <a:cubicBezTo>
                    <a:pt x="3230" y="14646"/>
                    <a:pt x="4433" y="15709"/>
                    <a:pt x="5891" y="15709"/>
                  </a:cubicBezTo>
                  <a:cubicBezTo>
                    <a:pt x="7517" y="15709"/>
                    <a:pt x="8836" y="14390"/>
                    <a:pt x="8836" y="12764"/>
                  </a:cubicBezTo>
                  <a:cubicBezTo>
                    <a:pt x="8836" y="11137"/>
                    <a:pt x="7517" y="9818"/>
                    <a:pt x="5891" y="9818"/>
                  </a:cubicBezTo>
                  <a:cubicBezTo>
                    <a:pt x="4433" y="9818"/>
                    <a:pt x="3230" y="10881"/>
                    <a:pt x="2995" y="12273"/>
                  </a:cubicBezTo>
                  <a:lnTo>
                    <a:pt x="982" y="12273"/>
                  </a:lnTo>
                  <a:lnTo>
                    <a:pt x="982" y="9818"/>
                  </a:lnTo>
                  <a:lnTo>
                    <a:pt x="2455" y="9818"/>
                  </a:lnTo>
                  <a:cubicBezTo>
                    <a:pt x="2726" y="9818"/>
                    <a:pt x="2945" y="9599"/>
                    <a:pt x="2945" y="9327"/>
                  </a:cubicBezTo>
                  <a:cubicBezTo>
                    <a:pt x="2945" y="9056"/>
                    <a:pt x="2726" y="8836"/>
                    <a:pt x="2455" y="8836"/>
                  </a:cubicBezTo>
                  <a:lnTo>
                    <a:pt x="982" y="8836"/>
                  </a:lnTo>
                  <a:lnTo>
                    <a:pt x="982" y="7855"/>
                  </a:lnTo>
                  <a:cubicBezTo>
                    <a:pt x="982" y="7313"/>
                    <a:pt x="1421" y="6873"/>
                    <a:pt x="1964" y="6873"/>
                  </a:cubicBezTo>
                  <a:lnTo>
                    <a:pt x="19636" y="6873"/>
                  </a:lnTo>
                  <a:cubicBezTo>
                    <a:pt x="20178" y="6873"/>
                    <a:pt x="20618" y="7313"/>
                    <a:pt x="20618" y="7855"/>
                  </a:cubicBezTo>
                  <a:cubicBezTo>
                    <a:pt x="20618" y="7855"/>
                    <a:pt x="20618" y="8836"/>
                    <a:pt x="20618" y="8836"/>
                  </a:cubicBezTo>
                  <a:close/>
                  <a:moveTo>
                    <a:pt x="19636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20618" y="19636"/>
                  </a:lnTo>
                  <a:cubicBezTo>
                    <a:pt x="20618" y="20178"/>
                    <a:pt x="20178" y="20618"/>
                    <a:pt x="19636" y="20618"/>
                  </a:cubicBezTo>
                  <a:moveTo>
                    <a:pt x="5891" y="4909"/>
                  </a:moveTo>
                  <a:lnTo>
                    <a:pt x="15709" y="4909"/>
                  </a:lnTo>
                  <a:lnTo>
                    <a:pt x="15709" y="5891"/>
                  </a:lnTo>
                  <a:lnTo>
                    <a:pt x="5891" y="5891"/>
                  </a:lnTo>
                  <a:cubicBezTo>
                    <a:pt x="5891" y="5891"/>
                    <a:pt x="5891" y="4909"/>
                    <a:pt x="5891" y="4909"/>
                  </a:cubicBezTo>
                  <a:close/>
                  <a:moveTo>
                    <a:pt x="19636" y="5891"/>
                  </a:moveTo>
                  <a:lnTo>
                    <a:pt x="19636" y="2855"/>
                  </a:lnTo>
                  <a:cubicBezTo>
                    <a:pt x="20207" y="2653"/>
                    <a:pt x="20618" y="2113"/>
                    <a:pt x="20618" y="1473"/>
                  </a:cubicBezTo>
                  <a:cubicBezTo>
                    <a:pt x="20618" y="659"/>
                    <a:pt x="19959" y="0"/>
                    <a:pt x="19145" y="0"/>
                  </a:cubicBezTo>
                  <a:cubicBezTo>
                    <a:pt x="18332" y="0"/>
                    <a:pt x="17673" y="659"/>
                    <a:pt x="17673" y="1473"/>
                  </a:cubicBezTo>
                  <a:cubicBezTo>
                    <a:pt x="17673" y="2113"/>
                    <a:pt x="18084" y="2653"/>
                    <a:pt x="18655" y="2855"/>
                  </a:cubicBezTo>
                  <a:lnTo>
                    <a:pt x="18655" y="5891"/>
                  </a:lnTo>
                  <a:lnTo>
                    <a:pt x="16691" y="5891"/>
                  </a:lnTo>
                  <a:lnTo>
                    <a:pt x="16691" y="4909"/>
                  </a:lnTo>
                  <a:cubicBezTo>
                    <a:pt x="16691" y="4367"/>
                    <a:pt x="16251" y="3927"/>
                    <a:pt x="15709" y="3927"/>
                  </a:cubicBezTo>
                  <a:lnTo>
                    <a:pt x="5891" y="3927"/>
                  </a:lnTo>
                  <a:cubicBezTo>
                    <a:pt x="5348" y="3927"/>
                    <a:pt x="4909" y="4367"/>
                    <a:pt x="4909" y="4909"/>
                  </a:cubicBezTo>
                  <a:lnTo>
                    <a:pt x="4909" y="5891"/>
                  </a:lnTo>
                  <a:lnTo>
                    <a:pt x="1964" y="5891"/>
                  </a:lnTo>
                  <a:cubicBezTo>
                    <a:pt x="879" y="5891"/>
                    <a:pt x="0" y="6770"/>
                    <a:pt x="0" y="785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7855"/>
                  </a:lnTo>
                  <a:cubicBezTo>
                    <a:pt x="21600" y="6770"/>
                    <a:pt x="20721" y="5891"/>
                    <a:pt x="19636" y="5891"/>
                  </a:cubicBezTo>
                  <a:moveTo>
                    <a:pt x="10800" y="9818"/>
                  </a:moveTo>
                  <a:cubicBezTo>
                    <a:pt x="11071" y="9818"/>
                    <a:pt x="11291" y="9599"/>
                    <a:pt x="11291" y="9327"/>
                  </a:cubicBezTo>
                  <a:cubicBezTo>
                    <a:pt x="11291" y="9056"/>
                    <a:pt x="11071" y="8836"/>
                    <a:pt x="10800" y="8836"/>
                  </a:cubicBezTo>
                  <a:cubicBezTo>
                    <a:pt x="10529" y="8836"/>
                    <a:pt x="10309" y="9056"/>
                    <a:pt x="10309" y="9327"/>
                  </a:cubicBezTo>
                  <a:cubicBezTo>
                    <a:pt x="10309" y="9599"/>
                    <a:pt x="10529" y="9818"/>
                    <a:pt x="10800" y="9818"/>
                  </a:cubicBezTo>
                  <a:moveTo>
                    <a:pt x="9327" y="9327"/>
                  </a:moveTo>
                  <a:cubicBezTo>
                    <a:pt x="9327" y="9056"/>
                    <a:pt x="9108" y="8836"/>
                    <a:pt x="8836" y="8836"/>
                  </a:cubicBezTo>
                  <a:cubicBezTo>
                    <a:pt x="8565" y="8836"/>
                    <a:pt x="8345" y="9056"/>
                    <a:pt x="8345" y="9327"/>
                  </a:cubicBezTo>
                  <a:cubicBezTo>
                    <a:pt x="8345" y="9599"/>
                    <a:pt x="8565" y="9818"/>
                    <a:pt x="8836" y="9818"/>
                  </a:cubicBezTo>
                  <a:cubicBezTo>
                    <a:pt x="9108" y="9818"/>
                    <a:pt x="9327" y="9599"/>
                    <a:pt x="9327" y="93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Shape 2694">
              <a:extLst>
                <a:ext uri="{FF2B5EF4-FFF2-40B4-BE49-F238E27FC236}">
                  <a16:creationId xmlns:a16="http://schemas.microsoft.com/office/drawing/2014/main" id="{3E838ECC-723D-4461-8DAD-CB56155A4646}"/>
                </a:ext>
              </a:extLst>
            </p:cNvPr>
            <p:cNvSpPr/>
            <p:nvPr/>
          </p:nvSpPr>
          <p:spPr bwMode="gray">
            <a:xfrm>
              <a:off x="10062449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38" y="14727"/>
                  </a:moveTo>
                  <a:cubicBezTo>
                    <a:pt x="13628" y="14411"/>
                    <a:pt x="13690" y="14083"/>
                    <a:pt x="13721" y="13745"/>
                  </a:cubicBezTo>
                  <a:lnTo>
                    <a:pt x="2970" y="13745"/>
                  </a:lnTo>
                  <a:cubicBezTo>
                    <a:pt x="3001" y="14083"/>
                    <a:pt x="3063" y="14411"/>
                    <a:pt x="3153" y="14727"/>
                  </a:cubicBezTo>
                  <a:cubicBezTo>
                    <a:pt x="3153" y="14727"/>
                    <a:pt x="13538" y="14727"/>
                    <a:pt x="13538" y="14727"/>
                  </a:cubicBezTo>
                  <a:close/>
                  <a:moveTo>
                    <a:pt x="18655" y="12764"/>
                  </a:moveTo>
                  <a:cubicBezTo>
                    <a:pt x="18383" y="12764"/>
                    <a:pt x="18164" y="12984"/>
                    <a:pt x="18164" y="13255"/>
                  </a:cubicBezTo>
                  <a:cubicBezTo>
                    <a:pt x="18164" y="13526"/>
                    <a:pt x="18383" y="13745"/>
                    <a:pt x="18655" y="13745"/>
                  </a:cubicBezTo>
                  <a:cubicBezTo>
                    <a:pt x="18926" y="13745"/>
                    <a:pt x="19145" y="13526"/>
                    <a:pt x="19145" y="13255"/>
                  </a:cubicBezTo>
                  <a:cubicBezTo>
                    <a:pt x="19145" y="12984"/>
                    <a:pt x="18926" y="12764"/>
                    <a:pt x="18655" y="12764"/>
                  </a:cubicBezTo>
                  <a:moveTo>
                    <a:pt x="18655" y="8836"/>
                  </a:moveTo>
                  <a:cubicBezTo>
                    <a:pt x="18112" y="8836"/>
                    <a:pt x="17673" y="9276"/>
                    <a:pt x="17673" y="9818"/>
                  </a:cubicBezTo>
                  <a:cubicBezTo>
                    <a:pt x="17673" y="10360"/>
                    <a:pt x="18112" y="10800"/>
                    <a:pt x="18655" y="10800"/>
                  </a:cubicBezTo>
                  <a:cubicBezTo>
                    <a:pt x="19197" y="10800"/>
                    <a:pt x="19636" y="10360"/>
                    <a:pt x="19636" y="9818"/>
                  </a:cubicBezTo>
                  <a:cubicBezTo>
                    <a:pt x="19636" y="9276"/>
                    <a:pt x="19197" y="8836"/>
                    <a:pt x="18655" y="8836"/>
                  </a:cubicBezTo>
                  <a:moveTo>
                    <a:pt x="20618" y="19636"/>
                  </a:moveTo>
                  <a:cubicBezTo>
                    <a:pt x="20618" y="20178"/>
                    <a:pt x="20179" y="20618"/>
                    <a:pt x="19636" y="20618"/>
                  </a:cubicBezTo>
                  <a:lnTo>
                    <a:pt x="16691" y="20618"/>
                  </a:lnTo>
                  <a:lnTo>
                    <a:pt x="16691" y="5891"/>
                  </a:lnTo>
                  <a:lnTo>
                    <a:pt x="19636" y="5891"/>
                  </a:lnTo>
                  <a:cubicBezTo>
                    <a:pt x="20179" y="5891"/>
                    <a:pt x="20618" y="6331"/>
                    <a:pt x="20618" y="6873"/>
                  </a:cubicBezTo>
                  <a:cubicBezTo>
                    <a:pt x="20618" y="6873"/>
                    <a:pt x="20618" y="19636"/>
                    <a:pt x="20618" y="19636"/>
                  </a:cubicBezTo>
                  <a:close/>
                  <a:moveTo>
                    <a:pt x="15709" y="20618"/>
                  </a:move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6873"/>
                  </a:lnTo>
                  <a:cubicBezTo>
                    <a:pt x="982" y="6331"/>
                    <a:pt x="1421" y="5891"/>
                    <a:pt x="1964" y="5891"/>
                  </a:cubicBezTo>
                  <a:lnTo>
                    <a:pt x="15709" y="5891"/>
                  </a:lnTo>
                  <a:cubicBezTo>
                    <a:pt x="15709" y="5891"/>
                    <a:pt x="15709" y="20618"/>
                    <a:pt x="15709" y="20618"/>
                  </a:cubicBezTo>
                  <a:close/>
                  <a:moveTo>
                    <a:pt x="19636" y="4909"/>
                  </a:moveTo>
                  <a:lnTo>
                    <a:pt x="4909" y="4909"/>
                  </a:lnTo>
                  <a:lnTo>
                    <a:pt x="4909" y="2855"/>
                  </a:lnTo>
                  <a:cubicBezTo>
                    <a:pt x="5480" y="2653"/>
                    <a:pt x="5891" y="2113"/>
                    <a:pt x="5891" y="1473"/>
                  </a:cubicBezTo>
                  <a:cubicBezTo>
                    <a:pt x="5891" y="659"/>
                    <a:pt x="5231" y="0"/>
                    <a:pt x="4418" y="0"/>
                  </a:cubicBezTo>
                  <a:cubicBezTo>
                    <a:pt x="3605" y="0"/>
                    <a:pt x="2945" y="659"/>
                    <a:pt x="2945" y="1473"/>
                  </a:cubicBezTo>
                  <a:cubicBezTo>
                    <a:pt x="2945" y="2113"/>
                    <a:pt x="3357" y="2653"/>
                    <a:pt x="3927" y="2855"/>
                  </a:cubicBezTo>
                  <a:lnTo>
                    <a:pt x="3927" y="4909"/>
                  </a:lnTo>
                  <a:lnTo>
                    <a:pt x="1964" y="4909"/>
                  </a:lnTo>
                  <a:cubicBezTo>
                    <a:pt x="879" y="4909"/>
                    <a:pt x="0" y="5788"/>
                    <a:pt x="0" y="68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6873"/>
                  </a:lnTo>
                  <a:cubicBezTo>
                    <a:pt x="21600" y="5788"/>
                    <a:pt x="20721" y="4909"/>
                    <a:pt x="19636" y="4909"/>
                  </a:cubicBezTo>
                  <a:moveTo>
                    <a:pt x="18655" y="15709"/>
                  </a:moveTo>
                  <a:cubicBezTo>
                    <a:pt x="18383" y="15709"/>
                    <a:pt x="18164" y="15929"/>
                    <a:pt x="18164" y="16200"/>
                  </a:cubicBezTo>
                  <a:cubicBezTo>
                    <a:pt x="18164" y="16471"/>
                    <a:pt x="18383" y="16691"/>
                    <a:pt x="18655" y="16691"/>
                  </a:cubicBezTo>
                  <a:cubicBezTo>
                    <a:pt x="18926" y="16691"/>
                    <a:pt x="19145" y="16471"/>
                    <a:pt x="19145" y="16200"/>
                  </a:cubicBezTo>
                  <a:cubicBezTo>
                    <a:pt x="19145" y="15929"/>
                    <a:pt x="18926" y="15709"/>
                    <a:pt x="18655" y="15709"/>
                  </a:cubicBezTo>
                  <a:moveTo>
                    <a:pt x="4199" y="16691"/>
                  </a:moveTo>
                  <a:lnTo>
                    <a:pt x="12492" y="16691"/>
                  </a:lnTo>
                  <a:cubicBezTo>
                    <a:pt x="12744" y="16387"/>
                    <a:pt x="12971" y="16064"/>
                    <a:pt x="13152" y="15709"/>
                  </a:cubicBezTo>
                  <a:lnTo>
                    <a:pt x="3539" y="15709"/>
                  </a:lnTo>
                  <a:cubicBezTo>
                    <a:pt x="3720" y="16064"/>
                    <a:pt x="3947" y="16387"/>
                    <a:pt x="4199" y="16691"/>
                  </a:cubicBezTo>
                  <a:moveTo>
                    <a:pt x="8345" y="7855"/>
                  </a:moveTo>
                  <a:cubicBezTo>
                    <a:pt x="7196" y="7855"/>
                    <a:pt x="6138" y="8224"/>
                    <a:pt x="5263" y="8836"/>
                  </a:cubicBezTo>
                  <a:lnTo>
                    <a:pt x="11428" y="8836"/>
                  </a:lnTo>
                  <a:cubicBezTo>
                    <a:pt x="10553" y="8224"/>
                    <a:pt x="9495" y="7855"/>
                    <a:pt x="8345" y="7855"/>
                  </a:cubicBezTo>
                  <a:moveTo>
                    <a:pt x="8345" y="18655"/>
                  </a:moveTo>
                  <a:cubicBezTo>
                    <a:pt x="9495" y="18655"/>
                    <a:pt x="10553" y="18285"/>
                    <a:pt x="11428" y="17673"/>
                  </a:cubicBezTo>
                  <a:lnTo>
                    <a:pt x="5263" y="17673"/>
                  </a:lnTo>
                  <a:cubicBezTo>
                    <a:pt x="6138" y="18285"/>
                    <a:pt x="7196" y="18655"/>
                    <a:pt x="8345" y="18655"/>
                  </a:cubicBezTo>
                  <a:moveTo>
                    <a:pt x="12492" y="9818"/>
                  </a:moveTo>
                  <a:lnTo>
                    <a:pt x="4199" y="9818"/>
                  </a:lnTo>
                  <a:cubicBezTo>
                    <a:pt x="3947" y="10122"/>
                    <a:pt x="3720" y="10446"/>
                    <a:pt x="3539" y="10800"/>
                  </a:cubicBezTo>
                  <a:lnTo>
                    <a:pt x="13152" y="10800"/>
                  </a:lnTo>
                  <a:cubicBezTo>
                    <a:pt x="12971" y="10446"/>
                    <a:pt x="12744" y="10122"/>
                    <a:pt x="12492" y="9818"/>
                  </a:cubicBezTo>
                  <a:moveTo>
                    <a:pt x="13538" y="11782"/>
                  </a:moveTo>
                  <a:lnTo>
                    <a:pt x="3153" y="11782"/>
                  </a:lnTo>
                  <a:cubicBezTo>
                    <a:pt x="3063" y="12098"/>
                    <a:pt x="3001" y="12427"/>
                    <a:pt x="2970" y="12764"/>
                  </a:cubicBezTo>
                  <a:lnTo>
                    <a:pt x="13721" y="12764"/>
                  </a:lnTo>
                  <a:cubicBezTo>
                    <a:pt x="13690" y="12427"/>
                    <a:pt x="13628" y="12098"/>
                    <a:pt x="1353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Shape 2695">
              <a:extLst>
                <a:ext uri="{FF2B5EF4-FFF2-40B4-BE49-F238E27FC236}">
                  <a16:creationId xmlns:a16="http://schemas.microsoft.com/office/drawing/2014/main" id="{A5EFF1B8-2812-47F4-9FA8-DB7E2D951DCD}"/>
                </a:ext>
              </a:extLst>
            </p:cNvPr>
            <p:cNvSpPr/>
            <p:nvPr/>
          </p:nvSpPr>
          <p:spPr bwMode="gray">
            <a:xfrm>
              <a:off x="10614163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5218"/>
                  </a:moveTo>
                  <a:cubicBezTo>
                    <a:pt x="14727" y="15490"/>
                    <a:pt x="14947" y="15709"/>
                    <a:pt x="15218" y="15709"/>
                  </a:cubicBezTo>
                  <a:cubicBezTo>
                    <a:pt x="15490" y="15709"/>
                    <a:pt x="15709" y="15490"/>
                    <a:pt x="15709" y="15218"/>
                  </a:cubicBezTo>
                  <a:cubicBezTo>
                    <a:pt x="15709" y="14947"/>
                    <a:pt x="15490" y="14727"/>
                    <a:pt x="15218" y="14727"/>
                  </a:cubicBezTo>
                  <a:cubicBezTo>
                    <a:pt x="14947" y="14727"/>
                    <a:pt x="14727" y="14947"/>
                    <a:pt x="14727" y="15218"/>
                  </a:cubicBezTo>
                  <a:moveTo>
                    <a:pt x="20618" y="12764"/>
                  </a:moveTo>
                  <a:lnTo>
                    <a:pt x="17673" y="12764"/>
                  </a:lnTo>
                  <a:lnTo>
                    <a:pt x="17673" y="3927"/>
                  </a:lnTo>
                  <a:lnTo>
                    <a:pt x="3927" y="3927"/>
                  </a:lnTo>
                  <a:lnTo>
                    <a:pt x="3927" y="9510"/>
                  </a:lnTo>
                  <a:cubicBezTo>
                    <a:pt x="3308" y="10442"/>
                    <a:pt x="2945" y="11560"/>
                    <a:pt x="2945" y="12764"/>
                  </a:cubicBezTo>
                  <a:lnTo>
                    <a:pt x="982" y="12764"/>
                  </a:ln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2764"/>
                    <a:pt x="20618" y="12764"/>
                  </a:cubicBezTo>
                  <a:close/>
                  <a:moveTo>
                    <a:pt x="9327" y="12764"/>
                  </a:moveTo>
                  <a:cubicBezTo>
                    <a:pt x="9327" y="13035"/>
                    <a:pt x="9108" y="13255"/>
                    <a:pt x="8836" y="13255"/>
                  </a:cubicBezTo>
                  <a:cubicBezTo>
                    <a:pt x="8565" y="13255"/>
                    <a:pt x="8345" y="13035"/>
                    <a:pt x="8345" y="12764"/>
                  </a:cubicBezTo>
                  <a:cubicBezTo>
                    <a:pt x="8345" y="12493"/>
                    <a:pt x="8565" y="12273"/>
                    <a:pt x="8836" y="12273"/>
                  </a:cubicBezTo>
                  <a:cubicBezTo>
                    <a:pt x="9108" y="12273"/>
                    <a:pt x="9327" y="12493"/>
                    <a:pt x="9327" y="12764"/>
                  </a:cubicBezTo>
                  <a:moveTo>
                    <a:pt x="8836" y="7855"/>
                  </a:moveTo>
                  <a:cubicBezTo>
                    <a:pt x="10295" y="7855"/>
                    <a:pt x="11601" y="8494"/>
                    <a:pt x="12500" y="9504"/>
                  </a:cubicBezTo>
                  <a:lnTo>
                    <a:pt x="10301" y="12846"/>
                  </a:lnTo>
                  <a:cubicBezTo>
                    <a:pt x="10302" y="12818"/>
                    <a:pt x="10309" y="12792"/>
                    <a:pt x="10309" y="12764"/>
                  </a:cubicBezTo>
                  <a:cubicBezTo>
                    <a:pt x="10309" y="11951"/>
                    <a:pt x="9649" y="11291"/>
                    <a:pt x="8836" y="11291"/>
                  </a:cubicBezTo>
                  <a:cubicBezTo>
                    <a:pt x="8023" y="11291"/>
                    <a:pt x="7364" y="11951"/>
                    <a:pt x="7364" y="12764"/>
                  </a:cubicBezTo>
                  <a:cubicBezTo>
                    <a:pt x="7364" y="13577"/>
                    <a:pt x="8023" y="14236"/>
                    <a:pt x="8836" y="14236"/>
                  </a:cubicBezTo>
                  <a:cubicBezTo>
                    <a:pt x="9072" y="14236"/>
                    <a:pt x="9293" y="14175"/>
                    <a:pt x="9491" y="14076"/>
                  </a:cubicBezTo>
                  <a:lnTo>
                    <a:pt x="8925" y="14938"/>
                  </a:lnTo>
                  <a:lnTo>
                    <a:pt x="8639" y="14741"/>
                  </a:lnTo>
                  <a:lnTo>
                    <a:pt x="7962" y="16664"/>
                  </a:lnTo>
                  <a:lnTo>
                    <a:pt x="8494" y="17043"/>
                  </a:lnTo>
                  <a:lnTo>
                    <a:pt x="8881" y="16700"/>
                  </a:lnTo>
                  <a:lnTo>
                    <a:pt x="10064" y="16936"/>
                  </a:lnTo>
                  <a:lnTo>
                    <a:pt x="9561" y="16099"/>
                  </a:lnTo>
                  <a:lnTo>
                    <a:pt x="10020" y="15694"/>
                  </a:lnTo>
                  <a:lnTo>
                    <a:pt x="9423" y="15282"/>
                  </a:lnTo>
                  <a:lnTo>
                    <a:pt x="9736" y="15491"/>
                  </a:lnTo>
                  <a:lnTo>
                    <a:pt x="13114" y="10359"/>
                  </a:lnTo>
                  <a:cubicBezTo>
                    <a:pt x="13514" y="11069"/>
                    <a:pt x="13745" y="11889"/>
                    <a:pt x="13745" y="12764"/>
                  </a:cubicBezTo>
                  <a:cubicBezTo>
                    <a:pt x="13745" y="15475"/>
                    <a:pt x="11548" y="17673"/>
                    <a:pt x="8836" y="17673"/>
                  </a:cubicBezTo>
                  <a:cubicBezTo>
                    <a:pt x="6125" y="17673"/>
                    <a:pt x="3927" y="15475"/>
                    <a:pt x="3927" y="12764"/>
                  </a:cubicBezTo>
                  <a:cubicBezTo>
                    <a:pt x="3927" y="10053"/>
                    <a:pt x="6125" y="7855"/>
                    <a:pt x="8836" y="7855"/>
                  </a:cubicBezTo>
                  <a:moveTo>
                    <a:pt x="14727" y="5891"/>
                  </a:moveTo>
                  <a:cubicBezTo>
                    <a:pt x="14186" y="5891"/>
                    <a:pt x="13745" y="6331"/>
                    <a:pt x="13745" y="6873"/>
                  </a:cubicBezTo>
                  <a:cubicBezTo>
                    <a:pt x="13745" y="7062"/>
                    <a:pt x="13802" y="7237"/>
                    <a:pt x="13894" y="7386"/>
                  </a:cubicBezTo>
                  <a:lnTo>
                    <a:pt x="13057" y="8659"/>
                  </a:lnTo>
                  <a:cubicBezTo>
                    <a:pt x="11987" y="7558"/>
                    <a:pt x="10492" y="6873"/>
                    <a:pt x="8836" y="6873"/>
                  </a:cubicBezTo>
                  <a:cubicBezTo>
                    <a:pt x="7325" y="6873"/>
                    <a:pt x="5952" y="7447"/>
                    <a:pt x="4909" y="8382"/>
                  </a:cubicBezTo>
                  <a:lnTo>
                    <a:pt x="4909" y="4909"/>
                  </a:lnTo>
                  <a:lnTo>
                    <a:pt x="16691" y="4909"/>
                  </a:lnTo>
                  <a:lnTo>
                    <a:pt x="16691" y="16691"/>
                  </a:lnTo>
                  <a:lnTo>
                    <a:pt x="13219" y="16691"/>
                  </a:lnTo>
                  <a:cubicBezTo>
                    <a:pt x="14154" y="15648"/>
                    <a:pt x="14727" y="14275"/>
                    <a:pt x="14727" y="12764"/>
                  </a:cubicBezTo>
                  <a:cubicBezTo>
                    <a:pt x="14727" y="11536"/>
                    <a:pt x="14351" y="10398"/>
                    <a:pt x="13709" y="9453"/>
                  </a:cubicBezTo>
                  <a:lnTo>
                    <a:pt x="14764" y="7851"/>
                  </a:lnTo>
                  <a:cubicBezTo>
                    <a:pt x="15288" y="7832"/>
                    <a:pt x="15709" y="7402"/>
                    <a:pt x="15709" y="6873"/>
                  </a:cubicBezTo>
                  <a:cubicBezTo>
                    <a:pt x="15709" y="6331"/>
                    <a:pt x="15269" y="5891"/>
                    <a:pt x="14727" y="5891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3745"/>
                  </a:lnTo>
                  <a:lnTo>
                    <a:pt x="3034" y="13745"/>
                  </a:lnTo>
                  <a:cubicBezTo>
                    <a:pt x="3502" y="16531"/>
                    <a:pt x="5918" y="18655"/>
                    <a:pt x="8836" y="18655"/>
                  </a:cubicBezTo>
                  <a:cubicBezTo>
                    <a:pt x="10040" y="18655"/>
                    <a:pt x="11158" y="18292"/>
                    <a:pt x="12090" y="17673"/>
                  </a:cubicBezTo>
                  <a:lnTo>
                    <a:pt x="17673" y="17673"/>
                  </a:lnTo>
                  <a:lnTo>
                    <a:pt x="17673" y="13745"/>
                  </a:lnTo>
                  <a:lnTo>
                    <a:pt x="20618" y="13745"/>
                  </a:ln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Shape 2696">
              <a:extLst>
                <a:ext uri="{FF2B5EF4-FFF2-40B4-BE49-F238E27FC236}">
                  <a16:creationId xmlns:a16="http://schemas.microsoft.com/office/drawing/2014/main" id="{6BA51B00-8189-4DDF-99EC-45403514F9FC}"/>
                </a:ext>
              </a:extLst>
            </p:cNvPr>
            <p:cNvSpPr/>
            <p:nvPr/>
          </p:nvSpPr>
          <p:spPr bwMode="gray">
            <a:xfrm>
              <a:off x="11165877" y="2310759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64" y="19636"/>
                  </a:moveTo>
                  <a:cubicBezTo>
                    <a:pt x="12764" y="20178"/>
                    <a:pt x="12324" y="20618"/>
                    <a:pt x="11782" y="20618"/>
                  </a:cubicBezTo>
                  <a:lnTo>
                    <a:pt x="9818" y="20618"/>
                  </a:lnTo>
                  <a:cubicBezTo>
                    <a:pt x="9276" y="20618"/>
                    <a:pt x="8836" y="20178"/>
                    <a:pt x="8836" y="19636"/>
                  </a:cubicBezTo>
                  <a:lnTo>
                    <a:pt x="8836" y="17673"/>
                  </a:lnTo>
                  <a:cubicBezTo>
                    <a:pt x="8836" y="1713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7131"/>
                    <a:pt x="12764" y="17673"/>
                  </a:cubicBezTo>
                  <a:cubicBezTo>
                    <a:pt x="12764" y="17673"/>
                    <a:pt x="12764" y="19636"/>
                    <a:pt x="12764" y="19636"/>
                  </a:cubicBezTo>
                  <a:close/>
                  <a:moveTo>
                    <a:pt x="11782" y="15709"/>
                  </a:moveTo>
                  <a:lnTo>
                    <a:pt x="9818" y="15709"/>
                  </a:lnTo>
                  <a:cubicBezTo>
                    <a:pt x="8734" y="15709"/>
                    <a:pt x="7855" y="16588"/>
                    <a:pt x="7855" y="17673"/>
                  </a:cubicBezTo>
                  <a:lnTo>
                    <a:pt x="7855" y="19636"/>
                  </a:lnTo>
                  <a:cubicBezTo>
                    <a:pt x="7855" y="20721"/>
                    <a:pt x="8734" y="21600"/>
                    <a:pt x="9818" y="21600"/>
                  </a:cubicBezTo>
                  <a:lnTo>
                    <a:pt x="11782" y="21600"/>
                  </a:lnTo>
                  <a:cubicBezTo>
                    <a:pt x="12866" y="21600"/>
                    <a:pt x="13745" y="20721"/>
                    <a:pt x="13745" y="19636"/>
                  </a:cubicBezTo>
                  <a:lnTo>
                    <a:pt x="13745" y="17673"/>
                  </a:lnTo>
                  <a:cubicBezTo>
                    <a:pt x="13745" y="16588"/>
                    <a:pt x="12866" y="15709"/>
                    <a:pt x="11782" y="15709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7673" y="20618"/>
                  </a:lnTo>
                  <a:cubicBezTo>
                    <a:pt x="17131" y="20618"/>
                    <a:pt x="16691" y="20178"/>
                    <a:pt x="16691" y="19636"/>
                  </a:cubicBezTo>
                  <a:lnTo>
                    <a:pt x="16691" y="17673"/>
                  </a:lnTo>
                  <a:cubicBezTo>
                    <a:pt x="16691" y="17131"/>
                    <a:pt x="17131" y="16691"/>
                    <a:pt x="17673" y="16691"/>
                  </a:cubicBezTo>
                  <a:lnTo>
                    <a:pt x="19636" y="16691"/>
                  </a:lnTo>
                  <a:cubicBezTo>
                    <a:pt x="20178" y="16691"/>
                    <a:pt x="20618" y="17131"/>
                    <a:pt x="20618" y="17673"/>
                  </a:cubicBezTo>
                  <a:cubicBezTo>
                    <a:pt x="20618" y="17673"/>
                    <a:pt x="20618" y="19636"/>
                    <a:pt x="20618" y="19636"/>
                  </a:cubicBezTo>
                  <a:close/>
                  <a:moveTo>
                    <a:pt x="19636" y="15709"/>
                  </a:moveTo>
                  <a:lnTo>
                    <a:pt x="17673" y="15709"/>
                  </a:lnTo>
                  <a:cubicBezTo>
                    <a:pt x="16588" y="15709"/>
                    <a:pt x="15709" y="16588"/>
                    <a:pt x="15709" y="17673"/>
                  </a:cubicBezTo>
                  <a:lnTo>
                    <a:pt x="15709" y="19636"/>
                  </a:lnTo>
                  <a:cubicBezTo>
                    <a:pt x="15709" y="20721"/>
                    <a:pt x="16588" y="21600"/>
                    <a:pt x="17673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7673"/>
                  </a:lnTo>
                  <a:cubicBezTo>
                    <a:pt x="21600" y="16588"/>
                    <a:pt x="20721" y="15709"/>
                    <a:pt x="19636" y="15709"/>
                  </a:cubicBezTo>
                  <a:moveTo>
                    <a:pt x="4909" y="19636"/>
                  </a:moveTo>
                  <a:cubicBezTo>
                    <a:pt x="4909" y="20178"/>
                    <a:pt x="4469" y="20618"/>
                    <a:pt x="3927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7673"/>
                  </a:lnTo>
                  <a:cubicBezTo>
                    <a:pt x="982" y="17131"/>
                    <a:pt x="1422" y="16691"/>
                    <a:pt x="1964" y="16691"/>
                  </a:cubicBezTo>
                  <a:lnTo>
                    <a:pt x="3927" y="16691"/>
                  </a:lnTo>
                  <a:cubicBezTo>
                    <a:pt x="4469" y="16691"/>
                    <a:pt x="4909" y="17131"/>
                    <a:pt x="4909" y="17673"/>
                  </a:cubicBezTo>
                  <a:cubicBezTo>
                    <a:pt x="4909" y="17673"/>
                    <a:pt x="4909" y="19636"/>
                    <a:pt x="4909" y="19636"/>
                  </a:cubicBezTo>
                  <a:close/>
                  <a:moveTo>
                    <a:pt x="3927" y="15709"/>
                  </a:moveTo>
                  <a:lnTo>
                    <a:pt x="1964" y="15709"/>
                  </a:lnTo>
                  <a:cubicBezTo>
                    <a:pt x="879" y="15709"/>
                    <a:pt x="0" y="16588"/>
                    <a:pt x="0" y="17673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3927" y="21600"/>
                  </a:lnTo>
                  <a:cubicBezTo>
                    <a:pt x="5012" y="21600"/>
                    <a:pt x="5891" y="20721"/>
                    <a:pt x="5891" y="19636"/>
                  </a:cubicBezTo>
                  <a:lnTo>
                    <a:pt x="5891" y="17673"/>
                  </a:lnTo>
                  <a:cubicBezTo>
                    <a:pt x="5891" y="16588"/>
                    <a:pt x="5012" y="15709"/>
                    <a:pt x="3927" y="15709"/>
                  </a:cubicBezTo>
                  <a:moveTo>
                    <a:pt x="2945" y="14727"/>
                  </a:moveTo>
                  <a:cubicBezTo>
                    <a:pt x="3217" y="14727"/>
                    <a:pt x="3436" y="14507"/>
                    <a:pt x="3436" y="14236"/>
                  </a:cubicBezTo>
                  <a:lnTo>
                    <a:pt x="3436" y="10800"/>
                  </a:lnTo>
                  <a:lnTo>
                    <a:pt x="10309" y="10800"/>
                  </a:lnTo>
                  <a:lnTo>
                    <a:pt x="10309" y="14236"/>
                  </a:lnTo>
                  <a:cubicBezTo>
                    <a:pt x="10309" y="14507"/>
                    <a:pt x="10529" y="14727"/>
                    <a:pt x="10800" y="14727"/>
                  </a:cubicBezTo>
                  <a:cubicBezTo>
                    <a:pt x="11071" y="14727"/>
                    <a:pt x="11291" y="14507"/>
                    <a:pt x="11291" y="14236"/>
                  </a:cubicBezTo>
                  <a:lnTo>
                    <a:pt x="11291" y="10800"/>
                  </a:lnTo>
                  <a:lnTo>
                    <a:pt x="18164" y="10800"/>
                  </a:lnTo>
                  <a:lnTo>
                    <a:pt x="18164" y="14236"/>
                  </a:lnTo>
                  <a:cubicBezTo>
                    <a:pt x="18164" y="14507"/>
                    <a:pt x="18384" y="14727"/>
                    <a:pt x="18655" y="14727"/>
                  </a:cubicBezTo>
                  <a:cubicBezTo>
                    <a:pt x="18926" y="14727"/>
                    <a:pt x="19145" y="14507"/>
                    <a:pt x="19145" y="14236"/>
                  </a:cubicBezTo>
                  <a:lnTo>
                    <a:pt x="19145" y="10309"/>
                  </a:lnTo>
                  <a:cubicBezTo>
                    <a:pt x="19145" y="10038"/>
                    <a:pt x="18926" y="9818"/>
                    <a:pt x="18655" y="9818"/>
                  </a:cubicBezTo>
                  <a:lnTo>
                    <a:pt x="11291" y="9818"/>
                  </a:lnTo>
                  <a:lnTo>
                    <a:pt x="11291" y="7364"/>
                  </a:lnTo>
                  <a:cubicBezTo>
                    <a:pt x="11291" y="7093"/>
                    <a:pt x="11071" y="6873"/>
                    <a:pt x="10800" y="6873"/>
                  </a:cubicBezTo>
                  <a:cubicBezTo>
                    <a:pt x="10529" y="6873"/>
                    <a:pt x="10309" y="7093"/>
                    <a:pt x="10309" y="7364"/>
                  </a:cubicBezTo>
                  <a:lnTo>
                    <a:pt x="10309" y="9818"/>
                  </a:lnTo>
                  <a:lnTo>
                    <a:pt x="2945" y="9818"/>
                  </a:lnTo>
                  <a:cubicBezTo>
                    <a:pt x="2674" y="9818"/>
                    <a:pt x="2455" y="10038"/>
                    <a:pt x="2455" y="10309"/>
                  </a:cubicBezTo>
                  <a:lnTo>
                    <a:pt x="2455" y="14236"/>
                  </a:lnTo>
                  <a:cubicBezTo>
                    <a:pt x="2455" y="14507"/>
                    <a:pt x="2674" y="14727"/>
                    <a:pt x="2945" y="14727"/>
                  </a:cubicBezTo>
                  <a:moveTo>
                    <a:pt x="8836" y="1964"/>
                  </a:moveTo>
                  <a:cubicBezTo>
                    <a:pt x="8836" y="1422"/>
                    <a:pt x="9276" y="982"/>
                    <a:pt x="9818" y="982"/>
                  </a:cubicBezTo>
                  <a:lnTo>
                    <a:pt x="11782" y="982"/>
                  </a:lnTo>
                  <a:cubicBezTo>
                    <a:pt x="12324" y="982"/>
                    <a:pt x="12764" y="1422"/>
                    <a:pt x="12764" y="1964"/>
                  </a:cubicBezTo>
                  <a:lnTo>
                    <a:pt x="12764" y="3927"/>
                  </a:lnTo>
                  <a:cubicBezTo>
                    <a:pt x="12764" y="446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4469"/>
                    <a:pt x="8836" y="3927"/>
                  </a:cubicBezTo>
                  <a:cubicBezTo>
                    <a:pt x="8836" y="3927"/>
                    <a:pt x="8836" y="1964"/>
                    <a:pt x="8836" y="1964"/>
                  </a:cubicBezTo>
                  <a:close/>
                  <a:moveTo>
                    <a:pt x="9818" y="5891"/>
                  </a:moveTo>
                  <a:lnTo>
                    <a:pt x="11782" y="5891"/>
                  </a:lnTo>
                  <a:cubicBezTo>
                    <a:pt x="12866" y="5891"/>
                    <a:pt x="13745" y="5012"/>
                    <a:pt x="13745" y="3927"/>
                  </a:cubicBezTo>
                  <a:lnTo>
                    <a:pt x="13745" y="1964"/>
                  </a:lnTo>
                  <a:cubicBezTo>
                    <a:pt x="13745" y="879"/>
                    <a:pt x="12866" y="0"/>
                    <a:pt x="11782" y="0"/>
                  </a:cubicBezTo>
                  <a:lnTo>
                    <a:pt x="9818" y="0"/>
                  </a:lnTo>
                  <a:cubicBezTo>
                    <a:pt x="8734" y="0"/>
                    <a:pt x="7855" y="879"/>
                    <a:pt x="7855" y="1964"/>
                  </a:cubicBezTo>
                  <a:lnTo>
                    <a:pt x="7855" y="3927"/>
                  </a:lnTo>
                  <a:cubicBezTo>
                    <a:pt x="7855" y="5012"/>
                    <a:pt x="8734" y="5891"/>
                    <a:pt x="9818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Shape 2697">
              <a:extLst>
                <a:ext uri="{FF2B5EF4-FFF2-40B4-BE49-F238E27FC236}">
                  <a16:creationId xmlns:a16="http://schemas.microsoft.com/office/drawing/2014/main" id="{57EA7E50-9A56-44DB-8590-8FBD05509941}"/>
                </a:ext>
              </a:extLst>
            </p:cNvPr>
            <p:cNvSpPr/>
            <p:nvPr/>
          </p:nvSpPr>
          <p:spPr bwMode="gray">
            <a:xfrm>
              <a:off x="6213590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20" y="13745"/>
                  </a:moveTo>
                  <a:lnTo>
                    <a:pt x="4860" y="13745"/>
                  </a:lnTo>
                  <a:lnTo>
                    <a:pt x="4860" y="15709"/>
                  </a:lnTo>
                  <a:lnTo>
                    <a:pt x="7020" y="15709"/>
                  </a:lnTo>
                  <a:cubicBezTo>
                    <a:pt x="7020" y="15709"/>
                    <a:pt x="7020" y="13745"/>
                    <a:pt x="7020" y="13745"/>
                  </a:cubicBezTo>
                  <a:close/>
                  <a:moveTo>
                    <a:pt x="5400" y="10800"/>
                  </a:moveTo>
                  <a:lnTo>
                    <a:pt x="3240" y="10800"/>
                  </a:lnTo>
                  <a:lnTo>
                    <a:pt x="3240" y="12764"/>
                  </a:lnTo>
                  <a:lnTo>
                    <a:pt x="5400" y="12764"/>
                  </a:lnTo>
                  <a:cubicBezTo>
                    <a:pt x="5400" y="12764"/>
                    <a:pt x="5400" y="10800"/>
                    <a:pt x="5400" y="10800"/>
                  </a:cubicBezTo>
                  <a:close/>
                  <a:moveTo>
                    <a:pt x="5940" y="18655"/>
                  </a:moveTo>
                  <a:lnTo>
                    <a:pt x="15660" y="18655"/>
                  </a:lnTo>
                  <a:lnTo>
                    <a:pt x="15660" y="16691"/>
                  </a:lnTo>
                  <a:lnTo>
                    <a:pt x="5940" y="16691"/>
                  </a:lnTo>
                  <a:cubicBezTo>
                    <a:pt x="5940" y="16691"/>
                    <a:pt x="5940" y="18655"/>
                    <a:pt x="5940" y="18655"/>
                  </a:cubicBezTo>
                  <a:close/>
                  <a:moveTo>
                    <a:pt x="20520" y="19636"/>
                  </a:moveTo>
                  <a:cubicBezTo>
                    <a:pt x="20520" y="20179"/>
                    <a:pt x="20036" y="20618"/>
                    <a:pt x="19440" y="20618"/>
                  </a:cubicBezTo>
                  <a:lnTo>
                    <a:pt x="2160" y="20618"/>
                  </a:lnTo>
                  <a:cubicBezTo>
                    <a:pt x="1564" y="20618"/>
                    <a:pt x="1080" y="20179"/>
                    <a:pt x="1080" y="19636"/>
                  </a:cubicBezTo>
                  <a:lnTo>
                    <a:pt x="1080" y="9818"/>
                  </a:lnTo>
                  <a:cubicBezTo>
                    <a:pt x="1080" y="9276"/>
                    <a:pt x="1564" y="8836"/>
                    <a:pt x="2160" y="8836"/>
                  </a:cubicBezTo>
                  <a:lnTo>
                    <a:pt x="19440" y="8836"/>
                  </a:lnTo>
                  <a:cubicBezTo>
                    <a:pt x="20036" y="8836"/>
                    <a:pt x="20520" y="9276"/>
                    <a:pt x="20520" y="9818"/>
                  </a:cubicBezTo>
                  <a:cubicBezTo>
                    <a:pt x="20520" y="9818"/>
                    <a:pt x="20520" y="19636"/>
                    <a:pt x="20520" y="19636"/>
                  </a:cubicBezTo>
                  <a:close/>
                  <a:moveTo>
                    <a:pt x="19440" y="7855"/>
                  </a:moveTo>
                  <a:lnTo>
                    <a:pt x="2160" y="7855"/>
                  </a:lnTo>
                  <a:cubicBezTo>
                    <a:pt x="967" y="7855"/>
                    <a:pt x="0" y="8734"/>
                    <a:pt x="0" y="9818"/>
                  </a:cubicBezTo>
                  <a:lnTo>
                    <a:pt x="0" y="19636"/>
                  </a:lnTo>
                  <a:cubicBezTo>
                    <a:pt x="0" y="20721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20721"/>
                    <a:pt x="21600" y="19636"/>
                  </a:cubicBezTo>
                  <a:lnTo>
                    <a:pt x="21600" y="9818"/>
                  </a:lnTo>
                  <a:cubicBezTo>
                    <a:pt x="21600" y="8734"/>
                    <a:pt x="20633" y="7855"/>
                    <a:pt x="19440" y="7855"/>
                  </a:cubicBezTo>
                  <a:moveTo>
                    <a:pt x="16200" y="12764"/>
                  </a:moveTo>
                  <a:lnTo>
                    <a:pt x="18360" y="12764"/>
                  </a:lnTo>
                  <a:lnTo>
                    <a:pt x="18360" y="10800"/>
                  </a:lnTo>
                  <a:lnTo>
                    <a:pt x="16200" y="10800"/>
                  </a:lnTo>
                  <a:cubicBezTo>
                    <a:pt x="16200" y="10800"/>
                    <a:pt x="16200" y="12764"/>
                    <a:pt x="16200" y="12764"/>
                  </a:cubicBezTo>
                  <a:close/>
                  <a:moveTo>
                    <a:pt x="14580" y="15709"/>
                  </a:moveTo>
                  <a:lnTo>
                    <a:pt x="16740" y="15709"/>
                  </a:lnTo>
                  <a:lnTo>
                    <a:pt x="16740" y="13745"/>
                  </a:lnTo>
                  <a:lnTo>
                    <a:pt x="14580" y="13745"/>
                  </a:lnTo>
                  <a:cubicBezTo>
                    <a:pt x="14580" y="13745"/>
                    <a:pt x="14580" y="15709"/>
                    <a:pt x="14580" y="15709"/>
                  </a:cubicBezTo>
                  <a:close/>
                  <a:moveTo>
                    <a:pt x="10800" y="0"/>
                  </a:moveTo>
                  <a:lnTo>
                    <a:pt x="6480" y="3927"/>
                  </a:lnTo>
                  <a:lnTo>
                    <a:pt x="15120" y="3927"/>
                  </a:lnTo>
                  <a:cubicBezTo>
                    <a:pt x="15120" y="3927"/>
                    <a:pt x="10800" y="0"/>
                    <a:pt x="10800" y="0"/>
                  </a:cubicBezTo>
                  <a:close/>
                  <a:moveTo>
                    <a:pt x="8640" y="10800"/>
                  </a:moveTo>
                  <a:lnTo>
                    <a:pt x="6480" y="10800"/>
                  </a:lnTo>
                  <a:lnTo>
                    <a:pt x="6480" y="12764"/>
                  </a:lnTo>
                  <a:lnTo>
                    <a:pt x="8640" y="12764"/>
                  </a:lnTo>
                  <a:cubicBezTo>
                    <a:pt x="8640" y="12764"/>
                    <a:pt x="8640" y="10800"/>
                    <a:pt x="8640" y="10800"/>
                  </a:cubicBezTo>
                  <a:close/>
                  <a:moveTo>
                    <a:pt x="11340" y="15709"/>
                  </a:moveTo>
                  <a:lnTo>
                    <a:pt x="13500" y="15709"/>
                  </a:lnTo>
                  <a:lnTo>
                    <a:pt x="13500" y="13745"/>
                  </a:lnTo>
                  <a:lnTo>
                    <a:pt x="11340" y="13745"/>
                  </a:lnTo>
                  <a:cubicBezTo>
                    <a:pt x="11340" y="13745"/>
                    <a:pt x="11340" y="15709"/>
                    <a:pt x="11340" y="15709"/>
                  </a:cubicBezTo>
                  <a:close/>
                  <a:moveTo>
                    <a:pt x="15120" y="10800"/>
                  </a:moveTo>
                  <a:lnTo>
                    <a:pt x="12960" y="10800"/>
                  </a:lnTo>
                  <a:lnTo>
                    <a:pt x="12960" y="12764"/>
                  </a:lnTo>
                  <a:lnTo>
                    <a:pt x="15120" y="12764"/>
                  </a:lnTo>
                  <a:cubicBezTo>
                    <a:pt x="15120" y="12764"/>
                    <a:pt x="15120" y="10800"/>
                    <a:pt x="15120" y="10800"/>
                  </a:cubicBezTo>
                  <a:close/>
                  <a:moveTo>
                    <a:pt x="11880" y="10800"/>
                  </a:moveTo>
                  <a:lnTo>
                    <a:pt x="9720" y="10800"/>
                  </a:lnTo>
                  <a:lnTo>
                    <a:pt x="9720" y="12764"/>
                  </a:lnTo>
                  <a:lnTo>
                    <a:pt x="11880" y="12764"/>
                  </a:lnTo>
                  <a:cubicBezTo>
                    <a:pt x="11880" y="12764"/>
                    <a:pt x="11880" y="10800"/>
                    <a:pt x="11880" y="10800"/>
                  </a:cubicBezTo>
                  <a:close/>
                  <a:moveTo>
                    <a:pt x="8100" y="15709"/>
                  </a:moveTo>
                  <a:lnTo>
                    <a:pt x="10260" y="15709"/>
                  </a:lnTo>
                  <a:lnTo>
                    <a:pt x="10260" y="13745"/>
                  </a:lnTo>
                  <a:lnTo>
                    <a:pt x="8100" y="13745"/>
                  </a:lnTo>
                  <a:cubicBezTo>
                    <a:pt x="8100" y="13745"/>
                    <a:pt x="8100" y="15709"/>
                    <a:pt x="8100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Shape 2698">
              <a:extLst>
                <a:ext uri="{FF2B5EF4-FFF2-40B4-BE49-F238E27FC236}">
                  <a16:creationId xmlns:a16="http://schemas.microsoft.com/office/drawing/2014/main" id="{39A1995B-BDC4-4CAF-A4D7-DEC53D144C7D}"/>
                </a:ext>
              </a:extLst>
            </p:cNvPr>
            <p:cNvSpPr/>
            <p:nvPr/>
          </p:nvSpPr>
          <p:spPr bwMode="gray">
            <a:xfrm>
              <a:off x="6765304" y="2862472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0" y="10800"/>
                  </a:moveTo>
                  <a:lnTo>
                    <a:pt x="15660" y="10800"/>
                  </a:lnTo>
                  <a:lnTo>
                    <a:pt x="15660" y="8836"/>
                  </a:lnTo>
                  <a:lnTo>
                    <a:pt x="5940" y="8836"/>
                  </a:lnTo>
                  <a:cubicBezTo>
                    <a:pt x="5940" y="8836"/>
                    <a:pt x="5940" y="10800"/>
                    <a:pt x="5940" y="10800"/>
                  </a:cubicBezTo>
                  <a:close/>
                  <a:moveTo>
                    <a:pt x="5400" y="2945"/>
                  </a:moveTo>
                  <a:lnTo>
                    <a:pt x="3240" y="2945"/>
                  </a:lnTo>
                  <a:lnTo>
                    <a:pt x="3240" y="4909"/>
                  </a:lnTo>
                  <a:lnTo>
                    <a:pt x="5400" y="4909"/>
                  </a:lnTo>
                  <a:cubicBezTo>
                    <a:pt x="5400" y="4909"/>
                    <a:pt x="5400" y="2945"/>
                    <a:pt x="5400" y="2945"/>
                  </a:cubicBezTo>
                  <a:close/>
                  <a:moveTo>
                    <a:pt x="7020" y="5891"/>
                  </a:moveTo>
                  <a:lnTo>
                    <a:pt x="4860" y="5891"/>
                  </a:lnTo>
                  <a:lnTo>
                    <a:pt x="4860" y="7855"/>
                  </a:lnTo>
                  <a:lnTo>
                    <a:pt x="7020" y="7855"/>
                  </a:lnTo>
                  <a:cubicBezTo>
                    <a:pt x="7020" y="7855"/>
                    <a:pt x="7020" y="5891"/>
                    <a:pt x="7020" y="5891"/>
                  </a:cubicBezTo>
                  <a:close/>
                  <a:moveTo>
                    <a:pt x="14580" y="7855"/>
                  </a:moveTo>
                  <a:lnTo>
                    <a:pt x="16740" y="7855"/>
                  </a:lnTo>
                  <a:lnTo>
                    <a:pt x="16740" y="5891"/>
                  </a:lnTo>
                  <a:lnTo>
                    <a:pt x="14580" y="5891"/>
                  </a:lnTo>
                  <a:cubicBezTo>
                    <a:pt x="14580" y="5891"/>
                    <a:pt x="14580" y="7855"/>
                    <a:pt x="14580" y="7855"/>
                  </a:cubicBezTo>
                  <a:close/>
                  <a:moveTo>
                    <a:pt x="20520" y="11782"/>
                  </a:moveTo>
                  <a:cubicBezTo>
                    <a:pt x="20520" y="12324"/>
                    <a:pt x="20036" y="12764"/>
                    <a:pt x="19440" y="12764"/>
                  </a:cubicBezTo>
                  <a:lnTo>
                    <a:pt x="2160" y="12764"/>
                  </a:lnTo>
                  <a:cubicBezTo>
                    <a:pt x="1564" y="12764"/>
                    <a:pt x="1080" y="12324"/>
                    <a:pt x="1080" y="11782"/>
                  </a:cubicBezTo>
                  <a:lnTo>
                    <a:pt x="1080" y="1964"/>
                  </a:lnTo>
                  <a:cubicBezTo>
                    <a:pt x="1080" y="1422"/>
                    <a:pt x="1564" y="982"/>
                    <a:pt x="2160" y="982"/>
                  </a:cubicBezTo>
                  <a:lnTo>
                    <a:pt x="19440" y="982"/>
                  </a:lnTo>
                  <a:cubicBezTo>
                    <a:pt x="20036" y="982"/>
                    <a:pt x="20520" y="1422"/>
                    <a:pt x="20520" y="1964"/>
                  </a:cubicBezTo>
                  <a:cubicBezTo>
                    <a:pt x="20520" y="1964"/>
                    <a:pt x="20520" y="11782"/>
                    <a:pt x="20520" y="11782"/>
                  </a:cubicBezTo>
                  <a:close/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879"/>
                    <a:pt x="0" y="1964"/>
                  </a:cubicBezTo>
                  <a:lnTo>
                    <a:pt x="0" y="11782"/>
                  </a:lnTo>
                  <a:cubicBezTo>
                    <a:pt x="0" y="12866"/>
                    <a:pt x="967" y="13745"/>
                    <a:pt x="2160" y="13745"/>
                  </a:cubicBezTo>
                  <a:lnTo>
                    <a:pt x="19440" y="13745"/>
                  </a:lnTo>
                  <a:cubicBezTo>
                    <a:pt x="20633" y="13745"/>
                    <a:pt x="21600" y="12866"/>
                    <a:pt x="21600" y="11782"/>
                  </a:cubicBezTo>
                  <a:lnTo>
                    <a:pt x="21600" y="1964"/>
                  </a:lnTo>
                  <a:cubicBezTo>
                    <a:pt x="21600" y="879"/>
                    <a:pt x="20633" y="0"/>
                    <a:pt x="19440" y="0"/>
                  </a:cubicBezTo>
                  <a:moveTo>
                    <a:pt x="16200" y="4909"/>
                  </a:moveTo>
                  <a:lnTo>
                    <a:pt x="18360" y="4909"/>
                  </a:lnTo>
                  <a:lnTo>
                    <a:pt x="18360" y="2945"/>
                  </a:lnTo>
                  <a:lnTo>
                    <a:pt x="16200" y="2945"/>
                  </a:lnTo>
                  <a:cubicBezTo>
                    <a:pt x="16200" y="2945"/>
                    <a:pt x="16200" y="4909"/>
                    <a:pt x="16200" y="4909"/>
                  </a:cubicBezTo>
                  <a:close/>
                  <a:moveTo>
                    <a:pt x="8640" y="2945"/>
                  </a:moveTo>
                  <a:lnTo>
                    <a:pt x="6480" y="2945"/>
                  </a:lnTo>
                  <a:lnTo>
                    <a:pt x="6480" y="4909"/>
                  </a:lnTo>
                  <a:lnTo>
                    <a:pt x="8640" y="4909"/>
                  </a:lnTo>
                  <a:cubicBezTo>
                    <a:pt x="8640" y="4909"/>
                    <a:pt x="8640" y="2945"/>
                    <a:pt x="8640" y="2945"/>
                  </a:cubicBezTo>
                  <a:close/>
                  <a:moveTo>
                    <a:pt x="11340" y="7855"/>
                  </a:moveTo>
                  <a:lnTo>
                    <a:pt x="13500" y="7855"/>
                  </a:lnTo>
                  <a:lnTo>
                    <a:pt x="13500" y="5891"/>
                  </a:lnTo>
                  <a:lnTo>
                    <a:pt x="11340" y="5891"/>
                  </a:lnTo>
                  <a:cubicBezTo>
                    <a:pt x="11340" y="5891"/>
                    <a:pt x="11340" y="7855"/>
                    <a:pt x="11340" y="7855"/>
                  </a:cubicBezTo>
                  <a:close/>
                  <a:moveTo>
                    <a:pt x="10800" y="21600"/>
                  </a:moveTo>
                  <a:lnTo>
                    <a:pt x="15120" y="17673"/>
                  </a:lnTo>
                  <a:lnTo>
                    <a:pt x="6480" y="17673"/>
                  </a:lnTo>
                  <a:cubicBezTo>
                    <a:pt x="6480" y="17673"/>
                    <a:pt x="10800" y="21600"/>
                    <a:pt x="10800" y="21600"/>
                  </a:cubicBezTo>
                  <a:close/>
                  <a:moveTo>
                    <a:pt x="15120" y="2945"/>
                  </a:moveTo>
                  <a:lnTo>
                    <a:pt x="12960" y="2945"/>
                  </a:lnTo>
                  <a:lnTo>
                    <a:pt x="12960" y="4909"/>
                  </a:lnTo>
                  <a:lnTo>
                    <a:pt x="15120" y="4909"/>
                  </a:lnTo>
                  <a:cubicBezTo>
                    <a:pt x="15120" y="4909"/>
                    <a:pt x="15120" y="2945"/>
                    <a:pt x="15120" y="2945"/>
                  </a:cubicBezTo>
                  <a:close/>
                  <a:moveTo>
                    <a:pt x="8100" y="7855"/>
                  </a:moveTo>
                  <a:lnTo>
                    <a:pt x="10260" y="7855"/>
                  </a:lnTo>
                  <a:lnTo>
                    <a:pt x="10260" y="5891"/>
                  </a:lnTo>
                  <a:lnTo>
                    <a:pt x="8100" y="5891"/>
                  </a:lnTo>
                  <a:cubicBezTo>
                    <a:pt x="8100" y="5891"/>
                    <a:pt x="8100" y="7855"/>
                    <a:pt x="8100" y="7855"/>
                  </a:cubicBezTo>
                  <a:close/>
                  <a:moveTo>
                    <a:pt x="11880" y="2945"/>
                  </a:moveTo>
                  <a:lnTo>
                    <a:pt x="9720" y="2945"/>
                  </a:lnTo>
                  <a:lnTo>
                    <a:pt x="9720" y="4909"/>
                  </a:lnTo>
                  <a:lnTo>
                    <a:pt x="11880" y="4909"/>
                  </a:lnTo>
                  <a:cubicBezTo>
                    <a:pt x="11880" y="4909"/>
                    <a:pt x="11880" y="2945"/>
                    <a:pt x="11880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Shape 2699">
              <a:extLst>
                <a:ext uri="{FF2B5EF4-FFF2-40B4-BE49-F238E27FC236}">
                  <a16:creationId xmlns:a16="http://schemas.microsoft.com/office/drawing/2014/main" id="{206A5175-D4E2-459C-8D98-9AE20BDCA21C}"/>
                </a:ext>
              </a:extLst>
            </p:cNvPr>
            <p:cNvSpPr/>
            <p:nvPr/>
          </p:nvSpPr>
          <p:spPr bwMode="gray">
            <a:xfrm>
              <a:off x="7303882" y="2888744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76" y="20400"/>
                  </a:moveTo>
                  <a:lnTo>
                    <a:pt x="10800" y="13522"/>
                  </a:lnTo>
                  <a:lnTo>
                    <a:pt x="15623" y="20400"/>
                  </a:lnTo>
                  <a:cubicBezTo>
                    <a:pt x="15623" y="20400"/>
                    <a:pt x="5976" y="20400"/>
                    <a:pt x="5976" y="20400"/>
                  </a:cubicBezTo>
                  <a:close/>
                  <a:moveTo>
                    <a:pt x="17063" y="20610"/>
                  </a:moveTo>
                  <a:lnTo>
                    <a:pt x="11172" y="12210"/>
                  </a:lnTo>
                  <a:lnTo>
                    <a:pt x="11168" y="12214"/>
                  </a:lnTo>
                  <a:cubicBezTo>
                    <a:pt x="11078" y="12086"/>
                    <a:pt x="10949" y="12000"/>
                    <a:pt x="10800" y="12000"/>
                  </a:cubicBezTo>
                  <a:cubicBezTo>
                    <a:pt x="10651" y="12000"/>
                    <a:pt x="10521" y="12086"/>
                    <a:pt x="10432" y="12214"/>
                  </a:cubicBezTo>
                  <a:lnTo>
                    <a:pt x="10427" y="12210"/>
                  </a:lnTo>
                  <a:lnTo>
                    <a:pt x="4536" y="20610"/>
                  </a:lnTo>
                  <a:lnTo>
                    <a:pt x="4540" y="20614"/>
                  </a:lnTo>
                  <a:cubicBezTo>
                    <a:pt x="4467" y="20719"/>
                    <a:pt x="4418" y="20851"/>
                    <a:pt x="4418" y="21000"/>
                  </a:cubicBezTo>
                  <a:cubicBezTo>
                    <a:pt x="4418" y="21332"/>
                    <a:pt x="4638" y="21600"/>
                    <a:pt x="4909" y="21600"/>
                  </a:cubicBezTo>
                  <a:lnTo>
                    <a:pt x="16691" y="21600"/>
                  </a:lnTo>
                  <a:cubicBezTo>
                    <a:pt x="16962" y="21600"/>
                    <a:pt x="17182" y="21332"/>
                    <a:pt x="17182" y="21000"/>
                  </a:cubicBezTo>
                  <a:cubicBezTo>
                    <a:pt x="17182" y="20851"/>
                    <a:pt x="17133" y="20719"/>
                    <a:pt x="17059" y="20614"/>
                  </a:cubicBezTo>
                  <a:cubicBezTo>
                    <a:pt x="17059" y="20614"/>
                    <a:pt x="17063" y="20610"/>
                    <a:pt x="17063" y="20610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69"/>
                    <a:pt x="0" y="600"/>
                  </a:cubicBezTo>
                  <a:lnTo>
                    <a:pt x="0" y="17400"/>
                  </a:lnTo>
                  <a:cubicBezTo>
                    <a:pt x="0" y="17732"/>
                    <a:pt x="220" y="18000"/>
                    <a:pt x="491" y="18000"/>
                  </a:cubicBezTo>
                  <a:lnTo>
                    <a:pt x="4418" y="18000"/>
                  </a:lnTo>
                  <a:cubicBezTo>
                    <a:pt x="4689" y="18000"/>
                    <a:pt x="4909" y="17732"/>
                    <a:pt x="4909" y="17400"/>
                  </a:cubicBezTo>
                  <a:cubicBezTo>
                    <a:pt x="4909" y="17068"/>
                    <a:pt x="4689" y="16800"/>
                    <a:pt x="4418" y="16800"/>
                  </a:cubicBezTo>
                  <a:lnTo>
                    <a:pt x="982" y="16800"/>
                  </a:lnTo>
                  <a:lnTo>
                    <a:pt x="982" y="1200"/>
                  </a:lnTo>
                  <a:lnTo>
                    <a:pt x="20618" y="1200"/>
                  </a:lnTo>
                  <a:lnTo>
                    <a:pt x="20618" y="16800"/>
                  </a:lnTo>
                  <a:lnTo>
                    <a:pt x="17182" y="16800"/>
                  </a:lnTo>
                  <a:cubicBezTo>
                    <a:pt x="16911" y="16800"/>
                    <a:pt x="16691" y="17068"/>
                    <a:pt x="16691" y="17400"/>
                  </a:cubicBezTo>
                  <a:cubicBezTo>
                    <a:pt x="16691" y="17732"/>
                    <a:pt x="16911" y="18000"/>
                    <a:pt x="17182" y="18000"/>
                  </a:cubicBezTo>
                  <a:lnTo>
                    <a:pt x="21109" y="18000"/>
                  </a:lnTo>
                  <a:cubicBezTo>
                    <a:pt x="21380" y="18000"/>
                    <a:pt x="21600" y="17732"/>
                    <a:pt x="21600" y="17400"/>
                  </a:cubicBezTo>
                  <a:lnTo>
                    <a:pt x="21600" y="600"/>
                  </a:lnTo>
                  <a:cubicBezTo>
                    <a:pt x="21600" y="269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Shape 2700">
              <a:extLst>
                <a:ext uri="{FF2B5EF4-FFF2-40B4-BE49-F238E27FC236}">
                  <a16:creationId xmlns:a16="http://schemas.microsoft.com/office/drawing/2014/main" id="{9D0AEBDA-02F4-444C-8C2C-E5C128436C3E}"/>
                </a:ext>
              </a:extLst>
            </p:cNvPr>
            <p:cNvSpPr/>
            <p:nvPr/>
          </p:nvSpPr>
          <p:spPr bwMode="gray">
            <a:xfrm>
              <a:off x="7855595" y="28624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4" y="20618"/>
                  </a:moveTo>
                  <a:lnTo>
                    <a:pt x="15069" y="13232"/>
                  </a:lnTo>
                  <a:lnTo>
                    <a:pt x="15063" y="13228"/>
                  </a:lnTo>
                  <a:cubicBezTo>
                    <a:pt x="15472" y="12512"/>
                    <a:pt x="15709" y="11684"/>
                    <a:pt x="15709" y="10800"/>
                  </a:cubicBezTo>
                  <a:cubicBezTo>
                    <a:pt x="15709" y="9192"/>
                    <a:pt x="14932" y="7768"/>
                    <a:pt x="13737" y="6873"/>
                  </a:cubicBezTo>
                  <a:lnTo>
                    <a:pt x="19796" y="6873"/>
                  </a:lnTo>
                  <a:cubicBezTo>
                    <a:pt x="20322" y="8076"/>
                    <a:pt x="20618" y="9403"/>
                    <a:pt x="20618" y="10800"/>
                  </a:cubicBezTo>
                  <a:cubicBezTo>
                    <a:pt x="20618" y="16221"/>
                    <a:pt x="16225" y="20615"/>
                    <a:pt x="10804" y="20618"/>
                  </a:cubicBezTo>
                  <a:moveTo>
                    <a:pt x="9708" y="20554"/>
                  </a:moveTo>
                  <a:cubicBezTo>
                    <a:pt x="4800" y="20010"/>
                    <a:pt x="982" y="15853"/>
                    <a:pt x="982" y="10800"/>
                  </a:cubicBezTo>
                  <a:cubicBezTo>
                    <a:pt x="982" y="9010"/>
                    <a:pt x="1468" y="7337"/>
                    <a:pt x="2305" y="5892"/>
                  </a:cubicBezTo>
                  <a:lnTo>
                    <a:pt x="6452" y="13076"/>
                  </a:lnTo>
                  <a:cubicBezTo>
                    <a:pt x="7273" y="14640"/>
                    <a:pt x="8911" y="15709"/>
                    <a:pt x="10800" y="15709"/>
                  </a:cubicBezTo>
                  <a:cubicBezTo>
                    <a:pt x="11487" y="15709"/>
                    <a:pt x="12141" y="15567"/>
                    <a:pt x="12734" y="15312"/>
                  </a:cubicBezTo>
                  <a:cubicBezTo>
                    <a:pt x="12734" y="15312"/>
                    <a:pt x="9708" y="20554"/>
                    <a:pt x="9708" y="20554"/>
                  </a:cubicBezTo>
                  <a:close/>
                  <a:moveTo>
                    <a:pt x="7315" y="12607"/>
                  </a:moveTo>
                  <a:cubicBezTo>
                    <a:pt x="7034" y="12065"/>
                    <a:pt x="6873" y="11452"/>
                    <a:pt x="6873" y="10800"/>
                  </a:cubicBezTo>
                  <a:cubicBezTo>
                    <a:pt x="6873" y="8631"/>
                    <a:pt x="8631" y="6873"/>
                    <a:pt x="10800" y="6873"/>
                  </a:cubicBezTo>
                  <a:cubicBezTo>
                    <a:pt x="12969" y="6873"/>
                    <a:pt x="14727" y="8631"/>
                    <a:pt x="14727" y="10800"/>
                  </a:cubicBezTo>
                  <a:cubicBezTo>
                    <a:pt x="14727" y="12969"/>
                    <a:pt x="12969" y="14727"/>
                    <a:pt x="10800" y="14727"/>
                  </a:cubicBezTo>
                  <a:cubicBezTo>
                    <a:pt x="9318" y="14727"/>
                    <a:pt x="8029" y="13906"/>
                    <a:pt x="7360" y="12694"/>
                  </a:cubicBezTo>
                  <a:lnTo>
                    <a:pt x="7364" y="12691"/>
                  </a:lnTo>
                  <a:cubicBezTo>
                    <a:pt x="7364" y="12691"/>
                    <a:pt x="7315" y="12607"/>
                    <a:pt x="7315" y="12607"/>
                  </a:cubicBezTo>
                  <a:close/>
                  <a:moveTo>
                    <a:pt x="10800" y="982"/>
                  </a:moveTo>
                  <a:cubicBezTo>
                    <a:pt x="14432" y="982"/>
                    <a:pt x="17596" y="2959"/>
                    <a:pt x="19294" y="5891"/>
                  </a:cubicBezTo>
                  <a:lnTo>
                    <a:pt x="10800" y="5891"/>
                  </a:lnTo>
                  <a:cubicBezTo>
                    <a:pt x="8290" y="5891"/>
                    <a:pt x="6223" y="7776"/>
                    <a:pt x="5930" y="10207"/>
                  </a:cubicBezTo>
                  <a:lnTo>
                    <a:pt x="2909" y="4975"/>
                  </a:lnTo>
                  <a:cubicBezTo>
                    <a:pt x="4697" y="2557"/>
                    <a:pt x="7561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Shape 2701">
              <a:extLst>
                <a:ext uri="{FF2B5EF4-FFF2-40B4-BE49-F238E27FC236}">
                  <a16:creationId xmlns:a16="http://schemas.microsoft.com/office/drawing/2014/main" id="{84C570DD-1C14-4B42-8541-B3F9A8ABF484}"/>
                </a:ext>
              </a:extLst>
            </p:cNvPr>
            <p:cNvSpPr/>
            <p:nvPr/>
          </p:nvSpPr>
          <p:spPr bwMode="gray">
            <a:xfrm>
              <a:off x="8407309" y="2934720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724" y="15100"/>
                  </a:moveTo>
                  <a:lnTo>
                    <a:pt x="17582" y="15100"/>
                  </a:lnTo>
                  <a:lnTo>
                    <a:pt x="17582" y="8844"/>
                  </a:lnTo>
                  <a:lnTo>
                    <a:pt x="16724" y="8844"/>
                  </a:lnTo>
                  <a:cubicBezTo>
                    <a:pt x="16724" y="8844"/>
                    <a:pt x="16724" y="15100"/>
                    <a:pt x="16724" y="15100"/>
                  </a:cubicBezTo>
                  <a:close/>
                  <a:moveTo>
                    <a:pt x="13336" y="15100"/>
                  </a:moveTo>
                  <a:lnTo>
                    <a:pt x="14199" y="15100"/>
                  </a:lnTo>
                  <a:lnTo>
                    <a:pt x="14199" y="11633"/>
                  </a:lnTo>
                  <a:lnTo>
                    <a:pt x="15565" y="11633"/>
                  </a:lnTo>
                  <a:lnTo>
                    <a:pt x="15565" y="10047"/>
                  </a:lnTo>
                  <a:lnTo>
                    <a:pt x="14199" y="10047"/>
                  </a:lnTo>
                  <a:lnTo>
                    <a:pt x="14199" y="8077"/>
                  </a:lnTo>
                  <a:lnTo>
                    <a:pt x="15661" y="8077"/>
                  </a:lnTo>
                  <a:lnTo>
                    <a:pt x="15661" y="6478"/>
                  </a:lnTo>
                  <a:lnTo>
                    <a:pt x="13336" y="6478"/>
                  </a:lnTo>
                  <a:cubicBezTo>
                    <a:pt x="13336" y="6478"/>
                    <a:pt x="13336" y="15100"/>
                    <a:pt x="13336" y="15100"/>
                  </a:cubicBezTo>
                  <a:close/>
                  <a:moveTo>
                    <a:pt x="20618" y="12960"/>
                  </a:moveTo>
                  <a:cubicBezTo>
                    <a:pt x="20618" y="16538"/>
                    <a:pt x="19299" y="19440"/>
                    <a:pt x="17673" y="19440"/>
                  </a:cubicBezTo>
                  <a:lnTo>
                    <a:pt x="7855" y="19440"/>
                  </a:lnTo>
                  <a:cubicBezTo>
                    <a:pt x="9481" y="19440"/>
                    <a:pt x="10800" y="16538"/>
                    <a:pt x="10800" y="12960"/>
                  </a:cubicBezTo>
                  <a:lnTo>
                    <a:pt x="10800" y="8640"/>
                  </a:lnTo>
                  <a:cubicBezTo>
                    <a:pt x="10800" y="5062"/>
                    <a:pt x="12119" y="2160"/>
                    <a:pt x="13745" y="2160"/>
                  </a:cubicBezTo>
                  <a:lnTo>
                    <a:pt x="17673" y="2160"/>
                  </a:lnTo>
                  <a:cubicBezTo>
                    <a:pt x="19299" y="2160"/>
                    <a:pt x="20618" y="5062"/>
                    <a:pt x="20618" y="8640"/>
                  </a:cubicBezTo>
                  <a:cubicBezTo>
                    <a:pt x="20618" y="8640"/>
                    <a:pt x="20618" y="12960"/>
                    <a:pt x="20618" y="12960"/>
                  </a:cubicBezTo>
                  <a:close/>
                  <a:moveTo>
                    <a:pt x="6607" y="15121"/>
                  </a:moveTo>
                  <a:lnTo>
                    <a:pt x="5673" y="15121"/>
                  </a:lnTo>
                  <a:lnTo>
                    <a:pt x="5350" y="11399"/>
                  </a:lnTo>
                  <a:cubicBezTo>
                    <a:pt x="5276" y="10527"/>
                    <a:pt x="5214" y="9718"/>
                    <a:pt x="5169" y="8730"/>
                  </a:cubicBezTo>
                  <a:lnTo>
                    <a:pt x="5157" y="8730"/>
                  </a:lnTo>
                  <a:cubicBezTo>
                    <a:pt x="5090" y="9705"/>
                    <a:pt x="5028" y="10527"/>
                    <a:pt x="4937" y="11399"/>
                  </a:cubicBezTo>
                  <a:lnTo>
                    <a:pt x="4574" y="15121"/>
                  </a:lnTo>
                  <a:lnTo>
                    <a:pt x="3629" y="15121"/>
                  </a:lnTo>
                  <a:lnTo>
                    <a:pt x="2723" y="6471"/>
                  </a:lnTo>
                  <a:lnTo>
                    <a:pt x="3646" y="6471"/>
                  </a:lnTo>
                  <a:lnTo>
                    <a:pt x="3935" y="10039"/>
                  </a:lnTo>
                  <a:cubicBezTo>
                    <a:pt x="4020" y="11066"/>
                    <a:pt x="4099" y="12182"/>
                    <a:pt x="4161" y="13055"/>
                  </a:cubicBezTo>
                  <a:lnTo>
                    <a:pt x="4172" y="13055"/>
                  </a:lnTo>
                  <a:cubicBezTo>
                    <a:pt x="4235" y="12118"/>
                    <a:pt x="4325" y="11078"/>
                    <a:pt x="4422" y="10013"/>
                  </a:cubicBezTo>
                  <a:lnTo>
                    <a:pt x="4744" y="6471"/>
                  </a:lnTo>
                  <a:lnTo>
                    <a:pt x="5662" y="6471"/>
                  </a:lnTo>
                  <a:lnTo>
                    <a:pt x="5967" y="10117"/>
                  </a:lnTo>
                  <a:cubicBezTo>
                    <a:pt x="6052" y="11130"/>
                    <a:pt x="6114" y="12054"/>
                    <a:pt x="6171" y="13017"/>
                  </a:cubicBezTo>
                  <a:lnTo>
                    <a:pt x="6182" y="13017"/>
                  </a:lnTo>
                  <a:cubicBezTo>
                    <a:pt x="6239" y="12054"/>
                    <a:pt x="6324" y="11040"/>
                    <a:pt x="6403" y="10013"/>
                  </a:cubicBezTo>
                  <a:lnTo>
                    <a:pt x="6715" y="6471"/>
                  </a:lnTo>
                  <a:lnTo>
                    <a:pt x="7592" y="6471"/>
                  </a:lnTo>
                  <a:cubicBezTo>
                    <a:pt x="7592" y="6471"/>
                    <a:pt x="6607" y="15121"/>
                    <a:pt x="6607" y="15121"/>
                  </a:cubicBezTo>
                  <a:close/>
                  <a:moveTo>
                    <a:pt x="8940" y="15121"/>
                  </a:moveTo>
                  <a:lnTo>
                    <a:pt x="8080" y="15121"/>
                  </a:lnTo>
                  <a:lnTo>
                    <a:pt x="8080" y="8845"/>
                  </a:lnTo>
                  <a:lnTo>
                    <a:pt x="8940" y="8845"/>
                  </a:lnTo>
                  <a:cubicBezTo>
                    <a:pt x="8940" y="8845"/>
                    <a:pt x="8940" y="15121"/>
                    <a:pt x="8940" y="15121"/>
                  </a:cubicBezTo>
                  <a:close/>
                  <a:moveTo>
                    <a:pt x="8510" y="6111"/>
                  </a:moveTo>
                  <a:cubicBezTo>
                    <a:pt x="8788" y="6111"/>
                    <a:pt x="8963" y="6535"/>
                    <a:pt x="8969" y="7100"/>
                  </a:cubicBezTo>
                  <a:cubicBezTo>
                    <a:pt x="8969" y="7638"/>
                    <a:pt x="8788" y="8076"/>
                    <a:pt x="8505" y="8076"/>
                  </a:cubicBezTo>
                  <a:cubicBezTo>
                    <a:pt x="8233" y="8076"/>
                    <a:pt x="8052" y="7638"/>
                    <a:pt x="8058" y="7100"/>
                  </a:cubicBezTo>
                  <a:cubicBezTo>
                    <a:pt x="8052" y="6535"/>
                    <a:pt x="8233" y="6111"/>
                    <a:pt x="8510" y="6111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3869"/>
                    <a:pt x="0" y="8640"/>
                  </a:cubicBezTo>
                  <a:lnTo>
                    <a:pt x="0" y="12960"/>
                  </a:lnTo>
                  <a:cubicBezTo>
                    <a:pt x="0" y="1773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7731"/>
                    <a:pt x="21600" y="12960"/>
                  </a:cubicBezTo>
                  <a:lnTo>
                    <a:pt x="21600" y="8640"/>
                  </a:lnTo>
                  <a:cubicBezTo>
                    <a:pt x="21600" y="3869"/>
                    <a:pt x="19842" y="0"/>
                    <a:pt x="17673" y="0"/>
                  </a:cubicBezTo>
                  <a:moveTo>
                    <a:pt x="17153" y="6119"/>
                  </a:moveTo>
                  <a:cubicBezTo>
                    <a:pt x="16876" y="6119"/>
                    <a:pt x="16696" y="6543"/>
                    <a:pt x="16701" y="7104"/>
                  </a:cubicBezTo>
                  <a:cubicBezTo>
                    <a:pt x="16696" y="7642"/>
                    <a:pt x="16876" y="8077"/>
                    <a:pt x="17147" y="8077"/>
                  </a:cubicBezTo>
                  <a:cubicBezTo>
                    <a:pt x="17429" y="8077"/>
                    <a:pt x="17610" y="7642"/>
                    <a:pt x="17610" y="7104"/>
                  </a:cubicBezTo>
                  <a:cubicBezTo>
                    <a:pt x="17604" y="6543"/>
                    <a:pt x="17429" y="6119"/>
                    <a:pt x="17153" y="611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Shape 2702">
              <a:extLst>
                <a:ext uri="{FF2B5EF4-FFF2-40B4-BE49-F238E27FC236}">
                  <a16:creationId xmlns:a16="http://schemas.microsoft.com/office/drawing/2014/main" id="{B2AF1B0E-AB0F-4288-8161-ACD643C8AE3F}"/>
                </a:ext>
              </a:extLst>
            </p:cNvPr>
            <p:cNvSpPr/>
            <p:nvPr/>
          </p:nvSpPr>
          <p:spPr bwMode="gray">
            <a:xfrm>
              <a:off x="8959022" y="2875608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520"/>
                  </a:moveTo>
                  <a:cubicBezTo>
                    <a:pt x="7396" y="20520"/>
                    <a:pt x="4399" y="18805"/>
                    <a:pt x="2638" y="16200"/>
                  </a:cubicBezTo>
                  <a:lnTo>
                    <a:pt x="9966" y="16200"/>
                  </a:lnTo>
                  <a:cubicBezTo>
                    <a:pt x="10478" y="17309"/>
                    <a:pt x="12251" y="18900"/>
                    <a:pt x="13500" y="18900"/>
                  </a:cubicBezTo>
                  <a:cubicBezTo>
                    <a:pt x="14973" y="18900"/>
                    <a:pt x="16200" y="17820"/>
                    <a:pt x="16200" y="15660"/>
                  </a:cubicBezTo>
                  <a:cubicBezTo>
                    <a:pt x="16200" y="13500"/>
                    <a:pt x="14973" y="12420"/>
                    <a:pt x="13500" y="12420"/>
                  </a:cubicBezTo>
                  <a:cubicBezTo>
                    <a:pt x="12241" y="12420"/>
                    <a:pt x="10447" y="13973"/>
                    <a:pt x="9953" y="15120"/>
                  </a:cubicBezTo>
                  <a:lnTo>
                    <a:pt x="2014" y="15120"/>
                  </a:lnTo>
                  <a:cubicBezTo>
                    <a:pt x="1359" y="13817"/>
                    <a:pt x="982" y="12354"/>
                    <a:pt x="982" y="10800"/>
                  </a:cubicBezTo>
                  <a:cubicBezTo>
                    <a:pt x="982" y="9246"/>
                    <a:pt x="1359" y="7783"/>
                    <a:pt x="2014" y="6480"/>
                  </a:cubicBezTo>
                  <a:lnTo>
                    <a:pt x="9966" y="6480"/>
                  </a:lnTo>
                  <a:cubicBezTo>
                    <a:pt x="10478" y="7589"/>
                    <a:pt x="12252" y="9180"/>
                    <a:pt x="13500" y="9180"/>
                  </a:cubicBezTo>
                  <a:cubicBezTo>
                    <a:pt x="14973" y="9180"/>
                    <a:pt x="16200" y="8100"/>
                    <a:pt x="16200" y="5940"/>
                  </a:cubicBezTo>
                  <a:cubicBezTo>
                    <a:pt x="16200" y="3780"/>
                    <a:pt x="14973" y="2700"/>
                    <a:pt x="13500" y="2700"/>
                  </a:cubicBezTo>
                  <a:cubicBezTo>
                    <a:pt x="12241" y="2700"/>
                    <a:pt x="10447" y="4253"/>
                    <a:pt x="9953" y="5400"/>
                  </a:cubicBezTo>
                  <a:lnTo>
                    <a:pt x="2638" y="5400"/>
                  </a:lnTo>
                  <a:cubicBezTo>
                    <a:pt x="4399" y="2796"/>
                    <a:pt x="7396" y="1080"/>
                    <a:pt x="10800" y="1080"/>
                  </a:cubicBezTo>
                  <a:cubicBezTo>
                    <a:pt x="16038" y="1080"/>
                    <a:pt x="20306" y="5145"/>
                    <a:pt x="20590" y="10260"/>
                  </a:cubicBezTo>
                  <a:lnTo>
                    <a:pt x="10652" y="10260"/>
                  </a:lnTo>
                  <a:cubicBezTo>
                    <a:pt x="10140" y="9151"/>
                    <a:pt x="8367" y="7560"/>
                    <a:pt x="7118" y="7560"/>
                  </a:cubicBezTo>
                  <a:cubicBezTo>
                    <a:pt x="5645" y="7560"/>
                    <a:pt x="4418" y="8640"/>
                    <a:pt x="4418" y="10800"/>
                  </a:cubicBezTo>
                  <a:cubicBezTo>
                    <a:pt x="4418" y="12960"/>
                    <a:pt x="5645" y="14040"/>
                    <a:pt x="7118" y="14040"/>
                  </a:cubicBezTo>
                  <a:cubicBezTo>
                    <a:pt x="8377" y="14040"/>
                    <a:pt x="10171" y="12488"/>
                    <a:pt x="10665" y="11340"/>
                  </a:cubicBezTo>
                  <a:lnTo>
                    <a:pt x="20590" y="11340"/>
                  </a:lnTo>
                  <a:cubicBezTo>
                    <a:pt x="20306" y="16456"/>
                    <a:pt x="16038" y="20520"/>
                    <a:pt x="10800" y="20520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Shape 2703">
              <a:extLst>
                <a:ext uri="{FF2B5EF4-FFF2-40B4-BE49-F238E27FC236}">
                  <a16:creationId xmlns:a16="http://schemas.microsoft.com/office/drawing/2014/main" id="{DDD1FFB4-71AC-4750-ACE8-5CD94FBBAEF2}"/>
                </a:ext>
              </a:extLst>
            </p:cNvPr>
            <p:cNvSpPr/>
            <p:nvPr/>
          </p:nvSpPr>
          <p:spPr bwMode="gray">
            <a:xfrm>
              <a:off x="9523872" y="2862472"/>
              <a:ext cx="262721" cy="2892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660" y="8839"/>
                  </a:moveTo>
                  <a:cubicBezTo>
                    <a:pt x="15958" y="8839"/>
                    <a:pt x="16200" y="8619"/>
                    <a:pt x="16200" y="8348"/>
                  </a:cubicBezTo>
                  <a:lnTo>
                    <a:pt x="16200" y="6386"/>
                  </a:lnTo>
                  <a:cubicBezTo>
                    <a:pt x="16200" y="6115"/>
                    <a:pt x="15958" y="5896"/>
                    <a:pt x="15660" y="5896"/>
                  </a:cubicBezTo>
                  <a:cubicBezTo>
                    <a:pt x="15362" y="5896"/>
                    <a:pt x="15120" y="6115"/>
                    <a:pt x="15120" y="6386"/>
                  </a:cubicBezTo>
                  <a:lnTo>
                    <a:pt x="15120" y="8348"/>
                  </a:lnTo>
                  <a:cubicBezTo>
                    <a:pt x="15120" y="8619"/>
                    <a:pt x="15362" y="8839"/>
                    <a:pt x="15660" y="8839"/>
                  </a:cubicBezTo>
                  <a:moveTo>
                    <a:pt x="20520" y="17666"/>
                  </a:moveTo>
                  <a:lnTo>
                    <a:pt x="13048" y="17666"/>
                  </a:lnTo>
                  <a:cubicBezTo>
                    <a:pt x="12910" y="16942"/>
                    <a:pt x="12848" y="16231"/>
                    <a:pt x="12830" y="15570"/>
                  </a:cubicBezTo>
                  <a:cubicBezTo>
                    <a:pt x="16149" y="15233"/>
                    <a:pt x="18453" y="14207"/>
                    <a:pt x="18568" y="14155"/>
                  </a:cubicBezTo>
                  <a:lnTo>
                    <a:pt x="18085" y="13278"/>
                  </a:lnTo>
                  <a:cubicBezTo>
                    <a:pt x="18059" y="13289"/>
                    <a:pt x="15906" y="14245"/>
                    <a:pt x="12837" y="14581"/>
                  </a:cubicBezTo>
                  <a:cubicBezTo>
                    <a:pt x="12896" y="13028"/>
                    <a:pt x="13167" y="11927"/>
                    <a:pt x="13173" y="11902"/>
                  </a:cubicBezTo>
                  <a:lnTo>
                    <a:pt x="13325" y="11301"/>
                  </a:lnTo>
                  <a:lnTo>
                    <a:pt x="9308" y="11301"/>
                  </a:lnTo>
                  <a:cubicBezTo>
                    <a:pt x="9741" y="8291"/>
                    <a:pt x="10857" y="5772"/>
                    <a:pt x="11921" y="3934"/>
                  </a:cubicBezTo>
                  <a:lnTo>
                    <a:pt x="20520" y="3934"/>
                  </a:lnTo>
                  <a:cubicBezTo>
                    <a:pt x="20520" y="3934"/>
                    <a:pt x="20520" y="17666"/>
                    <a:pt x="20520" y="17666"/>
                  </a:cubicBezTo>
                  <a:close/>
                  <a:moveTo>
                    <a:pt x="10766" y="15678"/>
                  </a:moveTo>
                  <a:cubicBezTo>
                    <a:pt x="11096" y="15678"/>
                    <a:pt x="11418" y="15668"/>
                    <a:pt x="11734" y="15653"/>
                  </a:cubicBezTo>
                  <a:cubicBezTo>
                    <a:pt x="11753" y="16291"/>
                    <a:pt x="11808" y="16967"/>
                    <a:pt x="11933" y="17666"/>
                  </a:cubicBezTo>
                  <a:lnTo>
                    <a:pt x="1080" y="17666"/>
                  </a:lnTo>
                  <a:lnTo>
                    <a:pt x="1080" y="3934"/>
                  </a:lnTo>
                  <a:lnTo>
                    <a:pt x="10689" y="3934"/>
                  </a:lnTo>
                  <a:cubicBezTo>
                    <a:pt x="9598" y="5921"/>
                    <a:pt x="8520" y="8577"/>
                    <a:pt x="8164" y="11742"/>
                  </a:cubicBezTo>
                  <a:lnTo>
                    <a:pt x="8103" y="12282"/>
                  </a:lnTo>
                  <a:lnTo>
                    <a:pt x="11993" y="12282"/>
                  </a:lnTo>
                  <a:cubicBezTo>
                    <a:pt x="11893" y="12823"/>
                    <a:pt x="11771" y="13665"/>
                    <a:pt x="11736" y="14669"/>
                  </a:cubicBezTo>
                  <a:cubicBezTo>
                    <a:pt x="11418" y="14686"/>
                    <a:pt x="11097" y="14697"/>
                    <a:pt x="10766" y="14697"/>
                  </a:cubicBezTo>
                  <a:cubicBezTo>
                    <a:pt x="6636" y="14697"/>
                    <a:pt x="3478" y="13292"/>
                    <a:pt x="3447" y="13278"/>
                  </a:cubicBezTo>
                  <a:lnTo>
                    <a:pt x="2965" y="14155"/>
                  </a:lnTo>
                  <a:cubicBezTo>
                    <a:pt x="3102" y="14218"/>
                    <a:pt x="6369" y="15678"/>
                    <a:pt x="10766" y="15678"/>
                  </a:cubicBezTo>
                  <a:moveTo>
                    <a:pt x="20520" y="2954"/>
                  </a:moveTo>
                  <a:lnTo>
                    <a:pt x="12519" y="2954"/>
                  </a:lnTo>
                  <a:cubicBezTo>
                    <a:pt x="13470" y="1490"/>
                    <a:pt x="14254" y="661"/>
                    <a:pt x="14273" y="641"/>
                  </a:cubicBezTo>
                  <a:lnTo>
                    <a:pt x="13456" y="0"/>
                  </a:lnTo>
                  <a:cubicBezTo>
                    <a:pt x="13366" y="95"/>
                    <a:pt x="12371" y="1151"/>
                    <a:pt x="11260" y="2954"/>
                  </a:cubicBezTo>
                  <a:lnTo>
                    <a:pt x="1080" y="2954"/>
                  </a:lnTo>
                  <a:cubicBezTo>
                    <a:pt x="483" y="2954"/>
                    <a:pt x="0" y="3393"/>
                    <a:pt x="0" y="3934"/>
                  </a:cubicBezTo>
                  <a:lnTo>
                    <a:pt x="0" y="17666"/>
                  </a:lnTo>
                  <a:cubicBezTo>
                    <a:pt x="0" y="18207"/>
                    <a:pt x="483" y="18646"/>
                    <a:pt x="1080" y="18646"/>
                  </a:cubicBezTo>
                  <a:lnTo>
                    <a:pt x="12155" y="18646"/>
                  </a:lnTo>
                  <a:cubicBezTo>
                    <a:pt x="12423" y="19645"/>
                    <a:pt x="12834" y="20653"/>
                    <a:pt x="13465" y="21600"/>
                  </a:cubicBezTo>
                  <a:lnTo>
                    <a:pt x="14389" y="21092"/>
                  </a:lnTo>
                  <a:cubicBezTo>
                    <a:pt x="13874" y="20318"/>
                    <a:pt x="13522" y="19485"/>
                    <a:pt x="13281" y="18646"/>
                  </a:cubicBezTo>
                  <a:lnTo>
                    <a:pt x="20520" y="18646"/>
                  </a:lnTo>
                  <a:cubicBezTo>
                    <a:pt x="21116" y="18646"/>
                    <a:pt x="21600" y="18207"/>
                    <a:pt x="21600" y="17666"/>
                  </a:cubicBezTo>
                  <a:lnTo>
                    <a:pt x="21600" y="3934"/>
                  </a:lnTo>
                  <a:cubicBezTo>
                    <a:pt x="21600" y="3393"/>
                    <a:pt x="21116" y="2954"/>
                    <a:pt x="20520" y="2954"/>
                  </a:cubicBezTo>
                  <a:moveTo>
                    <a:pt x="5940" y="8839"/>
                  </a:moveTo>
                  <a:cubicBezTo>
                    <a:pt x="6238" y="8839"/>
                    <a:pt x="6480" y="8619"/>
                    <a:pt x="6480" y="8348"/>
                  </a:cubicBezTo>
                  <a:lnTo>
                    <a:pt x="6480" y="6386"/>
                  </a:lnTo>
                  <a:cubicBezTo>
                    <a:pt x="6480" y="6115"/>
                    <a:pt x="6238" y="5896"/>
                    <a:pt x="5940" y="5896"/>
                  </a:cubicBezTo>
                  <a:cubicBezTo>
                    <a:pt x="5642" y="5896"/>
                    <a:pt x="5400" y="6115"/>
                    <a:pt x="5400" y="6386"/>
                  </a:cubicBezTo>
                  <a:lnTo>
                    <a:pt x="5400" y="8348"/>
                  </a:lnTo>
                  <a:cubicBezTo>
                    <a:pt x="5400" y="8619"/>
                    <a:pt x="5642" y="8839"/>
                    <a:pt x="5940" y="883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Shape 2704">
              <a:extLst>
                <a:ext uri="{FF2B5EF4-FFF2-40B4-BE49-F238E27FC236}">
                  <a16:creationId xmlns:a16="http://schemas.microsoft.com/office/drawing/2014/main" id="{C1338335-D502-47A0-ABB9-481286D568CE}"/>
                </a:ext>
              </a:extLst>
            </p:cNvPr>
            <p:cNvSpPr/>
            <p:nvPr/>
          </p:nvSpPr>
          <p:spPr bwMode="gray">
            <a:xfrm>
              <a:off x="10062449" y="2862472"/>
              <a:ext cx="288993" cy="28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8"/>
                    <a:pt x="5378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moveTo>
                    <a:pt x="15628" y="4904"/>
                  </a:moveTo>
                  <a:lnTo>
                    <a:pt x="14334" y="4904"/>
                  </a:lnTo>
                  <a:lnTo>
                    <a:pt x="10776" y="9842"/>
                  </a:lnTo>
                  <a:lnTo>
                    <a:pt x="7337" y="4904"/>
                  </a:lnTo>
                  <a:lnTo>
                    <a:pt x="5975" y="4904"/>
                  </a:lnTo>
                  <a:lnTo>
                    <a:pt x="10094" y="10618"/>
                  </a:lnTo>
                  <a:lnTo>
                    <a:pt x="5736" y="16696"/>
                  </a:lnTo>
                  <a:lnTo>
                    <a:pt x="7030" y="16696"/>
                  </a:lnTo>
                  <a:lnTo>
                    <a:pt x="10776" y="11493"/>
                  </a:lnTo>
                  <a:lnTo>
                    <a:pt x="14470" y="16696"/>
                  </a:lnTo>
                  <a:lnTo>
                    <a:pt x="15866" y="16696"/>
                  </a:lnTo>
                  <a:lnTo>
                    <a:pt x="11474" y="10651"/>
                  </a:lnTo>
                  <a:cubicBezTo>
                    <a:pt x="11474" y="10651"/>
                    <a:pt x="15628" y="4904"/>
                    <a:pt x="15628" y="490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Shape 2705">
              <a:extLst>
                <a:ext uri="{FF2B5EF4-FFF2-40B4-BE49-F238E27FC236}">
                  <a16:creationId xmlns:a16="http://schemas.microsoft.com/office/drawing/2014/main" id="{D43BD5E5-CC61-4CCC-B23D-AA89F8261883}"/>
                </a:ext>
              </a:extLst>
            </p:cNvPr>
            <p:cNvSpPr/>
            <p:nvPr/>
          </p:nvSpPr>
          <p:spPr bwMode="gray">
            <a:xfrm>
              <a:off x="10614163" y="2862472"/>
              <a:ext cx="288923" cy="289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2" y="3820"/>
                  </a:moveTo>
                  <a:lnTo>
                    <a:pt x="7853" y="2877"/>
                  </a:lnTo>
                  <a:lnTo>
                    <a:pt x="7853" y="8838"/>
                  </a:lnTo>
                  <a:lnTo>
                    <a:pt x="982" y="8838"/>
                  </a:lnTo>
                  <a:cubicBezTo>
                    <a:pt x="982" y="8838"/>
                    <a:pt x="982" y="3820"/>
                    <a:pt x="982" y="3820"/>
                  </a:cubicBezTo>
                  <a:close/>
                  <a:moveTo>
                    <a:pt x="0" y="9819"/>
                  </a:moveTo>
                  <a:lnTo>
                    <a:pt x="8835" y="9819"/>
                  </a:lnTo>
                  <a:lnTo>
                    <a:pt x="8835" y="1752"/>
                  </a:lnTo>
                  <a:lnTo>
                    <a:pt x="0" y="2964"/>
                  </a:lnTo>
                  <a:cubicBezTo>
                    <a:pt x="0" y="2964"/>
                    <a:pt x="0" y="9819"/>
                    <a:pt x="0" y="9819"/>
                  </a:cubicBezTo>
                  <a:close/>
                  <a:moveTo>
                    <a:pt x="20618" y="8838"/>
                  </a:moveTo>
                  <a:lnTo>
                    <a:pt x="11771" y="8838"/>
                  </a:lnTo>
                  <a:lnTo>
                    <a:pt x="11771" y="2339"/>
                  </a:lnTo>
                  <a:lnTo>
                    <a:pt x="20618" y="1125"/>
                  </a:lnTo>
                  <a:cubicBezTo>
                    <a:pt x="20618" y="1125"/>
                    <a:pt x="20618" y="8838"/>
                    <a:pt x="20618" y="8838"/>
                  </a:cubicBezTo>
                  <a:close/>
                  <a:moveTo>
                    <a:pt x="10789" y="1484"/>
                  </a:moveTo>
                  <a:lnTo>
                    <a:pt x="10789" y="9819"/>
                  </a:lnTo>
                  <a:lnTo>
                    <a:pt x="21600" y="9819"/>
                  </a:lnTo>
                  <a:lnTo>
                    <a:pt x="21600" y="0"/>
                  </a:lnTo>
                  <a:cubicBezTo>
                    <a:pt x="21600" y="0"/>
                    <a:pt x="10789" y="1484"/>
                    <a:pt x="10789" y="1484"/>
                  </a:cubicBezTo>
                  <a:close/>
                  <a:moveTo>
                    <a:pt x="982" y="12763"/>
                  </a:moveTo>
                  <a:lnTo>
                    <a:pt x="7853" y="12763"/>
                  </a:lnTo>
                  <a:lnTo>
                    <a:pt x="7853" y="18722"/>
                  </a:lnTo>
                  <a:lnTo>
                    <a:pt x="982" y="17780"/>
                  </a:lnTo>
                  <a:cubicBezTo>
                    <a:pt x="982" y="17780"/>
                    <a:pt x="982" y="12763"/>
                    <a:pt x="982" y="12763"/>
                  </a:cubicBezTo>
                  <a:close/>
                  <a:moveTo>
                    <a:pt x="0" y="18635"/>
                  </a:moveTo>
                  <a:lnTo>
                    <a:pt x="8835" y="19848"/>
                  </a:lnTo>
                  <a:lnTo>
                    <a:pt x="8835" y="11782"/>
                  </a:lnTo>
                  <a:lnTo>
                    <a:pt x="0" y="11782"/>
                  </a:lnTo>
                  <a:cubicBezTo>
                    <a:pt x="0" y="11782"/>
                    <a:pt x="0" y="18635"/>
                    <a:pt x="0" y="18635"/>
                  </a:cubicBezTo>
                  <a:close/>
                  <a:moveTo>
                    <a:pt x="11771" y="12763"/>
                  </a:moveTo>
                  <a:lnTo>
                    <a:pt x="20618" y="12763"/>
                  </a:lnTo>
                  <a:lnTo>
                    <a:pt x="20618" y="20475"/>
                  </a:lnTo>
                  <a:lnTo>
                    <a:pt x="11771" y="19261"/>
                  </a:lnTo>
                  <a:cubicBezTo>
                    <a:pt x="11771" y="19261"/>
                    <a:pt x="11771" y="12763"/>
                    <a:pt x="11771" y="12763"/>
                  </a:cubicBezTo>
                  <a:close/>
                  <a:moveTo>
                    <a:pt x="10789" y="20116"/>
                  </a:moveTo>
                  <a:lnTo>
                    <a:pt x="21600" y="21600"/>
                  </a:lnTo>
                  <a:lnTo>
                    <a:pt x="21600" y="11782"/>
                  </a:lnTo>
                  <a:lnTo>
                    <a:pt x="10789" y="11782"/>
                  </a:lnTo>
                  <a:cubicBezTo>
                    <a:pt x="10789" y="11782"/>
                    <a:pt x="10789" y="20116"/>
                    <a:pt x="10789" y="2011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Shape 2706">
              <a:extLst>
                <a:ext uri="{FF2B5EF4-FFF2-40B4-BE49-F238E27FC236}">
                  <a16:creationId xmlns:a16="http://schemas.microsoft.com/office/drawing/2014/main" id="{1330A0EA-3C64-4A83-B0F8-385FED837904}"/>
                </a:ext>
              </a:extLst>
            </p:cNvPr>
            <p:cNvSpPr/>
            <p:nvPr/>
          </p:nvSpPr>
          <p:spPr bwMode="gray">
            <a:xfrm>
              <a:off x="11205285" y="28624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3745"/>
                  </a:moveTo>
                  <a:cubicBezTo>
                    <a:pt x="20250" y="14016"/>
                    <a:pt x="19948" y="14236"/>
                    <a:pt x="19575" y="14236"/>
                  </a:cubicBezTo>
                  <a:cubicBezTo>
                    <a:pt x="19202" y="14236"/>
                    <a:pt x="18900" y="14016"/>
                    <a:pt x="18900" y="13745"/>
                  </a:cubicBezTo>
                  <a:lnTo>
                    <a:pt x="18900" y="6873"/>
                  </a:lnTo>
                  <a:cubicBezTo>
                    <a:pt x="18900" y="6602"/>
                    <a:pt x="19202" y="6382"/>
                    <a:pt x="19575" y="6382"/>
                  </a:cubicBezTo>
                  <a:cubicBezTo>
                    <a:pt x="19948" y="6382"/>
                    <a:pt x="20250" y="6602"/>
                    <a:pt x="20250" y="6873"/>
                  </a:cubicBezTo>
                  <a:cubicBezTo>
                    <a:pt x="20250" y="6873"/>
                    <a:pt x="20250" y="13745"/>
                    <a:pt x="20250" y="13745"/>
                  </a:cubicBezTo>
                  <a:close/>
                  <a:moveTo>
                    <a:pt x="17550" y="16691"/>
                  </a:moveTo>
                  <a:lnTo>
                    <a:pt x="4050" y="16691"/>
                  </a:lnTo>
                  <a:lnTo>
                    <a:pt x="4050" y="6382"/>
                  </a:lnTo>
                  <a:lnTo>
                    <a:pt x="17550" y="6382"/>
                  </a:lnTo>
                  <a:cubicBezTo>
                    <a:pt x="17550" y="6382"/>
                    <a:pt x="17550" y="16691"/>
                    <a:pt x="17550" y="16691"/>
                  </a:cubicBezTo>
                  <a:close/>
                  <a:moveTo>
                    <a:pt x="14850" y="20127"/>
                  </a:moveTo>
                  <a:cubicBezTo>
                    <a:pt x="14850" y="20399"/>
                    <a:pt x="14548" y="20618"/>
                    <a:pt x="14175" y="20618"/>
                  </a:cubicBezTo>
                  <a:cubicBezTo>
                    <a:pt x="13802" y="20618"/>
                    <a:pt x="13500" y="20399"/>
                    <a:pt x="13500" y="20127"/>
                  </a:cubicBezTo>
                  <a:lnTo>
                    <a:pt x="13500" y="17673"/>
                  </a:lnTo>
                  <a:lnTo>
                    <a:pt x="14850" y="17673"/>
                  </a:lnTo>
                  <a:cubicBezTo>
                    <a:pt x="14850" y="17673"/>
                    <a:pt x="14850" y="20127"/>
                    <a:pt x="14850" y="20127"/>
                  </a:cubicBezTo>
                  <a:close/>
                  <a:moveTo>
                    <a:pt x="8100" y="20127"/>
                  </a:moveTo>
                  <a:cubicBezTo>
                    <a:pt x="8100" y="20399"/>
                    <a:pt x="7798" y="20618"/>
                    <a:pt x="7425" y="20618"/>
                  </a:cubicBezTo>
                  <a:cubicBezTo>
                    <a:pt x="7052" y="20618"/>
                    <a:pt x="6750" y="20399"/>
                    <a:pt x="6750" y="20127"/>
                  </a:cubicBezTo>
                  <a:lnTo>
                    <a:pt x="6750" y="17673"/>
                  </a:lnTo>
                  <a:lnTo>
                    <a:pt x="8100" y="17673"/>
                  </a:lnTo>
                  <a:cubicBezTo>
                    <a:pt x="8100" y="17673"/>
                    <a:pt x="8100" y="20127"/>
                    <a:pt x="8100" y="20127"/>
                  </a:cubicBezTo>
                  <a:close/>
                  <a:moveTo>
                    <a:pt x="10800" y="1964"/>
                  </a:moveTo>
                  <a:cubicBezTo>
                    <a:pt x="14242" y="1964"/>
                    <a:pt x="17075" y="3464"/>
                    <a:pt x="17492" y="5400"/>
                  </a:cubicBezTo>
                  <a:lnTo>
                    <a:pt x="4108" y="5400"/>
                  </a:lnTo>
                  <a:cubicBezTo>
                    <a:pt x="4525" y="3464"/>
                    <a:pt x="7358" y="1964"/>
                    <a:pt x="10800" y="1964"/>
                  </a:cubicBezTo>
                  <a:moveTo>
                    <a:pt x="2700" y="13745"/>
                  </a:moveTo>
                  <a:cubicBezTo>
                    <a:pt x="2700" y="14016"/>
                    <a:pt x="2398" y="14236"/>
                    <a:pt x="2025" y="14236"/>
                  </a:cubicBezTo>
                  <a:cubicBezTo>
                    <a:pt x="1652" y="14236"/>
                    <a:pt x="1350" y="14016"/>
                    <a:pt x="1350" y="13745"/>
                  </a:cubicBezTo>
                  <a:lnTo>
                    <a:pt x="1350" y="6873"/>
                  </a:lnTo>
                  <a:cubicBezTo>
                    <a:pt x="1350" y="6602"/>
                    <a:pt x="1652" y="6382"/>
                    <a:pt x="2025" y="6382"/>
                  </a:cubicBezTo>
                  <a:cubicBezTo>
                    <a:pt x="2398" y="6382"/>
                    <a:pt x="2700" y="6602"/>
                    <a:pt x="2700" y="6873"/>
                  </a:cubicBezTo>
                  <a:cubicBezTo>
                    <a:pt x="2700" y="6873"/>
                    <a:pt x="2700" y="13745"/>
                    <a:pt x="2700" y="13745"/>
                  </a:cubicBezTo>
                  <a:close/>
                  <a:moveTo>
                    <a:pt x="19575" y="5400"/>
                  </a:moveTo>
                  <a:cubicBezTo>
                    <a:pt x="19336" y="5400"/>
                    <a:pt x="19112" y="5435"/>
                    <a:pt x="18900" y="5491"/>
                  </a:cubicBezTo>
                  <a:lnTo>
                    <a:pt x="18900" y="5400"/>
                  </a:lnTo>
                  <a:lnTo>
                    <a:pt x="18847" y="5400"/>
                  </a:lnTo>
                  <a:cubicBezTo>
                    <a:pt x="18595" y="3873"/>
                    <a:pt x="17191" y="2553"/>
                    <a:pt x="15171" y="1763"/>
                  </a:cubicBezTo>
                  <a:lnTo>
                    <a:pt x="16087" y="763"/>
                  </a:lnTo>
                  <a:lnTo>
                    <a:pt x="16076" y="758"/>
                  </a:lnTo>
                  <a:cubicBezTo>
                    <a:pt x="16148" y="681"/>
                    <a:pt x="16200" y="592"/>
                    <a:pt x="16200" y="491"/>
                  </a:cubicBezTo>
                  <a:cubicBezTo>
                    <a:pt x="16200" y="220"/>
                    <a:pt x="15898" y="0"/>
                    <a:pt x="15525" y="0"/>
                  </a:cubicBezTo>
                  <a:cubicBezTo>
                    <a:pt x="15291" y="0"/>
                    <a:pt x="15095" y="93"/>
                    <a:pt x="14974" y="223"/>
                  </a:cubicBezTo>
                  <a:lnTo>
                    <a:pt x="14963" y="219"/>
                  </a:lnTo>
                  <a:lnTo>
                    <a:pt x="13915" y="1362"/>
                  </a:lnTo>
                  <a:cubicBezTo>
                    <a:pt x="12956" y="1119"/>
                    <a:pt x="11905" y="982"/>
                    <a:pt x="10800" y="982"/>
                  </a:cubicBezTo>
                  <a:cubicBezTo>
                    <a:pt x="9695" y="982"/>
                    <a:pt x="8644" y="1119"/>
                    <a:pt x="7685" y="1362"/>
                  </a:cubicBezTo>
                  <a:lnTo>
                    <a:pt x="6637" y="219"/>
                  </a:lnTo>
                  <a:lnTo>
                    <a:pt x="6626" y="223"/>
                  </a:lnTo>
                  <a:cubicBezTo>
                    <a:pt x="6505" y="93"/>
                    <a:pt x="6309" y="0"/>
                    <a:pt x="6075" y="0"/>
                  </a:cubicBezTo>
                  <a:cubicBezTo>
                    <a:pt x="5702" y="0"/>
                    <a:pt x="5400" y="220"/>
                    <a:pt x="5400" y="491"/>
                  </a:cubicBezTo>
                  <a:cubicBezTo>
                    <a:pt x="5400" y="592"/>
                    <a:pt x="5452" y="681"/>
                    <a:pt x="5524" y="758"/>
                  </a:cubicBezTo>
                  <a:lnTo>
                    <a:pt x="5513" y="763"/>
                  </a:lnTo>
                  <a:lnTo>
                    <a:pt x="6430" y="1763"/>
                  </a:lnTo>
                  <a:cubicBezTo>
                    <a:pt x="4409" y="2553"/>
                    <a:pt x="3005" y="3873"/>
                    <a:pt x="2753" y="5400"/>
                  </a:cubicBezTo>
                  <a:lnTo>
                    <a:pt x="2700" y="5400"/>
                  </a:lnTo>
                  <a:lnTo>
                    <a:pt x="2700" y="5491"/>
                  </a:lnTo>
                  <a:cubicBezTo>
                    <a:pt x="2488" y="5435"/>
                    <a:pt x="2263" y="5400"/>
                    <a:pt x="2025" y="5400"/>
                  </a:cubicBezTo>
                  <a:cubicBezTo>
                    <a:pt x="907" y="5400"/>
                    <a:pt x="0" y="6060"/>
                    <a:pt x="0" y="6873"/>
                  </a:cubicBezTo>
                  <a:lnTo>
                    <a:pt x="0" y="13745"/>
                  </a:lnTo>
                  <a:cubicBezTo>
                    <a:pt x="0" y="14559"/>
                    <a:pt x="907" y="15218"/>
                    <a:pt x="2025" y="15218"/>
                  </a:cubicBezTo>
                  <a:cubicBezTo>
                    <a:pt x="2263" y="15218"/>
                    <a:pt x="2488" y="15183"/>
                    <a:pt x="2700" y="15128"/>
                  </a:cubicBezTo>
                  <a:lnTo>
                    <a:pt x="2700" y="16691"/>
                  </a:lnTo>
                  <a:cubicBezTo>
                    <a:pt x="2700" y="17233"/>
                    <a:pt x="3305" y="17673"/>
                    <a:pt x="4050" y="17673"/>
                  </a:cubicBezTo>
                  <a:lnTo>
                    <a:pt x="5400" y="17673"/>
                  </a:lnTo>
                  <a:lnTo>
                    <a:pt x="5400" y="20127"/>
                  </a:lnTo>
                  <a:cubicBezTo>
                    <a:pt x="5400" y="20941"/>
                    <a:pt x="6307" y="21600"/>
                    <a:pt x="7425" y="21600"/>
                  </a:cubicBezTo>
                  <a:cubicBezTo>
                    <a:pt x="8543" y="21600"/>
                    <a:pt x="9450" y="20941"/>
                    <a:pt x="9450" y="20127"/>
                  </a:cubicBezTo>
                  <a:lnTo>
                    <a:pt x="9450" y="17673"/>
                  </a:lnTo>
                  <a:lnTo>
                    <a:pt x="12150" y="17673"/>
                  </a:lnTo>
                  <a:lnTo>
                    <a:pt x="12150" y="20127"/>
                  </a:lnTo>
                  <a:cubicBezTo>
                    <a:pt x="12150" y="20941"/>
                    <a:pt x="13056" y="21600"/>
                    <a:pt x="14175" y="21600"/>
                  </a:cubicBezTo>
                  <a:cubicBezTo>
                    <a:pt x="15294" y="21600"/>
                    <a:pt x="16200" y="20941"/>
                    <a:pt x="16200" y="20127"/>
                  </a:cubicBezTo>
                  <a:lnTo>
                    <a:pt x="16200" y="17673"/>
                  </a:lnTo>
                  <a:lnTo>
                    <a:pt x="17550" y="17673"/>
                  </a:lnTo>
                  <a:cubicBezTo>
                    <a:pt x="18295" y="17673"/>
                    <a:pt x="18900" y="17233"/>
                    <a:pt x="18900" y="16691"/>
                  </a:cubicBezTo>
                  <a:lnTo>
                    <a:pt x="18900" y="15128"/>
                  </a:lnTo>
                  <a:cubicBezTo>
                    <a:pt x="19112" y="15183"/>
                    <a:pt x="19336" y="15218"/>
                    <a:pt x="19575" y="15218"/>
                  </a:cubicBezTo>
                  <a:cubicBezTo>
                    <a:pt x="20694" y="15218"/>
                    <a:pt x="21600" y="14559"/>
                    <a:pt x="21600" y="13745"/>
                  </a:cubicBezTo>
                  <a:lnTo>
                    <a:pt x="21600" y="6873"/>
                  </a:lnTo>
                  <a:cubicBezTo>
                    <a:pt x="21600" y="6060"/>
                    <a:pt x="20694" y="5400"/>
                    <a:pt x="19575" y="5400"/>
                  </a:cubicBezTo>
                  <a:moveTo>
                    <a:pt x="12825" y="3436"/>
                  </a:moveTo>
                  <a:cubicBezTo>
                    <a:pt x="12452" y="3436"/>
                    <a:pt x="12150" y="3656"/>
                    <a:pt x="12150" y="3927"/>
                  </a:cubicBezTo>
                  <a:cubicBezTo>
                    <a:pt x="12150" y="4199"/>
                    <a:pt x="12452" y="4418"/>
                    <a:pt x="12825" y="4418"/>
                  </a:cubicBezTo>
                  <a:cubicBezTo>
                    <a:pt x="13198" y="4418"/>
                    <a:pt x="13500" y="4199"/>
                    <a:pt x="13500" y="3927"/>
                  </a:cubicBezTo>
                  <a:cubicBezTo>
                    <a:pt x="13500" y="3656"/>
                    <a:pt x="13198" y="3436"/>
                    <a:pt x="12825" y="3436"/>
                  </a:cubicBezTo>
                  <a:moveTo>
                    <a:pt x="8775" y="3436"/>
                  </a:moveTo>
                  <a:cubicBezTo>
                    <a:pt x="8402" y="3436"/>
                    <a:pt x="8100" y="3656"/>
                    <a:pt x="8100" y="3927"/>
                  </a:cubicBezTo>
                  <a:cubicBezTo>
                    <a:pt x="8100" y="4199"/>
                    <a:pt x="8402" y="4418"/>
                    <a:pt x="8775" y="4418"/>
                  </a:cubicBezTo>
                  <a:cubicBezTo>
                    <a:pt x="9148" y="4418"/>
                    <a:pt x="9450" y="4199"/>
                    <a:pt x="9450" y="3927"/>
                  </a:cubicBezTo>
                  <a:cubicBezTo>
                    <a:pt x="9450" y="3656"/>
                    <a:pt x="9148" y="3436"/>
                    <a:pt x="8775" y="34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Shape 2708">
              <a:extLst>
                <a:ext uri="{FF2B5EF4-FFF2-40B4-BE49-F238E27FC236}">
                  <a16:creationId xmlns:a16="http://schemas.microsoft.com/office/drawing/2014/main" id="{86DF1B89-D416-4046-87C5-46DEDFEF8232}"/>
                </a:ext>
              </a:extLst>
            </p:cNvPr>
            <p:cNvSpPr/>
            <p:nvPr/>
          </p:nvSpPr>
          <p:spPr bwMode="gray">
            <a:xfrm>
              <a:off x="617538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888"/>
                  </a:moveTo>
                  <a:lnTo>
                    <a:pt x="8836" y="7712"/>
                  </a:lnTo>
                  <a:lnTo>
                    <a:pt x="14241" y="10800"/>
                  </a:lnTo>
                  <a:cubicBezTo>
                    <a:pt x="14241" y="10800"/>
                    <a:pt x="8836" y="13888"/>
                    <a:pt x="8836" y="13888"/>
                  </a:cubicBezTo>
                  <a:close/>
                  <a:moveTo>
                    <a:pt x="15520" y="10422"/>
                  </a:moveTo>
                  <a:lnTo>
                    <a:pt x="15525" y="10416"/>
                  </a:lnTo>
                  <a:lnTo>
                    <a:pt x="15438" y="10367"/>
                  </a:lnTo>
                  <a:cubicBezTo>
                    <a:pt x="15425" y="10361"/>
                    <a:pt x="15414" y="10351"/>
                    <a:pt x="15401" y="10346"/>
                  </a:cubicBezTo>
                  <a:lnTo>
                    <a:pt x="8652" y="6489"/>
                  </a:lnTo>
                  <a:lnTo>
                    <a:pt x="8647" y="6495"/>
                  </a:lnTo>
                  <a:cubicBezTo>
                    <a:pt x="8563" y="6428"/>
                    <a:pt x="8461" y="6382"/>
                    <a:pt x="8345" y="6382"/>
                  </a:cubicBezTo>
                  <a:cubicBezTo>
                    <a:pt x="8075" y="6382"/>
                    <a:pt x="7855" y="6601"/>
                    <a:pt x="7855" y="6873"/>
                  </a:cubicBezTo>
                  <a:lnTo>
                    <a:pt x="7855" y="14727"/>
                  </a:lnTo>
                  <a:cubicBezTo>
                    <a:pt x="7855" y="14999"/>
                    <a:pt x="8075" y="15218"/>
                    <a:pt x="8345" y="15218"/>
                  </a:cubicBezTo>
                  <a:cubicBezTo>
                    <a:pt x="8461" y="15218"/>
                    <a:pt x="8563" y="15172"/>
                    <a:pt x="8647" y="15105"/>
                  </a:cubicBezTo>
                  <a:lnTo>
                    <a:pt x="8652" y="15111"/>
                  </a:lnTo>
                  <a:lnTo>
                    <a:pt x="15401" y="11254"/>
                  </a:lnTo>
                  <a:cubicBezTo>
                    <a:pt x="15414" y="11249"/>
                    <a:pt x="15425" y="11240"/>
                    <a:pt x="15438" y="11233"/>
                  </a:cubicBezTo>
                  <a:lnTo>
                    <a:pt x="15525" y="11184"/>
                  </a:lnTo>
                  <a:lnTo>
                    <a:pt x="15520" y="11178"/>
                  </a:lnTo>
                  <a:cubicBezTo>
                    <a:pt x="15632" y="11088"/>
                    <a:pt x="15709" y="10955"/>
                    <a:pt x="15709" y="10800"/>
                  </a:cubicBezTo>
                  <a:cubicBezTo>
                    <a:pt x="15709" y="10645"/>
                    <a:pt x="15632" y="10512"/>
                    <a:pt x="15520" y="1042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2709">
              <a:extLst>
                <a:ext uri="{FF2B5EF4-FFF2-40B4-BE49-F238E27FC236}">
                  <a16:creationId xmlns:a16="http://schemas.microsoft.com/office/drawing/2014/main" id="{10B84836-A0FF-4F7B-9DBB-0498CB689AD7}"/>
                </a:ext>
              </a:extLst>
            </p:cNvPr>
            <p:cNvSpPr/>
            <p:nvPr/>
          </p:nvSpPr>
          <p:spPr bwMode="gray">
            <a:xfrm>
              <a:off x="116925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12764" y="13745"/>
                  </a:lnTo>
                  <a:lnTo>
                    <a:pt x="12764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12273" y="6873"/>
                  </a:lnTo>
                  <a:cubicBezTo>
                    <a:pt x="12002" y="6873"/>
                    <a:pt x="11782" y="7092"/>
                    <a:pt x="11782" y="7364"/>
                  </a:cubicBezTo>
                  <a:lnTo>
                    <a:pt x="11782" y="14236"/>
                  </a:lnTo>
                  <a:cubicBezTo>
                    <a:pt x="11782" y="14508"/>
                    <a:pt x="12002" y="14727"/>
                    <a:pt x="12273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8836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8836" y="7855"/>
                  </a:lnTo>
                  <a:cubicBezTo>
                    <a:pt x="8836" y="7855"/>
                    <a:pt x="8836" y="13745"/>
                    <a:pt x="8836" y="13745"/>
                  </a:cubicBezTo>
                  <a:close/>
                  <a:moveTo>
                    <a:pt x="9327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9327" y="14727"/>
                  </a:lnTo>
                  <a:cubicBezTo>
                    <a:pt x="9598" y="14727"/>
                    <a:pt x="9818" y="14508"/>
                    <a:pt x="9818" y="14236"/>
                  </a:cubicBezTo>
                  <a:lnTo>
                    <a:pt x="9818" y="7364"/>
                  </a:lnTo>
                  <a:cubicBezTo>
                    <a:pt x="9818" y="7092"/>
                    <a:pt x="9598" y="6873"/>
                    <a:pt x="9327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Shape 2710">
              <a:extLst>
                <a:ext uri="{FF2B5EF4-FFF2-40B4-BE49-F238E27FC236}">
                  <a16:creationId xmlns:a16="http://schemas.microsoft.com/office/drawing/2014/main" id="{7606074A-48DC-438F-8673-94FB77846262}"/>
                </a:ext>
              </a:extLst>
            </p:cNvPr>
            <p:cNvSpPr/>
            <p:nvPr/>
          </p:nvSpPr>
          <p:spPr bwMode="gray">
            <a:xfrm>
              <a:off x="1720965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3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3" y="14727"/>
                    <a:pt x="7364" y="14727"/>
                  </a:cubicBezTo>
                  <a:lnTo>
                    <a:pt x="14236" y="14727"/>
                  </a:lnTo>
                  <a:cubicBezTo>
                    <a:pt x="14507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7" y="6873"/>
                    <a:pt x="14236" y="6873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Shape 2711">
              <a:extLst>
                <a:ext uri="{FF2B5EF4-FFF2-40B4-BE49-F238E27FC236}">
                  <a16:creationId xmlns:a16="http://schemas.microsoft.com/office/drawing/2014/main" id="{A180358A-2379-442B-B370-7799C165ACE8}"/>
                </a:ext>
              </a:extLst>
            </p:cNvPr>
            <p:cNvSpPr/>
            <p:nvPr/>
          </p:nvSpPr>
          <p:spPr bwMode="gray">
            <a:xfrm>
              <a:off x="2272679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0800" y="13745"/>
                  </a:moveTo>
                  <a:cubicBezTo>
                    <a:pt x="9173" y="13745"/>
                    <a:pt x="7855" y="12427"/>
                    <a:pt x="7855" y="10800"/>
                  </a:cubicBezTo>
                  <a:cubicBezTo>
                    <a:pt x="7855" y="9173"/>
                    <a:pt x="9173" y="7855"/>
                    <a:pt x="10800" y="7855"/>
                  </a:cubicBezTo>
                  <a:cubicBezTo>
                    <a:pt x="12427" y="7855"/>
                    <a:pt x="13745" y="9173"/>
                    <a:pt x="13745" y="10800"/>
                  </a:cubicBezTo>
                  <a:cubicBezTo>
                    <a:pt x="13745" y="12427"/>
                    <a:pt x="12427" y="13745"/>
                    <a:pt x="10800" y="13745"/>
                  </a:cubicBezTo>
                  <a:moveTo>
                    <a:pt x="10800" y="6873"/>
                  </a:move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2969"/>
                    <a:pt x="8631" y="14727"/>
                    <a:pt x="10800" y="14727"/>
                  </a:cubicBezTo>
                  <a:cubicBezTo>
                    <a:pt x="12969" y="14727"/>
                    <a:pt x="14727" y="12969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Shape 2712">
              <a:extLst>
                <a:ext uri="{FF2B5EF4-FFF2-40B4-BE49-F238E27FC236}">
                  <a16:creationId xmlns:a16="http://schemas.microsoft.com/office/drawing/2014/main" id="{5AD49A97-F754-4FD8-A6FE-5CE064FB890E}"/>
                </a:ext>
              </a:extLst>
            </p:cNvPr>
            <p:cNvSpPr/>
            <p:nvPr/>
          </p:nvSpPr>
          <p:spPr bwMode="gray">
            <a:xfrm>
              <a:off x="2824392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3888"/>
                  </a:moveTo>
                  <a:lnTo>
                    <a:pt x="10800" y="7712"/>
                  </a:lnTo>
                  <a:lnTo>
                    <a:pt x="16204" y="10800"/>
                  </a:lnTo>
                  <a:cubicBezTo>
                    <a:pt x="16204" y="10800"/>
                    <a:pt x="10800" y="13888"/>
                    <a:pt x="10800" y="13888"/>
                  </a:cubicBezTo>
                  <a:close/>
                  <a:moveTo>
                    <a:pt x="17484" y="10422"/>
                  </a:moveTo>
                  <a:lnTo>
                    <a:pt x="17489" y="10416"/>
                  </a:lnTo>
                  <a:lnTo>
                    <a:pt x="17402" y="10367"/>
                  </a:lnTo>
                  <a:cubicBezTo>
                    <a:pt x="17389" y="10361"/>
                    <a:pt x="17378" y="10351"/>
                    <a:pt x="17365" y="10346"/>
                  </a:cubicBezTo>
                  <a:lnTo>
                    <a:pt x="10616" y="6489"/>
                  </a:lnTo>
                  <a:lnTo>
                    <a:pt x="10611" y="6495"/>
                  </a:lnTo>
                  <a:cubicBezTo>
                    <a:pt x="10527" y="6428"/>
                    <a:pt x="10425" y="6382"/>
                    <a:pt x="10309" y="6382"/>
                  </a:cubicBezTo>
                  <a:cubicBezTo>
                    <a:pt x="10038" y="6382"/>
                    <a:pt x="9818" y="6601"/>
                    <a:pt x="9818" y="6873"/>
                  </a:cubicBezTo>
                  <a:lnTo>
                    <a:pt x="9818" y="14727"/>
                  </a:lnTo>
                  <a:cubicBezTo>
                    <a:pt x="9818" y="14999"/>
                    <a:pt x="10038" y="15218"/>
                    <a:pt x="10309" y="15218"/>
                  </a:cubicBezTo>
                  <a:cubicBezTo>
                    <a:pt x="10425" y="15218"/>
                    <a:pt x="10527" y="15172"/>
                    <a:pt x="10611" y="15105"/>
                  </a:cubicBezTo>
                  <a:lnTo>
                    <a:pt x="10616" y="15111"/>
                  </a:lnTo>
                  <a:lnTo>
                    <a:pt x="17365" y="11254"/>
                  </a:lnTo>
                  <a:cubicBezTo>
                    <a:pt x="17378" y="11249"/>
                    <a:pt x="17388" y="11239"/>
                    <a:pt x="17401" y="11233"/>
                  </a:cubicBezTo>
                  <a:lnTo>
                    <a:pt x="17489" y="11184"/>
                  </a:lnTo>
                  <a:lnTo>
                    <a:pt x="17484" y="11178"/>
                  </a:lnTo>
                  <a:cubicBezTo>
                    <a:pt x="17596" y="11088"/>
                    <a:pt x="17673" y="10955"/>
                    <a:pt x="17673" y="10800"/>
                  </a:cubicBezTo>
                  <a:cubicBezTo>
                    <a:pt x="17673" y="10645"/>
                    <a:pt x="17596" y="10512"/>
                    <a:pt x="17484" y="10422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6684" y="6495"/>
                  </a:moveTo>
                  <a:cubicBezTo>
                    <a:pt x="6600" y="6428"/>
                    <a:pt x="6498" y="6382"/>
                    <a:pt x="6382" y="6382"/>
                  </a:cubicBezTo>
                  <a:cubicBezTo>
                    <a:pt x="6111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1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8836" y="13883"/>
                  </a:lnTo>
                  <a:lnTo>
                    <a:pt x="8836" y="12766"/>
                  </a:lnTo>
                  <a:lnTo>
                    <a:pt x="6873" y="13888"/>
                  </a:lnTo>
                  <a:lnTo>
                    <a:pt x="6873" y="7712"/>
                  </a:lnTo>
                  <a:lnTo>
                    <a:pt x="8836" y="8834"/>
                  </a:lnTo>
                  <a:lnTo>
                    <a:pt x="8836" y="7716"/>
                  </a:lnTo>
                  <a:lnTo>
                    <a:pt x="6689" y="6489"/>
                  </a:lnTo>
                  <a:cubicBezTo>
                    <a:pt x="6689" y="6489"/>
                    <a:pt x="6684" y="6495"/>
                    <a:pt x="6684" y="649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Shape 2713">
              <a:extLst>
                <a:ext uri="{FF2B5EF4-FFF2-40B4-BE49-F238E27FC236}">
                  <a16:creationId xmlns:a16="http://schemas.microsoft.com/office/drawing/2014/main" id="{8A564BBB-7DCB-4BCA-8B91-6086F7160D7A}"/>
                </a:ext>
              </a:extLst>
            </p:cNvPr>
            <p:cNvSpPr/>
            <p:nvPr/>
          </p:nvSpPr>
          <p:spPr bwMode="gray">
            <a:xfrm>
              <a:off x="3376106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4236"/>
                  </a:moveTo>
                  <a:lnTo>
                    <a:pt x="13745" y="14236"/>
                  </a:lnTo>
                  <a:lnTo>
                    <a:pt x="13745" y="7364"/>
                  </a:lnTo>
                  <a:lnTo>
                    <a:pt x="14727" y="7364"/>
                  </a:lnTo>
                  <a:cubicBezTo>
                    <a:pt x="14727" y="7364"/>
                    <a:pt x="14727" y="14236"/>
                    <a:pt x="14727" y="14236"/>
                  </a:cubicBezTo>
                  <a:close/>
                  <a:moveTo>
                    <a:pt x="6873" y="13888"/>
                  </a:moveTo>
                  <a:lnTo>
                    <a:pt x="6873" y="7712"/>
                  </a:lnTo>
                  <a:lnTo>
                    <a:pt x="12277" y="10800"/>
                  </a:lnTo>
                  <a:cubicBezTo>
                    <a:pt x="12277" y="10800"/>
                    <a:pt x="6873" y="13888"/>
                    <a:pt x="6873" y="13888"/>
                  </a:cubicBezTo>
                  <a:close/>
                  <a:moveTo>
                    <a:pt x="15218" y="6382"/>
                  </a:moveTo>
                  <a:lnTo>
                    <a:pt x="13255" y="6382"/>
                  </a:lnTo>
                  <a:cubicBezTo>
                    <a:pt x="12983" y="6382"/>
                    <a:pt x="12764" y="6601"/>
                    <a:pt x="12764" y="6873"/>
                  </a:cubicBezTo>
                  <a:lnTo>
                    <a:pt x="12764" y="9961"/>
                  </a:lnTo>
                  <a:lnTo>
                    <a:pt x="6689" y="6489"/>
                  </a:lnTo>
                  <a:lnTo>
                    <a:pt x="6684" y="6495"/>
                  </a:lnTo>
                  <a:cubicBezTo>
                    <a:pt x="6600" y="6428"/>
                    <a:pt x="6498" y="6382"/>
                    <a:pt x="6382" y="6382"/>
                  </a:cubicBezTo>
                  <a:cubicBezTo>
                    <a:pt x="6110" y="6382"/>
                    <a:pt x="5891" y="6601"/>
                    <a:pt x="5891" y="6873"/>
                  </a:cubicBezTo>
                  <a:lnTo>
                    <a:pt x="5891" y="14727"/>
                  </a:lnTo>
                  <a:cubicBezTo>
                    <a:pt x="5891" y="14999"/>
                    <a:pt x="6110" y="15218"/>
                    <a:pt x="6382" y="15218"/>
                  </a:cubicBezTo>
                  <a:cubicBezTo>
                    <a:pt x="6498" y="15218"/>
                    <a:pt x="6600" y="15172"/>
                    <a:pt x="6684" y="15105"/>
                  </a:cubicBezTo>
                  <a:lnTo>
                    <a:pt x="6689" y="15111"/>
                  </a:lnTo>
                  <a:lnTo>
                    <a:pt x="12764" y="11639"/>
                  </a:lnTo>
                  <a:lnTo>
                    <a:pt x="12764" y="14727"/>
                  </a:lnTo>
                  <a:cubicBezTo>
                    <a:pt x="12764" y="14999"/>
                    <a:pt x="12983" y="15218"/>
                    <a:pt x="13255" y="15218"/>
                  </a:cubicBezTo>
                  <a:lnTo>
                    <a:pt x="15218" y="15218"/>
                  </a:lnTo>
                  <a:cubicBezTo>
                    <a:pt x="15490" y="15218"/>
                    <a:pt x="15709" y="14999"/>
                    <a:pt x="15709" y="14727"/>
                  </a:cubicBezTo>
                  <a:lnTo>
                    <a:pt x="15709" y="6873"/>
                  </a:lnTo>
                  <a:cubicBezTo>
                    <a:pt x="15709" y="6601"/>
                    <a:pt x="15490" y="6382"/>
                    <a:pt x="15218" y="6382"/>
                  </a:cubicBezTo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Shape 2714">
              <a:extLst>
                <a:ext uri="{FF2B5EF4-FFF2-40B4-BE49-F238E27FC236}">
                  <a16:creationId xmlns:a16="http://schemas.microsoft.com/office/drawing/2014/main" id="{0079F722-B172-4FBA-AE1A-FCFE0A7E0F19}"/>
                </a:ext>
              </a:extLst>
            </p:cNvPr>
            <p:cNvSpPr/>
            <p:nvPr/>
          </p:nvSpPr>
          <p:spPr bwMode="gray">
            <a:xfrm>
              <a:off x="392782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8" y="20618"/>
                    <a:pt x="982" y="16222"/>
                    <a:pt x="982" y="10800"/>
                  </a:cubicBezTo>
                  <a:cubicBezTo>
                    <a:pt x="982" y="5377"/>
                    <a:pt x="5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8054" y="9818"/>
                  </a:moveTo>
                  <a:lnTo>
                    <a:pt x="10800" y="7072"/>
                  </a:lnTo>
                  <a:lnTo>
                    <a:pt x="13547" y="9818"/>
                  </a:lnTo>
                  <a:cubicBezTo>
                    <a:pt x="13547" y="9818"/>
                    <a:pt x="8054" y="9818"/>
                    <a:pt x="8054" y="9818"/>
                  </a:cubicBezTo>
                  <a:close/>
                  <a:moveTo>
                    <a:pt x="15111" y="10002"/>
                  </a:moveTo>
                  <a:lnTo>
                    <a:pt x="15083" y="9975"/>
                  </a:lnTo>
                  <a:cubicBezTo>
                    <a:pt x="15076" y="9968"/>
                    <a:pt x="15069" y="9960"/>
                    <a:pt x="15061" y="9953"/>
                  </a:cubicBezTo>
                  <a:lnTo>
                    <a:pt x="11184" y="6075"/>
                  </a:lnTo>
                  <a:lnTo>
                    <a:pt x="11177" y="6080"/>
                  </a:lnTo>
                  <a:cubicBezTo>
                    <a:pt x="11088" y="5968"/>
                    <a:pt x="10955" y="5891"/>
                    <a:pt x="10800" y="5891"/>
                  </a:cubicBezTo>
                  <a:cubicBezTo>
                    <a:pt x="10645" y="5891"/>
                    <a:pt x="10512" y="5968"/>
                    <a:pt x="10422" y="6080"/>
                  </a:cubicBezTo>
                  <a:lnTo>
                    <a:pt x="10416" y="6075"/>
                  </a:lnTo>
                  <a:lnTo>
                    <a:pt x="6539" y="9953"/>
                  </a:lnTo>
                  <a:cubicBezTo>
                    <a:pt x="6531" y="9960"/>
                    <a:pt x="6524" y="9968"/>
                    <a:pt x="6517" y="9975"/>
                  </a:cubicBezTo>
                  <a:lnTo>
                    <a:pt x="6489" y="10002"/>
                  </a:lnTo>
                  <a:lnTo>
                    <a:pt x="6495" y="10007"/>
                  </a:lnTo>
                  <a:cubicBezTo>
                    <a:pt x="6428" y="10091"/>
                    <a:pt x="6382" y="10193"/>
                    <a:pt x="6382" y="10309"/>
                  </a:cubicBezTo>
                  <a:cubicBezTo>
                    <a:pt x="6382" y="10580"/>
                    <a:pt x="6601" y="10800"/>
                    <a:pt x="6873" y="10800"/>
                  </a:cubicBezTo>
                  <a:lnTo>
                    <a:pt x="14727" y="10800"/>
                  </a:ln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193"/>
                    <a:pt x="15172" y="10091"/>
                    <a:pt x="15105" y="10007"/>
                  </a:cubicBezTo>
                  <a:cubicBezTo>
                    <a:pt x="15105" y="10007"/>
                    <a:pt x="15111" y="10002"/>
                    <a:pt x="15111" y="10002"/>
                  </a:cubicBezTo>
                  <a:close/>
                  <a:moveTo>
                    <a:pt x="14236" y="13745"/>
                  </a:moveTo>
                  <a:lnTo>
                    <a:pt x="7364" y="13745"/>
                  </a:lnTo>
                  <a:lnTo>
                    <a:pt x="7364" y="12764"/>
                  </a:lnTo>
                  <a:lnTo>
                    <a:pt x="14236" y="12764"/>
                  </a:lnTo>
                  <a:cubicBezTo>
                    <a:pt x="14236" y="12764"/>
                    <a:pt x="14236" y="13745"/>
                    <a:pt x="14236" y="13745"/>
                  </a:cubicBezTo>
                  <a:close/>
                  <a:moveTo>
                    <a:pt x="14727" y="11782"/>
                  </a:moveTo>
                  <a:lnTo>
                    <a:pt x="6873" y="11782"/>
                  </a:lnTo>
                  <a:cubicBezTo>
                    <a:pt x="6601" y="11782"/>
                    <a:pt x="6382" y="12001"/>
                    <a:pt x="6382" y="12273"/>
                  </a:cubicBezTo>
                  <a:lnTo>
                    <a:pt x="6382" y="14236"/>
                  </a:lnTo>
                  <a:cubicBezTo>
                    <a:pt x="6382" y="14508"/>
                    <a:pt x="6601" y="14727"/>
                    <a:pt x="6873" y="14727"/>
                  </a:cubicBezTo>
                  <a:lnTo>
                    <a:pt x="14727" y="14727"/>
                  </a:lnTo>
                  <a:cubicBezTo>
                    <a:pt x="14999" y="14727"/>
                    <a:pt x="15218" y="14508"/>
                    <a:pt x="15218" y="14236"/>
                  </a:cubicBezTo>
                  <a:lnTo>
                    <a:pt x="15218" y="12273"/>
                  </a:lnTo>
                  <a:cubicBezTo>
                    <a:pt x="15218" y="12001"/>
                    <a:pt x="14999" y="11782"/>
                    <a:pt x="147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Shape 2715">
              <a:extLst>
                <a:ext uri="{FF2B5EF4-FFF2-40B4-BE49-F238E27FC236}">
                  <a16:creationId xmlns:a16="http://schemas.microsoft.com/office/drawing/2014/main" id="{F4AE0226-9021-4041-A697-B76DA5871928}"/>
                </a:ext>
              </a:extLst>
            </p:cNvPr>
            <p:cNvSpPr/>
            <p:nvPr/>
          </p:nvSpPr>
          <p:spPr bwMode="gray">
            <a:xfrm>
              <a:off x="4479533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982"/>
                  </a:moveTo>
                  <a:lnTo>
                    <a:pt x="9818" y="982"/>
                  </a:lnTo>
                  <a:lnTo>
                    <a:pt x="9818" y="0"/>
                  </a:lnTo>
                  <a:lnTo>
                    <a:pt x="7855" y="0"/>
                  </a:lnTo>
                  <a:cubicBezTo>
                    <a:pt x="7855" y="0"/>
                    <a:pt x="7855" y="982"/>
                    <a:pt x="7855" y="982"/>
                  </a:cubicBezTo>
                  <a:close/>
                  <a:moveTo>
                    <a:pt x="11782" y="982"/>
                  </a:moveTo>
                  <a:lnTo>
                    <a:pt x="13745" y="982"/>
                  </a:lnTo>
                  <a:lnTo>
                    <a:pt x="13745" y="0"/>
                  </a:lnTo>
                  <a:lnTo>
                    <a:pt x="11782" y="0"/>
                  </a:lnTo>
                  <a:cubicBezTo>
                    <a:pt x="11782" y="0"/>
                    <a:pt x="11782" y="982"/>
                    <a:pt x="11782" y="982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Shape 2716">
              <a:extLst>
                <a:ext uri="{FF2B5EF4-FFF2-40B4-BE49-F238E27FC236}">
                  <a16:creationId xmlns:a16="http://schemas.microsoft.com/office/drawing/2014/main" id="{8E6ADBB1-52E8-4B61-B5AB-F1FC0433356C}"/>
                </a:ext>
              </a:extLst>
            </p:cNvPr>
            <p:cNvSpPr/>
            <p:nvPr/>
          </p:nvSpPr>
          <p:spPr bwMode="gray">
            <a:xfrm>
              <a:off x="5031247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13745"/>
                  </a:moveTo>
                  <a:lnTo>
                    <a:pt x="7855" y="13745"/>
                  </a:lnTo>
                  <a:lnTo>
                    <a:pt x="7855" y="7855"/>
                  </a:lnTo>
                  <a:lnTo>
                    <a:pt x="13745" y="7855"/>
                  </a:lnTo>
                  <a:cubicBezTo>
                    <a:pt x="13745" y="7855"/>
                    <a:pt x="13745" y="13745"/>
                    <a:pt x="13745" y="13745"/>
                  </a:cubicBezTo>
                  <a:close/>
                  <a:moveTo>
                    <a:pt x="14236" y="6873"/>
                  </a:moveTo>
                  <a:lnTo>
                    <a:pt x="7364" y="6873"/>
                  </a:lnTo>
                  <a:cubicBezTo>
                    <a:pt x="7092" y="6873"/>
                    <a:pt x="6873" y="7092"/>
                    <a:pt x="6873" y="7364"/>
                  </a:cubicBezTo>
                  <a:lnTo>
                    <a:pt x="6873" y="14236"/>
                  </a:lnTo>
                  <a:cubicBezTo>
                    <a:pt x="6873" y="14508"/>
                    <a:pt x="7092" y="14727"/>
                    <a:pt x="7364" y="14727"/>
                  </a:cubicBezTo>
                  <a:lnTo>
                    <a:pt x="14236" y="14727"/>
                  </a:lnTo>
                  <a:cubicBezTo>
                    <a:pt x="14508" y="14727"/>
                    <a:pt x="14727" y="14508"/>
                    <a:pt x="14727" y="14236"/>
                  </a:cubicBezTo>
                  <a:lnTo>
                    <a:pt x="14727" y="7364"/>
                  </a:lnTo>
                  <a:cubicBezTo>
                    <a:pt x="14727" y="7092"/>
                    <a:pt x="14508" y="6873"/>
                    <a:pt x="14236" y="6873"/>
                  </a:cubicBezTo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2717">
              <a:extLst>
                <a:ext uri="{FF2B5EF4-FFF2-40B4-BE49-F238E27FC236}">
                  <a16:creationId xmlns:a16="http://schemas.microsoft.com/office/drawing/2014/main" id="{B92ED1DF-49A7-4A89-B94C-AEDF395C1507}"/>
                </a:ext>
              </a:extLst>
            </p:cNvPr>
            <p:cNvSpPr/>
            <p:nvPr/>
          </p:nvSpPr>
          <p:spPr bwMode="gray">
            <a:xfrm>
              <a:off x="5582960" y="39413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1782"/>
                  </a:moveTo>
                  <a:cubicBezTo>
                    <a:pt x="14592" y="11782"/>
                    <a:pt x="14469" y="11837"/>
                    <a:pt x="14380" y="11926"/>
                  </a:cubicBezTo>
                  <a:lnTo>
                    <a:pt x="11291" y="15015"/>
                  </a:lnTo>
                  <a:lnTo>
                    <a:pt x="11291" y="5400"/>
                  </a:lnTo>
                  <a:cubicBezTo>
                    <a:pt x="11291" y="5129"/>
                    <a:pt x="11071" y="4909"/>
                    <a:pt x="10800" y="4909"/>
                  </a:cubicBezTo>
                  <a:cubicBezTo>
                    <a:pt x="10529" y="4909"/>
                    <a:pt x="10309" y="5129"/>
                    <a:pt x="10309" y="5400"/>
                  </a:cubicBezTo>
                  <a:lnTo>
                    <a:pt x="10309" y="15015"/>
                  </a:lnTo>
                  <a:lnTo>
                    <a:pt x="7220" y="11926"/>
                  </a:lnTo>
                  <a:cubicBezTo>
                    <a:pt x="7131" y="11837"/>
                    <a:pt x="7008" y="11782"/>
                    <a:pt x="6873" y="11782"/>
                  </a:cubicBezTo>
                  <a:cubicBezTo>
                    <a:pt x="6601" y="11782"/>
                    <a:pt x="6382" y="12001"/>
                    <a:pt x="6382" y="12273"/>
                  </a:cubicBezTo>
                  <a:cubicBezTo>
                    <a:pt x="6382" y="12408"/>
                    <a:pt x="6437" y="12531"/>
                    <a:pt x="6526" y="12620"/>
                  </a:cubicBezTo>
                  <a:lnTo>
                    <a:pt x="10453" y="16547"/>
                  </a:lnTo>
                  <a:cubicBezTo>
                    <a:pt x="10542" y="16636"/>
                    <a:pt x="10664" y="16691"/>
                    <a:pt x="10800" y="16691"/>
                  </a:cubicBezTo>
                  <a:cubicBezTo>
                    <a:pt x="10936" y="16691"/>
                    <a:pt x="11058" y="16636"/>
                    <a:pt x="11147" y="16547"/>
                  </a:cubicBezTo>
                  <a:lnTo>
                    <a:pt x="15074" y="12620"/>
                  </a:lnTo>
                  <a:cubicBezTo>
                    <a:pt x="15163" y="12531"/>
                    <a:pt x="15218" y="12408"/>
                    <a:pt x="15218" y="12273"/>
                  </a:cubicBezTo>
                  <a:cubicBezTo>
                    <a:pt x="15218" y="12001"/>
                    <a:pt x="14999" y="11782"/>
                    <a:pt x="14727" y="11782"/>
                  </a:cubicBezTo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70" y="21123"/>
                    <a:pt x="21128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8" y="1133"/>
                    <a:pt x="20470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175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0" y="477"/>
                    <a:pt x="472" y="1133"/>
                    <a:pt x="175" y="1964"/>
                  </a:cubicBezTo>
                  <a:moveTo>
                    <a:pt x="1250" y="19636"/>
                  </a:moveTo>
                  <a:lnTo>
                    <a:pt x="175" y="19636"/>
                  </a:lnTo>
                  <a:cubicBezTo>
                    <a:pt x="472" y="20467"/>
                    <a:pt x="1130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718">
              <a:extLst>
                <a:ext uri="{FF2B5EF4-FFF2-40B4-BE49-F238E27FC236}">
                  <a16:creationId xmlns:a16="http://schemas.microsoft.com/office/drawing/2014/main" id="{084FDCF6-07BB-4B7E-8AAC-AA44929F33C7}"/>
                </a:ext>
              </a:extLst>
            </p:cNvPr>
            <p:cNvSpPr/>
            <p:nvPr/>
          </p:nvSpPr>
          <p:spPr bwMode="gray">
            <a:xfrm>
              <a:off x="617538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927" y="982"/>
                  </a:moveTo>
                  <a:lnTo>
                    <a:pt x="5891" y="982"/>
                  </a:lnTo>
                  <a:lnTo>
                    <a:pt x="5891" y="0"/>
                  </a:lnTo>
                  <a:lnTo>
                    <a:pt x="3927" y="0"/>
                  </a:lnTo>
                  <a:cubicBezTo>
                    <a:pt x="3927" y="0"/>
                    <a:pt x="3927" y="982"/>
                    <a:pt x="3927" y="982"/>
                  </a:cubicBezTo>
                  <a:close/>
                  <a:moveTo>
                    <a:pt x="11782" y="21600"/>
                  </a:moveTo>
                  <a:lnTo>
                    <a:pt x="13745" y="21600"/>
                  </a:lnTo>
                  <a:lnTo>
                    <a:pt x="13745" y="20618"/>
                  </a:lnTo>
                  <a:lnTo>
                    <a:pt x="11782" y="20618"/>
                  </a:lnTo>
                  <a:cubicBezTo>
                    <a:pt x="11782" y="20618"/>
                    <a:pt x="11782" y="21600"/>
                    <a:pt x="11782" y="21600"/>
                  </a:cubicBezTo>
                  <a:close/>
                  <a:moveTo>
                    <a:pt x="15709" y="21600"/>
                  </a:moveTo>
                  <a:lnTo>
                    <a:pt x="17673" y="21600"/>
                  </a:lnTo>
                  <a:lnTo>
                    <a:pt x="17673" y="20618"/>
                  </a:lnTo>
                  <a:lnTo>
                    <a:pt x="15709" y="20618"/>
                  </a:lnTo>
                  <a:cubicBezTo>
                    <a:pt x="15709" y="20618"/>
                    <a:pt x="15709" y="21600"/>
                    <a:pt x="15709" y="21600"/>
                  </a:cubicBezTo>
                  <a:close/>
                  <a:moveTo>
                    <a:pt x="20618" y="5891"/>
                  </a:moveTo>
                  <a:lnTo>
                    <a:pt x="21600" y="5891"/>
                  </a:lnTo>
                  <a:lnTo>
                    <a:pt x="21600" y="3927"/>
                  </a:lnTo>
                  <a:lnTo>
                    <a:pt x="20618" y="3927"/>
                  </a:lnTo>
                  <a:cubicBezTo>
                    <a:pt x="20618" y="3927"/>
                    <a:pt x="20618" y="5891"/>
                    <a:pt x="20618" y="5891"/>
                  </a:cubicBezTo>
                  <a:close/>
                  <a:moveTo>
                    <a:pt x="11147" y="5053"/>
                  </a:moveTo>
                  <a:cubicBezTo>
                    <a:pt x="11058" y="4964"/>
                    <a:pt x="10935" y="4909"/>
                    <a:pt x="10800" y="4909"/>
                  </a:cubicBezTo>
                  <a:cubicBezTo>
                    <a:pt x="10665" y="4909"/>
                    <a:pt x="10542" y="4964"/>
                    <a:pt x="10453" y="5053"/>
                  </a:cubicBezTo>
                  <a:lnTo>
                    <a:pt x="6526" y="8980"/>
                  </a:lnTo>
                  <a:cubicBezTo>
                    <a:pt x="6437" y="9069"/>
                    <a:pt x="6382" y="9192"/>
                    <a:pt x="6382" y="9327"/>
                  </a:cubicBezTo>
                  <a:cubicBezTo>
                    <a:pt x="6382" y="9599"/>
                    <a:pt x="6602" y="9818"/>
                    <a:pt x="6873" y="9818"/>
                  </a:cubicBezTo>
                  <a:cubicBezTo>
                    <a:pt x="7008" y="9818"/>
                    <a:pt x="7131" y="9764"/>
                    <a:pt x="7220" y="9674"/>
                  </a:cubicBezTo>
                  <a:lnTo>
                    <a:pt x="10309" y="6585"/>
                  </a:lnTo>
                  <a:lnTo>
                    <a:pt x="10309" y="16200"/>
                  </a:lnTo>
                  <a:cubicBezTo>
                    <a:pt x="10309" y="16471"/>
                    <a:pt x="10529" y="16691"/>
                    <a:pt x="10800" y="16691"/>
                  </a:cubicBezTo>
                  <a:cubicBezTo>
                    <a:pt x="11071" y="16691"/>
                    <a:pt x="11291" y="16471"/>
                    <a:pt x="11291" y="16200"/>
                  </a:cubicBezTo>
                  <a:lnTo>
                    <a:pt x="11291" y="6585"/>
                  </a:lnTo>
                  <a:lnTo>
                    <a:pt x="14380" y="9674"/>
                  </a:lnTo>
                  <a:cubicBezTo>
                    <a:pt x="14469" y="9764"/>
                    <a:pt x="14592" y="9818"/>
                    <a:pt x="14727" y="9818"/>
                  </a:cubicBezTo>
                  <a:cubicBezTo>
                    <a:pt x="14998" y="9818"/>
                    <a:pt x="15218" y="9599"/>
                    <a:pt x="15218" y="9327"/>
                  </a:cubicBezTo>
                  <a:cubicBezTo>
                    <a:pt x="15218" y="9192"/>
                    <a:pt x="15163" y="9069"/>
                    <a:pt x="15074" y="8980"/>
                  </a:cubicBezTo>
                  <a:cubicBezTo>
                    <a:pt x="15074" y="8980"/>
                    <a:pt x="11147" y="5053"/>
                    <a:pt x="11147" y="5053"/>
                  </a:cubicBezTo>
                  <a:close/>
                  <a:moveTo>
                    <a:pt x="20618" y="13745"/>
                  </a:moveTo>
                  <a:lnTo>
                    <a:pt x="21600" y="13745"/>
                  </a:lnTo>
                  <a:lnTo>
                    <a:pt x="21600" y="11782"/>
                  </a:lnTo>
                  <a:lnTo>
                    <a:pt x="20618" y="11782"/>
                  </a:lnTo>
                  <a:cubicBezTo>
                    <a:pt x="20618" y="11782"/>
                    <a:pt x="20618" y="13745"/>
                    <a:pt x="20618" y="13745"/>
                  </a:cubicBezTo>
                  <a:close/>
                  <a:moveTo>
                    <a:pt x="15709" y="982"/>
                  </a:moveTo>
                  <a:lnTo>
                    <a:pt x="17673" y="982"/>
                  </a:lnTo>
                  <a:lnTo>
                    <a:pt x="17673" y="0"/>
                  </a:lnTo>
                  <a:lnTo>
                    <a:pt x="15709" y="0"/>
                  </a:lnTo>
                  <a:cubicBezTo>
                    <a:pt x="15709" y="0"/>
                    <a:pt x="15709" y="982"/>
                    <a:pt x="15709" y="982"/>
                  </a:cubicBezTo>
                  <a:close/>
                  <a:moveTo>
                    <a:pt x="20618" y="9818"/>
                  </a:moveTo>
                  <a:lnTo>
                    <a:pt x="21600" y="9818"/>
                  </a:lnTo>
                  <a:lnTo>
                    <a:pt x="21600" y="7855"/>
                  </a:lnTo>
                  <a:lnTo>
                    <a:pt x="20618" y="7855"/>
                  </a:lnTo>
                  <a:cubicBezTo>
                    <a:pt x="20618" y="7855"/>
                    <a:pt x="20618" y="9818"/>
                    <a:pt x="20618" y="9818"/>
                  </a:cubicBezTo>
                  <a:close/>
                  <a:moveTo>
                    <a:pt x="19636" y="20346"/>
                  </a:moveTo>
                  <a:lnTo>
                    <a:pt x="19636" y="21420"/>
                  </a:lnTo>
                  <a:cubicBezTo>
                    <a:pt x="20469" y="21123"/>
                    <a:pt x="21129" y="20467"/>
                    <a:pt x="21426" y="19636"/>
                  </a:cubicBezTo>
                  <a:lnTo>
                    <a:pt x="20350" y="19636"/>
                  </a:lnTo>
                  <a:cubicBezTo>
                    <a:pt x="20177" y="19929"/>
                    <a:pt x="19931" y="20174"/>
                    <a:pt x="19636" y="20346"/>
                  </a:cubicBezTo>
                  <a:moveTo>
                    <a:pt x="20618" y="17673"/>
                  </a:moveTo>
                  <a:lnTo>
                    <a:pt x="21600" y="17673"/>
                  </a:lnTo>
                  <a:lnTo>
                    <a:pt x="21600" y="15709"/>
                  </a:lnTo>
                  <a:lnTo>
                    <a:pt x="20618" y="15709"/>
                  </a:lnTo>
                  <a:cubicBezTo>
                    <a:pt x="20618" y="15709"/>
                    <a:pt x="20618" y="17673"/>
                    <a:pt x="20618" y="17673"/>
                  </a:cubicBezTo>
                  <a:close/>
                  <a:moveTo>
                    <a:pt x="7855" y="21600"/>
                  </a:moveTo>
                  <a:lnTo>
                    <a:pt x="9818" y="21600"/>
                  </a:lnTo>
                  <a:lnTo>
                    <a:pt x="9818" y="20618"/>
                  </a:lnTo>
                  <a:lnTo>
                    <a:pt x="7855" y="20618"/>
                  </a:lnTo>
                  <a:cubicBezTo>
                    <a:pt x="7855" y="20618"/>
                    <a:pt x="7855" y="21600"/>
                    <a:pt x="7855" y="21600"/>
                  </a:cubicBezTo>
                  <a:close/>
                  <a:moveTo>
                    <a:pt x="9818" y="0"/>
                  </a:moveTo>
                  <a:lnTo>
                    <a:pt x="7855" y="0"/>
                  </a:lnTo>
                  <a:lnTo>
                    <a:pt x="7855" y="982"/>
                  </a:lnTo>
                  <a:lnTo>
                    <a:pt x="9818" y="982"/>
                  </a:lnTo>
                  <a:cubicBezTo>
                    <a:pt x="9818" y="982"/>
                    <a:pt x="9818" y="0"/>
                    <a:pt x="9818" y="0"/>
                  </a:cubicBezTo>
                  <a:close/>
                  <a:moveTo>
                    <a:pt x="20350" y="1964"/>
                  </a:moveTo>
                  <a:lnTo>
                    <a:pt x="21426" y="1964"/>
                  </a:lnTo>
                  <a:cubicBezTo>
                    <a:pt x="21129" y="1133"/>
                    <a:pt x="20469" y="477"/>
                    <a:pt x="19636" y="180"/>
                  </a:cubicBezTo>
                  <a:lnTo>
                    <a:pt x="19636" y="1254"/>
                  </a:lnTo>
                  <a:cubicBezTo>
                    <a:pt x="19931" y="1426"/>
                    <a:pt x="20177" y="1670"/>
                    <a:pt x="20350" y="1964"/>
                  </a:cubicBezTo>
                  <a:moveTo>
                    <a:pt x="982" y="3927"/>
                  </a:moveTo>
                  <a:lnTo>
                    <a:pt x="0" y="3927"/>
                  </a:lnTo>
                  <a:lnTo>
                    <a:pt x="0" y="5891"/>
                  </a:lnTo>
                  <a:lnTo>
                    <a:pt x="982" y="5891"/>
                  </a:lnTo>
                  <a:cubicBezTo>
                    <a:pt x="982" y="5891"/>
                    <a:pt x="982" y="3927"/>
                    <a:pt x="982" y="3927"/>
                  </a:cubicBezTo>
                  <a:close/>
                  <a:moveTo>
                    <a:pt x="3927" y="21600"/>
                  </a:moveTo>
                  <a:lnTo>
                    <a:pt x="5891" y="21600"/>
                  </a:lnTo>
                  <a:lnTo>
                    <a:pt x="5891" y="20618"/>
                  </a:lnTo>
                  <a:lnTo>
                    <a:pt x="3927" y="20618"/>
                  </a:lnTo>
                  <a:cubicBezTo>
                    <a:pt x="3927" y="20618"/>
                    <a:pt x="3927" y="21600"/>
                    <a:pt x="3927" y="21600"/>
                  </a:cubicBezTo>
                  <a:close/>
                  <a:moveTo>
                    <a:pt x="13745" y="0"/>
                  </a:moveTo>
                  <a:lnTo>
                    <a:pt x="11782" y="0"/>
                  </a:lnTo>
                  <a:lnTo>
                    <a:pt x="11782" y="982"/>
                  </a:lnTo>
                  <a:lnTo>
                    <a:pt x="13745" y="982"/>
                  </a:lnTo>
                  <a:cubicBezTo>
                    <a:pt x="13745" y="982"/>
                    <a:pt x="13745" y="0"/>
                    <a:pt x="13745" y="0"/>
                  </a:cubicBezTo>
                  <a:close/>
                  <a:moveTo>
                    <a:pt x="174" y="1964"/>
                  </a:moveTo>
                  <a:lnTo>
                    <a:pt x="1250" y="1964"/>
                  </a:lnTo>
                  <a:cubicBezTo>
                    <a:pt x="1423" y="1670"/>
                    <a:pt x="1669" y="1426"/>
                    <a:pt x="1964" y="1254"/>
                  </a:cubicBezTo>
                  <a:lnTo>
                    <a:pt x="1964" y="180"/>
                  </a:lnTo>
                  <a:cubicBezTo>
                    <a:pt x="1131" y="477"/>
                    <a:pt x="472" y="1133"/>
                    <a:pt x="174" y="1964"/>
                  </a:cubicBezTo>
                  <a:moveTo>
                    <a:pt x="1250" y="19636"/>
                  </a:moveTo>
                  <a:lnTo>
                    <a:pt x="174" y="19636"/>
                  </a:lnTo>
                  <a:cubicBezTo>
                    <a:pt x="472" y="20467"/>
                    <a:pt x="1131" y="21123"/>
                    <a:pt x="1964" y="21420"/>
                  </a:cubicBezTo>
                  <a:lnTo>
                    <a:pt x="1964" y="20346"/>
                  </a:lnTo>
                  <a:cubicBezTo>
                    <a:pt x="1669" y="20174"/>
                    <a:pt x="1423" y="19929"/>
                    <a:pt x="1250" y="19636"/>
                  </a:cubicBezTo>
                  <a:moveTo>
                    <a:pt x="982" y="11782"/>
                  </a:moveTo>
                  <a:lnTo>
                    <a:pt x="0" y="11782"/>
                  </a:lnTo>
                  <a:lnTo>
                    <a:pt x="0" y="13745"/>
                  </a:lnTo>
                  <a:lnTo>
                    <a:pt x="982" y="13745"/>
                  </a:lnTo>
                  <a:cubicBezTo>
                    <a:pt x="982" y="13745"/>
                    <a:pt x="982" y="11782"/>
                    <a:pt x="982" y="11782"/>
                  </a:cubicBezTo>
                  <a:close/>
                  <a:moveTo>
                    <a:pt x="982" y="7855"/>
                  </a:moveTo>
                  <a:lnTo>
                    <a:pt x="0" y="7855"/>
                  </a:lnTo>
                  <a:lnTo>
                    <a:pt x="0" y="9818"/>
                  </a:lnTo>
                  <a:lnTo>
                    <a:pt x="982" y="9818"/>
                  </a:lnTo>
                  <a:cubicBezTo>
                    <a:pt x="982" y="9818"/>
                    <a:pt x="982" y="7855"/>
                    <a:pt x="982" y="7855"/>
                  </a:cubicBezTo>
                  <a:close/>
                  <a:moveTo>
                    <a:pt x="982" y="15709"/>
                  </a:moveTo>
                  <a:lnTo>
                    <a:pt x="0" y="15709"/>
                  </a:lnTo>
                  <a:lnTo>
                    <a:pt x="0" y="17673"/>
                  </a:lnTo>
                  <a:lnTo>
                    <a:pt x="982" y="17673"/>
                  </a:lnTo>
                  <a:cubicBezTo>
                    <a:pt x="982" y="17673"/>
                    <a:pt x="982" y="15709"/>
                    <a:pt x="982" y="15709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719">
              <a:extLst>
                <a:ext uri="{FF2B5EF4-FFF2-40B4-BE49-F238E27FC236}">
                  <a16:creationId xmlns:a16="http://schemas.microsoft.com/office/drawing/2014/main" id="{98D0B244-9722-4635-A288-24110D3B9804}"/>
                </a:ext>
              </a:extLst>
            </p:cNvPr>
            <p:cNvSpPr/>
            <p:nvPr/>
          </p:nvSpPr>
          <p:spPr bwMode="gray">
            <a:xfrm>
              <a:off x="1169252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765" y="182"/>
                  </a:move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cubicBezTo>
                    <a:pt x="12594" y="1105"/>
                    <a:pt x="12765" y="182"/>
                    <a:pt x="12765" y="182"/>
                  </a:cubicBezTo>
                  <a:close/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720">
              <a:extLst>
                <a:ext uri="{FF2B5EF4-FFF2-40B4-BE49-F238E27FC236}">
                  <a16:creationId xmlns:a16="http://schemas.microsoft.com/office/drawing/2014/main" id="{F41E2DD6-95A6-4881-B36A-5DEF11AF4B16}"/>
                </a:ext>
              </a:extLst>
            </p:cNvPr>
            <p:cNvSpPr/>
            <p:nvPr/>
          </p:nvSpPr>
          <p:spPr bwMode="gray">
            <a:xfrm>
              <a:off x="1720965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14735"/>
                  </a:moveTo>
                  <a:cubicBezTo>
                    <a:pt x="8622" y="14735"/>
                    <a:pt x="6857" y="12973"/>
                    <a:pt x="6857" y="10800"/>
                  </a:cubicBezTo>
                  <a:cubicBezTo>
                    <a:pt x="6857" y="8627"/>
                    <a:pt x="8622" y="6865"/>
                    <a:pt x="10800" y="6865"/>
                  </a:cubicBezTo>
                  <a:cubicBezTo>
                    <a:pt x="12978" y="6865"/>
                    <a:pt x="14743" y="8627"/>
                    <a:pt x="14743" y="10800"/>
                  </a:cubicBezTo>
                  <a:cubicBezTo>
                    <a:pt x="14743" y="12973"/>
                    <a:pt x="12978" y="14735"/>
                    <a:pt x="10800" y="14735"/>
                  </a:cubicBezTo>
                  <a:moveTo>
                    <a:pt x="10800" y="5881"/>
                  </a:moveTo>
                  <a:cubicBezTo>
                    <a:pt x="8078" y="5881"/>
                    <a:pt x="5871" y="8083"/>
                    <a:pt x="5871" y="10800"/>
                  </a:cubicBezTo>
                  <a:cubicBezTo>
                    <a:pt x="5871" y="13517"/>
                    <a:pt x="8078" y="15719"/>
                    <a:pt x="10800" y="15719"/>
                  </a:cubicBezTo>
                  <a:cubicBezTo>
                    <a:pt x="13522" y="15719"/>
                    <a:pt x="15729" y="13517"/>
                    <a:pt x="15729" y="10800"/>
                  </a:cubicBezTo>
                  <a:cubicBezTo>
                    <a:pt x="15729" y="8083"/>
                    <a:pt x="13522" y="5881"/>
                    <a:pt x="10800" y="588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721">
              <a:extLst>
                <a:ext uri="{FF2B5EF4-FFF2-40B4-BE49-F238E27FC236}">
                  <a16:creationId xmlns:a16="http://schemas.microsoft.com/office/drawing/2014/main" id="{7AAF2EC2-EE86-476B-AA46-68854753966D}"/>
                </a:ext>
              </a:extLst>
            </p:cNvPr>
            <p:cNvSpPr/>
            <p:nvPr/>
          </p:nvSpPr>
          <p:spPr bwMode="gray">
            <a:xfrm>
              <a:off x="2272679" y="4493072"/>
              <a:ext cx="287839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1" y="19771"/>
                    <a:pt x="14365" y="19991"/>
                  </a:cubicBezTo>
                  <a:moveTo>
                    <a:pt x="10800" y="20661"/>
                  </a:moveTo>
                  <a:lnTo>
                    <a:pt x="10801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4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1148" y="16559"/>
                  </a:moveTo>
                  <a:lnTo>
                    <a:pt x="15092" y="12624"/>
                  </a:lnTo>
                  <a:cubicBezTo>
                    <a:pt x="15181" y="12535"/>
                    <a:pt x="15236" y="12412"/>
                    <a:pt x="15236" y="12276"/>
                  </a:cubicBezTo>
                  <a:cubicBezTo>
                    <a:pt x="15236" y="12004"/>
                    <a:pt x="15015" y="11784"/>
                    <a:pt x="14743" y="11784"/>
                  </a:cubicBezTo>
                  <a:cubicBezTo>
                    <a:pt x="14607" y="11784"/>
                    <a:pt x="14483" y="11839"/>
                    <a:pt x="14395" y="11928"/>
                  </a:cubicBezTo>
                  <a:lnTo>
                    <a:pt x="11293" y="15024"/>
                  </a:lnTo>
                  <a:lnTo>
                    <a:pt x="11293" y="5389"/>
                  </a:lnTo>
                  <a:cubicBezTo>
                    <a:pt x="11293" y="5117"/>
                    <a:pt x="11072" y="4897"/>
                    <a:pt x="10800" y="4897"/>
                  </a:cubicBezTo>
                  <a:cubicBezTo>
                    <a:pt x="10528" y="4897"/>
                    <a:pt x="10307" y="5117"/>
                    <a:pt x="10307" y="5389"/>
                  </a:cubicBezTo>
                  <a:lnTo>
                    <a:pt x="10307" y="15024"/>
                  </a:lnTo>
                  <a:lnTo>
                    <a:pt x="7206" y="11928"/>
                  </a:lnTo>
                  <a:cubicBezTo>
                    <a:pt x="7117" y="11839"/>
                    <a:pt x="6993" y="11784"/>
                    <a:pt x="6857" y="11784"/>
                  </a:cubicBezTo>
                  <a:cubicBezTo>
                    <a:pt x="6585" y="11784"/>
                    <a:pt x="6364" y="12004"/>
                    <a:pt x="6364" y="12276"/>
                  </a:cubicBezTo>
                  <a:cubicBezTo>
                    <a:pt x="6364" y="12412"/>
                    <a:pt x="6419" y="12535"/>
                    <a:pt x="6508" y="12624"/>
                  </a:cubicBezTo>
                  <a:lnTo>
                    <a:pt x="10452" y="16559"/>
                  </a:lnTo>
                  <a:cubicBezTo>
                    <a:pt x="10541" y="16648"/>
                    <a:pt x="10664" y="16703"/>
                    <a:pt x="10800" y="16703"/>
                  </a:cubicBezTo>
                  <a:cubicBezTo>
                    <a:pt x="10936" y="16703"/>
                    <a:pt x="11059" y="16648"/>
                    <a:pt x="11148" y="16559"/>
                  </a:cubicBezTo>
                  <a:moveTo>
                    <a:pt x="18660" y="4854"/>
                  </a:moveTo>
                  <a:lnTo>
                    <a:pt x="19411" y="4287"/>
                  </a:lnTo>
                  <a:cubicBezTo>
                    <a:pt x="19011" y="3759"/>
                    <a:pt x="18558" y="3264"/>
                    <a:pt x="18065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4"/>
                  </a:cubicBezTo>
                  <a:moveTo>
                    <a:pt x="6893" y="20882"/>
                  </a:moveTo>
                  <a:cubicBezTo>
                    <a:pt x="7514" y="21121"/>
                    <a:pt x="8160" y="21302"/>
                    <a:pt x="8814" y="21422"/>
                  </a:cubicBezTo>
                  <a:lnTo>
                    <a:pt x="8985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21553" y="9794"/>
                  </a:moveTo>
                  <a:lnTo>
                    <a:pt x="20617" y="9880"/>
                  </a:lnTo>
                  <a:cubicBezTo>
                    <a:pt x="20644" y="10182"/>
                    <a:pt x="20659" y="10492"/>
                    <a:pt x="20659" y="10800"/>
                  </a:cubicBezTo>
                  <a:cubicBezTo>
                    <a:pt x="20659" y="11099"/>
                    <a:pt x="20645" y="11401"/>
                    <a:pt x="20619" y="11699"/>
                  </a:cubicBezTo>
                  <a:lnTo>
                    <a:pt x="21556" y="11784"/>
                  </a:lnTo>
                  <a:cubicBezTo>
                    <a:pt x="21585" y="11458"/>
                    <a:pt x="21600" y="11127"/>
                    <a:pt x="21600" y="10800"/>
                  </a:cubicBezTo>
                  <a:cubicBezTo>
                    <a:pt x="21599" y="10462"/>
                    <a:pt x="21584" y="10124"/>
                    <a:pt x="21553" y="979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3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2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1" y="14642"/>
                    <a:pt x="19632" y="15184"/>
                  </a:cubicBezTo>
                  <a:moveTo>
                    <a:pt x="17446" y="18078"/>
                  </a:moveTo>
                  <a:lnTo>
                    <a:pt x="18081" y="18771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2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8924" y="1113"/>
                  </a:moveTo>
                  <a:lnTo>
                    <a:pt x="8748" y="190"/>
                  </a:lnTo>
                  <a:cubicBezTo>
                    <a:pt x="8093" y="315"/>
                    <a:pt x="7448" y="501"/>
                    <a:pt x="6830" y="743"/>
                  </a:cubicBezTo>
                  <a:lnTo>
                    <a:pt x="7173" y="1617"/>
                  </a:lnTo>
                  <a:cubicBezTo>
                    <a:pt x="7738" y="1396"/>
                    <a:pt x="8327" y="1226"/>
                    <a:pt x="8924" y="1113"/>
                  </a:cubicBezTo>
                  <a:moveTo>
                    <a:pt x="12594" y="1105"/>
                  </a:moveTo>
                  <a:lnTo>
                    <a:pt x="12765" y="182"/>
                  </a:lnTo>
                  <a:cubicBezTo>
                    <a:pt x="12115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6473" y="1615"/>
                  </a:moveTo>
                  <a:cubicBezTo>
                    <a:pt x="15908" y="1264"/>
                    <a:pt x="15306" y="966"/>
                    <a:pt x="14686" y="726"/>
                  </a:cubicBezTo>
                  <a:lnTo>
                    <a:pt x="14347" y="1602"/>
                  </a:lnTo>
                  <a:cubicBezTo>
                    <a:pt x="14912" y="1821"/>
                    <a:pt x="15462" y="2094"/>
                    <a:pt x="15978" y="2413"/>
                  </a:cubicBezTo>
                  <a:cubicBezTo>
                    <a:pt x="15978" y="2413"/>
                    <a:pt x="16473" y="1615"/>
                    <a:pt x="16473" y="1615"/>
                  </a:cubicBezTo>
                  <a:close/>
                  <a:moveTo>
                    <a:pt x="3510" y="18800"/>
                  </a:moveTo>
                  <a:cubicBezTo>
                    <a:pt x="4003" y="19247"/>
                    <a:pt x="4539" y="19650"/>
                    <a:pt x="5105" y="19997"/>
                  </a:cubicBezTo>
                  <a:lnTo>
                    <a:pt x="5599" y="19198"/>
                  </a:lnTo>
                  <a:cubicBezTo>
                    <a:pt x="5083" y="18881"/>
                    <a:pt x="4592" y="18513"/>
                    <a:pt x="4142" y="18105"/>
                  </a:cubicBezTo>
                  <a:cubicBezTo>
                    <a:pt x="4142" y="18105"/>
                    <a:pt x="3510" y="18800"/>
                    <a:pt x="3510" y="18800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1" y="4854"/>
                    <a:pt x="1369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5546" y="2435"/>
                  </a:moveTo>
                  <a:lnTo>
                    <a:pt x="5048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2" y="2756"/>
                    <a:pt x="5546" y="2435"/>
                  </a:cubicBezTo>
                  <a:moveTo>
                    <a:pt x="1105" y="15642"/>
                  </a:moveTo>
                  <a:cubicBezTo>
                    <a:pt x="1403" y="16235"/>
                    <a:pt x="1759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5" y="15642"/>
                    <a:pt x="1105" y="15642"/>
                  </a:cubicBezTo>
                  <a:close/>
                  <a:moveTo>
                    <a:pt x="1265" y="8133"/>
                  </a:moveTo>
                  <a:lnTo>
                    <a:pt x="359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6"/>
                    <a:pt x="1101" y="8714"/>
                    <a:pt x="1265" y="8133"/>
                  </a:cubicBezTo>
                  <a:moveTo>
                    <a:pt x="943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3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722">
              <a:extLst>
                <a:ext uri="{FF2B5EF4-FFF2-40B4-BE49-F238E27FC236}">
                  <a16:creationId xmlns:a16="http://schemas.microsoft.com/office/drawing/2014/main" id="{3EC9010D-4F4C-4950-AF6A-7BF3EB2BF665}"/>
                </a:ext>
              </a:extLst>
            </p:cNvPr>
            <p:cNvSpPr/>
            <p:nvPr/>
          </p:nvSpPr>
          <p:spPr bwMode="gray">
            <a:xfrm>
              <a:off x="2824392" y="4493072"/>
              <a:ext cx="287832" cy="288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61"/>
                  </a:moveTo>
                  <a:lnTo>
                    <a:pt x="10802" y="21600"/>
                  </a:lnTo>
                  <a:cubicBezTo>
                    <a:pt x="11469" y="21598"/>
                    <a:pt x="12137" y="21536"/>
                    <a:pt x="12788" y="21415"/>
                  </a:cubicBezTo>
                  <a:lnTo>
                    <a:pt x="12615" y="20491"/>
                  </a:lnTo>
                  <a:cubicBezTo>
                    <a:pt x="12020" y="20603"/>
                    <a:pt x="11409" y="20660"/>
                    <a:pt x="10800" y="20661"/>
                  </a:cubicBezTo>
                  <a:moveTo>
                    <a:pt x="14365" y="19991"/>
                  </a:moveTo>
                  <a:lnTo>
                    <a:pt x="14707" y="20866"/>
                  </a:lnTo>
                  <a:cubicBezTo>
                    <a:pt x="15328" y="20625"/>
                    <a:pt x="15928" y="20324"/>
                    <a:pt x="16492" y="19973"/>
                  </a:cubicBezTo>
                  <a:lnTo>
                    <a:pt x="15994" y="19176"/>
                  </a:lnTo>
                  <a:cubicBezTo>
                    <a:pt x="15479" y="19497"/>
                    <a:pt x="14932" y="19771"/>
                    <a:pt x="14365" y="19991"/>
                  </a:cubicBezTo>
                  <a:moveTo>
                    <a:pt x="11293" y="16211"/>
                  </a:moveTo>
                  <a:lnTo>
                    <a:pt x="11293" y="6576"/>
                  </a:lnTo>
                  <a:lnTo>
                    <a:pt x="14395" y="9672"/>
                  </a:lnTo>
                  <a:cubicBezTo>
                    <a:pt x="14484" y="9761"/>
                    <a:pt x="14607" y="9816"/>
                    <a:pt x="14743" y="9816"/>
                  </a:cubicBezTo>
                  <a:cubicBezTo>
                    <a:pt x="15016" y="9816"/>
                    <a:pt x="15236" y="9596"/>
                    <a:pt x="15236" y="9324"/>
                  </a:cubicBezTo>
                  <a:cubicBezTo>
                    <a:pt x="15236" y="9189"/>
                    <a:pt x="15181" y="9065"/>
                    <a:pt x="15092" y="8976"/>
                  </a:cubicBezTo>
                  <a:lnTo>
                    <a:pt x="11149" y="5041"/>
                  </a:lnTo>
                  <a:cubicBezTo>
                    <a:pt x="11059" y="4952"/>
                    <a:pt x="10936" y="4897"/>
                    <a:pt x="10800" y="4897"/>
                  </a:cubicBezTo>
                  <a:cubicBezTo>
                    <a:pt x="10664" y="4897"/>
                    <a:pt x="10541" y="4952"/>
                    <a:pt x="10452" y="5041"/>
                  </a:cubicBezTo>
                  <a:lnTo>
                    <a:pt x="6509" y="8976"/>
                  </a:lnTo>
                  <a:cubicBezTo>
                    <a:pt x="6419" y="9065"/>
                    <a:pt x="6364" y="9189"/>
                    <a:pt x="6364" y="9324"/>
                  </a:cubicBezTo>
                  <a:cubicBezTo>
                    <a:pt x="6364" y="9596"/>
                    <a:pt x="6584" y="9816"/>
                    <a:pt x="6857" y="9816"/>
                  </a:cubicBezTo>
                  <a:cubicBezTo>
                    <a:pt x="6993" y="9816"/>
                    <a:pt x="7116" y="9761"/>
                    <a:pt x="7206" y="9672"/>
                  </a:cubicBezTo>
                  <a:lnTo>
                    <a:pt x="10307" y="6576"/>
                  </a:lnTo>
                  <a:lnTo>
                    <a:pt x="10307" y="16211"/>
                  </a:lnTo>
                  <a:cubicBezTo>
                    <a:pt x="10307" y="16483"/>
                    <a:pt x="10528" y="16703"/>
                    <a:pt x="10800" y="16703"/>
                  </a:cubicBezTo>
                  <a:cubicBezTo>
                    <a:pt x="11072" y="16703"/>
                    <a:pt x="11293" y="16483"/>
                    <a:pt x="11293" y="16211"/>
                  </a:cubicBezTo>
                  <a:moveTo>
                    <a:pt x="17446" y="18078"/>
                  </a:moveTo>
                  <a:lnTo>
                    <a:pt x="18081" y="18770"/>
                  </a:lnTo>
                  <a:cubicBezTo>
                    <a:pt x="18572" y="18323"/>
                    <a:pt x="19024" y="17827"/>
                    <a:pt x="19424" y="17297"/>
                  </a:cubicBezTo>
                  <a:lnTo>
                    <a:pt x="18673" y="16732"/>
                  </a:lnTo>
                  <a:cubicBezTo>
                    <a:pt x="18307" y="17216"/>
                    <a:pt x="17894" y="17669"/>
                    <a:pt x="17446" y="18078"/>
                  </a:cubicBezTo>
                  <a:moveTo>
                    <a:pt x="21553" y="9794"/>
                  </a:moveTo>
                  <a:lnTo>
                    <a:pt x="20617" y="9880"/>
                  </a:lnTo>
                  <a:cubicBezTo>
                    <a:pt x="20645" y="10182"/>
                    <a:pt x="20659" y="10492"/>
                    <a:pt x="20659" y="10800"/>
                  </a:cubicBezTo>
                  <a:cubicBezTo>
                    <a:pt x="20659" y="11099"/>
                    <a:pt x="20646" y="11401"/>
                    <a:pt x="20619" y="11699"/>
                  </a:cubicBezTo>
                  <a:lnTo>
                    <a:pt x="21556" y="11784"/>
                  </a:lnTo>
                  <a:cubicBezTo>
                    <a:pt x="21586" y="11458"/>
                    <a:pt x="21600" y="11127"/>
                    <a:pt x="21600" y="10800"/>
                  </a:cubicBezTo>
                  <a:cubicBezTo>
                    <a:pt x="21600" y="10462"/>
                    <a:pt x="21584" y="10124"/>
                    <a:pt x="21553" y="9794"/>
                  </a:cubicBezTo>
                  <a:moveTo>
                    <a:pt x="18660" y="4853"/>
                  </a:moveTo>
                  <a:lnTo>
                    <a:pt x="19412" y="4287"/>
                  </a:lnTo>
                  <a:cubicBezTo>
                    <a:pt x="19011" y="3759"/>
                    <a:pt x="18558" y="3264"/>
                    <a:pt x="18066" y="2816"/>
                  </a:cubicBezTo>
                  <a:lnTo>
                    <a:pt x="17432" y="3510"/>
                  </a:lnTo>
                  <a:cubicBezTo>
                    <a:pt x="17882" y="3919"/>
                    <a:pt x="18295" y="4371"/>
                    <a:pt x="18660" y="4853"/>
                  </a:cubicBezTo>
                  <a:moveTo>
                    <a:pt x="6893" y="20882"/>
                  </a:moveTo>
                  <a:cubicBezTo>
                    <a:pt x="7513" y="21121"/>
                    <a:pt x="8160" y="21302"/>
                    <a:pt x="8814" y="21422"/>
                  </a:cubicBezTo>
                  <a:lnTo>
                    <a:pt x="8984" y="20499"/>
                  </a:lnTo>
                  <a:cubicBezTo>
                    <a:pt x="8387" y="20389"/>
                    <a:pt x="7797" y="20223"/>
                    <a:pt x="7231" y="20006"/>
                  </a:cubicBezTo>
                  <a:cubicBezTo>
                    <a:pt x="7231" y="20006"/>
                    <a:pt x="6893" y="20882"/>
                    <a:pt x="6893" y="20882"/>
                  </a:cubicBezTo>
                  <a:close/>
                  <a:moveTo>
                    <a:pt x="19632" y="15184"/>
                  </a:moveTo>
                  <a:lnTo>
                    <a:pt x="20474" y="15602"/>
                  </a:lnTo>
                  <a:cubicBezTo>
                    <a:pt x="20770" y="15008"/>
                    <a:pt x="21013" y="14383"/>
                    <a:pt x="21194" y="13743"/>
                  </a:cubicBezTo>
                  <a:lnTo>
                    <a:pt x="20288" y="13487"/>
                  </a:lnTo>
                  <a:cubicBezTo>
                    <a:pt x="20123" y="14071"/>
                    <a:pt x="19902" y="14642"/>
                    <a:pt x="19632" y="15184"/>
                  </a:cubicBezTo>
                  <a:moveTo>
                    <a:pt x="21187" y="7835"/>
                  </a:moveTo>
                  <a:cubicBezTo>
                    <a:pt x="21005" y="7197"/>
                    <a:pt x="20761" y="6573"/>
                    <a:pt x="20464" y="5978"/>
                  </a:cubicBezTo>
                  <a:lnTo>
                    <a:pt x="19622" y="6399"/>
                  </a:lnTo>
                  <a:cubicBezTo>
                    <a:pt x="19893" y="6941"/>
                    <a:pt x="20115" y="7510"/>
                    <a:pt x="20282" y="8094"/>
                  </a:cubicBezTo>
                  <a:cubicBezTo>
                    <a:pt x="20282" y="8094"/>
                    <a:pt x="21187" y="7835"/>
                    <a:pt x="21187" y="7835"/>
                  </a:cubicBezTo>
                  <a:close/>
                  <a:moveTo>
                    <a:pt x="8923" y="1113"/>
                  </a:moveTo>
                  <a:lnTo>
                    <a:pt x="8747" y="190"/>
                  </a:lnTo>
                  <a:cubicBezTo>
                    <a:pt x="8093" y="315"/>
                    <a:pt x="7448" y="501"/>
                    <a:pt x="6829" y="743"/>
                  </a:cubicBezTo>
                  <a:lnTo>
                    <a:pt x="7174" y="1617"/>
                  </a:lnTo>
                  <a:cubicBezTo>
                    <a:pt x="7737" y="1396"/>
                    <a:pt x="8326" y="1226"/>
                    <a:pt x="8923" y="1113"/>
                  </a:cubicBezTo>
                  <a:moveTo>
                    <a:pt x="16474" y="1615"/>
                  </a:moveTo>
                  <a:cubicBezTo>
                    <a:pt x="15907" y="1264"/>
                    <a:pt x="15307" y="966"/>
                    <a:pt x="14687" y="726"/>
                  </a:cubicBezTo>
                  <a:lnTo>
                    <a:pt x="14346" y="1602"/>
                  </a:lnTo>
                  <a:cubicBezTo>
                    <a:pt x="14913" y="1821"/>
                    <a:pt x="15462" y="2094"/>
                    <a:pt x="15978" y="2413"/>
                  </a:cubicBezTo>
                  <a:cubicBezTo>
                    <a:pt x="15978" y="2413"/>
                    <a:pt x="16474" y="1615"/>
                    <a:pt x="16474" y="1615"/>
                  </a:cubicBezTo>
                  <a:close/>
                  <a:moveTo>
                    <a:pt x="2873" y="4886"/>
                  </a:moveTo>
                  <a:lnTo>
                    <a:pt x="2120" y="4322"/>
                  </a:lnTo>
                  <a:cubicBezTo>
                    <a:pt x="1720" y="4853"/>
                    <a:pt x="1368" y="5424"/>
                    <a:pt x="1074" y="6018"/>
                  </a:cubicBezTo>
                  <a:lnTo>
                    <a:pt x="1917" y="6435"/>
                  </a:lnTo>
                  <a:cubicBezTo>
                    <a:pt x="2186" y="5892"/>
                    <a:pt x="2508" y="5371"/>
                    <a:pt x="2873" y="4886"/>
                  </a:cubicBezTo>
                  <a:moveTo>
                    <a:pt x="3509" y="18800"/>
                  </a:moveTo>
                  <a:cubicBezTo>
                    <a:pt x="4003" y="19247"/>
                    <a:pt x="4539" y="19650"/>
                    <a:pt x="5104" y="19997"/>
                  </a:cubicBezTo>
                  <a:lnTo>
                    <a:pt x="5598" y="19198"/>
                  </a:lnTo>
                  <a:cubicBezTo>
                    <a:pt x="5082" y="18881"/>
                    <a:pt x="4592" y="18513"/>
                    <a:pt x="4142" y="18105"/>
                  </a:cubicBezTo>
                  <a:cubicBezTo>
                    <a:pt x="4142" y="18105"/>
                    <a:pt x="3509" y="18800"/>
                    <a:pt x="3509" y="18800"/>
                  </a:cubicBezTo>
                  <a:close/>
                  <a:moveTo>
                    <a:pt x="12594" y="1105"/>
                  </a:moveTo>
                  <a:lnTo>
                    <a:pt x="12765" y="182"/>
                  </a:lnTo>
                  <a:cubicBezTo>
                    <a:pt x="12116" y="61"/>
                    <a:pt x="11448" y="0"/>
                    <a:pt x="10788" y="0"/>
                  </a:cubicBezTo>
                  <a:lnTo>
                    <a:pt x="10787" y="0"/>
                  </a:lnTo>
                  <a:lnTo>
                    <a:pt x="10736" y="0"/>
                  </a:lnTo>
                  <a:lnTo>
                    <a:pt x="10779" y="940"/>
                  </a:lnTo>
                  <a:cubicBezTo>
                    <a:pt x="11389" y="940"/>
                    <a:pt x="12000" y="995"/>
                    <a:pt x="12594" y="1105"/>
                  </a:cubicBezTo>
                  <a:moveTo>
                    <a:pt x="1104" y="15642"/>
                  </a:moveTo>
                  <a:cubicBezTo>
                    <a:pt x="1403" y="16235"/>
                    <a:pt x="1758" y="16804"/>
                    <a:pt x="2161" y="17332"/>
                  </a:cubicBezTo>
                  <a:lnTo>
                    <a:pt x="2910" y="16763"/>
                  </a:lnTo>
                  <a:cubicBezTo>
                    <a:pt x="2542" y="16281"/>
                    <a:pt x="2218" y="15762"/>
                    <a:pt x="1945" y="15220"/>
                  </a:cubicBezTo>
                  <a:cubicBezTo>
                    <a:pt x="1945" y="15220"/>
                    <a:pt x="1104" y="15642"/>
                    <a:pt x="1104" y="15642"/>
                  </a:cubicBezTo>
                  <a:close/>
                  <a:moveTo>
                    <a:pt x="5546" y="2435"/>
                  </a:moveTo>
                  <a:lnTo>
                    <a:pt x="5047" y="1639"/>
                  </a:lnTo>
                  <a:cubicBezTo>
                    <a:pt x="4484" y="1991"/>
                    <a:pt x="3950" y="2397"/>
                    <a:pt x="3460" y="2846"/>
                  </a:cubicBezTo>
                  <a:lnTo>
                    <a:pt x="4096" y="3538"/>
                  </a:lnTo>
                  <a:cubicBezTo>
                    <a:pt x="4544" y="3127"/>
                    <a:pt x="5031" y="2756"/>
                    <a:pt x="5546" y="2435"/>
                  </a:cubicBezTo>
                  <a:moveTo>
                    <a:pt x="1264" y="8133"/>
                  </a:moveTo>
                  <a:lnTo>
                    <a:pt x="358" y="7879"/>
                  </a:lnTo>
                  <a:cubicBezTo>
                    <a:pt x="179" y="8516"/>
                    <a:pt x="59" y="9176"/>
                    <a:pt x="0" y="9838"/>
                  </a:cubicBezTo>
                  <a:lnTo>
                    <a:pt x="938" y="9921"/>
                  </a:lnTo>
                  <a:cubicBezTo>
                    <a:pt x="991" y="9317"/>
                    <a:pt x="1101" y="8714"/>
                    <a:pt x="1264" y="8133"/>
                  </a:cubicBezTo>
                  <a:moveTo>
                    <a:pt x="942" y="11741"/>
                  </a:moveTo>
                  <a:lnTo>
                    <a:pt x="6" y="11829"/>
                  </a:lnTo>
                  <a:cubicBezTo>
                    <a:pt x="69" y="12492"/>
                    <a:pt x="194" y="13151"/>
                    <a:pt x="377" y="13786"/>
                  </a:cubicBezTo>
                  <a:lnTo>
                    <a:pt x="1281" y="13527"/>
                  </a:lnTo>
                  <a:cubicBezTo>
                    <a:pt x="1114" y="12946"/>
                    <a:pt x="1000" y="12346"/>
                    <a:pt x="942" y="11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723">
              <a:extLst>
                <a:ext uri="{FF2B5EF4-FFF2-40B4-BE49-F238E27FC236}">
                  <a16:creationId xmlns:a16="http://schemas.microsoft.com/office/drawing/2014/main" id="{20642893-B5F7-4464-8C94-E16F47D9B813}"/>
                </a:ext>
              </a:extLst>
            </p:cNvPr>
            <p:cNvSpPr/>
            <p:nvPr/>
          </p:nvSpPr>
          <p:spPr bwMode="gray">
            <a:xfrm>
              <a:off x="3376106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345" y="10309"/>
                  </a:moveTo>
                  <a:lnTo>
                    <a:pt x="7899" y="10309"/>
                  </a:lnTo>
                  <a:cubicBezTo>
                    <a:pt x="7974" y="9863"/>
                    <a:pt x="8153" y="9453"/>
                    <a:pt x="8405" y="9099"/>
                  </a:cubicBezTo>
                  <a:lnTo>
                    <a:pt x="8717" y="9412"/>
                  </a:lnTo>
                  <a:cubicBezTo>
                    <a:pt x="8909" y="9604"/>
                    <a:pt x="9220" y="9604"/>
                    <a:pt x="9412" y="9412"/>
                  </a:cubicBezTo>
                  <a:cubicBezTo>
                    <a:pt x="9603" y="9220"/>
                    <a:pt x="9603" y="8909"/>
                    <a:pt x="9412" y="8717"/>
                  </a:cubicBezTo>
                  <a:lnTo>
                    <a:pt x="9101" y="8407"/>
                  </a:lnTo>
                  <a:cubicBezTo>
                    <a:pt x="9454" y="8157"/>
                    <a:pt x="9864" y="7979"/>
                    <a:pt x="10309" y="7904"/>
                  </a:cubicBezTo>
                  <a:lnTo>
                    <a:pt x="10309" y="8345"/>
                  </a:lnTo>
                  <a:cubicBezTo>
                    <a:pt x="10309" y="8617"/>
                    <a:pt x="10529" y="8836"/>
                    <a:pt x="10800" y="8836"/>
                  </a:cubicBezTo>
                  <a:cubicBezTo>
                    <a:pt x="11071" y="8836"/>
                    <a:pt x="11291" y="8617"/>
                    <a:pt x="11291" y="8345"/>
                  </a:cubicBezTo>
                  <a:lnTo>
                    <a:pt x="11291" y="7904"/>
                  </a:lnTo>
                  <a:cubicBezTo>
                    <a:pt x="11737" y="7979"/>
                    <a:pt x="12146" y="8157"/>
                    <a:pt x="12499" y="8407"/>
                  </a:cubicBezTo>
                  <a:lnTo>
                    <a:pt x="12188" y="8717"/>
                  </a:lnTo>
                  <a:cubicBezTo>
                    <a:pt x="11997" y="8909"/>
                    <a:pt x="11997" y="9220"/>
                    <a:pt x="12188" y="9412"/>
                  </a:cubicBezTo>
                  <a:cubicBezTo>
                    <a:pt x="12380" y="9604"/>
                    <a:pt x="12691" y="9604"/>
                    <a:pt x="12883" y="9412"/>
                  </a:cubicBezTo>
                  <a:lnTo>
                    <a:pt x="13195" y="9099"/>
                  </a:lnTo>
                  <a:cubicBezTo>
                    <a:pt x="13447" y="9453"/>
                    <a:pt x="13626" y="9863"/>
                    <a:pt x="13701" y="10309"/>
                  </a:cubicBezTo>
                  <a:lnTo>
                    <a:pt x="13255" y="10309"/>
                  </a:lnTo>
                  <a:cubicBezTo>
                    <a:pt x="12983" y="10309"/>
                    <a:pt x="12764" y="10529"/>
                    <a:pt x="12764" y="10800"/>
                  </a:cubicBezTo>
                  <a:cubicBezTo>
                    <a:pt x="12764" y="11071"/>
                    <a:pt x="12983" y="11291"/>
                    <a:pt x="13255" y="11291"/>
                  </a:cubicBezTo>
                  <a:lnTo>
                    <a:pt x="13701" y="11291"/>
                  </a:lnTo>
                  <a:cubicBezTo>
                    <a:pt x="13626" y="11738"/>
                    <a:pt x="13447" y="12147"/>
                    <a:pt x="13195" y="12501"/>
                  </a:cubicBezTo>
                  <a:lnTo>
                    <a:pt x="12883" y="12188"/>
                  </a:lnTo>
                  <a:cubicBezTo>
                    <a:pt x="12691" y="11997"/>
                    <a:pt x="12380" y="11997"/>
                    <a:pt x="12188" y="12188"/>
                  </a:cubicBezTo>
                  <a:cubicBezTo>
                    <a:pt x="11997" y="12380"/>
                    <a:pt x="11997" y="12691"/>
                    <a:pt x="12188" y="12883"/>
                  </a:cubicBezTo>
                  <a:lnTo>
                    <a:pt x="12499" y="13193"/>
                  </a:lnTo>
                  <a:cubicBezTo>
                    <a:pt x="12146" y="13444"/>
                    <a:pt x="11737" y="13621"/>
                    <a:pt x="11291" y="13696"/>
                  </a:cubicBezTo>
                  <a:lnTo>
                    <a:pt x="11291" y="13255"/>
                  </a:lnTo>
                  <a:cubicBezTo>
                    <a:pt x="11291" y="12983"/>
                    <a:pt x="11071" y="12764"/>
                    <a:pt x="10800" y="12764"/>
                  </a:cubicBezTo>
                  <a:cubicBezTo>
                    <a:pt x="10529" y="12764"/>
                    <a:pt x="10309" y="12983"/>
                    <a:pt x="10309" y="13255"/>
                  </a:cubicBezTo>
                  <a:lnTo>
                    <a:pt x="10309" y="13696"/>
                  </a:lnTo>
                  <a:cubicBezTo>
                    <a:pt x="9864" y="13621"/>
                    <a:pt x="9454" y="13444"/>
                    <a:pt x="9101" y="13193"/>
                  </a:cubicBezTo>
                  <a:lnTo>
                    <a:pt x="9412" y="12883"/>
                  </a:lnTo>
                  <a:cubicBezTo>
                    <a:pt x="9603" y="12691"/>
                    <a:pt x="9603" y="12380"/>
                    <a:pt x="9412" y="12188"/>
                  </a:cubicBezTo>
                  <a:cubicBezTo>
                    <a:pt x="9220" y="11997"/>
                    <a:pt x="8909" y="11997"/>
                    <a:pt x="8717" y="12188"/>
                  </a:cubicBezTo>
                  <a:lnTo>
                    <a:pt x="8405" y="12501"/>
                  </a:lnTo>
                  <a:cubicBezTo>
                    <a:pt x="8153" y="12147"/>
                    <a:pt x="7974" y="11738"/>
                    <a:pt x="7899" y="11291"/>
                  </a:cubicBezTo>
                  <a:lnTo>
                    <a:pt x="8345" y="11291"/>
                  </a:lnTo>
                  <a:cubicBezTo>
                    <a:pt x="8617" y="11291"/>
                    <a:pt x="8836" y="11071"/>
                    <a:pt x="8836" y="10800"/>
                  </a:cubicBezTo>
                  <a:cubicBezTo>
                    <a:pt x="8836" y="10529"/>
                    <a:pt x="8617" y="10309"/>
                    <a:pt x="8345" y="10309"/>
                  </a:cubicBezTo>
                  <a:moveTo>
                    <a:pt x="8023" y="13577"/>
                  </a:moveTo>
                  <a:lnTo>
                    <a:pt x="8023" y="13578"/>
                  </a:lnTo>
                  <a:cubicBezTo>
                    <a:pt x="8734" y="14288"/>
                    <a:pt x="9716" y="14727"/>
                    <a:pt x="10800" y="14727"/>
                  </a:cubicBezTo>
                  <a:cubicBezTo>
                    <a:pt x="11884" y="14727"/>
                    <a:pt x="12866" y="14288"/>
                    <a:pt x="13577" y="13578"/>
                  </a:cubicBezTo>
                  <a:lnTo>
                    <a:pt x="13577" y="13577"/>
                  </a:lnTo>
                  <a:lnTo>
                    <a:pt x="13577" y="13577"/>
                  </a:lnTo>
                  <a:cubicBezTo>
                    <a:pt x="14288" y="12866"/>
                    <a:pt x="14727" y="11884"/>
                    <a:pt x="14727" y="10800"/>
                  </a:cubicBezTo>
                  <a:cubicBezTo>
                    <a:pt x="14727" y="8631"/>
                    <a:pt x="12969" y="6873"/>
                    <a:pt x="10800" y="6873"/>
                  </a:cubicBezTo>
                  <a:cubicBezTo>
                    <a:pt x="8631" y="6873"/>
                    <a:pt x="6873" y="8631"/>
                    <a:pt x="6873" y="10800"/>
                  </a:cubicBezTo>
                  <a:cubicBezTo>
                    <a:pt x="6873" y="11884"/>
                    <a:pt x="7311" y="12866"/>
                    <a:pt x="8023" y="13577"/>
                  </a:cubicBezTo>
                  <a:cubicBezTo>
                    <a:pt x="8023" y="13577"/>
                    <a:pt x="8023" y="13577"/>
                    <a:pt x="8023" y="13577"/>
                  </a:cubicBezTo>
                  <a:close/>
                  <a:moveTo>
                    <a:pt x="10800" y="11782"/>
                  </a:move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moveTo>
                    <a:pt x="17673" y="5891"/>
                  </a:moveTo>
                  <a:cubicBezTo>
                    <a:pt x="17131" y="5891"/>
                    <a:pt x="16691" y="6331"/>
                    <a:pt x="16691" y="6873"/>
                  </a:cubicBezTo>
                  <a:lnTo>
                    <a:pt x="16691" y="7855"/>
                  </a:lnTo>
                  <a:cubicBezTo>
                    <a:pt x="16691" y="8396"/>
                    <a:pt x="17131" y="8836"/>
                    <a:pt x="17673" y="8836"/>
                  </a:cubicBezTo>
                  <a:lnTo>
                    <a:pt x="17673" y="12764"/>
                  </a:lnTo>
                  <a:cubicBezTo>
                    <a:pt x="17131" y="12764"/>
                    <a:pt x="16691" y="13204"/>
                    <a:pt x="16691" y="13745"/>
                  </a:cubicBezTo>
                  <a:lnTo>
                    <a:pt x="16691" y="14727"/>
                  </a:lnTo>
                  <a:cubicBezTo>
                    <a:pt x="16691" y="15270"/>
                    <a:pt x="17131" y="15709"/>
                    <a:pt x="17673" y="15709"/>
                  </a:cubicBezTo>
                  <a:lnTo>
                    <a:pt x="17673" y="17673"/>
                  </a:lnTo>
                  <a:lnTo>
                    <a:pt x="3927" y="17673"/>
                  </a:lnTo>
                  <a:lnTo>
                    <a:pt x="3927" y="3927"/>
                  </a:lnTo>
                  <a:lnTo>
                    <a:pt x="17673" y="3927"/>
                  </a:lnTo>
                  <a:cubicBezTo>
                    <a:pt x="17673" y="3927"/>
                    <a:pt x="17673" y="5891"/>
                    <a:pt x="17673" y="5891"/>
                  </a:cubicBezTo>
                  <a:close/>
                  <a:moveTo>
                    <a:pt x="18655" y="5891"/>
                  </a:moveTo>
                  <a:lnTo>
                    <a:pt x="18655" y="2945"/>
                  </a:lnTo>
                  <a:lnTo>
                    <a:pt x="2945" y="2945"/>
                  </a:lnTo>
                  <a:lnTo>
                    <a:pt x="2945" y="18655"/>
                  </a:lnTo>
                  <a:lnTo>
                    <a:pt x="18655" y="18655"/>
                  </a:lnTo>
                  <a:lnTo>
                    <a:pt x="18655" y="15709"/>
                  </a:lnTo>
                  <a:cubicBezTo>
                    <a:pt x="19196" y="15709"/>
                    <a:pt x="19636" y="15270"/>
                    <a:pt x="19636" y="14727"/>
                  </a:cubicBezTo>
                  <a:lnTo>
                    <a:pt x="19636" y="13745"/>
                  </a:lnTo>
                  <a:cubicBezTo>
                    <a:pt x="19636" y="13204"/>
                    <a:pt x="19196" y="12764"/>
                    <a:pt x="18655" y="12764"/>
                  </a:cubicBezTo>
                  <a:lnTo>
                    <a:pt x="18655" y="8836"/>
                  </a:lnTo>
                  <a:cubicBezTo>
                    <a:pt x="19196" y="8836"/>
                    <a:pt x="19636" y="8396"/>
                    <a:pt x="19636" y="7855"/>
                  </a:cubicBezTo>
                  <a:lnTo>
                    <a:pt x="19636" y="6873"/>
                  </a:lnTo>
                  <a:cubicBezTo>
                    <a:pt x="19636" y="6331"/>
                    <a:pt x="19196" y="5891"/>
                    <a:pt x="18655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724">
              <a:extLst>
                <a:ext uri="{FF2B5EF4-FFF2-40B4-BE49-F238E27FC236}">
                  <a16:creationId xmlns:a16="http://schemas.microsoft.com/office/drawing/2014/main" id="{75E2A4C3-131B-4E1B-A69A-5E663E82649B}"/>
                </a:ext>
              </a:extLst>
            </p:cNvPr>
            <p:cNvSpPr/>
            <p:nvPr/>
          </p:nvSpPr>
          <p:spPr bwMode="gray">
            <a:xfrm>
              <a:off x="392782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5709"/>
                  </a:moveTo>
                  <a:lnTo>
                    <a:pt x="5891" y="15709"/>
                  </a:lnTo>
                  <a:lnTo>
                    <a:pt x="5891" y="11782"/>
                  </a:lnTo>
                  <a:lnTo>
                    <a:pt x="15709" y="11782"/>
                  </a:lnTo>
                  <a:cubicBezTo>
                    <a:pt x="15709" y="11782"/>
                    <a:pt x="15709" y="15709"/>
                    <a:pt x="15709" y="15709"/>
                  </a:cubicBezTo>
                  <a:close/>
                  <a:moveTo>
                    <a:pt x="16691" y="10800"/>
                  </a:moveTo>
                  <a:lnTo>
                    <a:pt x="4909" y="10800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0800"/>
                    <a:pt x="16691" y="10800"/>
                  </a:cubicBezTo>
                  <a:close/>
                  <a:moveTo>
                    <a:pt x="11782" y="13745"/>
                  </a:moveTo>
                  <a:lnTo>
                    <a:pt x="9818" y="13745"/>
                  </a:lnTo>
                  <a:lnTo>
                    <a:pt x="9818" y="14727"/>
                  </a:lnTo>
                  <a:lnTo>
                    <a:pt x="11782" y="14727"/>
                  </a:lnTo>
                  <a:cubicBezTo>
                    <a:pt x="11782" y="14727"/>
                    <a:pt x="11782" y="13745"/>
                    <a:pt x="11782" y="13745"/>
                  </a:cubicBezTo>
                  <a:close/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1782" y="5891"/>
                  </a:moveTo>
                  <a:lnTo>
                    <a:pt x="9818" y="5891"/>
                  </a:lnTo>
                  <a:lnTo>
                    <a:pt x="9818" y="6873"/>
                  </a:lnTo>
                  <a:lnTo>
                    <a:pt x="11782" y="6873"/>
                  </a:lnTo>
                  <a:cubicBezTo>
                    <a:pt x="11782" y="6873"/>
                    <a:pt x="11782" y="5891"/>
                    <a:pt x="11782" y="5891"/>
                  </a:cubicBezTo>
                  <a:close/>
                  <a:moveTo>
                    <a:pt x="15709" y="7855"/>
                  </a:moveTo>
                  <a:lnTo>
                    <a:pt x="5891" y="7855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7855"/>
                    <a:pt x="15709" y="7855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8836"/>
                  </a:lnTo>
                  <a:lnTo>
                    <a:pt x="16691" y="8836"/>
                  </a:lnTo>
                  <a:cubicBezTo>
                    <a:pt x="16691" y="8836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725">
              <a:extLst>
                <a:ext uri="{FF2B5EF4-FFF2-40B4-BE49-F238E27FC236}">
                  <a16:creationId xmlns:a16="http://schemas.microsoft.com/office/drawing/2014/main" id="{1CBC0A8D-FE88-447C-BECC-B008602ED072}"/>
                </a:ext>
              </a:extLst>
            </p:cNvPr>
            <p:cNvSpPr/>
            <p:nvPr/>
          </p:nvSpPr>
          <p:spPr bwMode="gray">
            <a:xfrm>
              <a:off x="4479533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5" y="17673"/>
                  </a:moveTo>
                  <a:cubicBezTo>
                    <a:pt x="18655" y="18214"/>
                    <a:pt x="18214" y="18655"/>
                    <a:pt x="17673" y="18655"/>
                  </a:cubicBezTo>
                  <a:lnTo>
                    <a:pt x="3927" y="18655"/>
                  </a:lnTo>
                  <a:cubicBezTo>
                    <a:pt x="3385" y="18655"/>
                    <a:pt x="2945" y="18214"/>
                    <a:pt x="2945" y="17673"/>
                  </a:cubicBezTo>
                  <a:lnTo>
                    <a:pt x="2945" y="982"/>
                  </a:lnTo>
                  <a:lnTo>
                    <a:pt x="18655" y="982"/>
                  </a:lnTo>
                  <a:cubicBezTo>
                    <a:pt x="18655" y="982"/>
                    <a:pt x="18655" y="17673"/>
                    <a:pt x="18655" y="17673"/>
                  </a:cubicBezTo>
                  <a:close/>
                  <a:moveTo>
                    <a:pt x="21109" y="0"/>
                  </a:move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cubicBezTo>
                    <a:pt x="0" y="762"/>
                    <a:pt x="220" y="982"/>
                    <a:pt x="491" y="982"/>
                  </a:cubicBezTo>
                  <a:lnTo>
                    <a:pt x="1964" y="982"/>
                  </a:lnTo>
                  <a:lnTo>
                    <a:pt x="1964" y="17673"/>
                  </a:lnTo>
                  <a:cubicBezTo>
                    <a:pt x="1964" y="18757"/>
                    <a:pt x="2843" y="19636"/>
                    <a:pt x="3927" y="19636"/>
                  </a:cubicBezTo>
                  <a:lnTo>
                    <a:pt x="4909" y="19636"/>
                  </a:lnTo>
                  <a:lnTo>
                    <a:pt x="4909" y="21109"/>
                  </a:lnTo>
                  <a:cubicBezTo>
                    <a:pt x="4909" y="21380"/>
                    <a:pt x="5129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9636"/>
                  </a:lnTo>
                  <a:lnTo>
                    <a:pt x="15709" y="19636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471" y="21600"/>
                    <a:pt x="16691" y="21380"/>
                    <a:pt x="16691" y="21109"/>
                  </a:cubicBezTo>
                  <a:lnTo>
                    <a:pt x="16691" y="19636"/>
                  </a:lnTo>
                  <a:lnTo>
                    <a:pt x="17673" y="19636"/>
                  </a:lnTo>
                  <a:cubicBezTo>
                    <a:pt x="18757" y="19636"/>
                    <a:pt x="19636" y="18757"/>
                    <a:pt x="19636" y="17673"/>
                  </a:cubicBezTo>
                  <a:lnTo>
                    <a:pt x="19636" y="982"/>
                  </a:lnTo>
                  <a:lnTo>
                    <a:pt x="21109" y="982"/>
                  </a:lnTo>
                  <a:cubicBezTo>
                    <a:pt x="21380" y="982"/>
                    <a:pt x="21600" y="762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moveTo>
                    <a:pt x="15709" y="10800"/>
                  </a:moveTo>
                  <a:lnTo>
                    <a:pt x="11782" y="10800"/>
                  </a:lnTo>
                  <a:lnTo>
                    <a:pt x="11782" y="9818"/>
                  </a:lnTo>
                  <a:lnTo>
                    <a:pt x="9818" y="9818"/>
                  </a:lnTo>
                  <a:lnTo>
                    <a:pt x="9818" y="10800"/>
                  </a:lnTo>
                  <a:lnTo>
                    <a:pt x="5891" y="10800"/>
                  </a:lnTo>
                  <a:lnTo>
                    <a:pt x="5891" y="8836"/>
                  </a:lnTo>
                  <a:lnTo>
                    <a:pt x="15709" y="8836"/>
                  </a:lnTo>
                  <a:cubicBezTo>
                    <a:pt x="15709" y="8836"/>
                    <a:pt x="15709" y="10800"/>
                    <a:pt x="15709" y="10800"/>
                  </a:cubicBezTo>
                  <a:close/>
                  <a:moveTo>
                    <a:pt x="16691" y="7855"/>
                  </a:moveTo>
                  <a:lnTo>
                    <a:pt x="4909" y="7855"/>
                  </a:lnTo>
                  <a:lnTo>
                    <a:pt x="4909" y="11782"/>
                  </a:lnTo>
                  <a:lnTo>
                    <a:pt x="16691" y="11782"/>
                  </a:lnTo>
                  <a:cubicBezTo>
                    <a:pt x="16691" y="11782"/>
                    <a:pt x="16691" y="7855"/>
                    <a:pt x="16691" y="7855"/>
                  </a:cubicBezTo>
                  <a:close/>
                  <a:moveTo>
                    <a:pt x="15709" y="15709"/>
                  </a:moveTo>
                  <a:lnTo>
                    <a:pt x="11782" y="15709"/>
                  </a:lnTo>
                  <a:lnTo>
                    <a:pt x="11782" y="14727"/>
                  </a:lnTo>
                  <a:lnTo>
                    <a:pt x="9818" y="14727"/>
                  </a:lnTo>
                  <a:lnTo>
                    <a:pt x="9818" y="15709"/>
                  </a:lnTo>
                  <a:lnTo>
                    <a:pt x="5891" y="15709"/>
                  </a:lnTo>
                  <a:lnTo>
                    <a:pt x="5891" y="13745"/>
                  </a:lnTo>
                  <a:lnTo>
                    <a:pt x="15709" y="13745"/>
                  </a:lnTo>
                  <a:cubicBezTo>
                    <a:pt x="15709" y="13745"/>
                    <a:pt x="15709" y="15709"/>
                    <a:pt x="15709" y="15709"/>
                  </a:cubicBezTo>
                  <a:close/>
                  <a:moveTo>
                    <a:pt x="16691" y="12764"/>
                  </a:moveTo>
                  <a:lnTo>
                    <a:pt x="4909" y="12764"/>
                  </a:lnTo>
                  <a:lnTo>
                    <a:pt x="4909" y="16691"/>
                  </a:lnTo>
                  <a:lnTo>
                    <a:pt x="16691" y="16691"/>
                  </a:lnTo>
                  <a:cubicBezTo>
                    <a:pt x="16691" y="16691"/>
                    <a:pt x="16691" y="12764"/>
                    <a:pt x="16691" y="12764"/>
                  </a:cubicBezTo>
                  <a:close/>
                  <a:moveTo>
                    <a:pt x="15709" y="5891"/>
                  </a:moveTo>
                  <a:lnTo>
                    <a:pt x="11782" y="5891"/>
                  </a:lnTo>
                  <a:lnTo>
                    <a:pt x="11782" y="4909"/>
                  </a:lnTo>
                  <a:lnTo>
                    <a:pt x="9818" y="4909"/>
                  </a:lnTo>
                  <a:lnTo>
                    <a:pt x="9818" y="5891"/>
                  </a:lnTo>
                  <a:lnTo>
                    <a:pt x="5891" y="5891"/>
                  </a:lnTo>
                  <a:lnTo>
                    <a:pt x="5891" y="3927"/>
                  </a:lnTo>
                  <a:lnTo>
                    <a:pt x="15709" y="3927"/>
                  </a:lnTo>
                  <a:cubicBezTo>
                    <a:pt x="15709" y="3927"/>
                    <a:pt x="15709" y="5891"/>
                    <a:pt x="15709" y="5891"/>
                  </a:cubicBezTo>
                  <a:close/>
                  <a:moveTo>
                    <a:pt x="16691" y="2945"/>
                  </a:moveTo>
                  <a:lnTo>
                    <a:pt x="4909" y="2945"/>
                  </a:lnTo>
                  <a:lnTo>
                    <a:pt x="4909" y="6873"/>
                  </a:lnTo>
                  <a:lnTo>
                    <a:pt x="16691" y="6873"/>
                  </a:lnTo>
                  <a:cubicBezTo>
                    <a:pt x="16691" y="6873"/>
                    <a:pt x="16691" y="2945"/>
                    <a:pt x="16691" y="29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726">
              <a:extLst>
                <a:ext uri="{FF2B5EF4-FFF2-40B4-BE49-F238E27FC236}">
                  <a16:creationId xmlns:a16="http://schemas.microsoft.com/office/drawing/2014/main" id="{EB4F95D5-5CB3-4716-9268-334723575C90}"/>
                </a:ext>
              </a:extLst>
            </p:cNvPr>
            <p:cNvSpPr/>
            <p:nvPr/>
          </p:nvSpPr>
          <p:spPr bwMode="gray">
            <a:xfrm>
              <a:off x="5057519" y="4493072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00" y="13745"/>
                  </a:moveTo>
                  <a:lnTo>
                    <a:pt x="16800" y="13745"/>
                  </a:lnTo>
                  <a:lnTo>
                    <a:pt x="16800" y="17673"/>
                  </a:lnTo>
                  <a:lnTo>
                    <a:pt x="4800" y="17673"/>
                  </a:lnTo>
                  <a:cubicBezTo>
                    <a:pt x="4800" y="17673"/>
                    <a:pt x="4800" y="13745"/>
                    <a:pt x="4800" y="13745"/>
                  </a:cubicBezTo>
                  <a:close/>
                  <a:moveTo>
                    <a:pt x="4800" y="8836"/>
                  </a:moveTo>
                  <a:lnTo>
                    <a:pt x="16800" y="8836"/>
                  </a:lnTo>
                  <a:lnTo>
                    <a:pt x="16800" y="12764"/>
                  </a:lnTo>
                  <a:lnTo>
                    <a:pt x="4800" y="12764"/>
                  </a:lnTo>
                  <a:cubicBezTo>
                    <a:pt x="4800" y="12764"/>
                    <a:pt x="4800" y="8836"/>
                    <a:pt x="4800" y="8836"/>
                  </a:cubicBezTo>
                  <a:close/>
                  <a:moveTo>
                    <a:pt x="4800" y="3927"/>
                  </a:moveTo>
                  <a:lnTo>
                    <a:pt x="16800" y="3927"/>
                  </a:lnTo>
                  <a:lnTo>
                    <a:pt x="16800" y="7855"/>
                  </a:lnTo>
                  <a:lnTo>
                    <a:pt x="4800" y="7855"/>
                  </a:lnTo>
                  <a:cubicBezTo>
                    <a:pt x="4800" y="7855"/>
                    <a:pt x="4800" y="3927"/>
                    <a:pt x="4800" y="3927"/>
                  </a:cubicBezTo>
                  <a:close/>
                  <a:moveTo>
                    <a:pt x="3600" y="18655"/>
                  </a:moveTo>
                  <a:lnTo>
                    <a:pt x="18000" y="18655"/>
                  </a:lnTo>
                  <a:lnTo>
                    <a:pt x="18000" y="2945"/>
                  </a:lnTo>
                  <a:lnTo>
                    <a:pt x="3600" y="2945"/>
                  </a:lnTo>
                  <a:cubicBezTo>
                    <a:pt x="3600" y="2945"/>
                    <a:pt x="3600" y="18655"/>
                    <a:pt x="3600" y="18655"/>
                  </a:cubicBezTo>
                  <a:close/>
                  <a:moveTo>
                    <a:pt x="20400" y="19636"/>
                  </a:moveTo>
                  <a:cubicBezTo>
                    <a:pt x="20400" y="20178"/>
                    <a:pt x="19862" y="20618"/>
                    <a:pt x="19200" y="20618"/>
                  </a:cubicBezTo>
                  <a:lnTo>
                    <a:pt x="2400" y="20618"/>
                  </a:lnTo>
                  <a:cubicBezTo>
                    <a:pt x="1738" y="20618"/>
                    <a:pt x="1200" y="20178"/>
                    <a:pt x="1200" y="19636"/>
                  </a:cubicBezTo>
                  <a:lnTo>
                    <a:pt x="1200" y="1964"/>
                  </a:lnTo>
                  <a:cubicBezTo>
                    <a:pt x="1200" y="1422"/>
                    <a:pt x="1738" y="982"/>
                    <a:pt x="2400" y="982"/>
                  </a:cubicBezTo>
                  <a:lnTo>
                    <a:pt x="19200" y="982"/>
                  </a:lnTo>
                  <a:cubicBezTo>
                    <a:pt x="19862" y="982"/>
                    <a:pt x="20400" y="1422"/>
                    <a:pt x="20400" y="1964"/>
                  </a:cubicBezTo>
                  <a:cubicBezTo>
                    <a:pt x="20400" y="1964"/>
                    <a:pt x="20400" y="19636"/>
                    <a:pt x="20400" y="19636"/>
                  </a:cubicBezTo>
                  <a:close/>
                  <a:moveTo>
                    <a:pt x="19200" y="0"/>
                  </a:moveTo>
                  <a:lnTo>
                    <a:pt x="2400" y="0"/>
                  </a:lnTo>
                  <a:cubicBezTo>
                    <a:pt x="1075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1075" y="21600"/>
                    <a:pt x="2400" y="21600"/>
                  </a:cubicBezTo>
                  <a:lnTo>
                    <a:pt x="19200" y="21600"/>
                  </a:lnTo>
                  <a:cubicBezTo>
                    <a:pt x="20525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525" y="0"/>
                    <a:pt x="19200" y="0"/>
                  </a:cubicBezTo>
                  <a:moveTo>
                    <a:pt x="9600" y="16691"/>
                  </a:moveTo>
                  <a:lnTo>
                    <a:pt x="12000" y="16691"/>
                  </a:lnTo>
                  <a:lnTo>
                    <a:pt x="12000" y="15709"/>
                  </a:lnTo>
                  <a:lnTo>
                    <a:pt x="9600" y="15709"/>
                  </a:lnTo>
                  <a:cubicBezTo>
                    <a:pt x="9600" y="15709"/>
                    <a:pt x="9600" y="16691"/>
                    <a:pt x="9600" y="16691"/>
                  </a:cubicBezTo>
                  <a:close/>
                  <a:moveTo>
                    <a:pt x="9600" y="6873"/>
                  </a:moveTo>
                  <a:lnTo>
                    <a:pt x="12000" y="6873"/>
                  </a:lnTo>
                  <a:lnTo>
                    <a:pt x="12000" y="5891"/>
                  </a:lnTo>
                  <a:lnTo>
                    <a:pt x="9600" y="5891"/>
                  </a:lnTo>
                  <a:cubicBezTo>
                    <a:pt x="9600" y="5891"/>
                    <a:pt x="9600" y="6873"/>
                    <a:pt x="9600" y="6873"/>
                  </a:cubicBezTo>
                  <a:close/>
                  <a:moveTo>
                    <a:pt x="9600" y="11782"/>
                  </a:moveTo>
                  <a:lnTo>
                    <a:pt x="12000" y="11782"/>
                  </a:lnTo>
                  <a:lnTo>
                    <a:pt x="12000" y="10800"/>
                  </a:lnTo>
                  <a:lnTo>
                    <a:pt x="9600" y="10800"/>
                  </a:lnTo>
                  <a:cubicBezTo>
                    <a:pt x="9600" y="10800"/>
                    <a:pt x="9600" y="11782"/>
                    <a:pt x="9600" y="1178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727">
              <a:extLst>
                <a:ext uri="{FF2B5EF4-FFF2-40B4-BE49-F238E27FC236}">
                  <a16:creationId xmlns:a16="http://schemas.microsoft.com/office/drawing/2014/main" id="{1FB922DA-E9A8-48BE-AD8D-2B6E50C14336}"/>
                </a:ext>
              </a:extLst>
            </p:cNvPr>
            <p:cNvSpPr/>
            <p:nvPr/>
          </p:nvSpPr>
          <p:spPr bwMode="gray">
            <a:xfrm>
              <a:off x="5582960" y="44930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5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0" y="13745"/>
                    <a:pt x="10800" y="14405"/>
                    <a:pt x="10800" y="15218"/>
                  </a:cubicBezTo>
                  <a:cubicBezTo>
                    <a:pt x="10800" y="16031"/>
                    <a:pt x="10140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3" y="4424"/>
                  </a:lnTo>
                  <a:lnTo>
                    <a:pt x="11483" y="3967"/>
                  </a:lnTo>
                  <a:cubicBezTo>
                    <a:pt x="11424" y="3942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6" y="8306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2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90" y="4418"/>
                    <a:pt x="15218" y="4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728">
              <a:extLst>
                <a:ext uri="{FF2B5EF4-FFF2-40B4-BE49-F238E27FC236}">
                  <a16:creationId xmlns:a16="http://schemas.microsoft.com/office/drawing/2014/main" id="{C32E3FDE-D2E1-42B3-B6F8-AE14578E7C9F}"/>
                </a:ext>
              </a:extLst>
            </p:cNvPr>
            <p:cNvSpPr/>
            <p:nvPr/>
          </p:nvSpPr>
          <p:spPr bwMode="gray">
            <a:xfrm>
              <a:off x="617538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7318"/>
                  </a:moveTo>
                  <a:lnTo>
                    <a:pt x="11782" y="6949"/>
                  </a:lnTo>
                  <a:lnTo>
                    <a:pt x="11782" y="4956"/>
                  </a:lnTo>
                  <a:lnTo>
                    <a:pt x="14727" y="5324"/>
                  </a:lnTo>
                  <a:cubicBezTo>
                    <a:pt x="14727" y="5324"/>
                    <a:pt x="14727" y="7318"/>
                    <a:pt x="14727" y="7318"/>
                  </a:cubicBezTo>
                  <a:close/>
                  <a:moveTo>
                    <a:pt x="9327" y="16691"/>
                  </a:moveTo>
                  <a:lnTo>
                    <a:pt x="8345" y="16691"/>
                  </a:lnTo>
                  <a:cubicBezTo>
                    <a:pt x="7532" y="16691"/>
                    <a:pt x="6873" y="16031"/>
                    <a:pt x="6873" y="15218"/>
                  </a:cubicBezTo>
                  <a:cubicBezTo>
                    <a:pt x="6873" y="14406"/>
                    <a:pt x="7532" y="13745"/>
                    <a:pt x="8345" y="13745"/>
                  </a:cubicBezTo>
                  <a:lnTo>
                    <a:pt x="9327" y="13745"/>
                  </a:lnTo>
                  <a:cubicBezTo>
                    <a:pt x="10141" y="13745"/>
                    <a:pt x="10800" y="14406"/>
                    <a:pt x="10800" y="15218"/>
                  </a:cubicBezTo>
                  <a:cubicBezTo>
                    <a:pt x="10800" y="16031"/>
                    <a:pt x="10141" y="16691"/>
                    <a:pt x="9327" y="16691"/>
                  </a:cubicBezTo>
                  <a:moveTo>
                    <a:pt x="15218" y="4418"/>
                  </a:moveTo>
                  <a:cubicBezTo>
                    <a:pt x="15192" y="4418"/>
                    <a:pt x="15170" y="4429"/>
                    <a:pt x="15145" y="4433"/>
                  </a:cubicBezTo>
                  <a:lnTo>
                    <a:pt x="15144" y="4424"/>
                  </a:lnTo>
                  <a:lnTo>
                    <a:pt x="11483" y="3967"/>
                  </a:lnTo>
                  <a:cubicBezTo>
                    <a:pt x="11424" y="3941"/>
                    <a:pt x="11359" y="3927"/>
                    <a:pt x="11291" y="3927"/>
                  </a:cubicBezTo>
                  <a:cubicBezTo>
                    <a:pt x="11275" y="3927"/>
                    <a:pt x="11261" y="3935"/>
                    <a:pt x="11245" y="3937"/>
                  </a:cubicBezTo>
                  <a:lnTo>
                    <a:pt x="11216" y="3933"/>
                  </a:lnTo>
                  <a:lnTo>
                    <a:pt x="11218" y="3942"/>
                  </a:lnTo>
                  <a:cubicBezTo>
                    <a:pt x="10983" y="3979"/>
                    <a:pt x="10800" y="4173"/>
                    <a:pt x="10800" y="4418"/>
                  </a:cubicBezTo>
                  <a:lnTo>
                    <a:pt x="10800" y="13266"/>
                  </a:lnTo>
                  <a:cubicBezTo>
                    <a:pt x="10389" y="12955"/>
                    <a:pt x="9882" y="12764"/>
                    <a:pt x="9327" y="12764"/>
                  </a:cubicBezTo>
                  <a:lnTo>
                    <a:pt x="8345" y="12764"/>
                  </a:lnTo>
                  <a:cubicBezTo>
                    <a:pt x="6990" y="12764"/>
                    <a:pt x="5891" y="13862"/>
                    <a:pt x="5891" y="15218"/>
                  </a:cubicBezTo>
                  <a:cubicBezTo>
                    <a:pt x="5891" y="16574"/>
                    <a:pt x="6990" y="17673"/>
                    <a:pt x="8345" y="17673"/>
                  </a:cubicBezTo>
                  <a:lnTo>
                    <a:pt x="9327" y="17673"/>
                  </a:lnTo>
                  <a:cubicBezTo>
                    <a:pt x="10683" y="17673"/>
                    <a:pt x="11782" y="16574"/>
                    <a:pt x="11782" y="15218"/>
                  </a:cubicBezTo>
                  <a:lnTo>
                    <a:pt x="11782" y="7901"/>
                  </a:lnTo>
                  <a:lnTo>
                    <a:pt x="15027" y="8307"/>
                  </a:lnTo>
                  <a:cubicBezTo>
                    <a:pt x="15085" y="8332"/>
                    <a:pt x="15150" y="8345"/>
                    <a:pt x="15218" y="8345"/>
                  </a:cubicBezTo>
                  <a:cubicBezTo>
                    <a:pt x="15234" y="8345"/>
                    <a:pt x="15248" y="8338"/>
                    <a:pt x="15264" y="8336"/>
                  </a:cubicBezTo>
                  <a:lnTo>
                    <a:pt x="15293" y="8340"/>
                  </a:lnTo>
                  <a:lnTo>
                    <a:pt x="15291" y="8331"/>
                  </a:lnTo>
                  <a:cubicBezTo>
                    <a:pt x="15526" y="8294"/>
                    <a:pt x="15709" y="8100"/>
                    <a:pt x="15709" y="7855"/>
                  </a:cubicBezTo>
                  <a:lnTo>
                    <a:pt x="15709" y="4909"/>
                  </a:lnTo>
                  <a:cubicBezTo>
                    <a:pt x="15709" y="4638"/>
                    <a:pt x="15489" y="4418"/>
                    <a:pt x="15218" y="4418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729">
              <a:extLst>
                <a:ext uri="{FF2B5EF4-FFF2-40B4-BE49-F238E27FC236}">
                  <a16:creationId xmlns:a16="http://schemas.microsoft.com/office/drawing/2014/main" id="{63AEC6E3-4841-4851-BBA1-0886724B5C8C}"/>
                </a:ext>
              </a:extLst>
            </p:cNvPr>
            <p:cNvSpPr/>
            <p:nvPr/>
          </p:nvSpPr>
          <p:spPr bwMode="gray">
            <a:xfrm>
              <a:off x="1169252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7318"/>
                  </a:moveTo>
                  <a:lnTo>
                    <a:pt x="14727" y="6949"/>
                  </a:lnTo>
                  <a:lnTo>
                    <a:pt x="14727" y="4956"/>
                  </a:lnTo>
                  <a:lnTo>
                    <a:pt x="17673" y="5324"/>
                  </a:lnTo>
                  <a:cubicBezTo>
                    <a:pt x="17673" y="5324"/>
                    <a:pt x="17673" y="7318"/>
                    <a:pt x="17673" y="7318"/>
                  </a:cubicBezTo>
                  <a:close/>
                  <a:moveTo>
                    <a:pt x="12273" y="16691"/>
                  </a:moveTo>
                  <a:lnTo>
                    <a:pt x="11291" y="16691"/>
                  </a:lnTo>
                  <a:cubicBezTo>
                    <a:pt x="10477" y="16691"/>
                    <a:pt x="9818" y="16031"/>
                    <a:pt x="9818" y="15218"/>
                  </a:cubicBezTo>
                  <a:cubicBezTo>
                    <a:pt x="9818" y="14406"/>
                    <a:pt x="10477" y="13745"/>
                    <a:pt x="11291" y="13745"/>
                  </a:cubicBezTo>
                  <a:lnTo>
                    <a:pt x="12273" y="13745"/>
                  </a:lnTo>
                  <a:cubicBezTo>
                    <a:pt x="13086" y="13745"/>
                    <a:pt x="13745" y="14406"/>
                    <a:pt x="13745" y="15218"/>
                  </a:cubicBezTo>
                  <a:cubicBezTo>
                    <a:pt x="13745" y="16031"/>
                    <a:pt x="13086" y="16691"/>
                    <a:pt x="12273" y="16691"/>
                  </a:cubicBezTo>
                  <a:moveTo>
                    <a:pt x="18164" y="4418"/>
                  </a:moveTo>
                  <a:cubicBezTo>
                    <a:pt x="18138" y="4418"/>
                    <a:pt x="18115" y="4429"/>
                    <a:pt x="18091" y="4433"/>
                  </a:cubicBezTo>
                  <a:lnTo>
                    <a:pt x="18089" y="4424"/>
                  </a:lnTo>
                  <a:lnTo>
                    <a:pt x="14428" y="3967"/>
                  </a:lnTo>
                  <a:cubicBezTo>
                    <a:pt x="14369" y="3941"/>
                    <a:pt x="14305" y="3927"/>
                    <a:pt x="14236" y="3927"/>
                  </a:cubicBezTo>
                  <a:cubicBezTo>
                    <a:pt x="14220" y="3927"/>
                    <a:pt x="14206" y="3935"/>
                    <a:pt x="14191" y="3937"/>
                  </a:cubicBezTo>
                  <a:lnTo>
                    <a:pt x="14162" y="3933"/>
                  </a:lnTo>
                  <a:lnTo>
                    <a:pt x="14163" y="3942"/>
                  </a:lnTo>
                  <a:cubicBezTo>
                    <a:pt x="13929" y="3979"/>
                    <a:pt x="13745" y="4173"/>
                    <a:pt x="13745" y="4418"/>
                  </a:cubicBezTo>
                  <a:lnTo>
                    <a:pt x="13745" y="13266"/>
                  </a:lnTo>
                  <a:cubicBezTo>
                    <a:pt x="13335" y="12955"/>
                    <a:pt x="12828" y="12764"/>
                    <a:pt x="12273" y="12764"/>
                  </a:cubicBezTo>
                  <a:lnTo>
                    <a:pt x="11291" y="12764"/>
                  </a:lnTo>
                  <a:cubicBezTo>
                    <a:pt x="9935" y="12764"/>
                    <a:pt x="8836" y="13862"/>
                    <a:pt x="8836" y="15218"/>
                  </a:cubicBezTo>
                  <a:cubicBezTo>
                    <a:pt x="8836" y="16574"/>
                    <a:pt x="9935" y="17673"/>
                    <a:pt x="11291" y="17673"/>
                  </a:cubicBezTo>
                  <a:lnTo>
                    <a:pt x="12273" y="17673"/>
                  </a:lnTo>
                  <a:cubicBezTo>
                    <a:pt x="13629" y="17673"/>
                    <a:pt x="14727" y="16574"/>
                    <a:pt x="14727" y="15218"/>
                  </a:cubicBezTo>
                  <a:lnTo>
                    <a:pt x="14727" y="7901"/>
                  </a:lnTo>
                  <a:lnTo>
                    <a:pt x="17972" y="8307"/>
                  </a:lnTo>
                  <a:cubicBezTo>
                    <a:pt x="18031" y="8332"/>
                    <a:pt x="18095" y="8345"/>
                    <a:pt x="18164" y="8345"/>
                  </a:cubicBezTo>
                  <a:cubicBezTo>
                    <a:pt x="18180" y="8345"/>
                    <a:pt x="18194" y="8338"/>
                    <a:pt x="18210" y="8336"/>
                  </a:cubicBezTo>
                  <a:lnTo>
                    <a:pt x="18238" y="8340"/>
                  </a:lnTo>
                  <a:lnTo>
                    <a:pt x="18237" y="8331"/>
                  </a:lnTo>
                  <a:cubicBezTo>
                    <a:pt x="18471" y="8294"/>
                    <a:pt x="18655" y="8100"/>
                    <a:pt x="18655" y="7855"/>
                  </a:cubicBezTo>
                  <a:lnTo>
                    <a:pt x="18655" y="4909"/>
                  </a:lnTo>
                  <a:cubicBezTo>
                    <a:pt x="18655" y="4638"/>
                    <a:pt x="18434" y="4418"/>
                    <a:pt x="18164" y="4418"/>
                  </a:cubicBezTo>
                  <a:moveTo>
                    <a:pt x="10800" y="10309"/>
                  </a:moveTo>
                  <a:cubicBezTo>
                    <a:pt x="10800" y="10038"/>
                    <a:pt x="10580" y="9818"/>
                    <a:pt x="10309" y="9818"/>
                  </a:cubicBezTo>
                  <a:lnTo>
                    <a:pt x="4418" y="9818"/>
                  </a:lnTo>
                  <a:cubicBezTo>
                    <a:pt x="4147" y="9818"/>
                    <a:pt x="3927" y="1003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lnTo>
                    <a:pt x="10309" y="10800"/>
                  </a:lnTo>
                  <a:cubicBezTo>
                    <a:pt x="10580" y="10800"/>
                    <a:pt x="10800" y="10580"/>
                    <a:pt x="10800" y="10309"/>
                  </a:cubicBezTo>
                  <a:moveTo>
                    <a:pt x="4418" y="6873"/>
                  </a:moveTo>
                  <a:lnTo>
                    <a:pt x="10309" y="6873"/>
                  </a:lnTo>
                  <a:cubicBezTo>
                    <a:pt x="10580" y="6873"/>
                    <a:pt x="10800" y="6653"/>
                    <a:pt x="10800" y="6382"/>
                  </a:cubicBezTo>
                  <a:cubicBezTo>
                    <a:pt x="10800" y="6110"/>
                    <a:pt x="10580" y="5891"/>
                    <a:pt x="10309" y="5891"/>
                  </a:cubicBezTo>
                  <a:lnTo>
                    <a:pt x="4418" y="5891"/>
                  </a:lnTo>
                  <a:cubicBezTo>
                    <a:pt x="4147" y="5891"/>
                    <a:pt x="3927" y="6110"/>
                    <a:pt x="3927" y="6382"/>
                  </a:cubicBezTo>
                  <a:cubicBezTo>
                    <a:pt x="3927" y="6653"/>
                    <a:pt x="4147" y="6873"/>
                    <a:pt x="4418" y="6873"/>
                  </a:cubicBezTo>
                  <a:moveTo>
                    <a:pt x="4418" y="8836"/>
                  </a:moveTo>
                  <a:lnTo>
                    <a:pt x="10309" y="8836"/>
                  </a:lnTo>
                  <a:cubicBezTo>
                    <a:pt x="10580" y="8836"/>
                    <a:pt x="10800" y="8617"/>
                    <a:pt x="10800" y="8345"/>
                  </a:cubicBezTo>
                  <a:cubicBezTo>
                    <a:pt x="10800" y="8074"/>
                    <a:pt x="10580" y="7855"/>
                    <a:pt x="10309" y="7855"/>
                  </a:cubicBezTo>
                  <a:lnTo>
                    <a:pt x="4418" y="7855"/>
                  </a:lnTo>
                  <a:cubicBezTo>
                    <a:pt x="4147" y="7855"/>
                    <a:pt x="3927" y="8074"/>
                    <a:pt x="3927" y="8345"/>
                  </a:cubicBezTo>
                  <a:cubicBezTo>
                    <a:pt x="3927" y="8617"/>
                    <a:pt x="4147" y="8836"/>
                    <a:pt x="4418" y="8836"/>
                  </a:cubicBezTo>
                  <a:moveTo>
                    <a:pt x="20618" y="19636"/>
                  </a:moveTo>
                  <a:cubicBezTo>
                    <a:pt x="20618" y="20179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730">
              <a:extLst>
                <a:ext uri="{FF2B5EF4-FFF2-40B4-BE49-F238E27FC236}">
                  <a16:creationId xmlns:a16="http://schemas.microsoft.com/office/drawing/2014/main" id="{C275BC26-B3F4-45D3-B4E0-2EE5EFA54917}"/>
                </a:ext>
              </a:extLst>
            </p:cNvPr>
            <p:cNvSpPr/>
            <p:nvPr/>
          </p:nvSpPr>
          <p:spPr bwMode="gray">
            <a:xfrm>
              <a:off x="1720965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691" y="5988"/>
                  </a:moveTo>
                  <a:lnTo>
                    <a:pt x="8836" y="7734"/>
                  </a:lnTo>
                  <a:lnTo>
                    <a:pt x="8836" y="5794"/>
                  </a:lnTo>
                  <a:lnTo>
                    <a:pt x="16691" y="4048"/>
                  </a:lnTo>
                  <a:cubicBezTo>
                    <a:pt x="16691" y="4048"/>
                    <a:pt x="16691" y="5988"/>
                    <a:pt x="16691" y="5988"/>
                  </a:cubicBezTo>
                  <a:close/>
                  <a:moveTo>
                    <a:pt x="15218" y="15709"/>
                  </a:moveTo>
                  <a:lnTo>
                    <a:pt x="14236" y="15709"/>
                  </a:lnTo>
                  <a:cubicBezTo>
                    <a:pt x="13423" y="15709"/>
                    <a:pt x="12764" y="15050"/>
                    <a:pt x="12764" y="14236"/>
                  </a:cubicBezTo>
                  <a:cubicBezTo>
                    <a:pt x="12764" y="13423"/>
                    <a:pt x="13423" y="12764"/>
                    <a:pt x="14236" y="12764"/>
                  </a:cubicBezTo>
                  <a:lnTo>
                    <a:pt x="15218" y="12764"/>
                  </a:lnTo>
                  <a:cubicBezTo>
                    <a:pt x="16032" y="12764"/>
                    <a:pt x="16691" y="13423"/>
                    <a:pt x="16691" y="14236"/>
                  </a:cubicBezTo>
                  <a:cubicBezTo>
                    <a:pt x="16691" y="15050"/>
                    <a:pt x="16032" y="15709"/>
                    <a:pt x="15218" y="15709"/>
                  </a:cubicBezTo>
                  <a:moveTo>
                    <a:pt x="6382" y="17673"/>
                  </a:moveTo>
                  <a:lnTo>
                    <a:pt x="5400" y="17673"/>
                  </a:lnTo>
                  <a:cubicBezTo>
                    <a:pt x="4586" y="17673"/>
                    <a:pt x="3927" y="17014"/>
                    <a:pt x="3927" y="16200"/>
                  </a:cubicBezTo>
                  <a:cubicBezTo>
                    <a:pt x="3927" y="15387"/>
                    <a:pt x="4586" y="14727"/>
                    <a:pt x="5400" y="14727"/>
                  </a:cubicBezTo>
                  <a:lnTo>
                    <a:pt x="6382" y="14727"/>
                  </a:lnTo>
                  <a:cubicBezTo>
                    <a:pt x="7195" y="14727"/>
                    <a:pt x="7855" y="15387"/>
                    <a:pt x="7855" y="16200"/>
                  </a:cubicBezTo>
                  <a:cubicBezTo>
                    <a:pt x="7855" y="17014"/>
                    <a:pt x="7195" y="17673"/>
                    <a:pt x="6382" y="17673"/>
                  </a:cubicBezTo>
                  <a:moveTo>
                    <a:pt x="17182" y="2945"/>
                  </a:moveTo>
                  <a:cubicBezTo>
                    <a:pt x="17148" y="2945"/>
                    <a:pt x="17119" y="2958"/>
                    <a:pt x="17088" y="2965"/>
                  </a:cubicBezTo>
                  <a:lnTo>
                    <a:pt x="17086" y="2955"/>
                  </a:lnTo>
                  <a:lnTo>
                    <a:pt x="8249" y="4919"/>
                  </a:lnTo>
                  <a:lnTo>
                    <a:pt x="8251" y="4928"/>
                  </a:lnTo>
                  <a:cubicBezTo>
                    <a:pt x="8027" y="4973"/>
                    <a:pt x="7855" y="5162"/>
                    <a:pt x="7855" y="5400"/>
                  </a:cubicBezTo>
                  <a:lnTo>
                    <a:pt x="7855" y="14248"/>
                  </a:lnTo>
                  <a:cubicBezTo>
                    <a:pt x="7444" y="13937"/>
                    <a:pt x="6937" y="13745"/>
                    <a:pt x="6382" y="13745"/>
                  </a:cubicBezTo>
                  <a:lnTo>
                    <a:pt x="5400" y="13745"/>
                  </a:lnTo>
                  <a:cubicBezTo>
                    <a:pt x="4044" y="13745"/>
                    <a:pt x="2945" y="14844"/>
                    <a:pt x="2945" y="16200"/>
                  </a:cubicBezTo>
                  <a:cubicBezTo>
                    <a:pt x="2945" y="17556"/>
                    <a:pt x="4044" y="18655"/>
                    <a:pt x="5400" y="18655"/>
                  </a:cubicBezTo>
                  <a:lnTo>
                    <a:pt x="6382" y="18655"/>
                  </a:lnTo>
                  <a:cubicBezTo>
                    <a:pt x="7737" y="18655"/>
                    <a:pt x="8836" y="17556"/>
                    <a:pt x="8836" y="16200"/>
                  </a:cubicBezTo>
                  <a:lnTo>
                    <a:pt x="8836" y="8739"/>
                  </a:lnTo>
                  <a:lnTo>
                    <a:pt x="16691" y="6994"/>
                  </a:lnTo>
                  <a:lnTo>
                    <a:pt x="16691" y="12284"/>
                  </a:lnTo>
                  <a:cubicBezTo>
                    <a:pt x="16280" y="11974"/>
                    <a:pt x="15773" y="11782"/>
                    <a:pt x="15218" y="11782"/>
                  </a:cubicBezTo>
                  <a:lnTo>
                    <a:pt x="14236" y="11782"/>
                  </a:lnTo>
                  <a:cubicBezTo>
                    <a:pt x="12881" y="11782"/>
                    <a:pt x="11782" y="12881"/>
                    <a:pt x="11782" y="14236"/>
                  </a:cubicBezTo>
                  <a:cubicBezTo>
                    <a:pt x="11782" y="15592"/>
                    <a:pt x="12881" y="16691"/>
                    <a:pt x="14236" y="16691"/>
                  </a:cubicBezTo>
                  <a:lnTo>
                    <a:pt x="15218" y="16691"/>
                  </a:lnTo>
                  <a:cubicBezTo>
                    <a:pt x="16573" y="16691"/>
                    <a:pt x="17673" y="15592"/>
                    <a:pt x="17673" y="14236"/>
                  </a:cubicBezTo>
                  <a:lnTo>
                    <a:pt x="17673" y="3436"/>
                  </a:lnTo>
                  <a:cubicBezTo>
                    <a:pt x="17673" y="3165"/>
                    <a:pt x="17453" y="2945"/>
                    <a:pt x="17182" y="29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731">
              <a:extLst>
                <a:ext uri="{FF2B5EF4-FFF2-40B4-BE49-F238E27FC236}">
                  <a16:creationId xmlns:a16="http://schemas.microsoft.com/office/drawing/2014/main" id="{E6A83AB9-74E7-4572-8D4F-952F1C84B4CA}"/>
                </a:ext>
              </a:extLst>
            </p:cNvPr>
            <p:cNvSpPr/>
            <p:nvPr/>
          </p:nvSpPr>
          <p:spPr bwMode="gray">
            <a:xfrm>
              <a:off x="2272679" y="5057921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74" y="6862"/>
                  </a:moveTo>
                  <a:lnTo>
                    <a:pt x="18121" y="9450"/>
                  </a:lnTo>
                  <a:lnTo>
                    <a:pt x="17427" y="8686"/>
                  </a:lnTo>
                  <a:lnTo>
                    <a:pt x="19780" y="6098"/>
                  </a:lnTo>
                  <a:cubicBezTo>
                    <a:pt x="19869" y="6000"/>
                    <a:pt x="19992" y="5940"/>
                    <a:pt x="20127" y="5940"/>
                  </a:cubicBezTo>
                  <a:cubicBezTo>
                    <a:pt x="20398" y="5940"/>
                    <a:pt x="20618" y="6182"/>
                    <a:pt x="20618" y="6480"/>
                  </a:cubicBezTo>
                  <a:cubicBezTo>
                    <a:pt x="20618" y="6629"/>
                    <a:pt x="20563" y="6764"/>
                    <a:pt x="20474" y="6862"/>
                  </a:cubicBezTo>
                  <a:moveTo>
                    <a:pt x="21600" y="6480"/>
                  </a:moveTo>
                  <a:cubicBezTo>
                    <a:pt x="21600" y="5586"/>
                    <a:pt x="20941" y="4860"/>
                    <a:pt x="20127" y="4860"/>
                  </a:cubicBezTo>
                  <a:cubicBezTo>
                    <a:pt x="19720" y="4860"/>
                    <a:pt x="19352" y="5041"/>
                    <a:pt x="19086" y="5335"/>
                  </a:cubicBezTo>
                  <a:lnTo>
                    <a:pt x="6813" y="18835"/>
                  </a:lnTo>
                  <a:cubicBezTo>
                    <a:pt x="6547" y="19128"/>
                    <a:pt x="6382" y="19533"/>
                    <a:pt x="6382" y="19980"/>
                  </a:cubicBezTo>
                  <a:cubicBezTo>
                    <a:pt x="6382" y="20874"/>
                    <a:pt x="7041" y="21600"/>
                    <a:pt x="7855" y="21600"/>
                  </a:cubicBezTo>
                  <a:cubicBezTo>
                    <a:pt x="8262" y="21600"/>
                    <a:pt x="8630" y="21419"/>
                    <a:pt x="8896" y="21125"/>
                  </a:cubicBezTo>
                  <a:lnTo>
                    <a:pt x="21169" y="7625"/>
                  </a:lnTo>
                  <a:cubicBezTo>
                    <a:pt x="21435" y="7332"/>
                    <a:pt x="21600" y="6927"/>
                    <a:pt x="21600" y="6480"/>
                  </a:cubicBezTo>
                  <a:moveTo>
                    <a:pt x="20127" y="14040"/>
                  </a:moveTo>
                  <a:lnTo>
                    <a:pt x="18655" y="14040"/>
                  </a:lnTo>
                  <a:lnTo>
                    <a:pt x="18655" y="11918"/>
                  </a:lnTo>
                  <a:lnTo>
                    <a:pt x="15744" y="15120"/>
                  </a:lnTo>
                  <a:lnTo>
                    <a:pt x="20127" y="15120"/>
                  </a:lnTo>
                  <a:cubicBezTo>
                    <a:pt x="20398" y="15120"/>
                    <a:pt x="20618" y="15362"/>
                    <a:pt x="20618" y="15660"/>
                  </a:cubicBezTo>
                  <a:cubicBezTo>
                    <a:pt x="20618" y="15958"/>
                    <a:pt x="20398" y="16200"/>
                    <a:pt x="20127" y="16200"/>
                  </a:cubicBezTo>
                  <a:lnTo>
                    <a:pt x="14762" y="16200"/>
                  </a:lnTo>
                  <a:lnTo>
                    <a:pt x="13780" y="17280"/>
                  </a:lnTo>
                  <a:lnTo>
                    <a:pt x="20127" y="17280"/>
                  </a:lnTo>
                  <a:cubicBezTo>
                    <a:pt x="20941" y="17280"/>
                    <a:pt x="21600" y="16554"/>
                    <a:pt x="21600" y="15660"/>
                  </a:cubicBezTo>
                  <a:cubicBezTo>
                    <a:pt x="21600" y="14766"/>
                    <a:pt x="20941" y="14040"/>
                    <a:pt x="20127" y="14040"/>
                  </a:cubicBezTo>
                  <a:moveTo>
                    <a:pt x="7820" y="16200"/>
                  </a:moveTo>
                  <a:lnTo>
                    <a:pt x="1473" y="16200"/>
                  </a:lnTo>
                  <a:cubicBezTo>
                    <a:pt x="1202" y="16200"/>
                    <a:pt x="982" y="15958"/>
                    <a:pt x="982" y="15660"/>
                  </a:cubicBezTo>
                  <a:cubicBezTo>
                    <a:pt x="982" y="15362"/>
                    <a:pt x="1202" y="15120"/>
                    <a:pt x="1473" y="15120"/>
                  </a:cubicBezTo>
                  <a:lnTo>
                    <a:pt x="8802" y="15120"/>
                  </a:lnTo>
                  <a:lnTo>
                    <a:pt x="12729" y="10800"/>
                  </a:lnTo>
                  <a:lnTo>
                    <a:pt x="3927" y="10800"/>
                  </a:lnTo>
                  <a:lnTo>
                    <a:pt x="3927" y="1080"/>
                  </a:lnTo>
                  <a:lnTo>
                    <a:pt x="17673" y="1080"/>
                  </a:lnTo>
                  <a:lnTo>
                    <a:pt x="17673" y="5362"/>
                  </a:lnTo>
                  <a:lnTo>
                    <a:pt x="18655" y="4282"/>
                  </a:lnTo>
                  <a:lnTo>
                    <a:pt x="18655" y="540"/>
                  </a:lnTo>
                  <a:cubicBezTo>
                    <a:pt x="18655" y="242"/>
                    <a:pt x="18434" y="0"/>
                    <a:pt x="18164" y="0"/>
                  </a:cubicBezTo>
                  <a:lnTo>
                    <a:pt x="3436" y="0"/>
                  </a:lnTo>
                  <a:cubicBezTo>
                    <a:pt x="3166" y="0"/>
                    <a:pt x="2945" y="242"/>
                    <a:pt x="2945" y="540"/>
                  </a:cubicBezTo>
                  <a:lnTo>
                    <a:pt x="2945" y="14040"/>
                  </a:lnTo>
                  <a:lnTo>
                    <a:pt x="1473" y="14040"/>
                  </a:lnTo>
                  <a:cubicBezTo>
                    <a:pt x="659" y="14040"/>
                    <a:pt x="0" y="14766"/>
                    <a:pt x="0" y="15660"/>
                  </a:cubicBezTo>
                  <a:cubicBezTo>
                    <a:pt x="0" y="16554"/>
                    <a:pt x="659" y="17280"/>
                    <a:pt x="1473" y="17280"/>
                  </a:cubicBezTo>
                  <a:lnTo>
                    <a:pt x="6838" y="17280"/>
                  </a:lnTo>
                  <a:cubicBezTo>
                    <a:pt x="6838" y="17280"/>
                    <a:pt x="7820" y="16200"/>
                    <a:pt x="7820" y="162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732">
              <a:extLst>
                <a:ext uri="{FF2B5EF4-FFF2-40B4-BE49-F238E27FC236}">
                  <a16:creationId xmlns:a16="http://schemas.microsoft.com/office/drawing/2014/main" id="{9D02509D-4BA7-46A8-9C7B-E4AD920CD0DA}"/>
                </a:ext>
              </a:extLst>
            </p:cNvPr>
            <p:cNvSpPr/>
            <p:nvPr/>
          </p:nvSpPr>
          <p:spPr bwMode="gray">
            <a:xfrm>
              <a:off x="2824392" y="512360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36" y="19413"/>
                  </a:moveTo>
                  <a:lnTo>
                    <a:pt x="13945" y="13593"/>
                  </a:lnTo>
                  <a:cubicBezTo>
                    <a:pt x="14130" y="12747"/>
                    <a:pt x="14236" y="11802"/>
                    <a:pt x="14236" y="10800"/>
                  </a:cubicBezTo>
                  <a:cubicBezTo>
                    <a:pt x="14236" y="9799"/>
                    <a:pt x="14130" y="8854"/>
                    <a:pt x="13945" y="8007"/>
                  </a:cubicBezTo>
                  <a:lnTo>
                    <a:pt x="19236" y="2187"/>
                  </a:lnTo>
                  <a:cubicBezTo>
                    <a:pt x="20007" y="2465"/>
                    <a:pt x="20618" y="6209"/>
                    <a:pt x="20618" y="10800"/>
                  </a:cubicBezTo>
                  <a:cubicBezTo>
                    <a:pt x="20618" y="15392"/>
                    <a:pt x="20007" y="19136"/>
                    <a:pt x="19236" y="19413"/>
                  </a:cubicBezTo>
                  <a:moveTo>
                    <a:pt x="11291" y="15120"/>
                  </a:moveTo>
                  <a:lnTo>
                    <a:pt x="10309" y="15120"/>
                  </a:lnTo>
                  <a:cubicBezTo>
                    <a:pt x="9225" y="15120"/>
                    <a:pt x="8345" y="13186"/>
                    <a:pt x="8345" y="10800"/>
                  </a:cubicBezTo>
                  <a:cubicBezTo>
                    <a:pt x="8345" y="8414"/>
                    <a:pt x="9225" y="6480"/>
                    <a:pt x="10309" y="6480"/>
                  </a:cubicBezTo>
                  <a:lnTo>
                    <a:pt x="11291" y="6480"/>
                  </a:lnTo>
                  <a:cubicBezTo>
                    <a:pt x="12375" y="6480"/>
                    <a:pt x="13255" y="8414"/>
                    <a:pt x="13255" y="10800"/>
                  </a:cubicBezTo>
                  <a:cubicBezTo>
                    <a:pt x="13255" y="13186"/>
                    <a:pt x="12375" y="15120"/>
                    <a:pt x="11291" y="15120"/>
                  </a:cubicBezTo>
                  <a:moveTo>
                    <a:pt x="7654" y="13593"/>
                  </a:moveTo>
                  <a:lnTo>
                    <a:pt x="2363" y="19413"/>
                  </a:lnTo>
                  <a:cubicBezTo>
                    <a:pt x="1593" y="19135"/>
                    <a:pt x="982" y="15391"/>
                    <a:pt x="982" y="10800"/>
                  </a:cubicBezTo>
                  <a:cubicBezTo>
                    <a:pt x="982" y="6209"/>
                    <a:pt x="1593" y="2465"/>
                    <a:pt x="2363" y="2187"/>
                  </a:cubicBezTo>
                  <a:lnTo>
                    <a:pt x="7654" y="8007"/>
                  </a:lnTo>
                  <a:cubicBezTo>
                    <a:pt x="7470" y="8854"/>
                    <a:pt x="7364" y="9799"/>
                    <a:pt x="7364" y="10800"/>
                  </a:cubicBezTo>
                  <a:cubicBezTo>
                    <a:pt x="7364" y="11802"/>
                    <a:pt x="7470" y="12747"/>
                    <a:pt x="7654" y="13593"/>
                  </a:cubicBezTo>
                  <a:moveTo>
                    <a:pt x="19145" y="0"/>
                  </a:moveTo>
                  <a:cubicBezTo>
                    <a:pt x="19066" y="0"/>
                    <a:pt x="18994" y="51"/>
                    <a:pt x="18928" y="124"/>
                  </a:cubicBezTo>
                  <a:lnTo>
                    <a:pt x="18925" y="114"/>
                  </a:lnTo>
                  <a:lnTo>
                    <a:pt x="13374" y="6221"/>
                  </a:lnTo>
                  <a:cubicBezTo>
                    <a:pt x="12841" y="5047"/>
                    <a:pt x="12105" y="4320"/>
                    <a:pt x="11291" y="4320"/>
                  </a:cubicBezTo>
                  <a:lnTo>
                    <a:pt x="10309" y="4320"/>
                  </a:lnTo>
                  <a:cubicBezTo>
                    <a:pt x="9495" y="4320"/>
                    <a:pt x="8758" y="5047"/>
                    <a:pt x="8225" y="6221"/>
                  </a:cubicBezTo>
                  <a:lnTo>
                    <a:pt x="2674" y="114"/>
                  </a:lnTo>
                  <a:lnTo>
                    <a:pt x="2671" y="124"/>
                  </a:lnTo>
                  <a:cubicBezTo>
                    <a:pt x="2606" y="51"/>
                    <a:pt x="2534" y="0"/>
                    <a:pt x="2455" y="0"/>
                  </a:cubicBezTo>
                  <a:cubicBezTo>
                    <a:pt x="1099" y="0"/>
                    <a:pt x="0" y="4835"/>
                    <a:pt x="0" y="10800"/>
                  </a:cubicBezTo>
                  <a:cubicBezTo>
                    <a:pt x="0" y="16765"/>
                    <a:pt x="1099" y="21600"/>
                    <a:pt x="2455" y="21600"/>
                  </a:cubicBezTo>
                  <a:cubicBezTo>
                    <a:pt x="2534" y="21600"/>
                    <a:pt x="2605" y="21549"/>
                    <a:pt x="2671" y="21477"/>
                  </a:cubicBezTo>
                  <a:lnTo>
                    <a:pt x="2674" y="21486"/>
                  </a:lnTo>
                  <a:lnTo>
                    <a:pt x="8225" y="15379"/>
                  </a:lnTo>
                  <a:cubicBezTo>
                    <a:pt x="8758" y="16554"/>
                    <a:pt x="9495" y="17280"/>
                    <a:pt x="10309" y="17280"/>
                  </a:cubicBezTo>
                  <a:lnTo>
                    <a:pt x="11291" y="17280"/>
                  </a:lnTo>
                  <a:cubicBezTo>
                    <a:pt x="12105" y="17280"/>
                    <a:pt x="12842" y="16554"/>
                    <a:pt x="13375" y="15379"/>
                  </a:cubicBezTo>
                  <a:lnTo>
                    <a:pt x="18940" y="21501"/>
                  </a:lnTo>
                  <a:lnTo>
                    <a:pt x="18941" y="21496"/>
                  </a:lnTo>
                  <a:cubicBezTo>
                    <a:pt x="19003" y="21560"/>
                    <a:pt x="19072" y="21600"/>
                    <a:pt x="19145" y="21600"/>
                  </a:cubicBezTo>
                  <a:cubicBezTo>
                    <a:pt x="20501" y="21600"/>
                    <a:pt x="21600" y="16765"/>
                    <a:pt x="21600" y="10800"/>
                  </a:cubicBezTo>
                  <a:cubicBezTo>
                    <a:pt x="21600" y="4835"/>
                    <a:pt x="20501" y="0"/>
                    <a:pt x="19145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733">
              <a:extLst>
                <a:ext uri="{FF2B5EF4-FFF2-40B4-BE49-F238E27FC236}">
                  <a16:creationId xmlns:a16="http://schemas.microsoft.com/office/drawing/2014/main" id="{2139128F-D6A0-4578-ABF1-E0E80CCA7BBE}"/>
                </a:ext>
              </a:extLst>
            </p:cNvPr>
            <p:cNvSpPr/>
            <p:nvPr/>
          </p:nvSpPr>
          <p:spPr bwMode="gray">
            <a:xfrm>
              <a:off x="3468058" y="5044785"/>
              <a:ext cx="10508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364"/>
                  </a:moveTo>
                  <a:lnTo>
                    <a:pt x="2804" y="17041"/>
                  </a:lnTo>
                  <a:lnTo>
                    <a:pt x="9142" y="5518"/>
                  </a:lnTo>
                  <a:lnTo>
                    <a:pt x="9803" y="5724"/>
                  </a:lnTo>
                  <a:cubicBezTo>
                    <a:pt x="9859" y="5747"/>
                    <a:pt x="9925" y="5764"/>
                    <a:pt x="9991" y="5783"/>
                  </a:cubicBezTo>
                  <a:lnTo>
                    <a:pt x="10130" y="5826"/>
                  </a:lnTo>
                  <a:lnTo>
                    <a:pt x="10141" y="5820"/>
                  </a:lnTo>
                  <a:cubicBezTo>
                    <a:pt x="10339" y="5861"/>
                    <a:pt x="10555" y="5891"/>
                    <a:pt x="10800" y="5891"/>
                  </a:cubicBezTo>
                  <a:cubicBezTo>
                    <a:pt x="11045" y="5891"/>
                    <a:pt x="11261" y="5861"/>
                    <a:pt x="11459" y="5820"/>
                  </a:cubicBezTo>
                  <a:lnTo>
                    <a:pt x="11470" y="5826"/>
                  </a:lnTo>
                  <a:lnTo>
                    <a:pt x="11609" y="5783"/>
                  </a:lnTo>
                  <a:cubicBezTo>
                    <a:pt x="11675" y="5764"/>
                    <a:pt x="11741" y="5747"/>
                    <a:pt x="11797" y="5724"/>
                  </a:cubicBezTo>
                  <a:lnTo>
                    <a:pt x="12457" y="5518"/>
                  </a:lnTo>
                  <a:lnTo>
                    <a:pt x="14283" y="8836"/>
                  </a:lnTo>
                  <a:lnTo>
                    <a:pt x="10800" y="8836"/>
                  </a:lnTo>
                  <a:cubicBezTo>
                    <a:pt x="10054" y="8836"/>
                    <a:pt x="9450" y="9056"/>
                    <a:pt x="9450" y="9327"/>
                  </a:cubicBezTo>
                  <a:cubicBezTo>
                    <a:pt x="9450" y="9599"/>
                    <a:pt x="10054" y="9818"/>
                    <a:pt x="10800" y="9818"/>
                  </a:cubicBezTo>
                  <a:lnTo>
                    <a:pt x="14824" y="9818"/>
                  </a:lnTo>
                  <a:lnTo>
                    <a:pt x="18796" y="17041"/>
                  </a:lnTo>
                  <a:cubicBezTo>
                    <a:pt x="18796" y="17041"/>
                    <a:pt x="10800" y="20364"/>
                    <a:pt x="10800" y="20364"/>
                  </a:cubicBezTo>
                  <a:close/>
                  <a:moveTo>
                    <a:pt x="2776" y="2264"/>
                  </a:moveTo>
                  <a:cubicBezTo>
                    <a:pt x="3291" y="1541"/>
                    <a:pt x="6683" y="982"/>
                    <a:pt x="10800" y="982"/>
                  </a:cubicBezTo>
                  <a:cubicBezTo>
                    <a:pt x="14917" y="982"/>
                    <a:pt x="18308" y="1541"/>
                    <a:pt x="18825" y="2264"/>
                  </a:cubicBezTo>
                  <a:lnTo>
                    <a:pt x="10800" y="4765"/>
                  </a:lnTo>
                  <a:cubicBezTo>
                    <a:pt x="10800" y="4765"/>
                    <a:pt x="2776" y="2264"/>
                    <a:pt x="2776" y="2264"/>
                  </a:cubicBezTo>
                  <a:close/>
                  <a:moveTo>
                    <a:pt x="21551" y="17094"/>
                  </a:moveTo>
                  <a:lnTo>
                    <a:pt x="21578" y="17093"/>
                  </a:lnTo>
                  <a:lnTo>
                    <a:pt x="17575" y="9818"/>
                  </a:lnTo>
                  <a:lnTo>
                    <a:pt x="18900" y="9818"/>
                  </a:lnTo>
                  <a:cubicBezTo>
                    <a:pt x="19646" y="9818"/>
                    <a:pt x="20250" y="9599"/>
                    <a:pt x="20250" y="9327"/>
                  </a:cubicBezTo>
                  <a:cubicBezTo>
                    <a:pt x="20250" y="9056"/>
                    <a:pt x="19646" y="8836"/>
                    <a:pt x="18900" y="8836"/>
                  </a:cubicBezTo>
                  <a:lnTo>
                    <a:pt x="17036" y="8836"/>
                  </a:lnTo>
                  <a:lnTo>
                    <a:pt x="14828" y="4820"/>
                  </a:lnTo>
                  <a:lnTo>
                    <a:pt x="14801" y="4822"/>
                  </a:lnTo>
                  <a:cubicBezTo>
                    <a:pt x="14795" y="4812"/>
                    <a:pt x="14792" y="4803"/>
                    <a:pt x="14785" y="4793"/>
                  </a:cubicBezTo>
                  <a:lnTo>
                    <a:pt x="20920" y="2881"/>
                  </a:lnTo>
                  <a:lnTo>
                    <a:pt x="20909" y="2874"/>
                  </a:lnTo>
                  <a:cubicBezTo>
                    <a:pt x="21315" y="2789"/>
                    <a:pt x="21600" y="2637"/>
                    <a:pt x="21600" y="2455"/>
                  </a:cubicBezTo>
                  <a:cubicBezTo>
                    <a:pt x="21600" y="1099"/>
                    <a:pt x="16764" y="0"/>
                    <a:pt x="10800" y="0"/>
                  </a:cubicBezTo>
                  <a:cubicBezTo>
                    <a:pt x="4836" y="0"/>
                    <a:pt x="0" y="1099"/>
                    <a:pt x="0" y="2455"/>
                  </a:cubicBezTo>
                  <a:cubicBezTo>
                    <a:pt x="0" y="2637"/>
                    <a:pt x="285" y="2789"/>
                    <a:pt x="691" y="2874"/>
                  </a:cubicBezTo>
                  <a:lnTo>
                    <a:pt x="680" y="2881"/>
                  </a:lnTo>
                  <a:lnTo>
                    <a:pt x="6815" y="4793"/>
                  </a:lnTo>
                  <a:cubicBezTo>
                    <a:pt x="6808" y="4802"/>
                    <a:pt x="6805" y="4812"/>
                    <a:pt x="6799" y="4822"/>
                  </a:cubicBezTo>
                  <a:lnTo>
                    <a:pt x="6772" y="4820"/>
                  </a:lnTo>
                  <a:lnTo>
                    <a:pt x="22" y="17093"/>
                  </a:lnTo>
                  <a:lnTo>
                    <a:pt x="49" y="17094"/>
                  </a:lnTo>
                  <a:cubicBezTo>
                    <a:pt x="34" y="17123"/>
                    <a:pt x="0" y="17151"/>
                    <a:pt x="0" y="17182"/>
                  </a:cubicBezTo>
                  <a:cubicBezTo>
                    <a:pt x="0" y="17306"/>
                    <a:pt x="137" y="17416"/>
                    <a:pt x="345" y="17502"/>
                  </a:cubicBezTo>
                  <a:lnTo>
                    <a:pt x="335" y="17505"/>
                  </a:lnTo>
                  <a:lnTo>
                    <a:pt x="9785" y="21432"/>
                  </a:lnTo>
                  <a:lnTo>
                    <a:pt x="9795" y="21429"/>
                  </a:lnTo>
                  <a:cubicBezTo>
                    <a:pt x="10041" y="21532"/>
                    <a:pt x="10394" y="21600"/>
                    <a:pt x="10800" y="21600"/>
                  </a:cubicBezTo>
                  <a:cubicBezTo>
                    <a:pt x="11206" y="21600"/>
                    <a:pt x="11557" y="21532"/>
                    <a:pt x="11805" y="21429"/>
                  </a:cubicBezTo>
                  <a:lnTo>
                    <a:pt x="11815" y="21432"/>
                  </a:lnTo>
                  <a:lnTo>
                    <a:pt x="21265" y="17505"/>
                  </a:lnTo>
                  <a:lnTo>
                    <a:pt x="21255" y="17502"/>
                  </a:lnTo>
                  <a:cubicBezTo>
                    <a:pt x="21463" y="17416"/>
                    <a:pt x="21600" y="17306"/>
                    <a:pt x="21600" y="17182"/>
                  </a:cubicBezTo>
                  <a:cubicBezTo>
                    <a:pt x="21600" y="17151"/>
                    <a:pt x="21566" y="17123"/>
                    <a:pt x="21551" y="170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734">
              <a:extLst>
                <a:ext uri="{FF2B5EF4-FFF2-40B4-BE49-F238E27FC236}">
                  <a16:creationId xmlns:a16="http://schemas.microsoft.com/office/drawing/2014/main" id="{6BC4DCD5-86B9-4BC0-A455-55CAC1D669CE}"/>
                </a:ext>
              </a:extLst>
            </p:cNvPr>
            <p:cNvSpPr/>
            <p:nvPr/>
          </p:nvSpPr>
          <p:spPr bwMode="gray">
            <a:xfrm>
              <a:off x="3927820" y="5084193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09" y="9450"/>
                  </a:moveTo>
                  <a:lnTo>
                    <a:pt x="9140" y="9450"/>
                  </a:lnTo>
                  <a:lnTo>
                    <a:pt x="8293" y="7123"/>
                  </a:lnTo>
                  <a:lnTo>
                    <a:pt x="8289" y="7126"/>
                  </a:lnTo>
                  <a:cubicBezTo>
                    <a:pt x="8208" y="6906"/>
                    <a:pt x="8046" y="6750"/>
                    <a:pt x="7855" y="6750"/>
                  </a:cubicBezTo>
                  <a:cubicBezTo>
                    <a:pt x="7663" y="6750"/>
                    <a:pt x="7501" y="6906"/>
                    <a:pt x="7420" y="7126"/>
                  </a:cubicBezTo>
                  <a:lnTo>
                    <a:pt x="7415" y="7123"/>
                  </a:lnTo>
                  <a:lnTo>
                    <a:pt x="6569" y="9450"/>
                  </a:lnTo>
                  <a:lnTo>
                    <a:pt x="5400" y="9450"/>
                  </a:lnTo>
                  <a:cubicBezTo>
                    <a:pt x="5129" y="9450"/>
                    <a:pt x="4909" y="9752"/>
                    <a:pt x="4909" y="10125"/>
                  </a:cubicBezTo>
                  <a:cubicBezTo>
                    <a:pt x="4909" y="10571"/>
                    <a:pt x="5128" y="10687"/>
                    <a:pt x="5128" y="10687"/>
                  </a:cubicBezTo>
                  <a:lnTo>
                    <a:pt x="6405" y="11857"/>
                  </a:lnTo>
                  <a:lnTo>
                    <a:pt x="5914" y="14014"/>
                  </a:lnTo>
                  <a:cubicBezTo>
                    <a:pt x="5905" y="14067"/>
                    <a:pt x="5891" y="14118"/>
                    <a:pt x="5891" y="14175"/>
                  </a:cubicBezTo>
                  <a:cubicBezTo>
                    <a:pt x="5891" y="14548"/>
                    <a:pt x="6110" y="14850"/>
                    <a:pt x="6382" y="14850"/>
                  </a:cubicBezTo>
                  <a:cubicBezTo>
                    <a:pt x="6483" y="14850"/>
                    <a:pt x="6574" y="14801"/>
                    <a:pt x="6650" y="14727"/>
                  </a:cubicBezTo>
                  <a:lnTo>
                    <a:pt x="7855" y="13636"/>
                  </a:lnTo>
                  <a:lnTo>
                    <a:pt x="9055" y="14737"/>
                  </a:lnTo>
                  <a:cubicBezTo>
                    <a:pt x="9055" y="14737"/>
                    <a:pt x="9127" y="14850"/>
                    <a:pt x="9327" y="14850"/>
                  </a:cubicBezTo>
                  <a:cubicBezTo>
                    <a:pt x="9599" y="14850"/>
                    <a:pt x="9818" y="14548"/>
                    <a:pt x="9818" y="14175"/>
                  </a:cubicBezTo>
                  <a:cubicBezTo>
                    <a:pt x="9818" y="14117"/>
                    <a:pt x="9798" y="14070"/>
                    <a:pt x="9787" y="14017"/>
                  </a:cubicBezTo>
                  <a:lnTo>
                    <a:pt x="9304" y="11857"/>
                  </a:lnTo>
                  <a:lnTo>
                    <a:pt x="10581" y="10687"/>
                  </a:lnTo>
                  <a:cubicBezTo>
                    <a:pt x="10581" y="10687"/>
                    <a:pt x="10800" y="10571"/>
                    <a:pt x="10800" y="10125"/>
                  </a:cubicBezTo>
                  <a:cubicBezTo>
                    <a:pt x="10800" y="9752"/>
                    <a:pt x="10580" y="9450"/>
                    <a:pt x="10309" y="9450"/>
                  </a:cubicBezTo>
                  <a:moveTo>
                    <a:pt x="13255" y="11475"/>
                  </a:moveTo>
                  <a:lnTo>
                    <a:pt x="15218" y="11475"/>
                  </a:lnTo>
                  <a:cubicBezTo>
                    <a:pt x="15490" y="11475"/>
                    <a:pt x="15709" y="11173"/>
                    <a:pt x="15709" y="10800"/>
                  </a:cubicBezTo>
                  <a:cubicBezTo>
                    <a:pt x="15709" y="10427"/>
                    <a:pt x="15490" y="10125"/>
                    <a:pt x="15218" y="10125"/>
                  </a:cubicBezTo>
                  <a:lnTo>
                    <a:pt x="13255" y="10125"/>
                  </a:lnTo>
                  <a:cubicBezTo>
                    <a:pt x="12983" y="10125"/>
                    <a:pt x="12764" y="10427"/>
                    <a:pt x="12764" y="10800"/>
                  </a:cubicBezTo>
                  <a:cubicBezTo>
                    <a:pt x="12764" y="11173"/>
                    <a:pt x="12983" y="11475"/>
                    <a:pt x="13255" y="11475"/>
                  </a:cubicBezTo>
                  <a:moveTo>
                    <a:pt x="16200" y="12150"/>
                  </a:moveTo>
                  <a:lnTo>
                    <a:pt x="13255" y="12150"/>
                  </a:lnTo>
                  <a:cubicBezTo>
                    <a:pt x="12983" y="12150"/>
                    <a:pt x="12764" y="12452"/>
                    <a:pt x="12764" y="12825"/>
                  </a:cubicBezTo>
                  <a:cubicBezTo>
                    <a:pt x="12764" y="13198"/>
                    <a:pt x="12983" y="13500"/>
                    <a:pt x="13255" y="13500"/>
                  </a:cubicBezTo>
                  <a:lnTo>
                    <a:pt x="16200" y="13500"/>
                  </a:lnTo>
                  <a:cubicBezTo>
                    <a:pt x="16471" y="13500"/>
                    <a:pt x="16691" y="13198"/>
                    <a:pt x="16691" y="12825"/>
                  </a:cubicBezTo>
                  <a:cubicBezTo>
                    <a:pt x="16691" y="12452"/>
                    <a:pt x="16471" y="12150"/>
                    <a:pt x="16200" y="12150"/>
                  </a:cubicBezTo>
                  <a:moveTo>
                    <a:pt x="20618" y="14768"/>
                  </a:moveTo>
                  <a:lnTo>
                    <a:pt x="20618" y="17550"/>
                  </a:lnTo>
                  <a:lnTo>
                    <a:pt x="982" y="17550"/>
                  </a:lnTo>
                  <a:lnTo>
                    <a:pt x="982" y="14768"/>
                  </a:lnTo>
                  <a:cubicBezTo>
                    <a:pt x="2102" y="14393"/>
                    <a:pt x="2945" y="12759"/>
                    <a:pt x="2945" y="10800"/>
                  </a:cubicBezTo>
                  <a:cubicBezTo>
                    <a:pt x="2945" y="8841"/>
                    <a:pt x="2102" y="7207"/>
                    <a:pt x="982" y="6832"/>
                  </a:cubicBezTo>
                  <a:lnTo>
                    <a:pt x="982" y="4050"/>
                  </a:lnTo>
                  <a:lnTo>
                    <a:pt x="20618" y="4050"/>
                  </a:lnTo>
                  <a:lnTo>
                    <a:pt x="20618" y="6832"/>
                  </a:lnTo>
                  <a:cubicBezTo>
                    <a:pt x="19498" y="7207"/>
                    <a:pt x="18655" y="8841"/>
                    <a:pt x="18655" y="10800"/>
                  </a:cubicBezTo>
                  <a:cubicBezTo>
                    <a:pt x="18655" y="12759"/>
                    <a:pt x="19498" y="14393"/>
                    <a:pt x="20618" y="14768"/>
                  </a:cubicBezTo>
                  <a:moveTo>
                    <a:pt x="20618" y="20250"/>
                  </a:moveTo>
                  <a:lnTo>
                    <a:pt x="18655" y="20250"/>
                  </a:lnTo>
                  <a:lnTo>
                    <a:pt x="18655" y="18900"/>
                  </a:lnTo>
                  <a:lnTo>
                    <a:pt x="20618" y="18900"/>
                  </a:lnTo>
                  <a:cubicBezTo>
                    <a:pt x="20618" y="18900"/>
                    <a:pt x="20618" y="20250"/>
                    <a:pt x="20618" y="20250"/>
                  </a:cubicBezTo>
                  <a:close/>
                  <a:moveTo>
                    <a:pt x="17673" y="20250"/>
                  </a:moveTo>
                  <a:lnTo>
                    <a:pt x="982" y="20250"/>
                  </a:lnTo>
                  <a:lnTo>
                    <a:pt x="982" y="18900"/>
                  </a:lnTo>
                  <a:lnTo>
                    <a:pt x="17673" y="18900"/>
                  </a:lnTo>
                  <a:cubicBezTo>
                    <a:pt x="17673" y="18900"/>
                    <a:pt x="17673" y="20250"/>
                    <a:pt x="17673" y="20250"/>
                  </a:cubicBezTo>
                  <a:close/>
                  <a:moveTo>
                    <a:pt x="982" y="1350"/>
                  </a:moveTo>
                  <a:lnTo>
                    <a:pt x="17673" y="1350"/>
                  </a:lnTo>
                  <a:lnTo>
                    <a:pt x="17673" y="2700"/>
                  </a:lnTo>
                  <a:lnTo>
                    <a:pt x="982" y="2700"/>
                  </a:lnTo>
                  <a:cubicBezTo>
                    <a:pt x="982" y="2700"/>
                    <a:pt x="982" y="1350"/>
                    <a:pt x="982" y="1350"/>
                  </a:cubicBezTo>
                  <a:close/>
                  <a:moveTo>
                    <a:pt x="18655" y="1350"/>
                  </a:moveTo>
                  <a:lnTo>
                    <a:pt x="20618" y="1350"/>
                  </a:lnTo>
                  <a:lnTo>
                    <a:pt x="20618" y="2700"/>
                  </a:lnTo>
                  <a:lnTo>
                    <a:pt x="18655" y="2700"/>
                  </a:lnTo>
                  <a:cubicBezTo>
                    <a:pt x="18655" y="2700"/>
                    <a:pt x="18655" y="1350"/>
                    <a:pt x="18655" y="1350"/>
                  </a:cubicBezTo>
                  <a:close/>
                  <a:moveTo>
                    <a:pt x="21109" y="8100"/>
                  </a:moveTo>
                  <a:cubicBezTo>
                    <a:pt x="21380" y="8100"/>
                    <a:pt x="21600" y="7798"/>
                    <a:pt x="21600" y="7425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lnTo>
                    <a:pt x="982" y="0"/>
                  </a:lnTo>
                  <a:cubicBezTo>
                    <a:pt x="439" y="0"/>
                    <a:pt x="0" y="605"/>
                    <a:pt x="0" y="1350"/>
                  </a:cubicBezTo>
                  <a:lnTo>
                    <a:pt x="0" y="7425"/>
                  </a:lnTo>
                  <a:cubicBezTo>
                    <a:pt x="0" y="7798"/>
                    <a:pt x="220" y="8100"/>
                    <a:pt x="491" y="8100"/>
                  </a:cubicBezTo>
                  <a:cubicBezTo>
                    <a:pt x="1304" y="8100"/>
                    <a:pt x="1964" y="9309"/>
                    <a:pt x="1964" y="10800"/>
                  </a:cubicBezTo>
                  <a:cubicBezTo>
                    <a:pt x="1964" y="12291"/>
                    <a:pt x="1304" y="13500"/>
                    <a:pt x="491" y="13500"/>
                  </a:cubicBezTo>
                  <a:cubicBezTo>
                    <a:pt x="220" y="13500"/>
                    <a:pt x="0" y="13802"/>
                    <a:pt x="0" y="14175"/>
                  </a:cubicBezTo>
                  <a:lnTo>
                    <a:pt x="0" y="20250"/>
                  </a:lnTo>
                  <a:cubicBezTo>
                    <a:pt x="0" y="20995"/>
                    <a:pt x="439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0995"/>
                    <a:pt x="21600" y="20250"/>
                  </a:cubicBezTo>
                  <a:lnTo>
                    <a:pt x="21600" y="14175"/>
                  </a:lnTo>
                  <a:cubicBezTo>
                    <a:pt x="21600" y="13802"/>
                    <a:pt x="21380" y="13500"/>
                    <a:pt x="21109" y="13500"/>
                  </a:cubicBezTo>
                  <a:cubicBezTo>
                    <a:pt x="20296" y="13500"/>
                    <a:pt x="19636" y="12291"/>
                    <a:pt x="19636" y="10800"/>
                  </a:cubicBezTo>
                  <a:cubicBezTo>
                    <a:pt x="19636" y="9309"/>
                    <a:pt x="20296" y="8100"/>
                    <a:pt x="21109" y="8100"/>
                  </a:cubicBezTo>
                  <a:moveTo>
                    <a:pt x="16200" y="8100"/>
                  </a:moveTo>
                  <a:lnTo>
                    <a:pt x="13255" y="8100"/>
                  </a:lnTo>
                  <a:cubicBezTo>
                    <a:pt x="12983" y="8100"/>
                    <a:pt x="12764" y="8402"/>
                    <a:pt x="12764" y="8775"/>
                  </a:cubicBezTo>
                  <a:cubicBezTo>
                    <a:pt x="12764" y="9148"/>
                    <a:pt x="12983" y="9450"/>
                    <a:pt x="13255" y="9450"/>
                  </a:cubicBezTo>
                  <a:lnTo>
                    <a:pt x="16200" y="9450"/>
                  </a:lnTo>
                  <a:cubicBezTo>
                    <a:pt x="16471" y="9450"/>
                    <a:pt x="16691" y="9148"/>
                    <a:pt x="16691" y="8775"/>
                  </a:cubicBezTo>
                  <a:cubicBezTo>
                    <a:pt x="16691" y="8402"/>
                    <a:pt x="16471" y="8100"/>
                    <a:pt x="16200" y="81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735">
              <a:extLst>
                <a:ext uri="{FF2B5EF4-FFF2-40B4-BE49-F238E27FC236}">
                  <a16:creationId xmlns:a16="http://schemas.microsoft.com/office/drawing/2014/main" id="{D89D0D18-68DE-4404-80CB-2E8AFC3BDE99}"/>
                </a:ext>
              </a:extLst>
            </p:cNvPr>
            <p:cNvSpPr/>
            <p:nvPr/>
          </p:nvSpPr>
          <p:spPr bwMode="gray">
            <a:xfrm>
              <a:off x="4479533" y="50710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2000"/>
                  </a:moveTo>
                  <a:lnTo>
                    <a:pt x="13255" y="12000"/>
                  </a:lnTo>
                  <a:cubicBezTo>
                    <a:pt x="13526" y="12000"/>
                    <a:pt x="13745" y="11732"/>
                    <a:pt x="13745" y="11400"/>
                  </a:cubicBezTo>
                  <a:cubicBezTo>
                    <a:pt x="13745" y="11068"/>
                    <a:pt x="13526" y="10800"/>
                    <a:pt x="13255" y="10800"/>
                  </a:cubicBezTo>
                  <a:lnTo>
                    <a:pt x="11291" y="10800"/>
                  </a:lnTo>
                  <a:cubicBezTo>
                    <a:pt x="11020" y="10800"/>
                    <a:pt x="10800" y="11068"/>
                    <a:pt x="10800" y="11400"/>
                  </a:cubicBezTo>
                  <a:cubicBezTo>
                    <a:pt x="10800" y="11732"/>
                    <a:pt x="11020" y="12000"/>
                    <a:pt x="11291" y="12000"/>
                  </a:cubicBezTo>
                  <a:moveTo>
                    <a:pt x="11291" y="13800"/>
                  </a:moveTo>
                  <a:lnTo>
                    <a:pt x="12273" y="13800"/>
                  </a:lnTo>
                  <a:cubicBezTo>
                    <a:pt x="12544" y="13800"/>
                    <a:pt x="12764" y="13532"/>
                    <a:pt x="12764" y="13200"/>
                  </a:cubicBezTo>
                  <a:cubicBezTo>
                    <a:pt x="12764" y="12868"/>
                    <a:pt x="12544" y="12600"/>
                    <a:pt x="12273" y="12600"/>
                  </a:cubicBezTo>
                  <a:lnTo>
                    <a:pt x="11291" y="12600"/>
                  </a:lnTo>
                  <a:cubicBezTo>
                    <a:pt x="11020" y="12600"/>
                    <a:pt x="10800" y="12868"/>
                    <a:pt x="10800" y="13200"/>
                  </a:cubicBezTo>
                  <a:cubicBezTo>
                    <a:pt x="10800" y="13532"/>
                    <a:pt x="11020" y="13800"/>
                    <a:pt x="11291" y="13800"/>
                  </a:cubicBezTo>
                  <a:moveTo>
                    <a:pt x="11291" y="15600"/>
                  </a:moveTo>
                  <a:lnTo>
                    <a:pt x="13255" y="15600"/>
                  </a:lnTo>
                  <a:cubicBezTo>
                    <a:pt x="13526" y="15600"/>
                    <a:pt x="13745" y="15332"/>
                    <a:pt x="13745" y="15000"/>
                  </a:cubicBezTo>
                  <a:cubicBezTo>
                    <a:pt x="13745" y="14668"/>
                    <a:pt x="13526" y="14400"/>
                    <a:pt x="13255" y="14400"/>
                  </a:cubicBezTo>
                  <a:lnTo>
                    <a:pt x="11291" y="14400"/>
                  </a:lnTo>
                  <a:cubicBezTo>
                    <a:pt x="11020" y="14400"/>
                    <a:pt x="10800" y="14668"/>
                    <a:pt x="10800" y="15000"/>
                  </a:cubicBezTo>
                  <a:cubicBezTo>
                    <a:pt x="10800" y="15332"/>
                    <a:pt x="11020" y="15600"/>
                    <a:pt x="11291" y="15600"/>
                  </a:cubicBezTo>
                  <a:moveTo>
                    <a:pt x="20618" y="0"/>
                  </a:moveTo>
                  <a:lnTo>
                    <a:pt x="3927" y="0"/>
                  </a:lnTo>
                  <a:cubicBezTo>
                    <a:pt x="3385" y="0"/>
                    <a:pt x="2945" y="538"/>
                    <a:pt x="2945" y="1200"/>
                  </a:cubicBezTo>
                  <a:lnTo>
                    <a:pt x="2945" y="3000"/>
                  </a:lnTo>
                  <a:cubicBezTo>
                    <a:pt x="2945" y="3332"/>
                    <a:pt x="3165" y="3600"/>
                    <a:pt x="3436" y="3600"/>
                  </a:cubicBezTo>
                  <a:cubicBezTo>
                    <a:pt x="3708" y="3600"/>
                    <a:pt x="3927" y="3332"/>
                    <a:pt x="3927" y="3000"/>
                  </a:cubicBezTo>
                  <a:lnTo>
                    <a:pt x="3927" y="1200"/>
                  </a:lnTo>
                  <a:lnTo>
                    <a:pt x="20618" y="1200"/>
                  </a:lnTo>
                  <a:lnTo>
                    <a:pt x="20618" y="15600"/>
                  </a:lnTo>
                  <a:lnTo>
                    <a:pt x="20127" y="15600"/>
                  </a:lnTo>
                  <a:cubicBezTo>
                    <a:pt x="19856" y="15600"/>
                    <a:pt x="19636" y="15868"/>
                    <a:pt x="19636" y="16200"/>
                  </a:cubicBezTo>
                  <a:cubicBezTo>
                    <a:pt x="19636" y="16532"/>
                    <a:pt x="19856" y="16800"/>
                    <a:pt x="20127" y="16800"/>
                  </a:cubicBezTo>
                  <a:lnTo>
                    <a:pt x="20618" y="16800"/>
                  </a:lnTo>
                  <a:cubicBezTo>
                    <a:pt x="21160" y="16800"/>
                    <a:pt x="21600" y="16263"/>
                    <a:pt x="21600" y="15600"/>
                  </a:cubicBezTo>
                  <a:lnTo>
                    <a:pt x="21600" y="1200"/>
                  </a:lnTo>
                  <a:cubicBezTo>
                    <a:pt x="21600" y="538"/>
                    <a:pt x="21160" y="0"/>
                    <a:pt x="20618" y="0"/>
                  </a:cubicBezTo>
                  <a:moveTo>
                    <a:pt x="5091" y="13116"/>
                  </a:moveTo>
                  <a:lnTo>
                    <a:pt x="6156" y="13983"/>
                  </a:lnTo>
                  <a:lnTo>
                    <a:pt x="5747" y="15581"/>
                  </a:lnTo>
                  <a:cubicBezTo>
                    <a:pt x="5738" y="15620"/>
                    <a:pt x="5727" y="15657"/>
                    <a:pt x="5727" y="15700"/>
                  </a:cubicBezTo>
                  <a:cubicBezTo>
                    <a:pt x="5727" y="15976"/>
                    <a:pt x="5911" y="16200"/>
                    <a:pt x="6136" y="16200"/>
                  </a:cubicBezTo>
                  <a:cubicBezTo>
                    <a:pt x="6221" y="16200"/>
                    <a:pt x="6296" y="16164"/>
                    <a:pt x="6360" y="16110"/>
                  </a:cubicBezTo>
                  <a:lnTo>
                    <a:pt x="7364" y="15301"/>
                  </a:lnTo>
                  <a:lnTo>
                    <a:pt x="8364" y="16116"/>
                  </a:lnTo>
                  <a:cubicBezTo>
                    <a:pt x="8364" y="16116"/>
                    <a:pt x="8424" y="16200"/>
                    <a:pt x="8591" y="16200"/>
                  </a:cubicBezTo>
                  <a:cubicBezTo>
                    <a:pt x="8817" y="16200"/>
                    <a:pt x="9000" y="15976"/>
                    <a:pt x="9000" y="15700"/>
                  </a:cubicBezTo>
                  <a:cubicBezTo>
                    <a:pt x="9000" y="15657"/>
                    <a:pt x="8983" y="15622"/>
                    <a:pt x="8974" y="15583"/>
                  </a:cubicBezTo>
                  <a:lnTo>
                    <a:pt x="8572" y="13983"/>
                  </a:lnTo>
                  <a:lnTo>
                    <a:pt x="9636" y="13116"/>
                  </a:lnTo>
                  <a:cubicBezTo>
                    <a:pt x="9636" y="13116"/>
                    <a:pt x="9818" y="13030"/>
                    <a:pt x="9818" y="12700"/>
                  </a:cubicBezTo>
                  <a:cubicBezTo>
                    <a:pt x="9818" y="12424"/>
                    <a:pt x="9635" y="12200"/>
                    <a:pt x="9409" y="12200"/>
                  </a:cubicBezTo>
                  <a:lnTo>
                    <a:pt x="8435" y="12200"/>
                  </a:lnTo>
                  <a:lnTo>
                    <a:pt x="7730" y="10477"/>
                  </a:lnTo>
                  <a:lnTo>
                    <a:pt x="7726" y="10479"/>
                  </a:lnTo>
                  <a:cubicBezTo>
                    <a:pt x="7658" y="10315"/>
                    <a:pt x="7524" y="10200"/>
                    <a:pt x="7364" y="10200"/>
                  </a:cubicBezTo>
                  <a:cubicBezTo>
                    <a:pt x="7204" y="10200"/>
                    <a:pt x="7069" y="10315"/>
                    <a:pt x="7001" y="10479"/>
                  </a:cubicBezTo>
                  <a:lnTo>
                    <a:pt x="6998" y="10477"/>
                  </a:lnTo>
                  <a:lnTo>
                    <a:pt x="6293" y="12200"/>
                  </a:lnTo>
                  <a:lnTo>
                    <a:pt x="5319" y="12200"/>
                  </a:lnTo>
                  <a:cubicBezTo>
                    <a:pt x="5092" y="12200"/>
                    <a:pt x="4909" y="12424"/>
                    <a:pt x="4909" y="12700"/>
                  </a:cubicBezTo>
                  <a:cubicBezTo>
                    <a:pt x="4909" y="13030"/>
                    <a:pt x="5091" y="13116"/>
                    <a:pt x="5091" y="13116"/>
                  </a:cubicBezTo>
                  <a:moveTo>
                    <a:pt x="17673" y="7200"/>
                  </a:moveTo>
                  <a:lnTo>
                    <a:pt x="16691" y="7200"/>
                  </a:lnTo>
                  <a:lnTo>
                    <a:pt x="16691" y="6000"/>
                  </a:lnTo>
                  <a:lnTo>
                    <a:pt x="17673" y="6000"/>
                  </a:lnTo>
                  <a:cubicBezTo>
                    <a:pt x="17673" y="6000"/>
                    <a:pt x="17673" y="7200"/>
                    <a:pt x="17673" y="7200"/>
                  </a:cubicBezTo>
                  <a:close/>
                  <a:moveTo>
                    <a:pt x="17673" y="10947"/>
                  </a:moveTo>
                  <a:cubicBezTo>
                    <a:pt x="17102" y="11278"/>
                    <a:pt x="16691" y="12157"/>
                    <a:pt x="16691" y="13200"/>
                  </a:cubicBezTo>
                  <a:cubicBezTo>
                    <a:pt x="16691" y="14244"/>
                    <a:pt x="17102" y="15122"/>
                    <a:pt x="17673" y="15453"/>
                  </a:cubicBezTo>
                  <a:lnTo>
                    <a:pt x="17673" y="18000"/>
                  </a:lnTo>
                  <a:lnTo>
                    <a:pt x="982" y="18000"/>
                  </a:lnTo>
                  <a:lnTo>
                    <a:pt x="982" y="15453"/>
                  </a:lnTo>
                  <a:cubicBezTo>
                    <a:pt x="1552" y="15122"/>
                    <a:pt x="1964" y="14244"/>
                    <a:pt x="1964" y="13200"/>
                  </a:cubicBezTo>
                  <a:cubicBezTo>
                    <a:pt x="1964" y="12157"/>
                    <a:pt x="1552" y="11278"/>
                    <a:pt x="982" y="10947"/>
                  </a:cubicBezTo>
                  <a:lnTo>
                    <a:pt x="982" y="8400"/>
                  </a:lnTo>
                  <a:lnTo>
                    <a:pt x="17673" y="8400"/>
                  </a:lnTo>
                  <a:cubicBezTo>
                    <a:pt x="17673" y="8400"/>
                    <a:pt x="17673" y="10947"/>
                    <a:pt x="17673" y="10947"/>
                  </a:cubicBezTo>
                  <a:close/>
                  <a:moveTo>
                    <a:pt x="17673" y="20400"/>
                  </a:moveTo>
                  <a:lnTo>
                    <a:pt x="16691" y="20400"/>
                  </a:lnTo>
                  <a:lnTo>
                    <a:pt x="16691" y="19200"/>
                  </a:lnTo>
                  <a:lnTo>
                    <a:pt x="17673" y="19200"/>
                  </a:lnTo>
                  <a:cubicBezTo>
                    <a:pt x="17673" y="19200"/>
                    <a:pt x="17673" y="20400"/>
                    <a:pt x="17673" y="20400"/>
                  </a:cubicBezTo>
                  <a:close/>
                  <a:moveTo>
                    <a:pt x="15709" y="20400"/>
                  </a:moveTo>
                  <a:lnTo>
                    <a:pt x="982" y="20400"/>
                  </a:lnTo>
                  <a:lnTo>
                    <a:pt x="982" y="19200"/>
                  </a:lnTo>
                  <a:lnTo>
                    <a:pt x="15709" y="19200"/>
                  </a:lnTo>
                  <a:cubicBezTo>
                    <a:pt x="15709" y="19200"/>
                    <a:pt x="15709" y="20400"/>
                    <a:pt x="15709" y="20400"/>
                  </a:cubicBezTo>
                  <a:close/>
                  <a:moveTo>
                    <a:pt x="982" y="6000"/>
                  </a:moveTo>
                  <a:lnTo>
                    <a:pt x="15709" y="6000"/>
                  </a:lnTo>
                  <a:lnTo>
                    <a:pt x="15709" y="7200"/>
                  </a:lnTo>
                  <a:lnTo>
                    <a:pt x="982" y="7200"/>
                  </a:lnTo>
                  <a:cubicBezTo>
                    <a:pt x="982" y="7200"/>
                    <a:pt x="982" y="6000"/>
                    <a:pt x="982" y="6000"/>
                  </a:cubicBezTo>
                  <a:close/>
                  <a:moveTo>
                    <a:pt x="17673" y="4800"/>
                  </a:moveTo>
                  <a:lnTo>
                    <a:pt x="982" y="4800"/>
                  </a:lnTo>
                  <a:cubicBezTo>
                    <a:pt x="439" y="4800"/>
                    <a:pt x="0" y="5338"/>
                    <a:pt x="0" y="6000"/>
                  </a:cubicBezTo>
                  <a:lnTo>
                    <a:pt x="0" y="11400"/>
                  </a:lnTo>
                  <a:cubicBezTo>
                    <a:pt x="0" y="11732"/>
                    <a:pt x="220" y="12000"/>
                    <a:pt x="491" y="12000"/>
                  </a:cubicBezTo>
                  <a:cubicBezTo>
                    <a:pt x="762" y="12000"/>
                    <a:pt x="982" y="12538"/>
                    <a:pt x="982" y="13200"/>
                  </a:cubicBezTo>
                  <a:cubicBezTo>
                    <a:pt x="982" y="13862"/>
                    <a:pt x="762" y="14400"/>
                    <a:pt x="491" y="14400"/>
                  </a:cubicBezTo>
                  <a:cubicBezTo>
                    <a:pt x="220" y="14400"/>
                    <a:pt x="0" y="14668"/>
                    <a:pt x="0" y="15000"/>
                  </a:cubicBezTo>
                  <a:lnTo>
                    <a:pt x="0" y="20400"/>
                  </a:lnTo>
                  <a:cubicBezTo>
                    <a:pt x="0" y="21063"/>
                    <a:pt x="439" y="21600"/>
                    <a:pt x="982" y="21600"/>
                  </a:cubicBezTo>
                  <a:lnTo>
                    <a:pt x="17673" y="21600"/>
                  </a:lnTo>
                  <a:cubicBezTo>
                    <a:pt x="18214" y="21600"/>
                    <a:pt x="18655" y="21063"/>
                    <a:pt x="18655" y="20400"/>
                  </a:cubicBezTo>
                  <a:lnTo>
                    <a:pt x="18655" y="15000"/>
                  </a:lnTo>
                  <a:cubicBezTo>
                    <a:pt x="18655" y="14668"/>
                    <a:pt x="18435" y="14400"/>
                    <a:pt x="18164" y="14400"/>
                  </a:cubicBezTo>
                  <a:cubicBezTo>
                    <a:pt x="17892" y="14400"/>
                    <a:pt x="17673" y="13862"/>
                    <a:pt x="17673" y="13200"/>
                  </a:cubicBezTo>
                  <a:cubicBezTo>
                    <a:pt x="17673" y="12538"/>
                    <a:pt x="17892" y="12000"/>
                    <a:pt x="18164" y="12000"/>
                  </a:cubicBezTo>
                  <a:cubicBezTo>
                    <a:pt x="18435" y="12000"/>
                    <a:pt x="18655" y="11732"/>
                    <a:pt x="18655" y="11400"/>
                  </a:cubicBezTo>
                  <a:lnTo>
                    <a:pt x="18655" y="6000"/>
                  </a:lnTo>
                  <a:cubicBezTo>
                    <a:pt x="18655" y="5338"/>
                    <a:pt x="18214" y="4800"/>
                    <a:pt x="17673" y="4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736">
              <a:extLst>
                <a:ext uri="{FF2B5EF4-FFF2-40B4-BE49-F238E27FC236}">
                  <a16:creationId xmlns:a16="http://schemas.microsoft.com/office/drawing/2014/main" id="{698B28A4-EB78-470D-8B45-E11FA2E9D1F5}"/>
                </a:ext>
              </a:extLst>
            </p:cNvPr>
            <p:cNvSpPr/>
            <p:nvPr/>
          </p:nvSpPr>
          <p:spPr bwMode="gray">
            <a:xfrm>
              <a:off x="5031247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737">
              <a:extLst>
                <a:ext uri="{FF2B5EF4-FFF2-40B4-BE49-F238E27FC236}">
                  <a16:creationId xmlns:a16="http://schemas.microsoft.com/office/drawing/2014/main" id="{179382F9-F20D-4066-9340-79738B80EA3E}"/>
                </a:ext>
              </a:extLst>
            </p:cNvPr>
            <p:cNvSpPr/>
            <p:nvPr/>
          </p:nvSpPr>
          <p:spPr bwMode="gray">
            <a:xfrm>
              <a:off x="5582960" y="50447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738">
              <a:extLst>
                <a:ext uri="{FF2B5EF4-FFF2-40B4-BE49-F238E27FC236}">
                  <a16:creationId xmlns:a16="http://schemas.microsoft.com/office/drawing/2014/main" id="{063CAE6B-95B2-4992-818F-F777053CFACB}"/>
                </a:ext>
              </a:extLst>
            </p:cNvPr>
            <p:cNvSpPr/>
            <p:nvPr/>
          </p:nvSpPr>
          <p:spPr bwMode="gray">
            <a:xfrm>
              <a:off x="617538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739">
              <a:extLst>
                <a:ext uri="{FF2B5EF4-FFF2-40B4-BE49-F238E27FC236}">
                  <a16:creationId xmlns:a16="http://schemas.microsoft.com/office/drawing/2014/main" id="{0A2E2D51-FF17-4059-A5E9-0573024BFA26}"/>
                </a:ext>
              </a:extLst>
            </p:cNvPr>
            <p:cNvSpPr/>
            <p:nvPr/>
          </p:nvSpPr>
          <p:spPr bwMode="gray">
            <a:xfrm>
              <a:off x="116925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740">
              <a:extLst>
                <a:ext uri="{FF2B5EF4-FFF2-40B4-BE49-F238E27FC236}">
                  <a16:creationId xmlns:a16="http://schemas.microsoft.com/office/drawing/2014/main" id="{56EEECAA-7732-4191-A105-EBF2DBD262DC}"/>
                </a:ext>
              </a:extLst>
            </p:cNvPr>
            <p:cNvSpPr/>
            <p:nvPr/>
          </p:nvSpPr>
          <p:spPr bwMode="gray">
            <a:xfrm>
              <a:off x="1720965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945"/>
                  </a:moveTo>
                  <a:lnTo>
                    <a:pt x="18655" y="2945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2945"/>
                    <a:pt x="12273" y="2945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2945"/>
                  </a:moveTo>
                  <a:lnTo>
                    <a:pt x="9327" y="2945"/>
                  </a:lnTo>
                  <a:lnTo>
                    <a:pt x="9327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0309" y="10309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741">
              <a:extLst>
                <a:ext uri="{FF2B5EF4-FFF2-40B4-BE49-F238E27FC236}">
                  <a16:creationId xmlns:a16="http://schemas.microsoft.com/office/drawing/2014/main" id="{8F2560D4-E242-418E-9CFF-06D7D235B6B9}"/>
                </a:ext>
              </a:extLst>
            </p:cNvPr>
            <p:cNvSpPr/>
            <p:nvPr/>
          </p:nvSpPr>
          <p:spPr bwMode="gray">
            <a:xfrm>
              <a:off x="2272679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9327" y="9327"/>
                  </a:moveTo>
                  <a:lnTo>
                    <a:pt x="2945" y="9327"/>
                  </a:lnTo>
                  <a:lnTo>
                    <a:pt x="2945" y="2945"/>
                  </a:lnTo>
                  <a:lnTo>
                    <a:pt x="9327" y="2945"/>
                  </a:lnTo>
                  <a:cubicBezTo>
                    <a:pt x="9327" y="2945"/>
                    <a:pt x="9327" y="9327"/>
                    <a:pt x="9327" y="9327"/>
                  </a:cubicBezTo>
                  <a:close/>
                  <a:moveTo>
                    <a:pt x="10309" y="1964"/>
                  </a:moveTo>
                  <a:lnTo>
                    <a:pt x="1964" y="1964"/>
                  </a:lnTo>
                  <a:lnTo>
                    <a:pt x="1964" y="10309"/>
                  </a:lnTo>
                  <a:lnTo>
                    <a:pt x="10309" y="10309"/>
                  </a:lnTo>
                  <a:cubicBezTo>
                    <a:pt x="10309" y="10309"/>
                    <a:pt x="10309" y="1964"/>
                    <a:pt x="10309" y="196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742">
              <a:extLst>
                <a:ext uri="{FF2B5EF4-FFF2-40B4-BE49-F238E27FC236}">
                  <a16:creationId xmlns:a16="http://schemas.microsoft.com/office/drawing/2014/main" id="{BC91DBAD-D7B0-4EE5-8F27-9DF3819851B8}"/>
                </a:ext>
              </a:extLst>
            </p:cNvPr>
            <p:cNvSpPr/>
            <p:nvPr/>
          </p:nvSpPr>
          <p:spPr bwMode="gray">
            <a:xfrm>
              <a:off x="2824392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12273" y="9327"/>
                  </a:lnTo>
                  <a:cubicBezTo>
                    <a:pt x="12273" y="9327"/>
                    <a:pt x="12273" y="2945"/>
                    <a:pt x="12273" y="2945"/>
                  </a:cubicBezTo>
                  <a:close/>
                  <a:moveTo>
                    <a:pt x="11291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1291" y="1964"/>
                  </a:lnTo>
                  <a:cubicBezTo>
                    <a:pt x="11291" y="1964"/>
                    <a:pt x="11291" y="10309"/>
                    <a:pt x="11291" y="10309"/>
                  </a:cubicBezTo>
                  <a:close/>
                  <a:moveTo>
                    <a:pt x="2945" y="2945"/>
                  </a:moveTo>
                  <a:lnTo>
                    <a:pt x="9327" y="2945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2945"/>
                    <a:pt x="2945" y="2945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964"/>
                  </a:lnTo>
                  <a:lnTo>
                    <a:pt x="1964" y="1964"/>
                  </a:lnTo>
                  <a:cubicBezTo>
                    <a:pt x="1964" y="1964"/>
                    <a:pt x="1964" y="19636"/>
                    <a:pt x="1964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743">
              <a:extLst>
                <a:ext uri="{FF2B5EF4-FFF2-40B4-BE49-F238E27FC236}">
                  <a16:creationId xmlns:a16="http://schemas.microsoft.com/office/drawing/2014/main" id="{C3E1BE71-6D85-4FF2-9114-112B4F03E4A6}"/>
                </a:ext>
              </a:extLst>
            </p:cNvPr>
            <p:cNvSpPr/>
            <p:nvPr/>
          </p:nvSpPr>
          <p:spPr bwMode="gray">
            <a:xfrm>
              <a:off x="3376106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12273"/>
                  </a:moveTo>
                  <a:lnTo>
                    <a:pt x="18655" y="12273"/>
                  </a:lnTo>
                  <a:lnTo>
                    <a:pt x="18655" y="18655"/>
                  </a:lnTo>
                  <a:lnTo>
                    <a:pt x="12273" y="18655"/>
                  </a:lnTo>
                  <a:cubicBezTo>
                    <a:pt x="12273" y="18655"/>
                    <a:pt x="12273" y="12273"/>
                    <a:pt x="12273" y="12273"/>
                  </a:cubicBezTo>
                  <a:close/>
                  <a:moveTo>
                    <a:pt x="11291" y="19636"/>
                  </a:moveTo>
                  <a:lnTo>
                    <a:pt x="19636" y="19636"/>
                  </a:lnTo>
                  <a:lnTo>
                    <a:pt x="19636" y="11291"/>
                  </a:lnTo>
                  <a:lnTo>
                    <a:pt x="11291" y="11291"/>
                  </a:lnTo>
                  <a:cubicBezTo>
                    <a:pt x="11291" y="11291"/>
                    <a:pt x="11291" y="19636"/>
                    <a:pt x="11291" y="19636"/>
                  </a:cubicBezTo>
                  <a:close/>
                  <a:moveTo>
                    <a:pt x="2945" y="2945"/>
                  </a:moveTo>
                  <a:lnTo>
                    <a:pt x="18655" y="2945"/>
                  </a:lnTo>
                  <a:lnTo>
                    <a:pt x="18655" y="9327"/>
                  </a:lnTo>
                  <a:lnTo>
                    <a:pt x="2945" y="9327"/>
                  </a:lnTo>
                  <a:cubicBezTo>
                    <a:pt x="2945" y="9327"/>
                    <a:pt x="2945" y="2945"/>
                    <a:pt x="2945" y="2945"/>
                  </a:cubicBezTo>
                  <a:close/>
                  <a:moveTo>
                    <a:pt x="1964" y="10309"/>
                  </a:moveTo>
                  <a:lnTo>
                    <a:pt x="19636" y="10309"/>
                  </a:lnTo>
                  <a:lnTo>
                    <a:pt x="19636" y="1964"/>
                  </a:lnTo>
                  <a:lnTo>
                    <a:pt x="1964" y="1964"/>
                  </a:lnTo>
                  <a:cubicBezTo>
                    <a:pt x="1964" y="1964"/>
                    <a:pt x="1964" y="10309"/>
                    <a:pt x="1964" y="10309"/>
                  </a:cubicBezTo>
                  <a:close/>
                  <a:moveTo>
                    <a:pt x="2945" y="12273"/>
                  </a:moveTo>
                  <a:lnTo>
                    <a:pt x="9327" y="12273"/>
                  </a:lnTo>
                  <a:lnTo>
                    <a:pt x="9327" y="18655"/>
                  </a:lnTo>
                  <a:lnTo>
                    <a:pt x="2945" y="18655"/>
                  </a:lnTo>
                  <a:cubicBezTo>
                    <a:pt x="2945" y="18655"/>
                    <a:pt x="2945" y="12273"/>
                    <a:pt x="2945" y="12273"/>
                  </a:cubicBezTo>
                  <a:close/>
                  <a:moveTo>
                    <a:pt x="1964" y="19636"/>
                  </a:moveTo>
                  <a:lnTo>
                    <a:pt x="10309" y="19636"/>
                  </a:lnTo>
                  <a:lnTo>
                    <a:pt x="10309" y="11291"/>
                  </a:lnTo>
                  <a:lnTo>
                    <a:pt x="1964" y="11291"/>
                  </a:lnTo>
                  <a:cubicBezTo>
                    <a:pt x="1964" y="11291"/>
                    <a:pt x="1964" y="19636"/>
                    <a:pt x="1964" y="19636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744">
              <a:extLst>
                <a:ext uri="{FF2B5EF4-FFF2-40B4-BE49-F238E27FC236}">
                  <a16:creationId xmlns:a16="http://schemas.microsoft.com/office/drawing/2014/main" id="{80CADE8A-799F-4210-9541-A5F5738C58B9}"/>
                </a:ext>
              </a:extLst>
            </p:cNvPr>
            <p:cNvSpPr/>
            <p:nvPr/>
          </p:nvSpPr>
          <p:spPr bwMode="gray">
            <a:xfrm>
              <a:off x="392782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27" y="9327"/>
                  </a:moveTo>
                  <a:lnTo>
                    <a:pt x="12273" y="9327"/>
                  </a:lnTo>
                  <a:lnTo>
                    <a:pt x="12273" y="12273"/>
                  </a:lnTo>
                  <a:lnTo>
                    <a:pt x="9327" y="12273"/>
                  </a:lnTo>
                  <a:cubicBezTo>
                    <a:pt x="9327" y="12273"/>
                    <a:pt x="9327" y="9327"/>
                    <a:pt x="9327" y="9327"/>
                  </a:cubicBezTo>
                  <a:close/>
                  <a:moveTo>
                    <a:pt x="8345" y="13255"/>
                  </a:moveTo>
                  <a:lnTo>
                    <a:pt x="13255" y="13255"/>
                  </a:lnTo>
                  <a:lnTo>
                    <a:pt x="13255" y="8345"/>
                  </a:lnTo>
                  <a:lnTo>
                    <a:pt x="8345" y="8345"/>
                  </a:lnTo>
                  <a:cubicBezTo>
                    <a:pt x="8345" y="8345"/>
                    <a:pt x="8345" y="13255"/>
                    <a:pt x="8345" y="13255"/>
                  </a:cubicBezTo>
                  <a:close/>
                  <a:moveTo>
                    <a:pt x="9327" y="15709"/>
                  </a:moveTo>
                  <a:lnTo>
                    <a:pt x="12273" y="15709"/>
                  </a:lnTo>
                  <a:lnTo>
                    <a:pt x="12273" y="18655"/>
                  </a:lnTo>
                  <a:lnTo>
                    <a:pt x="9327" y="18655"/>
                  </a:lnTo>
                  <a:cubicBezTo>
                    <a:pt x="9327" y="18655"/>
                    <a:pt x="9327" y="15709"/>
                    <a:pt x="9327" y="15709"/>
                  </a:cubicBezTo>
                  <a:close/>
                  <a:moveTo>
                    <a:pt x="8345" y="19636"/>
                  </a:moveTo>
                  <a:lnTo>
                    <a:pt x="13255" y="19636"/>
                  </a:lnTo>
                  <a:lnTo>
                    <a:pt x="13255" y="14727"/>
                  </a:lnTo>
                  <a:lnTo>
                    <a:pt x="8345" y="14727"/>
                  </a:lnTo>
                  <a:cubicBezTo>
                    <a:pt x="8345" y="14727"/>
                    <a:pt x="8345" y="19636"/>
                    <a:pt x="8345" y="19636"/>
                  </a:cubicBezTo>
                  <a:close/>
                  <a:moveTo>
                    <a:pt x="15709" y="2945"/>
                  </a:moveTo>
                  <a:lnTo>
                    <a:pt x="18655" y="2945"/>
                  </a:lnTo>
                  <a:lnTo>
                    <a:pt x="18655" y="5891"/>
                  </a:lnTo>
                  <a:lnTo>
                    <a:pt x="15709" y="5891"/>
                  </a:lnTo>
                  <a:cubicBezTo>
                    <a:pt x="15709" y="5891"/>
                    <a:pt x="15709" y="2945"/>
                    <a:pt x="15709" y="2945"/>
                  </a:cubicBezTo>
                  <a:close/>
                  <a:moveTo>
                    <a:pt x="14727" y="6873"/>
                  </a:moveTo>
                  <a:lnTo>
                    <a:pt x="19636" y="6873"/>
                  </a:lnTo>
                  <a:lnTo>
                    <a:pt x="19636" y="1964"/>
                  </a:lnTo>
                  <a:lnTo>
                    <a:pt x="14727" y="1964"/>
                  </a:lnTo>
                  <a:cubicBezTo>
                    <a:pt x="14727" y="1964"/>
                    <a:pt x="14727" y="6873"/>
                    <a:pt x="14727" y="6873"/>
                  </a:cubicBezTo>
                  <a:close/>
                  <a:moveTo>
                    <a:pt x="15709" y="9327"/>
                  </a:moveTo>
                  <a:lnTo>
                    <a:pt x="18655" y="9327"/>
                  </a:lnTo>
                  <a:lnTo>
                    <a:pt x="18655" y="12273"/>
                  </a:lnTo>
                  <a:lnTo>
                    <a:pt x="15709" y="12273"/>
                  </a:lnTo>
                  <a:cubicBezTo>
                    <a:pt x="15709" y="12273"/>
                    <a:pt x="15709" y="9327"/>
                    <a:pt x="15709" y="9327"/>
                  </a:cubicBezTo>
                  <a:close/>
                  <a:moveTo>
                    <a:pt x="14727" y="13255"/>
                  </a:moveTo>
                  <a:lnTo>
                    <a:pt x="19636" y="13255"/>
                  </a:lnTo>
                  <a:lnTo>
                    <a:pt x="19636" y="8345"/>
                  </a:lnTo>
                  <a:lnTo>
                    <a:pt x="14727" y="8345"/>
                  </a:lnTo>
                  <a:cubicBezTo>
                    <a:pt x="14727" y="8345"/>
                    <a:pt x="14727" y="13255"/>
                    <a:pt x="14727" y="13255"/>
                  </a:cubicBezTo>
                  <a:close/>
                  <a:moveTo>
                    <a:pt x="9327" y="2945"/>
                  </a:moveTo>
                  <a:lnTo>
                    <a:pt x="12273" y="2945"/>
                  </a:lnTo>
                  <a:lnTo>
                    <a:pt x="12273" y="5891"/>
                  </a:lnTo>
                  <a:lnTo>
                    <a:pt x="9327" y="5891"/>
                  </a:lnTo>
                  <a:cubicBezTo>
                    <a:pt x="9327" y="5891"/>
                    <a:pt x="9327" y="2945"/>
                    <a:pt x="9327" y="2945"/>
                  </a:cubicBezTo>
                  <a:close/>
                  <a:moveTo>
                    <a:pt x="8345" y="6873"/>
                  </a:moveTo>
                  <a:lnTo>
                    <a:pt x="13255" y="6873"/>
                  </a:lnTo>
                  <a:lnTo>
                    <a:pt x="13255" y="1964"/>
                  </a:lnTo>
                  <a:lnTo>
                    <a:pt x="8345" y="1964"/>
                  </a:lnTo>
                  <a:cubicBezTo>
                    <a:pt x="8345" y="1964"/>
                    <a:pt x="8345" y="6873"/>
                    <a:pt x="8345" y="6873"/>
                  </a:cubicBezTo>
                  <a:close/>
                  <a:moveTo>
                    <a:pt x="2945" y="9327"/>
                  </a:moveTo>
                  <a:lnTo>
                    <a:pt x="5891" y="9327"/>
                  </a:lnTo>
                  <a:lnTo>
                    <a:pt x="5891" y="12273"/>
                  </a:lnTo>
                  <a:lnTo>
                    <a:pt x="2945" y="12273"/>
                  </a:lnTo>
                  <a:cubicBezTo>
                    <a:pt x="2945" y="12273"/>
                    <a:pt x="2945" y="9327"/>
                    <a:pt x="2945" y="9327"/>
                  </a:cubicBezTo>
                  <a:close/>
                  <a:moveTo>
                    <a:pt x="1964" y="13255"/>
                  </a:moveTo>
                  <a:lnTo>
                    <a:pt x="6873" y="13255"/>
                  </a:lnTo>
                  <a:lnTo>
                    <a:pt x="6873" y="8345"/>
                  </a:lnTo>
                  <a:lnTo>
                    <a:pt x="1964" y="8345"/>
                  </a:lnTo>
                  <a:cubicBezTo>
                    <a:pt x="1964" y="8345"/>
                    <a:pt x="1964" y="13255"/>
                    <a:pt x="1964" y="13255"/>
                  </a:cubicBezTo>
                  <a:close/>
                  <a:moveTo>
                    <a:pt x="2945" y="2945"/>
                  </a:moveTo>
                  <a:lnTo>
                    <a:pt x="5891" y="2945"/>
                  </a:lnTo>
                  <a:lnTo>
                    <a:pt x="5891" y="5891"/>
                  </a:lnTo>
                  <a:lnTo>
                    <a:pt x="2945" y="5891"/>
                  </a:lnTo>
                  <a:cubicBezTo>
                    <a:pt x="2945" y="5891"/>
                    <a:pt x="2945" y="2945"/>
                    <a:pt x="2945" y="2945"/>
                  </a:cubicBezTo>
                  <a:close/>
                  <a:moveTo>
                    <a:pt x="1964" y="6873"/>
                  </a:moveTo>
                  <a:lnTo>
                    <a:pt x="6873" y="6873"/>
                  </a:lnTo>
                  <a:lnTo>
                    <a:pt x="6873" y="1964"/>
                  </a:lnTo>
                  <a:lnTo>
                    <a:pt x="1964" y="1964"/>
                  </a:lnTo>
                  <a:cubicBezTo>
                    <a:pt x="1964" y="1964"/>
                    <a:pt x="1964" y="6873"/>
                    <a:pt x="1964" y="6873"/>
                  </a:cubicBezTo>
                  <a:close/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2945" y="15709"/>
                  </a:moveTo>
                  <a:lnTo>
                    <a:pt x="5891" y="15709"/>
                  </a:lnTo>
                  <a:lnTo>
                    <a:pt x="5891" y="18655"/>
                  </a:lnTo>
                  <a:lnTo>
                    <a:pt x="2945" y="18655"/>
                  </a:lnTo>
                  <a:cubicBezTo>
                    <a:pt x="2945" y="18655"/>
                    <a:pt x="2945" y="15709"/>
                    <a:pt x="2945" y="15709"/>
                  </a:cubicBezTo>
                  <a:close/>
                  <a:moveTo>
                    <a:pt x="1964" y="19636"/>
                  </a:moveTo>
                  <a:lnTo>
                    <a:pt x="6873" y="19636"/>
                  </a:lnTo>
                  <a:lnTo>
                    <a:pt x="6873" y="14727"/>
                  </a:lnTo>
                  <a:lnTo>
                    <a:pt x="1964" y="14727"/>
                  </a:lnTo>
                  <a:cubicBezTo>
                    <a:pt x="1964" y="14727"/>
                    <a:pt x="1964" y="19636"/>
                    <a:pt x="1964" y="19636"/>
                  </a:cubicBezTo>
                  <a:close/>
                  <a:moveTo>
                    <a:pt x="15709" y="15709"/>
                  </a:moveTo>
                  <a:lnTo>
                    <a:pt x="18655" y="15709"/>
                  </a:lnTo>
                  <a:lnTo>
                    <a:pt x="18655" y="18655"/>
                  </a:lnTo>
                  <a:lnTo>
                    <a:pt x="15709" y="18655"/>
                  </a:lnTo>
                  <a:cubicBezTo>
                    <a:pt x="15709" y="18655"/>
                    <a:pt x="15709" y="15709"/>
                    <a:pt x="15709" y="15709"/>
                  </a:cubicBezTo>
                  <a:close/>
                  <a:moveTo>
                    <a:pt x="14727" y="19636"/>
                  </a:moveTo>
                  <a:lnTo>
                    <a:pt x="19636" y="19636"/>
                  </a:lnTo>
                  <a:lnTo>
                    <a:pt x="19636" y="14727"/>
                  </a:lnTo>
                  <a:lnTo>
                    <a:pt x="14727" y="14727"/>
                  </a:lnTo>
                  <a:cubicBezTo>
                    <a:pt x="14727" y="14727"/>
                    <a:pt x="14727" y="19636"/>
                    <a:pt x="14727" y="19636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745">
              <a:extLst>
                <a:ext uri="{FF2B5EF4-FFF2-40B4-BE49-F238E27FC236}">
                  <a16:creationId xmlns:a16="http://schemas.microsoft.com/office/drawing/2014/main" id="{79D4B660-55D7-40DD-88D2-4F55395ECCC8}"/>
                </a:ext>
              </a:extLst>
            </p:cNvPr>
            <p:cNvSpPr/>
            <p:nvPr/>
          </p:nvSpPr>
          <p:spPr bwMode="gray">
            <a:xfrm>
              <a:off x="4479533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3745" y="20618"/>
                  </a:lnTo>
                  <a:cubicBezTo>
                    <a:pt x="13204" y="20618"/>
                    <a:pt x="12764" y="20178"/>
                    <a:pt x="12764" y="19636"/>
                  </a:cubicBezTo>
                  <a:lnTo>
                    <a:pt x="12764" y="13745"/>
                  </a:lnTo>
                  <a:cubicBezTo>
                    <a:pt x="12764" y="13204"/>
                    <a:pt x="13204" y="12764"/>
                    <a:pt x="13745" y="12764"/>
                  </a:cubicBezTo>
                  <a:lnTo>
                    <a:pt x="19636" y="12764"/>
                  </a:lnTo>
                  <a:cubicBezTo>
                    <a:pt x="20178" y="12764"/>
                    <a:pt x="20618" y="13204"/>
                    <a:pt x="20618" y="13745"/>
                  </a:cubicBezTo>
                  <a:cubicBezTo>
                    <a:pt x="20618" y="13745"/>
                    <a:pt x="20618" y="19636"/>
                    <a:pt x="20618" y="19636"/>
                  </a:cubicBezTo>
                  <a:close/>
                  <a:moveTo>
                    <a:pt x="19636" y="11782"/>
                  </a:moveTo>
                  <a:lnTo>
                    <a:pt x="13745" y="11782"/>
                  </a:lnTo>
                  <a:cubicBezTo>
                    <a:pt x="12661" y="11782"/>
                    <a:pt x="11782" y="12661"/>
                    <a:pt x="11782" y="13745"/>
                  </a:cubicBezTo>
                  <a:lnTo>
                    <a:pt x="11782" y="19636"/>
                  </a:lnTo>
                  <a:cubicBezTo>
                    <a:pt x="11782" y="20721"/>
                    <a:pt x="12661" y="21600"/>
                    <a:pt x="13745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3745"/>
                  </a:lnTo>
                  <a:cubicBezTo>
                    <a:pt x="21600" y="12661"/>
                    <a:pt x="20721" y="11782"/>
                    <a:pt x="19636" y="11782"/>
                  </a:cubicBezTo>
                  <a:moveTo>
                    <a:pt x="20618" y="7855"/>
                  </a:moveTo>
                  <a:cubicBezTo>
                    <a:pt x="20618" y="8396"/>
                    <a:pt x="20178" y="8836"/>
                    <a:pt x="19636" y="8836"/>
                  </a:cubicBezTo>
                  <a:lnTo>
                    <a:pt x="13745" y="8836"/>
                  </a:lnTo>
                  <a:cubicBezTo>
                    <a:pt x="13204" y="8836"/>
                    <a:pt x="12764" y="8396"/>
                    <a:pt x="12764" y="7855"/>
                  </a:cubicBezTo>
                  <a:lnTo>
                    <a:pt x="12764" y="1964"/>
                  </a:lnTo>
                  <a:cubicBezTo>
                    <a:pt x="12764" y="1422"/>
                    <a:pt x="13204" y="982"/>
                    <a:pt x="13745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7855"/>
                    <a:pt x="20618" y="7855"/>
                  </a:cubicBezTo>
                  <a:close/>
                  <a:moveTo>
                    <a:pt x="19636" y="0"/>
                  </a:moveTo>
                  <a:lnTo>
                    <a:pt x="13745" y="0"/>
                  </a:lnTo>
                  <a:cubicBezTo>
                    <a:pt x="12661" y="0"/>
                    <a:pt x="11782" y="879"/>
                    <a:pt x="11782" y="1964"/>
                  </a:cubicBezTo>
                  <a:lnTo>
                    <a:pt x="11782" y="7855"/>
                  </a:lnTo>
                  <a:cubicBezTo>
                    <a:pt x="11782" y="8939"/>
                    <a:pt x="12661" y="9818"/>
                    <a:pt x="13745" y="9818"/>
                  </a:cubicBezTo>
                  <a:lnTo>
                    <a:pt x="19636" y="9818"/>
                  </a:lnTo>
                  <a:cubicBezTo>
                    <a:pt x="20721" y="9818"/>
                    <a:pt x="21600" y="8939"/>
                    <a:pt x="21600" y="7855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8836" y="7855"/>
                  </a:moveTo>
                  <a:cubicBezTo>
                    <a:pt x="8836" y="8396"/>
                    <a:pt x="8396" y="8836"/>
                    <a:pt x="7855" y="8836"/>
                  </a:cubicBezTo>
                  <a:lnTo>
                    <a:pt x="1964" y="8836"/>
                  </a:lnTo>
                  <a:cubicBezTo>
                    <a:pt x="1421" y="8836"/>
                    <a:pt x="982" y="8396"/>
                    <a:pt x="982" y="7855"/>
                  </a:cubicBezTo>
                  <a:lnTo>
                    <a:pt x="982" y="1964"/>
                  </a:lnTo>
                  <a:cubicBezTo>
                    <a:pt x="982" y="1422"/>
                    <a:pt x="1421" y="982"/>
                    <a:pt x="1964" y="982"/>
                  </a:cubicBezTo>
                  <a:lnTo>
                    <a:pt x="7855" y="982"/>
                  </a:lnTo>
                  <a:cubicBezTo>
                    <a:pt x="8396" y="982"/>
                    <a:pt x="8836" y="1422"/>
                    <a:pt x="8836" y="1964"/>
                  </a:cubicBezTo>
                  <a:cubicBezTo>
                    <a:pt x="8836" y="1964"/>
                    <a:pt x="8836" y="7855"/>
                    <a:pt x="8836" y="7855"/>
                  </a:cubicBezTo>
                  <a:close/>
                  <a:moveTo>
                    <a:pt x="7855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7855"/>
                  </a:lnTo>
                  <a:cubicBezTo>
                    <a:pt x="0" y="8939"/>
                    <a:pt x="879" y="9818"/>
                    <a:pt x="1964" y="9818"/>
                  </a:cubicBezTo>
                  <a:lnTo>
                    <a:pt x="7855" y="9818"/>
                  </a:lnTo>
                  <a:cubicBezTo>
                    <a:pt x="8939" y="9818"/>
                    <a:pt x="9818" y="8939"/>
                    <a:pt x="9818" y="7855"/>
                  </a:cubicBezTo>
                  <a:lnTo>
                    <a:pt x="9818" y="1964"/>
                  </a:lnTo>
                  <a:cubicBezTo>
                    <a:pt x="9818" y="879"/>
                    <a:pt x="8939" y="0"/>
                    <a:pt x="7855" y="0"/>
                  </a:cubicBezTo>
                  <a:moveTo>
                    <a:pt x="8836" y="19636"/>
                  </a:moveTo>
                  <a:cubicBezTo>
                    <a:pt x="8836" y="20178"/>
                    <a:pt x="8396" y="20618"/>
                    <a:pt x="7855" y="20618"/>
                  </a:cubicBezTo>
                  <a:lnTo>
                    <a:pt x="1964" y="20618"/>
                  </a:lnTo>
                  <a:cubicBezTo>
                    <a:pt x="1421" y="20618"/>
                    <a:pt x="982" y="20178"/>
                    <a:pt x="982" y="19636"/>
                  </a:cubicBezTo>
                  <a:lnTo>
                    <a:pt x="982" y="13745"/>
                  </a:lnTo>
                  <a:cubicBezTo>
                    <a:pt x="982" y="13204"/>
                    <a:pt x="1421" y="12764"/>
                    <a:pt x="1964" y="12764"/>
                  </a:cubicBezTo>
                  <a:lnTo>
                    <a:pt x="7855" y="12764"/>
                  </a:lnTo>
                  <a:cubicBezTo>
                    <a:pt x="8396" y="12764"/>
                    <a:pt x="8836" y="13204"/>
                    <a:pt x="8836" y="13745"/>
                  </a:cubicBezTo>
                  <a:cubicBezTo>
                    <a:pt x="8836" y="13745"/>
                    <a:pt x="8836" y="19636"/>
                    <a:pt x="8836" y="19636"/>
                  </a:cubicBezTo>
                  <a:close/>
                  <a:moveTo>
                    <a:pt x="7855" y="11782"/>
                  </a:moveTo>
                  <a:lnTo>
                    <a:pt x="1964" y="11782"/>
                  </a:lnTo>
                  <a:cubicBezTo>
                    <a:pt x="879" y="11782"/>
                    <a:pt x="0" y="12661"/>
                    <a:pt x="0" y="13745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7855" y="21600"/>
                  </a:lnTo>
                  <a:cubicBezTo>
                    <a:pt x="8939" y="21600"/>
                    <a:pt x="9818" y="20721"/>
                    <a:pt x="9818" y="19636"/>
                  </a:cubicBezTo>
                  <a:lnTo>
                    <a:pt x="9818" y="13745"/>
                  </a:lnTo>
                  <a:cubicBezTo>
                    <a:pt x="9818" y="12661"/>
                    <a:pt x="8939" y="11782"/>
                    <a:pt x="7855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746">
              <a:extLst>
                <a:ext uri="{FF2B5EF4-FFF2-40B4-BE49-F238E27FC236}">
                  <a16:creationId xmlns:a16="http://schemas.microsoft.com/office/drawing/2014/main" id="{02F14B1C-EF9E-4275-836D-0B61A132B208}"/>
                </a:ext>
              </a:extLst>
            </p:cNvPr>
            <p:cNvSpPr/>
            <p:nvPr/>
          </p:nvSpPr>
          <p:spPr bwMode="gray">
            <a:xfrm>
              <a:off x="5031247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2764"/>
                  </a:moveTo>
                  <a:lnTo>
                    <a:pt x="16691" y="12764"/>
                  </a:lnTo>
                  <a:lnTo>
                    <a:pt x="16691" y="8836"/>
                  </a:lnTo>
                  <a:lnTo>
                    <a:pt x="20618" y="8836"/>
                  </a:lnTo>
                  <a:cubicBezTo>
                    <a:pt x="20618" y="8836"/>
                    <a:pt x="20618" y="12764"/>
                    <a:pt x="20618" y="12764"/>
                  </a:cubicBezTo>
                  <a:close/>
                  <a:moveTo>
                    <a:pt x="20618" y="7855"/>
                  </a:moveTo>
                  <a:lnTo>
                    <a:pt x="16691" y="7855"/>
                  </a:lnTo>
                  <a:cubicBezTo>
                    <a:pt x="16149" y="7855"/>
                    <a:pt x="15709" y="8295"/>
                    <a:pt x="15709" y="8836"/>
                  </a:cubicBezTo>
                  <a:lnTo>
                    <a:pt x="15709" y="12764"/>
                  </a:lnTo>
                  <a:cubicBezTo>
                    <a:pt x="15709" y="13305"/>
                    <a:pt x="16149" y="13745"/>
                    <a:pt x="16691" y="13745"/>
                  </a:cubicBezTo>
                  <a:lnTo>
                    <a:pt x="20618" y="13745"/>
                  </a:lnTo>
                  <a:cubicBezTo>
                    <a:pt x="21160" y="13745"/>
                    <a:pt x="21600" y="13305"/>
                    <a:pt x="21600" y="12764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12764" y="20618"/>
                  </a:moveTo>
                  <a:lnTo>
                    <a:pt x="8836" y="20618"/>
                  </a:lnTo>
                  <a:lnTo>
                    <a:pt x="8836" y="16691"/>
                  </a:lnTo>
                  <a:lnTo>
                    <a:pt x="12764" y="16691"/>
                  </a:lnTo>
                  <a:cubicBezTo>
                    <a:pt x="12764" y="16691"/>
                    <a:pt x="12764" y="20618"/>
                    <a:pt x="12764" y="20618"/>
                  </a:cubicBezTo>
                  <a:close/>
                  <a:moveTo>
                    <a:pt x="12764" y="15709"/>
                  </a:moveTo>
                  <a:lnTo>
                    <a:pt x="8836" y="15709"/>
                  </a:lnTo>
                  <a:cubicBezTo>
                    <a:pt x="8295" y="15709"/>
                    <a:pt x="7855" y="16149"/>
                    <a:pt x="7855" y="16691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12764" y="21600"/>
                  </a:lnTo>
                  <a:cubicBezTo>
                    <a:pt x="13305" y="21600"/>
                    <a:pt x="13745" y="21160"/>
                    <a:pt x="13745" y="20618"/>
                  </a:cubicBezTo>
                  <a:lnTo>
                    <a:pt x="13745" y="16691"/>
                  </a:lnTo>
                  <a:cubicBezTo>
                    <a:pt x="13745" y="16149"/>
                    <a:pt x="13305" y="15709"/>
                    <a:pt x="12764" y="15709"/>
                  </a:cubicBezTo>
                  <a:moveTo>
                    <a:pt x="12764" y="12764"/>
                  </a:moveTo>
                  <a:lnTo>
                    <a:pt x="8836" y="12764"/>
                  </a:lnTo>
                  <a:lnTo>
                    <a:pt x="8836" y="8836"/>
                  </a:lnTo>
                  <a:lnTo>
                    <a:pt x="12764" y="8836"/>
                  </a:lnTo>
                  <a:cubicBezTo>
                    <a:pt x="12764" y="8836"/>
                    <a:pt x="12764" y="12764"/>
                    <a:pt x="12764" y="12764"/>
                  </a:cubicBezTo>
                  <a:close/>
                  <a:moveTo>
                    <a:pt x="12764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12764"/>
                  </a:lnTo>
                  <a:cubicBezTo>
                    <a:pt x="7855" y="13305"/>
                    <a:pt x="8295" y="13745"/>
                    <a:pt x="8836" y="13745"/>
                  </a:cubicBezTo>
                  <a:lnTo>
                    <a:pt x="12764" y="13745"/>
                  </a:lnTo>
                  <a:cubicBezTo>
                    <a:pt x="13305" y="13745"/>
                    <a:pt x="13745" y="13305"/>
                    <a:pt x="13745" y="12764"/>
                  </a:cubicBezTo>
                  <a:lnTo>
                    <a:pt x="13745" y="8836"/>
                  </a:lnTo>
                  <a:cubicBezTo>
                    <a:pt x="13745" y="8295"/>
                    <a:pt x="13305" y="7855"/>
                    <a:pt x="12764" y="7855"/>
                  </a:cubicBezTo>
                  <a:moveTo>
                    <a:pt x="4909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4909" y="982"/>
                  </a:lnTo>
                  <a:cubicBezTo>
                    <a:pt x="4909" y="982"/>
                    <a:pt x="4909" y="4909"/>
                    <a:pt x="4909" y="4909"/>
                  </a:cubicBezTo>
                  <a:close/>
                  <a:moveTo>
                    <a:pt x="4909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4909" y="5891"/>
                  </a:lnTo>
                  <a:cubicBezTo>
                    <a:pt x="5451" y="5891"/>
                    <a:pt x="5891" y="5451"/>
                    <a:pt x="5891" y="4909"/>
                  </a:cubicBezTo>
                  <a:lnTo>
                    <a:pt x="5891" y="982"/>
                  </a:lnTo>
                  <a:cubicBezTo>
                    <a:pt x="5891" y="440"/>
                    <a:pt x="5451" y="0"/>
                    <a:pt x="4909" y="0"/>
                  </a:cubicBezTo>
                  <a:moveTo>
                    <a:pt x="20618" y="20618"/>
                  </a:moveTo>
                  <a:lnTo>
                    <a:pt x="16691" y="20618"/>
                  </a:lnTo>
                  <a:lnTo>
                    <a:pt x="16691" y="16691"/>
                  </a:lnTo>
                  <a:lnTo>
                    <a:pt x="20618" y="16691"/>
                  </a:lnTo>
                  <a:cubicBezTo>
                    <a:pt x="20618" y="16691"/>
                    <a:pt x="20618" y="20618"/>
                    <a:pt x="20618" y="20618"/>
                  </a:cubicBezTo>
                  <a:close/>
                  <a:moveTo>
                    <a:pt x="20618" y="15709"/>
                  </a:moveTo>
                  <a:lnTo>
                    <a:pt x="16691" y="15709"/>
                  </a:lnTo>
                  <a:cubicBezTo>
                    <a:pt x="16149" y="15709"/>
                    <a:pt x="15709" y="16149"/>
                    <a:pt x="15709" y="16691"/>
                  </a:cubicBezTo>
                  <a:lnTo>
                    <a:pt x="15709" y="20618"/>
                  </a:lnTo>
                  <a:cubicBezTo>
                    <a:pt x="15709" y="21160"/>
                    <a:pt x="16149" y="21600"/>
                    <a:pt x="16691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6691"/>
                  </a:lnTo>
                  <a:cubicBezTo>
                    <a:pt x="21600" y="16149"/>
                    <a:pt x="21160" y="15709"/>
                    <a:pt x="20618" y="15709"/>
                  </a:cubicBezTo>
                  <a:moveTo>
                    <a:pt x="20618" y="4909"/>
                  </a:moveTo>
                  <a:lnTo>
                    <a:pt x="16691" y="4909"/>
                  </a:lnTo>
                  <a:lnTo>
                    <a:pt x="16691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16691" y="0"/>
                  </a:lnTo>
                  <a:cubicBezTo>
                    <a:pt x="16149" y="0"/>
                    <a:pt x="15709" y="440"/>
                    <a:pt x="15709" y="982"/>
                  </a:cubicBezTo>
                  <a:lnTo>
                    <a:pt x="15709" y="4909"/>
                  </a:lnTo>
                  <a:cubicBezTo>
                    <a:pt x="15709" y="5451"/>
                    <a:pt x="16149" y="5891"/>
                    <a:pt x="16691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16691"/>
                  </a:lnTo>
                  <a:lnTo>
                    <a:pt x="4909" y="16691"/>
                  </a:lnTo>
                  <a:cubicBezTo>
                    <a:pt x="4909" y="16691"/>
                    <a:pt x="4909" y="20618"/>
                    <a:pt x="4909" y="20618"/>
                  </a:cubicBezTo>
                  <a:close/>
                  <a:moveTo>
                    <a:pt x="4909" y="15709"/>
                  </a:moveTo>
                  <a:lnTo>
                    <a:pt x="982" y="15709"/>
                  </a:lnTo>
                  <a:cubicBezTo>
                    <a:pt x="440" y="15709"/>
                    <a:pt x="0" y="16149"/>
                    <a:pt x="0" y="16691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16691"/>
                  </a:lnTo>
                  <a:cubicBezTo>
                    <a:pt x="5891" y="16149"/>
                    <a:pt x="5451" y="15709"/>
                    <a:pt x="4909" y="15709"/>
                  </a:cubicBezTo>
                  <a:moveTo>
                    <a:pt x="12764" y="4909"/>
                  </a:moveTo>
                  <a:lnTo>
                    <a:pt x="8836" y="4909"/>
                  </a:lnTo>
                  <a:lnTo>
                    <a:pt x="8836" y="982"/>
                  </a:lnTo>
                  <a:lnTo>
                    <a:pt x="12764" y="982"/>
                  </a:lnTo>
                  <a:cubicBezTo>
                    <a:pt x="12764" y="982"/>
                    <a:pt x="12764" y="4909"/>
                    <a:pt x="12764" y="4909"/>
                  </a:cubicBezTo>
                  <a:close/>
                  <a:moveTo>
                    <a:pt x="12764" y="0"/>
                  </a:moveTo>
                  <a:lnTo>
                    <a:pt x="8836" y="0"/>
                  </a:lnTo>
                  <a:cubicBezTo>
                    <a:pt x="8295" y="0"/>
                    <a:pt x="7855" y="440"/>
                    <a:pt x="7855" y="982"/>
                  </a:cubicBezTo>
                  <a:lnTo>
                    <a:pt x="7855" y="4909"/>
                  </a:lnTo>
                  <a:cubicBezTo>
                    <a:pt x="7855" y="5451"/>
                    <a:pt x="8295" y="5891"/>
                    <a:pt x="8836" y="5891"/>
                  </a:cubicBezTo>
                  <a:lnTo>
                    <a:pt x="12764" y="5891"/>
                  </a:lnTo>
                  <a:cubicBezTo>
                    <a:pt x="13305" y="5891"/>
                    <a:pt x="13745" y="5451"/>
                    <a:pt x="13745" y="4909"/>
                  </a:cubicBezTo>
                  <a:lnTo>
                    <a:pt x="13745" y="982"/>
                  </a:lnTo>
                  <a:cubicBezTo>
                    <a:pt x="13745" y="440"/>
                    <a:pt x="13305" y="0"/>
                    <a:pt x="12764" y="0"/>
                  </a:cubicBezTo>
                  <a:moveTo>
                    <a:pt x="4909" y="12764"/>
                  </a:moveTo>
                  <a:lnTo>
                    <a:pt x="982" y="12764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12764"/>
                    <a:pt x="4909" y="12764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2764"/>
                  </a:lnTo>
                  <a:cubicBezTo>
                    <a:pt x="0" y="13305"/>
                    <a:pt x="440" y="13745"/>
                    <a:pt x="982" y="13745"/>
                  </a:cubicBezTo>
                  <a:lnTo>
                    <a:pt x="4909" y="13745"/>
                  </a:lnTo>
                  <a:cubicBezTo>
                    <a:pt x="5451" y="13745"/>
                    <a:pt x="5891" y="13305"/>
                    <a:pt x="5891" y="12764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747">
              <a:extLst>
                <a:ext uri="{FF2B5EF4-FFF2-40B4-BE49-F238E27FC236}">
                  <a16:creationId xmlns:a16="http://schemas.microsoft.com/office/drawing/2014/main" id="{0934C4DC-221F-47D5-8B6C-1DED2C57DC74}"/>
                </a:ext>
              </a:extLst>
            </p:cNvPr>
            <p:cNvSpPr/>
            <p:nvPr/>
          </p:nvSpPr>
          <p:spPr bwMode="gray">
            <a:xfrm>
              <a:off x="5582960" y="559649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618"/>
                  </a:moveTo>
                  <a:lnTo>
                    <a:pt x="8836" y="20618"/>
                  </a:lnTo>
                  <a:lnTo>
                    <a:pt x="8836" y="8836"/>
                  </a:lnTo>
                  <a:lnTo>
                    <a:pt x="20618" y="8836"/>
                  </a:lnTo>
                  <a:cubicBezTo>
                    <a:pt x="20618" y="8836"/>
                    <a:pt x="20618" y="20618"/>
                    <a:pt x="20618" y="20618"/>
                  </a:cubicBezTo>
                  <a:close/>
                  <a:moveTo>
                    <a:pt x="20618" y="7855"/>
                  </a:moveTo>
                  <a:lnTo>
                    <a:pt x="8836" y="7855"/>
                  </a:lnTo>
                  <a:cubicBezTo>
                    <a:pt x="8295" y="7855"/>
                    <a:pt x="7855" y="8295"/>
                    <a:pt x="7855" y="8836"/>
                  </a:cubicBezTo>
                  <a:lnTo>
                    <a:pt x="7855" y="20618"/>
                  </a:lnTo>
                  <a:cubicBezTo>
                    <a:pt x="7855" y="21160"/>
                    <a:pt x="8295" y="21600"/>
                    <a:pt x="8836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8836"/>
                  </a:lnTo>
                  <a:cubicBezTo>
                    <a:pt x="21600" y="8295"/>
                    <a:pt x="21160" y="7855"/>
                    <a:pt x="20618" y="7855"/>
                  </a:cubicBezTo>
                  <a:moveTo>
                    <a:pt x="20618" y="4909"/>
                  </a:moveTo>
                  <a:lnTo>
                    <a:pt x="982" y="4909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4909"/>
                    <a:pt x="20618" y="4909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4909"/>
                  </a:lnTo>
                  <a:cubicBezTo>
                    <a:pt x="0" y="5451"/>
                    <a:pt x="440" y="5891"/>
                    <a:pt x="982" y="5891"/>
                  </a:cubicBezTo>
                  <a:lnTo>
                    <a:pt x="20618" y="5891"/>
                  </a:lnTo>
                  <a:cubicBezTo>
                    <a:pt x="21160" y="5891"/>
                    <a:pt x="21600" y="5451"/>
                    <a:pt x="21600" y="4909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4909" y="20618"/>
                  </a:moveTo>
                  <a:lnTo>
                    <a:pt x="982" y="20618"/>
                  </a:lnTo>
                  <a:lnTo>
                    <a:pt x="982" y="8836"/>
                  </a:lnTo>
                  <a:lnTo>
                    <a:pt x="4909" y="8836"/>
                  </a:lnTo>
                  <a:cubicBezTo>
                    <a:pt x="4909" y="8836"/>
                    <a:pt x="4909" y="20618"/>
                    <a:pt x="4909" y="20618"/>
                  </a:cubicBezTo>
                  <a:close/>
                  <a:moveTo>
                    <a:pt x="4909" y="7855"/>
                  </a:move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4909" y="21600"/>
                  </a:lnTo>
                  <a:cubicBezTo>
                    <a:pt x="5451" y="21600"/>
                    <a:pt x="5891" y="21160"/>
                    <a:pt x="5891" y="20618"/>
                  </a:cubicBezTo>
                  <a:lnTo>
                    <a:pt x="5891" y="8836"/>
                  </a:lnTo>
                  <a:cubicBezTo>
                    <a:pt x="5891" y="8295"/>
                    <a:pt x="5451" y="7855"/>
                    <a:pt x="4909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748">
              <a:extLst>
                <a:ext uri="{FF2B5EF4-FFF2-40B4-BE49-F238E27FC236}">
                  <a16:creationId xmlns:a16="http://schemas.microsoft.com/office/drawing/2014/main" id="{C487C3CE-C502-4D73-A950-9C6FA0161176}"/>
                </a:ext>
              </a:extLst>
            </p:cNvPr>
            <p:cNvSpPr/>
            <p:nvPr/>
          </p:nvSpPr>
          <p:spPr bwMode="gray">
            <a:xfrm>
              <a:off x="6160946" y="394134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8280" y="18579"/>
                  </a:moveTo>
                  <a:cubicBezTo>
                    <a:pt x="20323" y="16614"/>
                    <a:pt x="21600" y="13859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3859"/>
                    <a:pt x="1277" y="16614"/>
                    <a:pt x="3320" y="18579"/>
                  </a:cubicBezTo>
                  <a:lnTo>
                    <a:pt x="2107" y="20762"/>
                  </a:lnTo>
                  <a:cubicBezTo>
                    <a:pt x="2019" y="20851"/>
                    <a:pt x="1964" y="20974"/>
                    <a:pt x="1964" y="21109"/>
                  </a:cubicBezTo>
                  <a:cubicBezTo>
                    <a:pt x="1964" y="21380"/>
                    <a:pt x="2184" y="21600"/>
                    <a:pt x="2455" y="21600"/>
                  </a:cubicBezTo>
                  <a:cubicBezTo>
                    <a:pt x="2590" y="21600"/>
                    <a:pt x="2713" y="21545"/>
                    <a:pt x="2802" y="21456"/>
                  </a:cubicBezTo>
                  <a:cubicBezTo>
                    <a:pt x="2858" y="21400"/>
                    <a:pt x="2894" y="21327"/>
                    <a:pt x="2917" y="21248"/>
                  </a:cubicBezTo>
                  <a:lnTo>
                    <a:pt x="4044" y="19219"/>
                  </a:lnTo>
                  <a:cubicBezTo>
                    <a:pt x="5895" y="20706"/>
                    <a:pt x="8242" y="21600"/>
                    <a:pt x="10800" y="21600"/>
                  </a:cubicBezTo>
                  <a:cubicBezTo>
                    <a:pt x="13358" y="21600"/>
                    <a:pt x="15705" y="20706"/>
                    <a:pt x="17555" y="19219"/>
                  </a:cubicBezTo>
                  <a:lnTo>
                    <a:pt x="18683" y="21248"/>
                  </a:lnTo>
                  <a:cubicBezTo>
                    <a:pt x="18743" y="21450"/>
                    <a:pt x="18923" y="21600"/>
                    <a:pt x="19145" y="21600"/>
                  </a:cubicBezTo>
                  <a:cubicBezTo>
                    <a:pt x="19416" y="21600"/>
                    <a:pt x="19636" y="21380"/>
                    <a:pt x="19636" y="21109"/>
                  </a:cubicBezTo>
                  <a:cubicBezTo>
                    <a:pt x="19636" y="20974"/>
                    <a:pt x="19581" y="20851"/>
                    <a:pt x="19493" y="20762"/>
                  </a:cubicBezTo>
                  <a:cubicBezTo>
                    <a:pt x="19493" y="20762"/>
                    <a:pt x="18280" y="18579"/>
                    <a:pt x="18280" y="18579"/>
                  </a:cubicBezTo>
                  <a:close/>
                  <a:moveTo>
                    <a:pt x="10800" y="16691"/>
                  </a:moveTo>
                  <a:cubicBezTo>
                    <a:pt x="7547" y="16691"/>
                    <a:pt x="4909" y="14053"/>
                    <a:pt x="4909" y="10800"/>
                  </a:cubicBezTo>
                  <a:cubicBezTo>
                    <a:pt x="4909" y="7547"/>
                    <a:pt x="7547" y="4909"/>
                    <a:pt x="10800" y="4909"/>
                  </a:cubicBezTo>
                  <a:cubicBezTo>
                    <a:pt x="14053" y="4909"/>
                    <a:pt x="16691" y="7547"/>
                    <a:pt x="16691" y="10800"/>
                  </a:cubicBezTo>
                  <a:cubicBezTo>
                    <a:pt x="16691" y="14053"/>
                    <a:pt x="14053" y="16691"/>
                    <a:pt x="10800" y="16691"/>
                  </a:cubicBezTo>
                  <a:moveTo>
                    <a:pt x="10800" y="3927"/>
                  </a:moveTo>
                  <a:cubicBezTo>
                    <a:pt x="7004" y="3927"/>
                    <a:pt x="3927" y="7004"/>
                    <a:pt x="3927" y="10800"/>
                  </a:cubicBezTo>
                  <a:cubicBezTo>
                    <a:pt x="3927" y="14596"/>
                    <a:pt x="7004" y="17673"/>
                    <a:pt x="10800" y="17673"/>
                  </a:cubicBezTo>
                  <a:cubicBezTo>
                    <a:pt x="14596" y="17673"/>
                    <a:pt x="17673" y="14596"/>
                    <a:pt x="17673" y="10800"/>
                  </a:cubicBezTo>
                  <a:cubicBezTo>
                    <a:pt x="17673" y="7004"/>
                    <a:pt x="14596" y="3927"/>
                    <a:pt x="10800" y="3927"/>
                  </a:cubicBezTo>
                  <a:moveTo>
                    <a:pt x="10800" y="12764"/>
                  </a:moveTo>
                  <a:cubicBezTo>
                    <a:pt x="9716" y="12764"/>
                    <a:pt x="8836" y="11884"/>
                    <a:pt x="8836" y="10800"/>
                  </a:cubicBezTo>
                  <a:cubicBezTo>
                    <a:pt x="8836" y="9716"/>
                    <a:pt x="9716" y="8836"/>
                    <a:pt x="10800" y="8836"/>
                  </a:cubicBezTo>
                  <a:cubicBezTo>
                    <a:pt x="11884" y="8836"/>
                    <a:pt x="12764" y="9716"/>
                    <a:pt x="12764" y="10800"/>
                  </a:cubicBezTo>
                  <a:cubicBezTo>
                    <a:pt x="12764" y="11884"/>
                    <a:pt x="11884" y="12764"/>
                    <a:pt x="10800" y="12764"/>
                  </a:cubicBezTo>
                  <a:moveTo>
                    <a:pt x="10800" y="7855"/>
                  </a:moveTo>
                  <a:cubicBezTo>
                    <a:pt x="9173" y="7855"/>
                    <a:pt x="7855" y="9173"/>
                    <a:pt x="7855" y="10800"/>
                  </a:cubicBezTo>
                  <a:cubicBezTo>
                    <a:pt x="7855" y="12427"/>
                    <a:pt x="9173" y="13745"/>
                    <a:pt x="10800" y="13745"/>
                  </a:cubicBezTo>
                  <a:cubicBezTo>
                    <a:pt x="12427" y="13745"/>
                    <a:pt x="13745" y="12427"/>
                    <a:pt x="13745" y="10800"/>
                  </a:cubicBezTo>
                  <a:cubicBezTo>
                    <a:pt x="13745" y="9173"/>
                    <a:pt x="12427" y="7855"/>
                    <a:pt x="108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749">
              <a:extLst>
                <a:ext uri="{FF2B5EF4-FFF2-40B4-BE49-F238E27FC236}">
                  <a16:creationId xmlns:a16="http://schemas.microsoft.com/office/drawing/2014/main" id="{1A8C8F07-C70F-4D86-A8DA-B442654F4074}"/>
                </a:ext>
              </a:extLst>
            </p:cNvPr>
            <p:cNvSpPr/>
            <p:nvPr/>
          </p:nvSpPr>
          <p:spPr bwMode="gray">
            <a:xfrm>
              <a:off x="6765204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57" y="2884"/>
                  </a:moveTo>
                  <a:cubicBezTo>
                    <a:pt x="19862" y="3005"/>
                    <a:pt x="15661" y="5580"/>
                    <a:pt x="11606" y="4718"/>
                  </a:cubicBezTo>
                  <a:cubicBezTo>
                    <a:pt x="9681" y="4310"/>
                    <a:pt x="8390" y="3899"/>
                    <a:pt x="7251" y="3535"/>
                  </a:cubicBezTo>
                  <a:cubicBezTo>
                    <a:pt x="5426" y="2953"/>
                    <a:pt x="4042" y="2513"/>
                    <a:pt x="1543" y="2647"/>
                  </a:cubicBez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2884"/>
                    <a:pt x="20057" y="2884"/>
                  </a:cubicBezTo>
                  <a:close/>
                  <a:moveTo>
                    <a:pt x="20057" y="5891"/>
                  </a:moveTo>
                  <a:cubicBezTo>
                    <a:pt x="20057" y="9144"/>
                    <a:pt x="15912" y="11782"/>
                    <a:pt x="10800" y="11782"/>
                  </a:cubicBezTo>
                  <a:cubicBezTo>
                    <a:pt x="5688" y="11782"/>
                    <a:pt x="1543" y="9144"/>
                    <a:pt x="1543" y="5891"/>
                  </a:cubicBezTo>
                  <a:lnTo>
                    <a:pt x="1543" y="3634"/>
                  </a:lnTo>
                  <a:cubicBezTo>
                    <a:pt x="3681" y="3500"/>
                    <a:pt x="4767" y="3841"/>
                    <a:pt x="6560" y="4413"/>
                  </a:cubicBezTo>
                  <a:cubicBezTo>
                    <a:pt x="7686" y="4772"/>
                    <a:pt x="9088" y="5219"/>
                    <a:pt x="11118" y="5650"/>
                  </a:cubicBezTo>
                  <a:cubicBezTo>
                    <a:pt x="11869" y="5809"/>
                    <a:pt x="12616" y="5877"/>
                    <a:pt x="13343" y="5877"/>
                  </a:cubicBezTo>
                  <a:cubicBezTo>
                    <a:pt x="16154" y="5877"/>
                    <a:pt x="18675" y="4862"/>
                    <a:pt x="20057" y="4176"/>
                  </a:cubicBezTo>
                  <a:cubicBezTo>
                    <a:pt x="20057" y="4176"/>
                    <a:pt x="20057" y="5891"/>
                    <a:pt x="20057" y="5891"/>
                  </a:cubicBezTo>
                  <a:close/>
                  <a:moveTo>
                    <a:pt x="20829" y="0"/>
                  </a:moveTo>
                  <a:lnTo>
                    <a:pt x="771" y="0"/>
                  </a:lnTo>
                  <a:cubicBezTo>
                    <a:pt x="346" y="0"/>
                    <a:pt x="0" y="220"/>
                    <a:pt x="0" y="491"/>
                  </a:cubicBezTo>
                  <a:lnTo>
                    <a:pt x="0" y="5891"/>
                  </a:lnTo>
                  <a:cubicBezTo>
                    <a:pt x="0" y="9521"/>
                    <a:pt x="4426" y="12486"/>
                    <a:pt x="10029" y="12739"/>
                  </a:cubicBezTo>
                  <a:lnTo>
                    <a:pt x="10029" y="20618"/>
                  </a:lnTo>
                  <a:lnTo>
                    <a:pt x="3857" y="20618"/>
                  </a:lnTo>
                  <a:cubicBezTo>
                    <a:pt x="3432" y="20618"/>
                    <a:pt x="3086" y="20838"/>
                    <a:pt x="3086" y="21109"/>
                  </a:cubicBezTo>
                  <a:cubicBezTo>
                    <a:pt x="3086" y="21380"/>
                    <a:pt x="3432" y="21600"/>
                    <a:pt x="3857" y="21600"/>
                  </a:cubicBezTo>
                  <a:lnTo>
                    <a:pt x="17743" y="21600"/>
                  </a:lnTo>
                  <a:cubicBezTo>
                    <a:pt x="18168" y="21600"/>
                    <a:pt x="18514" y="21380"/>
                    <a:pt x="18514" y="21109"/>
                  </a:cubicBezTo>
                  <a:cubicBezTo>
                    <a:pt x="18514" y="20838"/>
                    <a:pt x="18168" y="20618"/>
                    <a:pt x="17743" y="20618"/>
                  </a:cubicBezTo>
                  <a:lnTo>
                    <a:pt x="11571" y="20618"/>
                  </a:lnTo>
                  <a:lnTo>
                    <a:pt x="11571" y="12739"/>
                  </a:lnTo>
                  <a:cubicBezTo>
                    <a:pt x="17174" y="12486"/>
                    <a:pt x="21600" y="9521"/>
                    <a:pt x="21600" y="5891"/>
                  </a:cubicBezTo>
                  <a:lnTo>
                    <a:pt x="21600" y="491"/>
                  </a:lnTo>
                  <a:cubicBezTo>
                    <a:pt x="21600" y="220"/>
                    <a:pt x="21254" y="0"/>
                    <a:pt x="2082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750">
              <a:extLst>
                <a:ext uri="{FF2B5EF4-FFF2-40B4-BE49-F238E27FC236}">
                  <a16:creationId xmlns:a16="http://schemas.microsoft.com/office/drawing/2014/main" id="{C5301BDA-9845-4F1D-ACF0-122B00373D86}"/>
                </a:ext>
              </a:extLst>
            </p:cNvPr>
            <p:cNvSpPr/>
            <p:nvPr/>
          </p:nvSpPr>
          <p:spPr bwMode="gray">
            <a:xfrm>
              <a:off x="7343189" y="394134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0800"/>
                  </a:moveTo>
                  <a:lnTo>
                    <a:pt x="2160" y="10800"/>
                  </a:lnTo>
                  <a:lnTo>
                    <a:pt x="2160" y="8836"/>
                  </a:lnTo>
                  <a:cubicBezTo>
                    <a:pt x="2160" y="7752"/>
                    <a:pt x="4094" y="6873"/>
                    <a:pt x="6480" y="6873"/>
                  </a:cubicBezTo>
                  <a:lnTo>
                    <a:pt x="15120" y="6873"/>
                  </a:lnTo>
                  <a:cubicBezTo>
                    <a:pt x="17506" y="6873"/>
                    <a:pt x="19440" y="7752"/>
                    <a:pt x="19440" y="8836"/>
                  </a:cubicBezTo>
                  <a:cubicBezTo>
                    <a:pt x="19440" y="8836"/>
                    <a:pt x="19440" y="10800"/>
                    <a:pt x="19440" y="10800"/>
                  </a:cubicBezTo>
                  <a:close/>
                  <a:moveTo>
                    <a:pt x="19440" y="15709"/>
                  </a:moveTo>
                  <a:lnTo>
                    <a:pt x="2160" y="15709"/>
                  </a:lnTo>
                  <a:lnTo>
                    <a:pt x="2160" y="11782"/>
                  </a:lnTo>
                  <a:lnTo>
                    <a:pt x="19440" y="11782"/>
                  </a:lnTo>
                  <a:cubicBezTo>
                    <a:pt x="19440" y="11782"/>
                    <a:pt x="19440" y="15709"/>
                    <a:pt x="19440" y="15709"/>
                  </a:cubicBezTo>
                  <a:close/>
                  <a:moveTo>
                    <a:pt x="19440" y="18655"/>
                  </a:moveTo>
                  <a:cubicBezTo>
                    <a:pt x="19440" y="19739"/>
                    <a:pt x="17506" y="20618"/>
                    <a:pt x="15120" y="20618"/>
                  </a:cubicBezTo>
                  <a:lnTo>
                    <a:pt x="6480" y="20618"/>
                  </a:lnTo>
                  <a:cubicBezTo>
                    <a:pt x="4094" y="20618"/>
                    <a:pt x="2160" y="19739"/>
                    <a:pt x="2160" y="18655"/>
                  </a:cubicBezTo>
                  <a:lnTo>
                    <a:pt x="2160" y="16691"/>
                  </a:lnTo>
                  <a:lnTo>
                    <a:pt x="19440" y="16691"/>
                  </a:lnTo>
                  <a:cubicBezTo>
                    <a:pt x="19440" y="16691"/>
                    <a:pt x="19440" y="18655"/>
                    <a:pt x="19440" y="18655"/>
                  </a:cubicBezTo>
                  <a:close/>
                  <a:moveTo>
                    <a:pt x="8640" y="2945"/>
                  </a:moveTo>
                  <a:lnTo>
                    <a:pt x="12960" y="2945"/>
                  </a:lnTo>
                  <a:lnTo>
                    <a:pt x="12960" y="5891"/>
                  </a:lnTo>
                  <a:lnTo>
                    <a:pt x="8640" y="5891"/>
                  </a:lnTo>
                  <a:cubicBezTo>
                    <a:pt x="8640" y="5891"/>
                    <a:pt x="8640" y="2945"/>
                    <a:pt x="8640" y="2945"/>
                  </a:cubicBezTo>
                  <a:close/>
                  <a:moveTo>
                    <a:pt x="8640" y="982"/>
                  </a:moveTo>
                  <a:lnTo>
                    <a:pt x="12960" y="982"/>
                  </a:lnTo>
                  <a:lnTo>
                    <a:pt x="12960" y="1964"/>
                  </a:lnTo>
                  <a:lnTo>
                    <a:pt x="8640" y="1964"/>
                  </a:lnTo>
                  <a:cubicBezTo>
                    <a:pt x="8640" y="1964"/>
                    <a:pt x="8640" y="982"/>
                    <a:pt x="8640" y="982"/>
                  </a:cubicBezTo>
                  <a:close/>
                  <a:moveTo>
                    <a:pt x="15120" y="5891"/>
                  </a:moveTo>
                  <a:lnTo>
                    <a:pt x="15120" y="982"/>
                  </a:lnTo>
                  <a:cubicBezTo>
                    <a:pt x="15120" y="440"/>
                    <a:pt x="14152" y="0"/>
                    <a:pt x="12960" y="0"/>
                  </a:cubicBezTo>
                  <a:lnTo>
                    <a:pt x="8640" y="0"/>
                  </a:lnTo>
                  <a:cubicBezTo>
                    <a:pt x="7448" y="0"/>
                    <a:pt x="6480" y="440"/>
                    <a:pt x="6480" y="982"/>
                  </a:cubicBezTo>
                  <a:lnTo>
                    <a:pt x="6480" y="5891"/>
                  </a:lnTo>
                  <a:cubicBezTo>
                    <a:pt x="2901" y="5891"/>
                    <a:pt x="0" y="7209"/>
                    <a:pt x="0" y="8836"/>
                  </a:cubicBezTo>
                  <a:lnTo>
                    <a:pt x="0" y="18655"/>
                  </a:lnTo>
                  <a:cubicBezTo>
                    <a:pt x="0" y="20281"/>
                    <a:pt x="2901" y="21600"/>
                    <a:pt x="6480" y="21600"/>
                  </a:cubicBezTo>
                  <a:lnTo>
                    <a:pt x="15120" y="21600"/>
                  </a:lnTo>
                  <a:cubicBezTo>
                    <a:pt x="18698" y="21600"/>
                    <a:pt x="21600" y="20281"/>
                    <a:pt x="21600" y="18655"/>
                  </a:cubicBezTo>
                  <a:lnTo>
                    <a:pt x="21600" y="8836"/>
                  </a:lnTo>
                  <a:cubicBezTo>
                    <a:pt x="21600" y="7209"/>
                    <a:pt x="18698" y="5891"/>
                    <a:pt x="1512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751">
              <a:extLst>
                <a:ext uri="{FF2B5EF4-FFF2-40B4-BE49-F238E27FC236}">
                  <a16:creationId xmlns:a16="http://schemas.microsoft.com/office/drawing/2014/main" id="{C8C73E6A-E805-401C-AF90-BC1EF94AC55B}"/>
                </a:ext>
              </a:extLst>
            </p:cNvPr>
            <p:cNvSpPr/>
            <p:nvPr/>
          </p:nvSpPr>
          <p:spPr bwMode="gray">
            <a:xfrm>
              <a:off x="7868631" y="3941345"/>
              <a:ext cx="183905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114" y="15709"/>
                  </a:moveTo>
                  <a:cubicBezTo>
                    <a:pt x="12689" y="15709"/>
                    <a:pt x="12343" y="15929"/>
                    <a:pt x="12343" y="16200"/>
                  </a:cubicBezTo>
                  <a:cubicBezTo>
                    <a:pt x="12343" y="16471"/>
                    <a:pt x="12689" y="16691"/>
                    <a:pt x="13114" y="16691"/>
                  </a:cubicBezTo>
                  <a:cubicBezTo>
                    <a:pt x="13540" y="16691"/>
                    <a:pt x="13886" y="16471"/>
                    <a:pt x="13886" y="16200"/>
                  </a:cubicBezTo>
                  <a:cubicBezTo>
                    <a:pt x="13886" y="15929"/>
                    <a:pt x="13540" y="15709"/>
                    <a:pt x="13114" y="15709"/>
                  </a:cubicBezTo>
                  <a:moveTo>
                    <a:pt x="13886" y="7855"/>
                  </a:moveTo>
                  <a:cubicBezTo>
                    <a:pt x="13034" y="7855"/>
                    <a:pt x="12343" y="8295"/>
                    <a:pt x="12343" y="8836"/>
                  </a:cubicBezTo>
                  <a:cubicBezTo>
                    <a:pt x="12343" y="9379"/>
                    <a:pt x="13034" y="9818"/>
                    <a:pt x="13886" y="9818"/>
                  </a:cubicBezTo>
                  <a:cubicBezTo>
                    <a:pt x="14737" y="9818"/>
                    <a:pt x="15429" y="9379"/>
                    <a:pt x="15429" y="8836"/>
                  </a:cubicBezTo>
                  <a:cubicBezTo>
                    <a:pt x="15429" y="8295"/>
                    <a:pt x="14737" y="7855"/>
                    <a:pt x="13886" y="7855"/>
                  </a:cubicBezTo>
                  <a:moveTo>
                    <a:pt x="8486" y="17673"/>
                  </a:moveTo>
                  <a:cubicBezTo>
                    <a:pt x="8060" y="17673"/>
                    <a:pt x="7714" y="17892"/>
                    <a:pt x="7714" y="18164"/>
                  </a:cubicBezTo>
                  <a:cubicBezTo>
                    <a:pt x="7714" y="18435"/>
                    <a:pt x="8060" y="18655"/>
                    <a:pt x="8486" y="18655"/>
                  </a:cubicBezTo>
                  <a:cubicBezTo>
                    <a:pt x="8911" y="18655"/>
                    <a:pt x="9257" y="18435"/>
                    <a:pt x="9257" y="18164"/>
                  </a:cubicBezTo>
                  <a:cubicBezTo>
                    <a:pt x="9257" y="17892"/>
                    <a:pt x="8911" y="17673"/>
                    <a:pt x="8486" y="17673"/>
                  </a:cubicBezTo>
                  <a:moveTo>
                    <a:pt x="9257" y="10800"/>
                  </a:moveTo>
                  <a:cubicBezTo>
                    <a:pt x="9257" y="10258"/>
                    <a:pt x="8566" y="9818"/>
                    <a:pt x="7714" y="9818"/>
                  </a:cubicBezTo>
                  <a:cubicBezTo>
                    <a:pt x="6863" y="9818"/>
                    <a:pt x="6171" y="10258"/>
                    <a:pt x="6171" y="10800"/>
                  </a:cubicBezTo>
                  <a:cubicBezTo>
                    <a:pt x="6171" y="11343"/>
                    <a:pt x="6863" y="11782"/>
                    <a:pt x="7714" y="11782"/>
                  </a:cubicBezTo>
                  <a:cubicBezTo>
                    <a:pt x="8566" y="11782"/>
                    <a:pt x="9257" y="11343"/>
                    <a:pt x="9257" y="10800"/>
                  </a:cubicBezTo>
                  <a:moveTo>
                    <a:pt x="10029" y="13745"/>
                  </a:moveTo>
                  <a:cubicBezTo>
                    <a:pt x="9603" y="13745"/>
                    <a:pt x="9257" y="13965"/>
                    <a:pt x="9257" y="14236"/>
                  </a:cubicBezTo>
                  <a:cubicBezTo>
                    <a:pt x="9257" y="14508"/>
                    <a:pt x="9603" y="14727"/>
                    <a:pt x="10029" y="14727"/>
                  </a:cubicBezTo>
                  <a:cubicBezTo>
                    <a:pt x="10454" y="14727"/>
                    <a:pt x="10800" y="14508"/>
                    <a:pt x="10800" y="14236"/>
                  </a:cubicBezTo>
                  <a:cubicBezTo>
                    <a:pt x="10800" y="13965"/>
                    <a:pt x="10454" y="13745"/>
                    <a:pt x="10029" y="13745"/>
                  </a:cubicBezTo>
                  <a:moveTo>
                    <a:pt x="20057" y="1964"/>
                  </a:moveTo>
                  <a:lnTo>
                    <a:pt x="1543" y="1964"/>
                  </a:lnTo>
                  <a:lnTo>
                    <a:pt x="1543" y="982"/>
                  </a:lnTo>
                  <a:lnTo>
                    <a:pt x="20057" y="982"/>
                  </a:lnTo>
                  <a:cubicBezTo>
                    <a:pt x="20057" y="982"/>
                    <a:pt x="20057" y="1964"/>
                    <a:pt x="20057" y="1964"/>
                  </a:cubicBezTo>
                  <a:close/>
                  <a:moveTo>
                    <a:pt x="16971" y="4033"/>
                  </a:moveTo>
                  <a:cubicBezTo>
                    <a:pt x="16079" y="4186"/>
                    <a:pt x="15266" y="4419"/>
                    <a:pt x="14349" y="4691"/>
                  </a:cubicBezTo>
                  <a:cubicBezTo>
                    <a:pt x="13209" y="5030"/>
                    <a:pt x="11919" y="5413"/>
                    <a:pt x="9994" y="5794"/>
                  </a:cubicBezTo>
                  <a:cubicBezTo>
                    <a:pt x="8093" y="6170"/>
                    <a:pt x="6167" y="5840"/>
                    <a:pt x="4629" y="5373"/>
                  </a:cubicBezTo>
                  <a:lnTo>
                    <a:pt x="4629" y="2945"/>
                  </a:lnTo>
                  <a:lnTo>
                    <a:pt x="16971" y="2945"/>
                  </a:lnTo>
                  <a:cubicBezTo>
                    <a:pt x="16971" y="2945"/>
                    <a:pt x="16971" y="4033"/>
                    <a:pt x="16971" y="4033"/>
                  </a:cubicBezTo>
                  <a:close/>
                  <a:moveTo>
                    <a:pt x="16971" y="16691"/>
                  </a:moveTo>
                  <a:cubicBezTo>
                    <a:pt x="16971" y="18860"/>
                    <a:pt x="14208" y="20618"/>
                    <a:pt x="10800" y="20618"/>
                  </a:cubicBezTo>
                  <a:cubicBezTo>
                    <a:pt x="7391" y="20618"/>
                    <a:pt x="4629" y="18860"/>
                    <a:pt x="4629" y="16691"/>
                  </a:cubicBezTo>
                  <a:lnTo>
                    <a:pt x="4629" y="6384"/>
                  </a:lnTo>
                  <a:cubicBezTo>
                    <a:pt x="5722" y="6667"/>
                    <a:pt x="6954" y="6874"/>
                    <a:pt x="8257" y="6874"/>
                  </a:cubicBezTo>
                  <a:cubicBezTo>
                    <a:pt x="8984" y="6874"/>
                    <a:pt x="9731" y="6811"/>
                    <a:pt x="10481" y="6662"/>
                  </a:cubicBezTo>
                  <a:cubicBezTo>
                    <a:pt x="12512" y="6261"/>
                    <a:pt x="13914" y="5844"/>
                    <a:pt x="15040" y="5510"/>
                  </a:cubicBezTo>
                  <a:cubicBezTo>
                    <a:pt x="15760" y="5295"/>
                    <a:pt x="16366" y="5119"/>
                    <a:pt x="16971" y="4989"/>
                  </a:cubicBezTo>
                  <a:cubicBezTo>
                    <a:pt x="16971" y="4989"/>
                    <a:pt x="16971" y="16691"/>
                    <a:pt x="16971" y="16691"/>
                  </a:cubicBezTo>
                  <a:close/>
                  <a:moveTo>
                    <a:pt x="20057" y="0"/>
                  </a:moveTo>
                  <a:lnTo>
                    <a:pt x="1543" y="0"/>
                  </a:lnTo>
                  <a:cubicBezTo>
                    <a:pt x="691" y="0"/>
                    <a:pt x="0" y="440"/>
                    <a:pt x="0" y="982"/>
                  </a:cubicBezTo>
                  <a:lnTo>
                    <a:pt x="0" y="1964"/>
                  </a:lnTo>
                  <a:cubicBezTo>
                    <a:pt x="0" y="2506"/>
                    <a:pt x="691" y="2945"/>
                    <a:pt x="1543" y="2945"/>
                  </a:cubicBezTo>
                  <a:lnTo>
                    <a:pt x="3086" y="2945"/>
                  </a:lnTo>
                  <a:lnTo>
                    <a:pt x="3086" y="16691"/>
                  </a:lnTo>
                  <a:cubicBezTo>
                    <a:pt x="3086" y="19402"/>
                    <a:pt x="6539" y="21600"/>
                    <a:pt x="10800" y="21600"/>
                  </a:cubicBezTo>
                  <a:cubicBezTo>
                    <a:pt x="15061" y="21600"/>
                    <a:pt x="18514" y="19402"/>
                    <a:pt x="18514" y="16691"/>
                  </a:cubicBezTo>
                  <a:lnTo>
                    <a:pt x="18514" y="2945"/>
                  </a:lnTo>
                  <a:lnTo>
                    <a:pt x="20057" y="2945"/>
                  </a:lnTo>
                  <a:cubicBezTo>
                    <a:pt x="20909" y="2945"/>
                    <a:pt x="21600" y="2506"/>
                    <a:pt x="21600" y="1964"/>
                  </a:cubicBezTo>
                  <a:lnTo>
                    <a:pt x="21600" y="982"/>
                  </a:lnTo>
                  <a:cubicBezTo>
                    <a:pt x="21600" y="440"/>
                    <a:pt x="20909" y="0"/>
                    <a:pt x="20057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752">
              <a:extLst>
                <a:ext uri="{FF2B5EF4-FFF2-40B4-BE49-F238E27FC236}">
                  <a16:creationId xmlns:a16="http://schemas.microsoft.com/office/drawing/2014/main" id="{5701B53F-3AAC-4B2A-9990-6BE73590A96E}"/>
                </a:ext>
              </a:extLst>
            </p:cNvPr>
            <p:cNvSpPr/>
            <p:nvPr/>
          </p:nvSpPr>
          <p:spPr bwMode="gray">
            <a:xfrm>
              <a:off x="8394072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00" y="17673"/>
                  </a:moveTo>
                  <a:cubicBezTo>
                    <a:pt x="12269" y="17673"/>
                    <a:pt x="12000" y="17892"/>
                    <a:pt x="12000" y="18164"/>
                  </a:cubicBezTo>
                  <a:cubicBezTo>
                    <a:pt x="12000" y="18435"/>
                    <a:pt x="12269" y="18655"/>
                    <a:pt x="12600" y="18655"/>
                  </a:cubicBezTo>
                  <a:cubicBezTo>
                    <a:pt x="12931" y="18655"/>
                    <a:pt x="13200" y="18435"/>
                    <a:pt x="13200" y="18164"/>
                  </a:cubicBezTo>
                  <a:cubicBezTo>
                    <a:pt x="13200" y="17892"/>
                    <a:pt x="12931" y="17673"/>
                    <a:pt x="12600" y="17673"/>
                  </a:cubicBezTo>
                  <a:moveTo>
                    <a:pt x="10800" y="13745"/>
                  </a:moveTo>
                  <a:cubicBezTo>
                    <a:pt x="10138" y="13745"/>
                    <a:pt x="9600" y="14186"/>
                    <a:pt x="9600" y="14727"/>
                  </a:cubicBezTo>
                  <a:cubicBezTo>
                    <a:pt x="9600" y="15269"/>
                    <a:pt x="10138" y="15709"/>
                    <a:pt x="10800" y="15709"/>
                  </a:cubicBezTo>
                  <a:cubicBezTo>
                    <a:pt x="11462" y="15709"/>
                    <a:pt x="12000" y="15269"/>
                    <a:pt x="12000" y="14727"/>
                  </a:cubicBezTo>
                  <a:cubicBezTo>
                    <a:pt x="12000" y="14186"/>
                    <a:pt x="11462" y="13745"/>
                    <a:pt x="10800" y="13745"/>
                  </a:cubicBezTo>
                  <a:moveTo>
                    <a:pt x="12600" y="10800"/>
                  </a:moveTo>
                  <a:cubicBezTo>
                    <a:pt x="12269" y="10800"/>
                    <a:pt x="12000" y="10580"/>
                    <a:pt x="12000" y="10309"/>
                  </a:cubicBezTo>
                  <a:cubicBezTo>
                    <a:pt x="12000" y="10038"/>
                    <a:pt x="12269" y="9818"/>
                    <a:pt x="12600" y="9818"/>
                  </a:cubicBezTo>
                  <a:cubicBezTo>
                    <a:pt x="12931" y="9818"/>
                    <a:pt x="13200" y="10038"/>
                    <a:pt x="13200" y="10309"/>
                  </a:cubicBezTo>
                  <a:cubicBezTo>
                    <a:pt x="13200" y="10580"/>
                    <a:pt x="12931" y="10800"/>
                    <a:pt x="12600" y="10800"/>
                  </a:cubicBezTo>
                  <a:moveTo>
                    <a:pt x="12600" y="8836"/>
                  </a:moveTo>
                  <a:cubicBezTo>
                    <a:pt x="11606" y="8836"/>
                    <a:pt x="10800" y="9496"/>
                    <a:pt x="10800" y="10309"/>
                  </a:cubicBezTo>
                  <a:cubicBezTo>
                    <a:pt x="10800" y="11123"/>
                    <a:pt x="11606" y="11782"/>
                    <a:pt x="12600" y="11782"/>
                  </a:cubicBezTo>
                  <a:cubicBezTo>
                    <a:pt x="13594" y="11782"/>
                    <a:pt x="14400" y="11123"/>
                    <a:pt x="14400" y="10309"/>
                  </a:cubicBezTo>
                  <a:cubicBezTo>
                    <a:pt x="14400" y="9496"/>
                    <a:pt x="13594" y="8836"/>
                    <a:pt x="12600" y="8836"/>
                  </a:cubicBezTo>
                  <a:moveTo>
                    <a:pt x="17760" y="20618"/>
                  </a:moveTo>
                  <a:lnTo>
                    <a:pt x="3840" y="20618"/>
                  </a:lnTo>
                  <a:cubicBezTo>
                    <a:pt x="2134" y="19151"/>
                    <a:pt x="1200" y="17248"/>
                    <a:pt x="1200" y="15218"/>
                  </a:cubicBezTo>
                  <a:cubicBezTo>
                    <a:pt x="1200" y="12593"/>
                    <a:pt x="2796" y="10152"/>
                    <a:pt x="5468" y="8688"/>
                  </a:cubicBezTo>
                  <a:cubicBezTo>
                    <a:pt x="5800" y="8506"/>
                    <a:pt x="6000" y="8199"/>
                    <a:pt x="6000" y="7872"/>
                  </a:cubicBezTo>
                  <a:lnTo>
                    <a:pt x="6000" y="6529"/>
                  </a:lnTo>
                  <a:cubicBezTo>
                    <a:pt x="6729" y="6758"/>
                    <a:pt x="7567" y="6924"/>
                    <a:pt x="8484" y="6924"/>
                  </a:cubicBezTo>
                  <a:cubicBezTo>
                    <a:pt x="9499" y="6924"/>
                    <a:pt x="10603" y="6723"/>
                    <a:pt x="11748" y="6188"/>
                  </a:cubicBezTo>
                  <a:cubicBezTo>
                    <a:pt x="13252" y="5485"/>
                    <a:pt x="14575" y="5306"/>
                    <a:pt x="15600" y="5323"/>
                  </a:cubicBezTo>
                  <a:lnTo>
                    <a:pt x="15600" y="7872"/>
                  </a:lnTo>
                  <a:cubicBezTo>
                    <a:pt x="15600" y="8199"/>
                    <a:pt x="15800" y="8506"/>
                    <a:pt x="16132" y="8688"/>
                  </a:cubicBezTo>
                  <a:cubicBezTo>
                    <a:pt x="18804" y="10152"/>
                    <a:pt x="20400" y="12593"/>
                    <a:pt x="20400" y="15218"/>
                  </a:cubicBezTo>
                  <a:cubicBezTo>
                    <a:pt x="20400" y="17248"/>
                    <a:pt x="19466" y="19151"/>
                    <a:pt x="17760" y="20618"/>
                  </a:cubicBezTo>
                  <a:moveTo>
                    <a:pt x="15600" y="2945"/>
                  </a:moveTo>
                  <a:lnTo>
                    <a:pt x="15600" y="4340"/>
                  </a:lnTo>
                  <a:cubicBezTo>
                    <a:pt x="14391" y="4322"/>
                    <a:pt x="12860" y="4538"/>
                    <a:pt x="11152" y="5336"/>
                  </a:cubicBezTo>
                  <a:cubicBezTo>
                    <a:pt x="9163" y="6265"/>
                    <a:pt x="7312" y="5965"/>
                    <a:pt x="6000" y="5473"/>
                  </a:cubicBezTo>
                  <a:lnTo>
                    <a:pt x="6000" y="2945"/>
                  </a:lnTo>
                  <a:cubicBezTo>
                    <a:pt x="6000" y="2945"/>
                    <a:pt x="15600" y="2945"/>
                    <a:pt x="15600" y="2945"/>
                  </a:cubicBezTo>
                  <a:close/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00" y="7872"/>
                  </a:moveTo>
                  <a:lnTo>
                    <a:pt x="16800" y="2945"/>
                  </a:ln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800" y="2945"/>
                  </a:lnTo>
                  <a:lnTo>
                    <a:pt x="4800" y="7872"/>
                  </a:lnTo>
                  <a:cubicBezTo>
                    <a:pt x="1906" y="9457"/>
                    <a:pt x="0" y="12155"/>
                    <a:pt x="0" y="15218"/>
                  </a:cubicBezTo>
                  <a:cubicBezTo>
                    <a:pt x="0" y="17730"/>
                    <a:pt x="1286" y="19991"/>
                    <a:pt x="3342" y="21600"/>
                  </a:cubicBezTo>
                  <a:lnTo>
                    <a:pt x="18258" y="21600"/>
                  </a:lnTo>
                  <a:cubicBezTo>
                    <a:pt x="20313" y="19991"/>
                    <a:pt x="21600" y="17730"/>
                    <a:pt x="21600" y="15218"/>
                  </a:cubicBezTo>
                  <a:cubicBezTo>
                    <a:pt x="21600" y="12155"/>
                    <a:pt x="19693" y="9457"/>
                    <a:pt x="16800" y="7872"/>
                  </a:cubicBezTo>
                  <a:moveTo>
                    <a:pt x="16200" y="15709"/>
                  </a:moveTo>
                  <a:cubicBezTo>
                    <a:pt x="15869" y="15709"/>
                    <a:pt x="15600" y="15929"/>
                    <a:pt x="15600" y="16200"/>
                  </a:cubicBezTo>
                  <a:cubicBezTo>
                    <a:pt x="15600" y="16471"/>
                    <a:pt x="15869" y="16691"/>
                    <a:pt x="16200" y="16691"/>
                  </a:cubicBezTo>
                  <a:cubicBezTo>
                    <a:pt x="16531" y="16691"/>
                    <a:pt x="16800" y="16471"/>
                    <a:pt x="16800" y="16200"/>
                  </a:cubicBezTo>
                  <a:cubicBezTo>
                    <a:pt x="16800" y="15929"/>
                    <a:pt x="16531" y="15709"/>
                    <a:pt x="16200" y="15709"/>
                  </a:cubicBezTo>
                  <a:moveTo>
                    <a:pt x="7800" y="11782"/>
                  </a:moveTo>
                  <a:cubicBezTo>
                    <a:pt x="7469" y="11782"/>
                    <a:pt x="7200" y="12001"/>
                    <a:pt x="7200" y="12273"/>
                  </a:cubicBezTo>
                  <a:cubicBezTo>
                    <a:pt x="7200" y="12544"/>
                    <a:pt x="7469" y="12764"/>
                    <a:pt x="7800" y="12764"/>
                  </a:cubicBezTo>
                  <a:cubicBezTo>
                    <a:pt x="8131" y="12764"/>
                    <a:pt x="8400" y="12544"/>
                    <a:pt x="8400" y="12273"/>
                  </a:cubicBezTo>
                  <a:cubicBezTo>
                    <a:pt x="8400" y="12001"/>
                    <a:pt x="8131" y="11782"/>
                    <a:pt x="7800" y="11782"/>
                  </a:cubicBezTo>
                  <a:moveTo>
                    <a:pt x="6000" y="15709"/>
                  </a:moveTo>
                  <a:cubicBezTo>
                    <a:pt x="5338" y="15709"/>
                    <a:pt x="4800" y="16149"/>
                    <a:pt x="4800" y="16691"/>
                  </a:cubicBezTo>
                  <a:cubicBezTo>
                    <a:pt x="4800" y="17233"/>
                    <a:pt x="5338" y="17673"/>
                    <a:pt x="6000" y="17673"/>
                  </a:cubicBezTo>
                  <a:cubicBezTo>
                    <a:pt x="6662" y="17673"/>
                    <a:pt x="7200" y="17233"/>
                    <a:pt x="7200" y="16691"/>
                  </a:cubicBezTo>
                  <a:cubicBezTo>
                    <a:pt x="7200" y="16149"/>
                    <a:pt x="6662" y="15709"/>
                    <a:pt x="6000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753">
              <a:extLst>
                <a:ext uri="{FF2B5EF4-FFF2-40B4-BE49-F238E27FC236}">
                  <a16:creationId xmlns:a16="http://schemas.microsoft.com/office/drawing/2014/main" id="{45BD8FDB-DF92-4301-BF9F-3EC7A50ECDA0}"/>
                </a:ext>
              </a:extLst>
            </p:cNvPr>
            <p:cNvSpPr/>
            <p:nvPr/>
          </p:nvSpPr>
          <p:spPr bwMode="gray">
            <a:xfrm>
              <a:off x="8945786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800" y="18655"/>
                  </a:moveTo>
                  <a:cubicBezTo>
                    <a:pt x="13468" y="18655"/>
                    <a:pt x="13200" y="18874"/>
                    <a:pt x="13200" y="19145"/>
                  </a:cubicBezTo>
                  <a:cubicBezTo>
                    <a:pt x="13200" y="19417"/>
                    <a:pt x="13468" y="19636"/>
                    <a:pt x="13800" y="19636"/>
                  </a:cubicBezTo>
                  <a:cubicBezTo>
                    <a:pt x="14132" y="19636"/>
                    <a:pt x="14400" y="19417"/>
                    <a:pt x="14400" y="19145"/>
                  </a:cubicBezTo>
                  <a:cubicBezTo>
                    <a:pt x="14400" y="18874"/>
                    <a:pt x="14132" y="18655"/>
                    <a:pt x="13800" y="18655"/>
                  </a:cubicBezTo>
                  <a:moveTo>
                    <a:pt x="10200" y="15709"/>
                  </a:moveTo>
                  <a:cubicBezTo>
                    <a:pt x="9868" y="15709"/>
                    <a:pt x="9600" y="15490"/>
                    <a:pt x="9600" y="15218"/>
                  </a:cubicBezTo>
                  <a:cubicBezTo>
                    <a:pt x="9600" y="14947"/>
                    <a:pt x="9868" y="14727"/>
                    <a:pt x="10200" y="14727"/>
                  </a:cubicBezTo>
                  <a:cubicBezTo>
                    <a:pt x="10532" y="14727"/>
                    <a:pt x="10800" y="14947"/>
                    <a:pt x="10800" y="15218"/>
                  </a:cubicBezTo>
                  <a:cubicBezTo>
                    <a:pt x="10800" y="15490"/>
                    <a:pt x="10532" y="15709"/>
                    <a:pt x="10200" y="15709"/>
                  </a:cubicBezTo>
                  <a:moveTo>
                    <a:pt x="10200" y="13745"/>
                  </a:moveTo>
                  <a:cubicBezTo>
                    <a:pt x="9206" y="13745"/>
                    <a:pt x="8400" y="14405"/>
                    <a:pt x="8400" y="15218"/>
                  </a:cubicBezTo>
                  <a:cubicBezTo>
                    <a:pt x="8400" y="16031"/>
                    <a:pt x="9206" y="16691"/>
                    <a:pt x="10200" y="16691"/>
                  </a:cubicBezTo>
                  <a:cubicBezTo>
                    <a:pt x="11194" y="16691"/>
                    <a:pt x="12000" y="16031"/>
                    <a:pt x="12000" y="15218"/>
                  </a:cubicBezTo>
                  <a:cubicBezTo>
                    <a:pt x="12000" y="14405"/>
                    <a:pt x="11194" y="13745"/>
                    <a:pt x="10200" y="13745"/>
                  </a:cubicBezTo>
                  <a:moveTo>
                    <a:pt x="15600" y="13745"/>
                  </a:moveTo>
                  <a:cubicBezTo>
                    <a:pt x="14938" y="13745"/>
                    <a:pt x="14400" y="14186"/>
                    <a:pt x="14400" y="14727"/>
                  </a:cubicBezTo>
                  <a:cubicBezTo>
                    <a:pt x="14400" y="15269"/>
                    <a:pt x="14938" y="15709"/>
                    <a:pt x="15600" y="15709"/>
                  </a:cubicBezTo>
                  <a:cubicBezTo>
                    <a:pt x="16262" y="15709"/>
                    <a:pt x="16800" y="15269"/>
                    <a:pt x="16800" y="14727"/>
                  </a:cubicBezTo>
                  <a:cubicBezTo>
                    <a:pt x="16800" y="14186"/>
                    <a:pt x="16262" y="13745"/>
                    <a:pt x="15600" y="13745"/>
                  </a:cubicBezTo>
                  <a:moveTo>
                    <a:pt x="14400" y="20618"/>
                  </a:moveTo>
                  <a:lnTo>
                    <a:pt x="7200" y="20618"/>
                  </a:lnTo>
                  <a:cubicBezTo>
                    <a:pt x="3892" y="20618"/>
                    <a:pt x="1200" y="18416"/>
                    <a:pt x="1200" y="15709"/>
                  </a:cubicBezTo>
                  <a:cubicBezTo>
                    <a:pt x="1200" y="13123"/>
                    <a:pt x="2182" y="11620"/>
                    <a:pt x="3320" y="9880"/>
                  </a:cubicBezTo>
                  <a:cubicBezTo>
                    <a:pt x="3477" y="9639"/>
                    <a:pt x="3636" y="9392"/>
                    <a:pt x="3797" y="9140"/>
                  </a:cubicBezTo>
                  <a:cubicBezTo>
                    <a:pt x="3905" y="9093"/>
                    <a:pt x="6420" y="8038"/>
                    <a:pt x="9814" y="9625"/>
                  </a:cubicBezTo>
                  <a:cubicBezTo>
                    <a:pt x="10959" y="10160"/>
                    <a:pt x="12064" y="10360"/>
                    <a:pt x="13079" y="10360"/>
                  </a:cubicBezTo>
                  <a:cubicBezTo>
                    <a:pt x="15152" y="10360"/>
                    <a:pt x="16846" y="9523"/>
                    <a:pt x="17711" y="8991"/>
                  </a:cubicBezTo>
                  <a:cubicBezTo>
                    <a:pt x="17902" y="9295"/>
                    <a:pt x="18093" y="9592"/>
                    <a:pt x="18280" y="9880"/>
                  </a:cubicBezTo>
                  <a:cubicBezTo>
                    <a:pt x="19418" y="11620"/>
                    <a:pt x="20400" y="13123"/>
                    <a:pt x="20400" y="15709"/>
                  </a:cubicBezTo>
                  <a:cubicBezTo>
                    <a:pt x="20400" y="18416"/>
                    <a:pt x="17708" y="20618"/>
                    <a:pt x="14400" y="20618"/>
                  </a:cubicBezTo>
                  <a:moveTo>
                    <a:pt x="5967" y="2945"/>
                  </a:moveTo>
                  <a:lnTo>
                    <a:pt x="15633" y="2945"/>
                  </a:lnTo>
                  <a:cubicBezTo>
                    <a:pt x="15782" y="5133"/>
                    <a:pt x="16425" y="6735"/>
                    <a:pt x="17180" y="8090"/>
                  </a:cubicBezTo>
                  <a:cubicBezTo>
                    <a:pt x="16281" y="8690"/>
                    <a:pt x="13509" y="10220"/>
                    <a:pt x="10410" y="8772"/>
                  </a:cubicBezTo>
                  <a:cubicBezTo>
                    <a:pt x="7921" y="7609"/>
                    <a:pt x="5800" y="7679"/>
                    <a:pt x="4520" y="7912"/>
                  </a:cubicBezTo>
                  <a:cubicBezTo>
                    <a:pt x="5231" y="6594"/>
                    <a:pt x="5824" y="5037"/>
                    <a:pt x="5967" y="2945"/>
                  </a:cubicBezTo>
                  <a:moveTo>
                    <a:pt x="3600" y="982"/>
                  </a:moveTo>
                  <a:lnTo>
                    <a:pt x="18000" y="982"/>
                  </a:lnTo>
                  <a:lnTo>
                    <a:pt x="18000" y="1964"/>
                  </a:lnTo>
                  <a:lnTo>
                    <a:pt x="3600" y="1964"/>
                  </a:lnTo>
                  <a:cubicBezTo>
                    <a:pt x="3600" y="1964"/>
                    <a:pt x="3600" y="982"/>
                    <a:pt x="3600" y="982"/>
                  </a:cubicBezTo>
                  <a:close/>
                  <a:moveTo>
                    <a:pt x="16843" y="2945"/>
                  </a:moveTo>
                  <a:lnTo>
                    <a:pt x="18000" y="2945"/>
                  </a:lnTo>
                  <a:cubicBezTo>
                    <a:pt x="18662" y="2945"/>
                    <a:pt x="19200" y="2505"/>
                    <a:pt x="19200" y="1964"/>
                  </a:cubicBezTo>
                  <a:lnTo>
                    <a:pt x="19200" y="982"/>
                  </a:lnTo>
                  <a:cubicBezTo>
                    <a:pt x="19200" y="440"/>
                    <a:pt x="18662" y="0"/>
                    <a:pt x="18000" y="0"/>
                  </a:cubicBezTo>
                  <a:lnTo>
                    <a:pt x="3600" y="0"/>
                  </a:lnTo>
                  <a:cubicBezTo>
                    <a:pt x="2938" y="0"/>
                    <a:pt x="2400" y="440"/>
                    <a:pt x="2400" y="982"/>
                  </a:cubicBezTo>
                  <a:lnTo>
                    <a:pt x="2400" y="1964"/>
                  </a:lnTo>
                  <a:cubicBezTo>
                    <a:pt x="2400" y="2505"/>
                    <a:pt x="2938" y="2945"/>
                    <a:pt x="3600" y="2945"/>
                  </a:cubicBezTo>
                  <a:lnTo>
                    <a:pt x="4757" y="2945"/>
                  </a:lnTo>
                  <a:cubicBezTo>
                    <a:pt x="4322" y="8937"/>
                    <a:pt x="0" y="10114"/>
                    <a:pt x="0" y="15709"/>
                  </a:cubicBezTo>
                  <a:cubicBezTo>
                    <a:pt x="0" y="18962"/>
                    <a:pt x="3224" y="21600"/>
                    <a:pt x="7200" y="21600"/>
                  </a:cubicBezTo>
                  <a:lnTo>
                    <a:pt x="14400" y="21600"/>
                  </a:lnTo>
                  <a:cubicBezTo>
                    <a:pt x="18376" y="21600"/>
                    <a:pt x="21600" y="18962"/>
                    <a:pt x="21600" y="15709"/>
                  </a:cubicBezTo>
                  <a:cubicBezTo>
                    <a:pt x="21600" y="10114"/>
                    <a:pt x="17278" y="8937"/>
                    <a:pt x="16843" y="2945"/>
                  </a:cubicBezTo>
                  <a:moveTo>
                    <a:pt x="17400" y="11782"/>
                  </a:moveTo>
                  <a:cubicBezTo>
                    <a:pt x="17068" y="11782"/>
                    <a:pt x="16800" y="12001"/>
                    <a:pt x="16800" y="12273"/>
                  </a:cubicBezTo>
                  <a:cubicBezTo>
                    <a:pt x="16800" y="12544"/>
                    <a:pt x="17068" y="12764"/>
                    <a:pt x="17400" y="12764"/>
                  </a:cubicBezTo>
                  <a:cubicBezTo>
                    <a:pt x="17732" y="12764"/>
                    <a:pt x="18000" y="12544"/>
                    <a:pt x="18000" y="12273"/>
                  </a:cubicBezTo>
                  <a:cubicBezTo>
                    <a:pt x="18000" y="12001"/>
                    <a:pt x="17732" y="11782"/>
                    <a:pt x="17400" y="11782"/>
                  </a:cubicBezTo>
                  <a:moveTo>
                    <a:pt x="6000" y="10800"/>
                  </a:moveTo>
                  <a:cubicBezTo>
                    <a:pt x="5338" y="10800"/>
                    <a:pt x="4800" y="11240"/>
                    <a:pt x="4800" y="11782"/>
                  </a:cubicBezTo>
                  <a:cubicBezTo>
                    <a:pt x="4800" y="12324"/>
                    <a:pt x="5338" y="12764"/>
                    <a:pt x="6000" y="12764"/>
                  </a:cubicBezTo>
                  <a:cubicBezTo>
                    <a:pt x="6662" y="12764"/>
                    <a:pt x="7200" y="12324"/>
                    <a:pt x="7200" y="11782"/>
                  </a:cubicBezTo>
                  <a:cubicBezTo>
                    <a:pt x="7200" y="11240"/>
                    <a:pt x="6662" y="10800"/>
                    <a:pt x="6000" y="10800"/>
                  </a:cubicBezTo>
                  <a:moveTo>
                    <a:pt x="5400" y="16691"/>
                  </a:moveTo>
                  <a:cubicBezTo>
                    <a:pt x="5068" y="16691"/>
                    <a:pt x="4800" y="16910"/>
                    <a:pt x="4800" y="17182"/>
                  </a:cubicBezTo>
                  <a:cubicBezTo>
                    <a:pt x="4800" y="17453"/>
                    <a:pt x="5068" y="17673"/>
                    <a:pt x="5400" y="17673"/>
                  </a:cubicBezTo>
                  <a:cubicBezTo>
                    <a:pt x="5732" y="17673"/>
                    <a:pt x="6000" y="17453"/>
                    <a:pt x="6000" y="17182"/>
                  </a:cubicBezTo>
                  <a:cubicBezTo>
                    <a:pt x="6000" y="16910"/>
                    <a:pt x="5732" y="16691"/>
                    <a:pt x="540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754">
              <a:extLst>
                <a:ext uri="{FF2B5EF4-FFF2-40B4-BE49-F238E27FC236}">
                  <a16:creationId xmlns:a16="http://schemas.microsoft.com/office/drawing/2014/main" id="{DDB74D1F-793B-4066-8713-19B5F1DD29C1}"/>
                </a:ext>
              </a:extLst>
            </p:cNvPr>
            <p:cNvSpPr/>
            <p:nvPr/>
          </p:nvSpPr>
          <p:spPr bwMode="gray">
            <a:xfrm>
              <a:off x="9484363" y="3941345"/>
              <a:ext cx="26272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709"/>
                  </a:moveTo>
                  <a:cubicBezTo>
                    <a:pt x="10203" y="15709"/>
                    <a:pt x="9720" y="16149"/>
                    <a:pt x="9720" y="16691"/>
                  </a:cubicBezTo>
                  <a:cubicBezTo>
                    <a:pt x="9720" y="17233"/>
                    <a:pt x="10203" y="17673"/>
                    <a:pt x="10800" y="17673"/>
                  </a:cubicBezTo>
                  <a:cubicBezTo>
                    <a:pt x="11396" y="17673"/>
                    <a:pt x="11880" y="17233"/>
                    <a:pt x="11880" y="16691"/>
                  </a:cubicBezTo>
                  <a:cubicBezTo>
                    <a:pt x="11880" y="16149"/>
                    <a:pt x="11396" y="15709"/>
                    <a:pt x="10800" y="15709"/>
                  </a:cubicBezTo>
                  <a:moveTo>
                    <a:pt x="12960" y="10800"/>
                  </a:moveTo>
                  <a:cubicBezTo>
                    <a:pt x="12363" y="10800"/>
                    <a:pt x="11880" y="11240"/>
                    <a:pt x="11880" y="11782"/>
                  </a:cubicBezTo>
                  <a:cubicBezTo>
                    <a:pt x="11880" y="12324"/>
                    <a:pt x="12363" y="12764"/>
                    <a:pt x="12960" y="12764"/>
                  </a:cubicBezTo>
                  <a:cubicBezTo>
                    <a:pt x="13556" y="12764"/>
                    <a:pt x="14040" y="12324"/>
                    <a:pt x="14040" y="11782"/>
                  </a:cubicBezTo>
                  <a:cubicBezTo>
                    <a:pt x="14040" y="11240"/>
                    <a:pt x="13556" y="10800"/>
                    <a:pt x="12960" y="10800"/>
                  </a:cubicBezTo>
                  <a:moveTo>
                    <a:pt x="15660" y="14727"/>
                  </a:moveTo>
                  <a:cubicBezTo>
                    <a:pt x="15362" y="14727"/>
                    <a:pt x="15120" y="14947"/>
                    <a:pt x="15120" y="15218"/>
                  </a:cubicBezTo>
                  <a:cubicBezTo>
                    <a:pt x="15120" y="15490"/>
                    <a:pt x="15362" y="15709"/>
                    <a:pt x="15660" y="15709"/>
                  </a:cubicBezTo>
                  <a:cubicBezTo>
                    <a:pt x="15958" y="15709"/>
                    <a:pt x="16200" y="15490"/>
                    <a:pt x="16200" y="15218"/>
                  </a:cubicBezTo>
                  <a:cubicBezTo>
                    <a:pt x="16200" y="14947"/>
                    <a:pt x="15958" y="14727"/>
                    <a:pt x="15660" y="14727"/>
                  </a:cubicBezTo>
                  <a:moveTo>
                    <a:pt x="16740" y="17673"/>
                  </a:moveTo>
                  <a:cubicBezTo>
                    <a:pt x="16442" y="17673"/>
                    <a:pt x="16200" y="17892"/>
                    <a:pt x="16200" y="18164"/>
                  </a:cubicBezTo>
                  <a:cubicBezTo>
                    <a:pt x="16200" y="18435"/>
                    <a:pt x="16442" y="18655"/>
                    <a:pt x="16740" y="18655"/>
                  </a:cubicBezTo>
                  <a:cubicBezTo>
                    <a:pt x="17038" y="18655"/>
                    <a:pt x="17280" y="18435"/>
                    <a:pt x="17280" y="18164"/>
                  </a:cubicBezTo>
                  <a:cubicBezTo>
                    <a:pt x="17280" y="17892"/>
                    <a:pt x="17038" y="17673"/>
                    <a:pt x="16740" y="17673"/>
                  </a:cubicBezTo>
                  <a:moveTo>
                    <a:pt x="7020" y="13745"/>
                  </a:moveTo>
                  <a:cubicBezTo>
                    <a:pt x="6722" y="13745"/>
                    <a:pt x="6480" y="13525"/>
                    <a:pt x="6480" y="13255"/>
                  </a:cubicBezTo>
                  <a:cubicBezTo>
                    <a:pt x="6480" y="12983"/>
                    <a:pt x="6722" y="12764"/>
                    <a:pt x="7020" y="12764"/>
                  </a:cubicBezTo>
                  <a:cubicBezTo>
                    <a:pt x="7318" y="12764"/>
                    <a:pt x="7560" y="12983"/>
                    <a:pt x="7560" y="13255"/>
                  </a:cubicBezTo>
                  <a:cubicBezTo>
                    <a:pt x="7560" y="13525"/>
                    <a:pt x="7318" y="13745"/>
                    <a:pt x="7020" y="13745"/>
                  </a:cubicBezTo>
                  <a:moveTo>
                    <a:pt x="7020" y="11782"/>
                  </a:moveTo>
                  <a:cubicBezTo>
                    <a:pt x="6126" y="11782"/>
                    <a:pt x="5400" y="12441"/>
                    <a:pt x="5400" y="13255"/>
                  </a:cubicBezTo>
                  <a:cubicBezTo>
                    <a:pt x="5400" y="14068"/>
                    <a:pt x="6126" y="14727"/>
                    <a:pt x="7020" y="14727"/>
                  </a:cubicBezTo>
                  <a:cubicBezTo>
                    <a:pt x="7914" y="14727"/>
                    <a:pt x="8640" y="14068"/>
                    <a:pt x="8640" y="13255"/>
                  </a:cubicBezTo>
                  <a:cubicBezTo>
                    <a:pt x="8640" y="12441"/>
                    <a:pt x="7914" y="11782"/>
                    <a:pt x="7020" y="11782"/>
                  </a:cubicBezTo>
                  <a:moveTo>
                    <a:pt x="16200" y="20618"/>
                  </a:moveTo>
                  <a:lnTo>
                    <a:pt x="5400" y="20618"/>
                  </a:lnTo>
                  <a:cubicBezTo>
                    <a:pt x="5224" y="20618"/>
                    <a:pt x="1080" y="20574"/>
                    <a:pt x="1080" y="16691"/>
                  </a:cubicBezTo>
                  <a:cubicBezTo>
                    <a:pt x="1080" y="12965"/>
                    <a:pt x="3149" y="11214"/>
                    <a:pt x="4975" y="9670"/>
                  </a:cubicBezTo>
                  <a:cubicBezTo>
                    <a:pt x="6031" y="8777"/>
                    <a:pt x="7028" y="7920"/>
                    <a:pt x="7400" y="6808"/>
                  </a:cubicBezTo>
                  <a:cubicBezTo>
                    <a:pt x="7683" y="6848"/>
                    <a:pt x="7974" y="6878"/>
                    <a:pt x="8279" y="6878"/>
                  </a:cubicBezTo>
                  <a:cubicBezTo>
                    <a:pt x="9182" y="6878"/>
                    <a:pt x="10166" y="6687"/>
                    <a:pt x="11184" y="6177"/>
                  </a:cubicBezTo>
                  <a:cubicBezTo>
                    <a:pt x="12256" y="5642"/>
                    <a:pt x="13226" y="5425"/>
                    <a:pt x="14040" y="5367"/>
                  </a:cubicBezTo>
                  <a:lnTo>
                    <a:pt x="14040" y="5891"/>
                  </a:lnTo>
                  <a:cubicBezTo>
                    <a:pt x="14040" y="7483"/>
                    <a:pt x="15296" y="8546"/>
                    <a:pt x="16625" y="9670"/>
                  </a:cubicBezTo>
                  <a:cubicBezTo>
                    <a:pt x="18451" y="11214"/>
                    <a:pt x="20520" y="12965"/>
                    <a:pt x="20520" y="16691"/>
                  </a:cubicBezTo>
                  <a:cubicBezTo>
                    <a:pt x="20520" y="20474"/>
                    <a:pt x="16637" y="20614"/>
                    <a:pt x="16200" y="20618"/>
                  </a:cubicBezTo>
                  <a:moveTo>
                    <a:pt x="14040" y="2945"/>
                  </a:moveTo>
                  <a:lnTo>
                    <a:pt x="14040" y="4432"/>
                  </a:lnTo>
                  <a:cubicBezTo>
                    <a:pt x="13069" y="4489"/>
                    <a:pt x="11917" y="4734"/>
                    <a:pt x="10654" y="5365"/>
                  </a:cubicBezTo>
                  <a:cubicBezTo>
                    <a:pt x="9547" y="5920"/>
                    <a:pt x="8485" y="6015"/>
                    <a:pt x="7560" y="5894"/>
                  </a:cubicBezTo>
                  <a:lnTo>
                    <a:pt x="7560" y="5891"/>
                  </a:lnTo>
                  <a:lnTo>
                    <a:pt x="7560" y="2945"/>
                  </a:lnTo>
                  <a:cubicBezTo>
                    <a:pt x="7560" y="2945"/>
                    <a:pt x="14040" y="2945"/>
                    <a:pt x="14040" y="2945"/>
                  </a:cubicBezTo>
                  <a:close/>
                  <a:moveTo>
                    <a:pt x="5400" y="982"/>
                  </a:moveTo>
                  <a:lnTo>
                    <a:pt x="16200" y="982"/>
                  </a:lnTo>
                  <a:lnTo>
                    <a:pt x="16200" y="1964"/>
                  </a:lnTo>
                  <a:lnTo>
                    <a:pt x="5400" y="1964"/>
                  </a:lnTo>
                  <a:cubicBezTo>
                    <a:pt x="5400" y="1964"/>
                    <a:pt x="5400" y="982"/>
                    <a:pt x="5400" y="982"/>
                  </a:cubicBezTo>
                  <a:close/>
                  <a:moveTo>
                    <a:pt x="15120" y="5891"/>
                  </a:moveTo>
                  <a:lnTo>
                    <a:pt x="15120" y="2945"/>
                  </a:lnTo>
                  <a:lnTo>
                    <a:pt x="16200" y="2945"/>
                  </a:lnTo>
                  <a:cubicBezTo>
                    <a:pt x="16796" y="2945"/>
                    <a:pt x="17280" y="2505"/>
                    <a:pt x="17280" y="1964"/>
                  </a:cubicBezTo>
                  <a:lnTo>
                    <a:pt x="17280" y="982"/>
                  </a:lnTo>
                  <a:cubicBezTo>
                    <a:pt x="17280" y="440"/>
                    <a:pt x="16796" y="0"/>
                    <a:pt x="16200" y="0"/>
                  </a:cubicBezTo>
                  <a:lnTo>
                    <a:pt x="5400" y="0"/>
                  </a:lnTo>
                  <a:cubicBezTo>
                    <a:pt x="4803" y="0"/>
                    <a:pt x="4320" y="440"/>
                    <a:pt x="4320" y="982"/>
                  </a:cubicBezTo>
                  <a:lnTo>
                    <a:pt x="4320" y="1964"/>
                  </a:lnTo>
                  <a:cubicBezTo>
                    <a:pt x="4320" y="2505"/>
                    <a:pt x="4803" y="2945"/>
                    <a:pt x="5400" y="2945"/>
                  </a:cubicBezTo>
                  <a:lnTo>
                    <a:pt x="6480" y="2945"/>
                  </a:lnTo>
                  <a:lnTo>
                    <a:pt x="6480" y="5891"/>
                  </a:lnTo>
                  <a:cubicBezTo>
                    <a:pt x="6480" y="8836"/>
                    <a:pt x="0" y="9818"/>
                    <a:pt x="0" y="16691"/>
                  </a:cubicBezTo>
                  <a:cubicBezTo>
                    <a:pt x="0" y="21600"/>
                    <a:pt x="5400" y="21600"/>
                    <a:pt x="5400" y="21600"/>
                  </a:cubicBezTo>
                  <a:lnTo>
                    <a:pt x="16200" y="21600"/>
                  </a:lnTo>
                  <a:cubicBezTo>
                    <a:pt x="16200" y="21600"/>
                    <a:pt x="21600" y="21600"/>
                    <a:pt x="21600" y="16691"/>
                  </a:cubicBezTo>
                  <a:cubicBezTo>
                    <a:pt x="21600" y="9818"/>
                    <a:pt x="15120" y="8836"/>
                    <a:pt x="15120" y="5891"/>
                  </a:cubicBezTo>
                  <a:moveTo>
                    <a:pt x="5940" y="16691"/>
                  </a:moveTo>
                  <a:cubicBezTo>
                    <a:pt x="5642" y="16691"/>
                    <a:pt x="5400" y="16910"/>
                    <a:pt x="5400" y="17182"/>
                  </a:cubicBezTo>
                  <a:cubicBezTo>
                    <a:pt x="5400" y="17453"/>
                    <a:pt x="5642" y="17673"/>
                    <a:pt x="5940" y="17673"/>
                  </a:cubicBezTo>
                  <a:cubicBezTo>
                    <a:pt x="6238" y="17673"/>
                    <a:pt x="6480" y="17453"/>
                    <a:pt x="6480" y="17182"/>
                  </a:cubicBezTo>
                  <a:cubicBezTo>
                    <a:pt x="6480" y="16910"/>
                    <a:pt x="6238" y="16691"/>
                    <a:pt x="5940" y="166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755">
              <a:extLst>
                <a:ext uri="{FF2B5EF4-FFF2-40B4-BE49-F238E27FC236}">
                  <a16:creationId xmlns:a16="http://schemas.microsoft.com/office/drawing/2014/main" id="{DC1045F3-CC80-4986-BEC9-76E3E2615231}"/>
                </a:ext>
              </a:extLst>
            </p:cNvPr>
            <p:cNvSpPr/>
            <p:nvPr/>
          </p:nvSpPr>
          <p:spPr bwMode="gray">
            <a:xfrm>
              <a:off x="10049213" y="3941345"/>
              <a:ext cx="236449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4909"/>
                  </a:moveTo>
                  <a:lnTo>
                    <a:pt x="19200" y="4909"/>
                  </a:lnTo>
                  <a:lnTo>
                    <a:pt x="19200" y="2945"/>
                  </a:lnTo>
                  <a:cubicBezTo>
                    <a:pt x="19200" y="2674"/>
                    <a:pt x="18932" y="2455"/>
                    <a:pt x="18600" y="2455"/>
                  </a:cubicBezTo>
                  <a:cubicBezTo>
                    <a:pt x="18268" y="2455"/>
                    <a:pt x="18000" y="2674"/>
                    <a:pt x="18000" y="2945"/>
                  </a:cubicBezTo>
                  <a:lnTo>
                    <a:pt x="18000" y="4909"/>
                  </a:lnTo>
                  <a:lnTo>
                    <a:pt x="16800" y="4909"/>
                  </a:lnTo>
                  <a:lnTo>
                    <a:pt x="16800" y="2945"/>
                  </a:lnTo>
                  <a:cubicBezTo>
                    <a:pt x="16800" y="2674"/>
                    <a:pt x="16532" y="2455"/>
                    <a:pt x="16200" y="2455"/>
                  </a:cubicBezTo>
                  <a:cubicBezTo>
                    <a:pt x="15868" y="2455"/>
                    <a:pt x="15600" y="2674"/>
                    <a:pt x="15600" y="2945"/>
                  </a:cubicBezTo>
                  <a:lnTo>
                    <a:pt x="15600" y="4909"/>
                  </a:lnTo>
                  <a:lnTo>
                    <a:pt x="14400" y="4909"/>
                  </a:lnTo>
                  <a:lnTo>
                    <a:pt x="14400" y="2455"/>
                  </a:lnTo>
                  <a:cubicBezTo>
                    <a:pt x="14400" y="2183"/>
                    <a:pt x="14132" y="1964"/>
                    <a:pt x="13800" y="1964"/>
                  </a:cubicBezTo>
                  <a:cubicBezTo>
                    <a:pt x="13468" y="1964"/>
                    <a:pt x="13200" y="2183"/>
                    <a:pt x="13200" y="2455"/>
                  </a:cubicBezTo>
                  <a:lnTo>
                    <a:pt x="13200" y="4909"/>
                  </a:lnTo>
                  <a:lnTo>
                    <a:pt x="12000" y="4909"/>
                  </a:lnTo>
                  <a:lnTo>
                    <a:pt x="12000" y="2945"/>
                  </a:lnTo>
                  <a:cubicBezTo>
                    <a:pt x="12000" y="2674"/>
                    <a:pt x="11732" y="2455"/>
                    <a:pt x="11400" y="2455"/>
                  </a:cubicBezTo>
                  <a:cubicBezTo>
                    <a:pt x="11068" y="2455"/>
                    <a:pt x="10800" y="2674"/>
                    <a:pt x="10800" y="2945"/>
                  </a:cubicBezTo>
                  <a:lnTo>
                    <a:pt x="10800" y="4909"/>
                  </a:lnTo>
                  <a:lnTo>
                    <a:pt x="9600" y="4909"/>
                  </a:lnTo>
                  <a:lnTo>
                    <a:pt x="9600" y="2455"/>
                  </a:lnTo>
                  <a:cubicBezTo>
                    <a:pt x="9600" y="2183"/>
                    <a:pt x="9332" y="1964"/>
                    <a:pt x="9000" y="1964"/>
                  </a:cubicBezTo>
                  <a:cubicBezTo>
                    <a:pt x="8668" y="1964"/>
                    <a:pt x="8400" y="2183"/>
                    <a:pt x="8400" y="2455"/>
                  </a:cubicBezTo>
                  <a:lnTo>
                    <a:pt x="8400" y="4909"/>
                  </a:lnTo>
                  <a:lnTo>
                    <a:pt x="6000" y="4909"/>
                  </a:lnTo>
                  <a:lnTo>
                    <a:pt x="6000" y="2945"/>
                  </a:lnTo>
                  <a:cubicBezTo>
                    <a:pt x="6000" y="2674"/>
                    <a:pt x="5732" y="2455"/>
                    <a:pt x="5400" y="2455"/>
                  </a:cubicBezTo>
                  <a:cubicBezTo>
                    <a:pt x="5068" y="2455"/>
                    <a:pt x="4800" y="2674"/>
                    <a:pt x="4800" y="2945"/>
                  </a:cubicBezTo>
                  <a:lnTo>
                    <a:pt x="4800" y="4909"/>
                  </a:lnTo>
                  <a:lnTo>
                    <a:pt x="3600" y="4909"/>
                  </a:lnTo>
                  <a:lnTo>
                    <a:pt x="3600" y="2455"/>
                  </a:lnTo>
                  <a:cubicBezTo>
                    <a:pt x="3600" y="2183"/>
                    <a:pt x="3332" y="1964"/>
                    <a:pt x="3000" y="1964"/>
                  </a:cubicBezTo>
                  <a:cubicBezTo>
                    <a:pt x="2668" y="1964"/>
                    <a:pt x="2400" y="2183"/>
                    <a:pt x="2400" y="2455"/>
                  </a:cubicBezTo>
                  <a:lnTo>
                    <a:pt x="2400" y="4909"/>
                  </a:lnTo>
                  <a:lnTo>
                    <a:pt x="1200" y="4909"/>
                  </a:lnTo>
                  <a:lnTo>
                    <a:pt x="1200" y="982"/>
                  </a:lnTo>
                  <a:lnTo>
                    <a:pt x="20400" y="982"/>
                  </a:lnTo>
                  <a:cubicBezTo>
                    <a:pt x="20400" y="982"/>
                    <a:pt x="20400" y="4909"/>
                    <a:pt x="20400" y="4909"/>
                  </a:cubicBezTo>
                  <a:close/>
                  <a:moveTo>
                    <a:pt x="20400" y="10309"/>
                  </a:moveTo>
                  <a:lnTo>
                    <a:pt x="19200" y="10309"/>
                  </a:lnTo>
                  <a:lnTo>
                    <a:pt x="19200" y="7855"/>
                  </a:lnTo>
                  <a:cubicBezTo>
                    <a:pt x="19200" y="7583"/>
                    <a:pt x="18932" y="7364"/>
                    <a:pt x="18600" y="7364"/>
                  </a:cubicBezTo>
                  <a:cubicBezTo>
                    <a:pt x="18268" y="7364"/>
                    <a:pt x="18000" y="7583"/>
                    <a:pt x="18000" y="7855"/>
                  </a:cubicBezTo>
                  <a:lnTo>
                    <a:pt x="18000" y="10309"/>
                  </a:lnTo>
                  <a:lnTo>
                    <a:pt x="16800" y="10309"/>
                  </a:lnTo>
                  <a:lnTo>
                    <a:pt x="16800" y="7364"/>
                  </a:lnTo>
                  <a:cubicBezTo>
                    <a:pt x="16800" y="7092"/>
                    <a:pt x="16532" y="6873"/>
                    <a:pt x="16200" y="6873"/>
                  </a:cubicBezTo>
                  <a:cubicBezTo>
                    <a:pt x="15868" y="6873"/>
                    <a:pt x="15600" y="7092"/>
                    <a:pt x="15600" y="7364"/>
                  </a:cubicBezTo>
                  <a:lnTo>
                    <a:pt x="15600" y="10309"/>
                  </a:lnTo>
                  <a:lnTo>
                    <a:pt x="14400" y="10309"/>
                  </a:lnTo>
                  <a:lnTo>
                    <a:pt x="14400" y="7855"/>
                  </a:lnTo>
                  <a:cubicBezTo>
                    <a:pt x="14400" y="7583"/>
                    <a:pt x="14132" y="7364"/>
                    <a:pt x="13800" y="7364"/>
                  </a:cubicBezTo>
                  <a:cubicBezTo>
                    <a:pt x="13468" y="7364"/>
                    <a:pt x="13200" y="7583"/>
                    <a:pt x="13200" y="7855"/>
                  </a:cubicBezTo>
                  <a:lnTo>
                    <a:pt x="13200" y="10309"/>
                  </a:lnTo>
                  <a:lnTo>
                    <a:pt x="12000" y="10309"/>
                  </a:lnTo>
                  <a:lnTo>
                    <a:pt x="12000" y="7364"/>
                  </a:lnTo>
                  <a:cubicBezTo>
                    <a:pt x="12000" y="7092"/>
                    <a:pt x="11732" y="6873"/>
                    <a:pt x="11400" y="6873"/>
                  </a:cubicBezTo>
                  <a:cubicBezTo>
                    <a:pt x="11068" y="6873"/>
                    <a:pt x="10800" y="7092"/>
                    <a:pt x="10800" y="7364"/>
                  </a:cubicBezTo>
                  <a:lnTo>
                    <a:pt x="10800" y="10309"/>
                  </a:lnTo>
                  <a:lnTo>
                    <a:pt x="8400" y="10309"/>
                  </a:lnTo>
                  <a:lnTo>
                    <a:pt x="8400" y="7855"/>
                  </a:lnTo>
                  <a:cubicBezTo>
                    <a:pt x="8400" y="7583"/>
                    <a:pt x="8132" y="7364"/>
                    <a:pt x="7800" y="7364"/>
                  </a:cubicBezTo>
                  <a:cubicBezTo>
                    <a:pt x="7468" y="7364"/>
                    <a:pt x="7200" y="7583"/>
                    <a:pt x="7200" y="7855"/>
                  </a:cubicBezTo>
                  <a:lnTo>
                    <a:pt x="7200" y="10309"/>
                  </a:lnTo>
                  <a:lnTo>
                    <a:pt x="6000" y="10309"/>
                  </a:lnTo>
                  <a:lnTo>
                    <a:pt x="6000" y="7855"/>
                  </a:lnTo>
                  <a:cubicBezTo>
                    <a:pt x="6000" y="7583"/>
                    <a:pt x="5732" y="7364"/>
                    <a:pt x="5400" y="7364"/>
                  </a:cubicBezTo>
                  <a:cubicBezTo>
                    <a:pt x="5068" y="7364"/>
                    <a:pt x="4800" y="7583"/>
                    <a:pt x="4800" y="7855"/>
                  </a:cubicBezTo>
                  <a:lnTo>
                    <a:pt x="4800" y="10309"/>
                  </a:lnTo>
                  <a:lnTo>
                    <a:pt x="3600" y="10309"/>
                  </a:lnTo>
                  <a:lnTo>
                    <a:pt x="3600" y="7364"/>
                  </a:lnTo>
                  <a:cubicBezTo>
                    <a:pt x="3600" y="7092"/>
                    <a:pt x="3332" y="6873"/>
                    <a:pt x="3000" y="6873"/>
                  </a:cubicBezTo>
                  <a:cubicBezTo>
                    <a:pt x="2668" y="6873"/>
                    <a:pt x="2400" y="7092"/>
                    <a:pt x="2400" y="7364"/>
                  </a:cubicBezTo>
                  <a:lnTo>
                    <a:pt x="2400" y="10309"/>
                  </a:lnTo>
                  <a:lnTo>
                    <a:pt x="1200" y="10309"/>
                  </a:lnTo>
                  <a:lnTo>
                    <a:pt x="1200" y="5891"/>
                  </a:lnTo>
                  <a:lnTo>
                    <a:pt x="20400" y="5891"/>
                  </a:lnTo>
                  <a:cubicBezTo>
                    <a:pt x="20400" y="5891"/>
                    <a:pt x="20400" y="10309"/>
                    <a:pt x="20400" y="10309"/>
                  </a:cubicBezTo>
                  <a:close/>
                  <a:moveTo>
                    <a:pt x="20400" y="15709"/>
                  </a:moveTo>
                  <a:lnTo>
                    <a:pt x="19200" y="15709"/>
                  </a:lnTo>
                  <a:lnTo>
                    <a:pt x="19200" y="13255"/>
                  </a:lnTo>
                  <a:cubicBezTo>
                    <a:pt x="19200" y="12983"/>
                    <a:pt x="18932" y="12764"/>
                    <a:pt x="18600" y="12764"/>
                  </a:cubicBezTo>
                  <a:cubicBezTo>
                    <a:pt x="18268" y="12764"/>
                    <a:pt x="18000" y="12983"/>
                    <a:pt x="18000" y="13255"/>
                  </a:cubicBezTo>
                  <a:lnTo>
                    <a:pt x="18000" y="15709"/>
                  </a:lnTo>
                  <a:lnTo>
                    <a:pt x="16800" y="15709"/>
                  </a:lnTo>
                  <a:lnTo>
                    <a:pt x="16800" y="13255"/>
                  </a:lnTo>
                  <a:cubicBezTo>
                    <a:pt x="16800" y="12983"/>
                    <a:pt x="16532" y="12764"/>
                    <a:pt x="16200" y="12764"/>
                  </a:cubicBezTo>
                  <a:cubicBezTo>
                    <a:pt x="15868" y="12764"/>
                    <a:pt x="15600" y="12983"/>
                    <a:pt x="15600" y="13255"/>
                  </a:cubicBezTo>
                  <a:lnTo>
                    <a:pt x="15600" y="15709"/>
                  </a:lnTo>
                  <a:lnTo>
                    <a:pt x="13200" y="15709"/>
                  </a:lnTo>
                  <a:lnTo>
                    <a:pt x="13200" y="13745"/>
                  </a:lnTo>
                  <a:cubicBezTo>
                    <a:pt x="13200" y="13474"/>
                    <a:pt x="12932" y="13255"/>
                    <a:pt x="12600" y="13255"/>
                  </a:cubicBezTo>
                  <a:cubicBezTo>
                    <a:pt x="12268" y="13255"/>
                    <a:pt x="12000" y="13474"/>
                    <a:pt x="12000" y="13745"/>
                  </a:cubicBezTo>
                  <a:lnTo>
                    <a:pt x="12000" y="15709"/>
                  </a:lnTo>
                  <a:lnTo>
                    <a:pt x="10800" y="15709"/>
                  </a:lnTo>
                  <a:lnTo>
                    <a:pt x="10800" y="13745"/>
                  </a:lnTo>
                  <a:cubicBezTo>
                    <a:pt x="10800" y="13474"/>
                    <a:pt x="10532" y="13255"/>
                    <a:pt x="10200" y="13255"/>
                  </a:cubicBezTo>
                  <a:cubicBezTo>
                    <a:pt x="9868" y="13255"/>
                    <a:pt x="9600" y="13474"/>
                    <a:pt x="9600" y="13745"/>
                  </a:cubicBezTo>
                  <a:lnTo>
                    <a:pt x="9600" y="15709"/>
                  </a:lnTo>
                  <a:lnTo>
                    <a:pt x="8400" y="15709"/>
                  </a:lnTo>
                  <a:lnTo>
                    <a:pt x="8400" y="13255"/>
                  </a:lnTo>
                  <a:cubicBezTo>
                    <a:pt x="8400" y="12983"/>
                    <a:pt x="8132" y="12764"/>
                    <a:pt x="7800" y="12764"/>
                  </a:cubicBezTo>
                  <a:cubicBezTo>
                    <a:pt x="7468" y="12764"/>
                    <a:pt x="7200" y="12983"/>
                    <a:pt x="7200" y="13255"/>
                  </a:cubicBezTo>
                  <a:lnTo>
                    <a:pt x="7200" y="15709"/>
                  </a:lnTo>
                  <a:lnTo>
                    <a:pt x="6000" y="15709"/>
                  </a:lnTo>
                  <a:lnTo>
                    <a:pt x="6000" y="13745"/>
                  </a:lnTo>
                  <a:cubicBezTo>
                    <a:pt x="6000" y="13474"/>
                    <a:pt x="5732" y="13255"/>
                    <a:pt x="5400" y="13255"/>
                  </a:cubicBezTo>
                  <a:cubicBezTo>
                    <a:pt x="5068" y="13255"/>
                    <a:pt x="4800" y="13474"/>
                    <a:pt x="4800" y="13745"/>
                  </a:cubicBezTo>
                  <a:lnTo>
                    <a:pt x="4800" y="15709"/>
                  </a:lnTo>
                  <a:lnTo>
                    <a:pt x="1200" y="15709"/>
                  </a:lnTo>
                  <a:lnTo>
                    <a:pt x="1200" y="11291"/>
                  </a:lnTo>
                  <a:lnTo>
                    <a:pt x="20400" y="11291"/>
                  </a:lnTo>
                  <a:cubicBezTo>
                    <a:pt x="20400" y="11291"/>
                    <a:pt x="20400" y="15709"/>
                    <a:pt x="20400" y="15709"/>
                  </a:cubicBezTo>
                  <a:close/>
                  <a:moveTo>
                    <a:pt x="20400" y="20618"/>
                  </a:moveTo>
                  <a:lnTo>
                    <a:pt x="19200" y="20618"/>
                  </a:lnTo>
                  <a:lnTo>
                    <a:pt x="19200" y="18655"/>
                  </a:lnTo>
                  <a:cubicBezTo>
                    <a:pt x="19200" y="18383"/>
                    <a:pt x="18932" y="18164"/>
                    <a:pt x="18600" y="18164"/>
                  </a:cubicBezTo>
                  <a:cubicBezTo>
                    <a:pt x="18268" y="18164"/>
                    <a:pt x="18000" y="18383"/>
                    <a:pt x="18000" y="18655"/>
                  </a:cubicBezTo>
                  <a:lnTo>
                    <a:pt x="18000" y="20618"/>
                  </a:lnTo>
                  <a:lnTo>
                    <a:pt x="16800" y="20618"/>
                  </a:lnTo>
                  <a:lnTo>
                    <a:pt x="16800" y="18655"/>
                  </a:lnTo>
                  <a:cubicBezTo>
                    <a:pt x="16800" y="18383"/>
                    <a:pt x="16532" y="18164"/>
                    <a:pt x="16200" y="18164"/>
                  </a:cubicBezTo>
                  <a:cubicBezTo>
                    <a:pt x="15868" y="18164"/>
                    <a:pt x="15600" y="18383"/>
                    <a:pt x="15600" y="18655"/>
                  </a:cubicBezTo>
                  <a:lnTo>
                    <a:pt x="15600" y="20618"/>
                  </a:lnTo>
                  <a:lnTo>
                    <a:pt x="14400" y="20618"/>
                  </a:lnTo>
                  <a:lnTo>
                    <a:pt x="14400" y="18164"/>
                  </a:lnTo>
                  <a:cubicBezTo>
                    <a:pt x="14400" y="17892"/>
                    <a:pt x="14132" y="17673"/>
                    <a:pt x="13800" y="17673"/>
                  </a:cubicBezTo>
                  <a:cubicBezTo>
                    <a:pt x="13468" y="17673"/>
                    <a:pt x="13200" y="17892"/>
                    <a:pt x="13200" y="18164"/>
                  </a:cubicBezTo>
                  <a:lnTo>
                    <a:pt x="13200" y="20618"/>
                  </a:lnTo>
                  <a:lnTo>
                    <a:pt x="10800" y="20618"/>
                  </a:lnTo>
                  <a:lnTo>
                    <a:pt x="10800" y="18164"/>
                  </a:lnTo>
                  <a:cubicBezTo>
                    <a:pt x="10800" y="17892"/>
                    <a:pt x="10532" y="17673"/>
                    <a:pt x="10200" y="17673"/>
                  </a:cubicBezTo>
                  <a:cubicBezTo>
                    <a:pt x="9868" y="17673"/>
                    <a:pt x="9600" y="17892"/>
                    <a:pt x="9600" y="18164"/>
                  </a:cubicBezTo>
                  <a:lnTo>
                    <a:pt x="9600" y="20618"/>
                  </a:lnTo>
                  <a:lnTo>
                    <a:pt x="8400" y="20618"/>
                  </a:lnTo>
                  <a:lnTo>
                    <a:pt x="8400" y="18655"/>
                  </a:lnTo>
                  <a:cubicBezTo>
                    <a:pt x="8400" y="18383"/>
                    <a:pt x="8132" y="18164"/>
                    <a:pt x="7800" y="18164"/>
                  </a:cubicBezTo>
                  <a:cubicBezTo>
                    <a:pt x="7468" y="18164"/>
                    <a:pt x="7200" y="18383"/>
                    <a:pt x="7200" y="18655"/>
                  </a:cubicBezTo>
                  <a:lnTo>
                    <a:pt x="7200" y="20618"/>
                  </a:lnTo>
                  <a:lnTo>
                    <a:pt x="6000" y="20618"/>
                  </a:lnTo>
                  <a:lnTo>
                    <a:pt x="6000" y="18164"/>
                  </a:lnTo>
                  <a:cubicBezTo>
                    <a:pt x="6000" y="17892"/>
                    <a:pt x="5732" y="17673"/>
                    <a:pt x="5400" y="17673"/>
                  </a:cubicBezTo>
                  <a:cubicBezTo>
                    <a:pt x="5068" y="17673"/>
                    <a:pt x="4800" y="17892"/>
                    <a:pt x="4800" y="18164"/>
                  </a:cubicBezTo>
                  <a:lnTo>
                    <a:pt x="4800" y="20618"/>
                  </a:lnTo>
                  <a:lnTo>
                    <a:pt x="3600" y="20618"/>
                  </a:lnTo>
                  <a:lnTo>
                    <a:pt x="3600" y="18655"/>
                  </a:lnTo>
                  <a:cubicBezTo>
                    <a:pt x="3600" y="18383"/>
                    <a:pt x="3332" y="18164"/>
                    <a:pt x="3000" y="18164"/>
                  </a:cubicBezTo>
                  <a:cubicBezTo>
                    <a:pt x="2668" y="18164"/>
                    <a:pt x="2400" y="18383"/>
                    <a:pt x="2400" y="18655"/>
                  </a:cubicBezTo>
                  <a:lnTo>
                    <a:pt x="2400" y="20618"/>
                  </a:lnTo>
                  <a:lnTo>
                    <a:pt x="1200" y="20618"/>
                  </a:lnTo>
                  <a:lnTo>
                    <a:pt x="1200" y="16691"/>
                  </a:lnTo>
                  <a:lnTo>
                    <a:pt x="20400" y="16691"/>
                  </a:lnTo>
                  <a:cubicBezTo>
                    <a:pt x="20400" y="16691"/>
                    <a:pt x="20400" y="20618"/>
                    <a:pt x="20400" y="20618"/>
                  </a:cubicBezTo>
                  <a:close/>
                  <a:moveTo>
                    <a:pt x="20400" y="0"/>
                  </a:moveTo>
                  <a:lnTo>
                    <a:pt x="1200" y="0"/>
                  </a:lnTo>
                  <a:cubicBezTo>
                    <a:pt x="537" y="0"/>
                    <a:pt x="0" y="440"/>
                    <a:pt x="0" y="982"/>
                  </a:cubicBezTo>
                  <a:lnTo>
                    <a:pt x="0" y="20618"/>
                  </a:lnTo>
                  <a:cubicBezTo>
                    <a:pt x="0" y="21160"/>
                    <a:pt x="537" y="21600"/>
                    <a:pt x="1200" y="21600"/>
                  </a:cubicBezTo>
                  <a:lnTo>
                    <a:pt x="20400" y="21600"/>
                  </a:lnTo>
                  <a:cubicBezTo>
                    <a:pt x="21062" y="21600"/>
                    <a:pt x="21600" y="21160"/>
                    <a:pt x="21600" y="20618"/>
                  </a:cubicBezTo>
                  <a:lnTo>
                    <a:pt x="21600" y="982"/>
                  </a:lnTo>
                  <a:cubicBezTo>
                    <a:pt x="21600" y="440"/>
                    <a:pt x="21062" y="0"/>
                    <a:pt x="204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756">
              <a:extLst>
                <a:ext uri="{FF2B5EF4-FFF2-40B4-BE49-F238E27FC236}">
                  <a16:creationId xmlns:a16="http://schemas.microsoft.com/office/drawing/2014/main" id="{2EFFE74C-FF3B-442A-9020-4F830DCB59B5}"/>
                </a:ext>
              </a:extLst>
            </p:cNvPr>
            <p:cNvSpPr/>
            <p:nvPr/>
          </p:nvSpPr>
          <p:spPr bwMode="gray">
            <a:xfrm>
              <a:off x="10574655" y="4020161"/>
              <a:ext cx="288993" cy="1313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19440"/>
                  </a:moveTo>
                  <a:cubicBezTo>
                    <a:pt x="17951" y="19440"/>
                    <a:pt x="17182" y="17747"/>
                    <a:pt x="17182" y="15660"/>
                  </a:cubicBezTo>
                  <a:cubicBezTo>
                    <a:pt x="17182" y="14601"/>
                    <a:pt x="17381" y="13647"/>
                    <a:pt x="17700" y="12960"/>
                  </a:cubicBezTo>
                  <a:lnTo>
                    <a:pt x="3900" y="12960"/>
                  </a:lnTo>
                  <a:cubicBezTo>
                    <a:pt x="4219" y="13647"/>
                    <a:pt x="4418" y="14601"/>
                    <a:pt x="4418" y="15660"/>
                  </a:cubicBezTo>
                  <a:cubicBezTo>
                    <a:pt x="4418" y="17747"/>
                    <a:pt x="3649" y="19440"/>
                    <a:pt x="2700" y="19440"/>
                  </a:cubicBezTo>
                  <a:cubicBezTo>
                    <a:pt x="1751" y="19440"/>
                    <a:pt x="982" y="17747"/>
                    <a:pt x="982" y="15660"/>
                  </a:cubicBezTo>
                  <a:cubicBezTo>
                    <a:pt x="982" y="13757"/>
                    <a:pt x="1623" y="12199"/>
                    <a:pt x="2455" y="11935"/>
                  </a:cubicBezTo>
                  <a:lnTo>
                    <a:pt x="2455" y="11880"/>
                  </a:lnTo>
                  <a:cubicBezTo>
                    <a:pt x="2726" y="11880"/>
                    <a:pt x="2945" y="11397"/>
                    <a:pt x="2945" y="10800"/>
                  </a:cubicBezTo>
                  <a:cubicBezTo>
                    <a:pt x="2945" y="10203"/>
                    <a:pt x="2726" y="9720"/>
                    <a:pt x="2455" y="9720"/>
                  </a:cubicBezTo>
                  <a:lnTo>
                    <a:pt x="2455" y="9665"/>
                  </a:lnTo>
                  <a:cubicBezTo>
                    <a:pt x="1623" y="9401"/>
                    <a:pt x="982" y="7843"/>
                    <a:pt x="982" y="5940"/>
                  </a:cubicBezTo>
                  <a:cubicBezTo>
                    <a:pt x="982" y="3852"/>
                    <a:pt x="1751" y="2160"/>
                    <a:pt x="2700" y="2160"/>
                  </a:cubicBezTo>
                  <a:cubicBezTo>
                    <a:pt x="3649" y="2160"/>
                    <a:pt x="4418" y="3852"/>
                    <a:pt x="4418" y="5940"/>
                  </a:cubicBezTo>
                  <a:cubicBezTo>
                    <a:pt x="4418" y="6999"/>
                    <a:pt x="4219" y="7954"/>
                    <a:pt x="3900" y="8640"/>
                  </a:cubicBezTo>
                  <a:lnTo>
                    <a:pt x="17700" y="8640"/>
                  </a:lnTo>
                  <a:cubicBezTo>
                    <a:pt x="17381" y="7954"/>
                    <a:pt x="17182" y="6999"/>
                    <a:pt x="17182" y="5940"/>
                  </a:cubicBezTo>
                  <a:cubicBezTo>
                    <a:pt x="17182" y="3852"/>
                    <a:pt x="17951" y="2160"/>
                    <a:pt x="18900" y="2160"/>
                  </a:cubicBezTo>
                  <a:cubicBezTo>
                    <a:pt x="19849" y="2160"/>
                    <a:pt x="20618" y="3852"/>
                    <a:pt x="20618" y="5940"/>
                  </a:cubicBezTo>
                  <a:cubicBezTo>
                    <a:pt x="20618" y="7843"/>
                    <a:pt x="19977" y="9401"/>
                    <a:pt x="19145" y="9665"/>
                  </a:cubicBezTo>
                  <a:lnTo>
                    <a:pt x="19145" y="9720"/>
                  </a:lnTo>
                  <a:cubicBezTo>
                    <a:pt x="18874" y="9720"/>
                    <a:pt x="18655" y="10203"/>
                    <a:pt x="18655" y="10800"/>
                  </a:cubicBezTo>
                  <a:cubicBezTo>
                    <a:pt x="18655" y="11397"/>
                    <a:pt x="18874" y="11880"/>
                    <a:pt x="19145" y="11880"/>
                  </a:cubicBezTo>
                  <a:lnTo>
                    <a:pt x="19145" y="11935"/>
                  </a:lnTo>
                  <a:cubicBezTo>
                    <a:pt x="19977" y="12199"/>
                    <a:pt x="20618" y="13757"/>
                    <a:pt x="20618" y="15660"/>
                  </a:cubicBezTo>
                  <a:cubicBezTo>
                    <a:pt x="20618" y="17747"/>
                    <a:pt x="19849" y="19440"/>
                    <a:pt x="18900" y="19440"/>
                  </a:cubicBezTo>
                  <a:moveTo>
                    <a:pt x="20449" y="10800"/>
                  </a:moveTo>
                  <a:cubicBezTo>
                    <a:pt x="21145" y="9725"/>
                    <a:pt x="21600" y="7950"/>
                    <a:pt x="21600" y="5940"/>
                  </a:cubicBezTo>
                  <a:cubicBezTo>
                    <a:pt x="21600" y="2660"/>
                    <a:pt x="20391" y="0"/>
                    <a:pt x="18900" y="0"/>
                  </a:cubicBezTo>
                  <a:cubicBezTo>
                    <a:pt x="17409" y="0"/>
                    <a:pt x="16200" y="2660"/>
                    <a:pt x="16200" y="5940"/>
                  </a:cubicBezTo>
                  <a:cubicBezTo>
                    <a:pt x="16200" y="6124"/>
                    <a:pt x="16208" y="6301"/>
                    <a:pt x="16215" y="6480"/>
                  </a:cubicBezTo>
                  <a:lnTo>
                    <a:pt x="5385" y="6480"/>
                  </a:lnTo>
                  <a:cubicBezTo>
                    <a:pt x="5392" y="6301"/>
                    <a:pt x="5400" y="6124"/>
                    <a:pt x="5400" y="5940"/>
                  </a:cubicBezTo>
                  <a:cubicBezTo>
                    <a:pt x="5400" y="2660"/>
                    <a:pt x="4191" y="0"/>
                    <a:pt x="2700" y="0"/>
                  </a:cubicBezTo>
                  <a:cubicBezTo>
                    <a:pt x="1209" y="0"/>
                    <a:pt x="0" y="2660"/>
                    <a:pt x="0" y="5940"/>
                  </a:cubicBezTo>
                  <a:cubicBezTo>
                    <a:pt x="0" y="7950"/>
                    <a:pt x="455" y="9725"/>
                    <a:pt x="1151" y="10800"/>
                  </a:cubicBezTo>
                  <a:cubicBezTo>
                    <a:pt x="455" y="11875"/>
                    <a:pt x="0" y="13649"/>
                    <a:pt x="0" y="15660"/>
                  </a:cubicBezTo>
                  <a:cubicBezTo>
                    <a:pt x="0" y="18940"/>
                    <a:pt x="1209" y="21600"/>
                    <a:pt x="2700" y="21600"/>
                  </a:cubicBezTo>
                  <a:cubicBezTo>
                    <a:pt x="4191" y="21600"/>
                    <a:pt x="5400" y="18940"/>
                    <a:pt x="5400" y="15660"/>
                  </a:cubicBezTo>
                  <a:cubicBezTo>
                    <a:pt x="5400" y="15476"/>
                    <a:pt x="5392" y="15298"/>
                    <a:pt x="5385" y="15120"/>
                  </a:cubicBezTo>
                  <a:lnTo>
                    <a:pt x="16215" y="15120"/>
                  </a:lnTo>
                  <a:cubicBezTo>
                    <a:pt x="16208" y="15298"/>
                    <a:pt x="16200" y="15476"/>
                    <a:pt x="16200" y="15660"/>
                  </a:cubicBezTo>
                  <a:cubicBezTo>
                    <a:pt x="16200" y="18940"/>
                    <a:pt x="17409" y="21600"/>
                    <a:pt x="18900" y="21600"/>
                  </a:cubicBezTo>
                  <a:cubicBezTo>
                    <a:pt x="20391" y="21600"/>
                    <a:pt x="21600" y="18940"/>
                    <a:pt x="21600" y="15660"/>
                  </a:cubicBezTo>
                  <a:cubicBezTo>
                    <a:pt x="21600" y="13649"/>
                    <a:pt x="21145" y="11875"/>
                    <a:pt x="20449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757">
              <a:extLst>
                <a:ext uri="{FF2B5EF4-FFF2-40B4-BE49-F238E27FC236}">
                  <a16:creationId xmlns:a16="http://schemas.microsoft.com/office/drawing/2014/main" id="{328AEB39-3664-4D8E-82D0-01C663DB1388}"/>
                </a:ext>
              </a:extLst>
            </p:cNvPr>
            <p:cNvSpPr/>
            <p:nvPr/>
          </p:nvSpPr>
          <p:spPr bwMode="gray">
            <a:xfrm>
              <a:off x="11126368" y="3941345"/>
              <a:ext cx="289067" cy="289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4" h="21085" extrusionOk="0">
                  <a:moveTo>
                    <a:pt x="6690" y="19632"/>
                  </a:moveTo>
                  <a:cubicBezTo>
                    <a:pt x="6035" y="20288"/>
                    <a:pt x="4973" y="20288"/>
                    <a:pt x="4318" y="19632"/>
                  </a:cubicBezTo>
                  <a:cubicBezTo>
                    <a:pt x="3731" y="19043"/>
                    <a:pt x="3675" y="18127"/>
                    <a:pt x="4141" y="17471"/>
                  </a:cubicBezTo>
                  <a:lnTo>
                    <a:pt x="4127" y="17458"/>
                  </a:lnTo>
                  <a:cubicBezTo>
                    <a:pt x="4237" y="17311"/>
                    <a:pt x="4231" y="17106"/>
                    <a:pt x="4096" y="16973"/>
                  </a:cubicBezTo>
                  <a:cubicBezTo>
                    <a:pt x="3963" y="16842"/>
                    <a:pt x="3758" y="16835"/>
                    <a:pt x="3610" y="16939"/>
                  </a:cubicBezTo>
                  <a:lnTo>
                    <a:pt x="3601" y="16931"/>
                  </a:lnTo>
                  <a:cubicBezTo>
                    <a:pt x="2946" y="17395"/>
                    <a:pt x="2036" y="17338"/>
                    <a:pt x="1449" y="16752"/>
                  </a:cubicBezTo>
                  <a:cubicBezTo>
                    <a:pt x="794" y="16097"/>
                    <a:pt x="794" y="15035"/>
                    <a:pt x="1449" y="14381"/>
                  </a:cubicBezTo>
                  <a:cubicBezTo>
                    <a:pt x="2104" y="13726"/>
                    <a:pt x="3166" y="13726"/>
                    <a:pt x="3821" y="14381"/>
                  </a:cubicBezTo>
                  <a:cubicBezTo>
                    <a:pt x="4110" y="14670"/>
                    <a:pt x="4264" y="15040"/>
                    <a:pt x="4297" y="15418"/>
                  </a:cubicBezTo>
                  <a:lnTo>
                    <a:pt x="9862" y="9852"/>
                  </a:lnTo>
                  <a:lnTo>
                    <a:pt x="15417" y="4298"/>
                  </a:lnTo>
                  <a:cubicBezTo>
                    <a:pt x="15038" y="4264"/>
                    <a:pt x="14669" y="4111"/>
                    <a:pt x="14380" y="3821"/>
                  </a:cubicBezTo>
                  <a:cubicBezTo>
                    <a:pt x="13725" y="3166"/>
                    <a:pt x="13725" y="2105"/>
                    <a:pt x="14380" y="1450"/>
                  </a:cubicBezTo>
                  <a:cubicBezTo>
                    <a:pt x="15034" y="795"/>
                    <a:pt x="16096" y="795"/>
                    <a:pt x="16751" y="1450"/>
                  </a:cubicBezTo>
                  <a:cubicBezTo>
                    <a:pt x="17332" y="2031"/>
                    <a:pt x="17394" y="2932"/>
                    <a:pt x="16943" y="3585"/>
                  </a:cubicBezTo>
                  <a:lnTo>
                    <a:pt x="16949" y="3592"/>
                  </a:lnTo>
                  <a:cubicBezTo>
                    <a:pt x="16829" y="3738"/>
                    <a:pt x="16832" y="3953"/>
                    <a:pt x="16971" y="4089"/>
                  </a:cubicBezTo>
                  <a:cubicBezTo>
                    <a:pt x="17109" y="4225"/>
                    <a:pt x="17323" y="4230"/>
                    <a:pt x="17473" y="4114"/>
                  </a:cubicBezTo>
                  <a:lnTo>
                    <a:pt x="17487" y="4129"/>
                  </a:lnTo>
                  <a:cubicBezTo>
                    <a:pt x="18142" y="3675"/>
                    <a:pt x="19047" y="3737"/>
                    <a:pt x="19631" y="4319"/>
                  </a:cubicBezTo>
                  <a:cubicBezTo>
                    <a:pt x="20287" y="4974"/>
                    <a:pt x="20287" y="6036"/>
                    <a:pt x="19631" y="6691"/>
                  </a:cubicBezTo>
                  <a:cubicBezTo>
                    <a:pt x="18974" y="7346"/>
                    <a:pt x="17909" y="7346"/>
                    <a:pt x="17253" y="6691"/>
                  </a:cubicBezTo>
                  <a:cubicBezTo>
                    <a:pt x="16962" y="6400"/>
                    <a:pt x="16807" y="6029"/>
                    <a:pt x="16775" y="5650"/>
                  </a:cubicBezTo>
                  <a:lnTo>
                    <a:pt x="5650" y="16775"/>
                  </a:lnTo>
                  <a:cubicBezTo>
                    <a:pt x="6029" y="16808"/>
                    <a:pt x="6400" y="16963"/>
                    <a:pt x="6690" y="17254"/>
                  </a:cubicBezTo>
                  <a:cubicBezTo>
                    <a:pt x="7344" y="17910"/>
                    <a:pt x="7344" y="18975"/>
                    <a:pt x="6690" y="19632"/>
                  </a:cubicBezTo>
                  <a:moveTo>
                    <a:pt x="7277" y="16503"/>
                  </a:moveTo>
                  <a:lnTo>
                    <a:pt x="16501" y="7278"/>
                  </a:lnTo>
                  <a:cubicBezTo>
                    <a:pt x="16528" y="7307"/>
                    <a:pt x="16545" y="7340"/>
                    <a:pt x="16573" y="7368"/>
                  </a:cubicBezTo>
                  <a:cubicBezTo>
                    <a:pt x="17605" y="8397"/>
                    <a:pt x="19278" y="8397"/>
                    <a:pt x="20310" y="7368"/>
                  </a:cubicBezTo>
                  <a:cubicBezTo>
                    <a:pt x="21342" y="6339"/>
                    <a:pt x="21342" y="4671"/>
                    <a:pt x="20310" y="3641"/>
                  </a:cubicBezTo>
                  <a:cubicBezTo>
                    <a:pt x="19726" y="3059"/>
                    <a:pt x="18937" y="2818"/>
                    <a:pt x="18175" y="2895"/>
                  </a:cubicBezTo>
                  <a:cubicBezTo>
                    <a:pt x="18250" y="2137"/>
                    <a:pt x="18009" y="1353"/>
                    <a:pt x="17428" y="772"/>
                  </a:cubicBezTo>
                  <a:cubicBezTo>
                    <a:pt x="16399" y="-257"/>
                    <a:pt x="14731" y="-257"/>
                    <a:pt x="13702" y="772"/>
                  </a:cubicBezTo>
                  <a:cubicBezTo>
                    <a:pt x="12673" y="1802"/>
                    <a:pt x="12673" y="3470"/>
                    <a:pt x="13702" y="4498"/>
                  </a:cubicBezTo>
                  <a:cubicBezTo>
                    <a:pt x="13729" y="4526"/>
                    <a:pt x="13763" y="4543"/>
                    <a:pt x="13791" y="4569"/>
                  </a:cubicBezTo>
                  <a:lnTo>
                    <a:pt x="4568" y="13791"/>
                  </a:lnTo>
                  <a:cubicBezTo>
                    <a:pt x="4542" y="13763"/>
                    <a:pt x="4526" y="13730"/>
                    <a:pt x="4498" y="13703"/>
                  </a:cubicBezTo>
                  <a:cubicBezTo>
                    <a:pt x="3469" y="12674"/>
                    <a:pt x="1801" y="12674"/>
                    <a:pt x="772" y="13703"/>
                  </a:cubicBezTo>
                  <a:cubicBezTo>
                    <a:pt x="-258" y="14732"/>
                    <a:pt x="-258" y="16400"/>
                    <a:pt x="772" y="17429"/>
                  </a:cubicBezTo>
                  <a:cubicBezTo>
                    <a:pt x="1353" y="18010"/>
                    <a:pt x="2136" y="18251"/>
                    <a:pt x="2895" y="18176"/>
                  </a:cubicBezTo>
                  <a:cubicBezTo>
                    <a:pt x="2818" y="18938"/>
                    <a:pt x="3058" y="19727"/>
                    <a:pt x="3641" y="20311"/>
                  </a:cubicBezTo>
                  <a:cubicBezTo>
                    <a:pt x="4670" y="21343"/>
                    <a:pt x="6338" y="21343"/>
                    <a:pt x="7367" y="20311"/>
                  </a:cubicBezTo>
                  <a:cubicBezTo>
                    <a:pt x="8396" y="19279"/>
                    <a:pt x="8396" y="17606"/>
                    <a:pt x="7367" y="16574"/>
                  </a:cubicBezTo>
                  <a:cubicBezTo>
                    <a:pt x="7339" y="16546"/>
                    <a:pt x="7306" y="16529"/>
                    <a:pt x="7277" y="16503"/>
                  </a:cubicBezTo>
                  <a:moveTo>
                    <a:pt x="16558" y="13703"/>
                  </a:moveTo>
                  <a:cubicBezTo>
                    <a:pt x="16530" y="13731"/>
                    <a:pt x="16513" y="13764"/>
                    <a:pt x="16487" y="13793"/>
                  </a:cubicBezTo>
                  <a:lnTo>
                    <a:pt x="14254" y="11560"/>
                  </a:lnTo>
                  <a:cubicBezTo>
                    <a:pt x="14067" y="11391"/>
                    <a:pt x="13780" y="11393"/>
                    <a:pt x="13601" y="11573"/>
                  </a:cubicBezTo>
                  <a:cubicBezTo>
                    <a:pt x="13421" y="11753"/>
                    <a:pt x="13419" y="12039"/>
                    <a:pt x="13588" y="12226"/>
                  </a:cubicBezTo>
                  <a:lnTo>
                    <a:pt x="13576" y="12237"/>
                  </a:lnTo>
                  <a:lnTo>
                    <a:pt x="16759" y="15420"/>
                  </a:lnTo>
                  <a:cubicBezTo>
                    <a:pt x="16792" y="15041"/>
                    <a:pt x="16947" y="14671"/>
                    <a:pt x="17238" y="14381"/>
                  </a:cubicBezTo>
                  <a:cubicBezTo>
                    <a:pt x="17895" y="13726"/>
                    <a:pt x="18959" y="13726"/>
                    <a:pt x="19615" y="14381"/>
                  </a:cubicBezTo>
                  <a:cubicBezTo>
                    <a:pt x="20273" y="15035"/>
                    <a:pt x="20273" y="16097"/>
                    <a:pt x="19615" y="16752"/>
                  </a:cubicBezTo>
                  <a:cubicBezTo>
                    <a:pt x="19027" y="17339"/>
                    <a:pt x="18112" y="17395"/>
                    <a:pt x="17455" y="16929"/>
                  </a:cubicBezTo>
                  <a:lnTo>
                    <a:pt x="17442" y="16942"/>
                  </a:lnTo>
                  <a:cubicBezTo>
                    <a:pt x="17295" y="16832"/>
                    <a:pt x="17090" y="16839"/>
                    <a:pt x="16957" y="16974"/>
                  </a:cubicBezTo>
                  <a:cubicBezTo>
                    <a:pt x="16826" y="17107"/>
                    <a:pt x="16819" y="17312"/>
                    <a:pt x="16923" y="17460"/>
                  </a:cubicBezTo>
                  <a:lnTo>
                    <a:pt x="16915" y="17469"/>
                  </a:lnTo>
                  <a:cubicBezTo>
                    <a:pt x="17379" y="18124"/>
                    <a:pt x="17322" y="19034"/>
                    <a:pt x="16736" y="19621"/>
                  </a:cubicBezTo>
                  <a:cubicBezTo>
                    <a:pt x="16081" y="20276"/>
                    <a:pt x="15019" y="20276"/>
                    <a:pt x="14365" y="19621"/>
                  </a:cubicBezTo>
                  <a:cubicBezTo>
                    <a:pt x="13710" y="18966"/>
                    <a:pt x="13710" y="17904"/>
                    <a:pt x="14365" y="17250"/>
                  </a:cubicBezTo>
                  <a:cubicBezTo>
                    <a:pt x="14654" y="16960"/>
                    <a:pt x="15024" y="16807"/>
                    <a:pt x="15402" y="16773"/>
                  </a:cubicBezTo>
                  <a:lnTo>
                    <a:pt x="12222" y="13592"/>
                  </a:lnTo>
                  <a:lnTo>
                    <a:pt x="12218" y="13596"/>
                  </a:lnTo>
                  <a:cubicBezTo>
                    <a:pt x="12031" y="13427"/>
                    <a:pt x="11744" y="13428"/>
                    <a:pt x="11565" y="13609"/>
                  </a:cubicBezTo>
                  <a:cubicBezTo>
                    <a:pt x="11385" y="13789"/>
                    <a:pt x="11383" y="14075"/>
                    <a:pt x="11552" y="14262"/>
                  </a:cubicBezTo>
                  <a:lnTo>
                    <a:pt x="13776" y="16501"/>
                  </a:lnTo>
                  <a:cubicBezTo>
                    <a:pt x="13748" y="16528"/>
                    <a:pt x="13714" y="16544"/>
                    <a:pt x="13687" y="16572"/>
                  </a:cubicBezTo>
                  <a:cubicBezTo>
                    <a:pt x="12658" y="17601"/>
                    <a:pt x="12658" y="19269"/>
                    <a:pt x="13687" y="20298"/>
                  </a:cubicBezTo>
                  <a:cubicBezTo>
                    <a:pt x="14716" y="21328"/>
                    <a:pt x="16384" y="21328"/>
                    <a:pt x="17413" y="20298"/>
                  </a:cubicBezTo>
                  <a:cubicBezTo>
                    <a:pt x="17994" y="19717"/>
                    <a:pt x="18235" y="18934"/>
                    <a:pt x="18160" y="18175"/>
                  </a:cubicBezTo>
                  <a:cubicBezTo>
                    <a:pt x="18922" y="18252"/>
                    <a:pt x="19711" y="18011"/>
                    <a:pt x="20295" y="17429"/>
                  </a:cubicBezTo>
                  <a:cubicBezTo>
                    <a:pt x="21327" y="16400"/>
                    <a:pt x="21327" y="14732"/>
                    <a:pt x="20295" y="13703"/>
                  </a:cubicBezTo>
                  <a:cubicBezTo>
                    <a:pt x="19263" y="12674"/>
                    <a:pt x="17590" y="12674"/>
                    <a:pt x="16558" y="13703"/>
                  </a:cubicBezTo>
                  <a:moveTo>
                    <a:pt x="4511" y="7368"/>
                  </a:moveTo>
                  <a:cubicBezTo>
                    <a:pt x="4539" y="7340"/>
                    <a:pt x="4556" y="7306"/>
                    <a:pt x="4582" y="7278"/>
                  </a:cubicBezTo>
                  <a:lnTo>
                    <a:pt x="6815" y="9511"/>
                  </a:lnTo>
                  <a:cubicBezTo>
                    <a:pt x="7002" y="9679"/>
                    <a:pt x="7289" y="9678"/>
                    <a:pt x="7468" y="9498"/>
                  </a:cubicBezTo>
                  <a:cubicBezTo>
                    <a:pt x="7649" y="9318"/>
                    <a:pt x="7650" y="9031"/>
                    <a:pt x="7481" y="8844"/>
                  </a:cubicBezTo>
                  <a:lnTo>
                    <a:pt x="7493" y="8833"/>
                  </a:lnTo>
                  <a:lnTo>
                    <a:pt x="4309" y="5650"/>
                  </a:lnTo>
                  <a:cubicBezTo>
                    <a:pt x="4277" y="6029"/>
                    <a:pt x="4122" y="6400"/>
                    <a:pt x="3831" y="6691"/>
                  </a:cubicBezTo>
                  <a:cubicBezTo>
                    <a:pt x="3175" y="7346"/>
                    <a:pt x="2110" y="7346"/>
                    <a:pt x="1453" y="6691"/>
                  </a:cubicBezTo>
                  <a:cubicBezTo>
                    <a:pt x="797" y="6036"/>
                    <a:pt x="797" y="4974"/>
                    <a:pt x="1453" y="4319"/>
                  </a:cubicBezTo>
                  <a:cubicBezTo>
                    <a:pt x="2042" y="3732"/>
                    <a:pt x="2957" y="3676"/>
                    <a:pt x="3614" y="4142"/>
                  </a:cubicBezTo>
                  <a:lnTo>
                    <a:pt x="3627" y="4128"/>
                  </a:lnTo>
                  <a:cubicBezTo>
                    <a:pt x="3774" y="4238"/>
                    <a:pt x="3979" y="4232"/>
                    <a:pt x="4112" y="4097"/>
                  </a:cubicBezTo>
                  <a:cubicBezTo>
                    <a:pt x="4243" y="3963"/>
                    <a:pt x="4250" y="3759"/>
                    <a:pt x="4146" y="3610"/>
                  </a:cubicBezTo>
                  <a:lnTo>
                    <a:pt x="4154" y="3602"/>
                  </a:lnTo>
                  <a:cubicBezTo>
                    <a:pt x="3690" y="2947"/>
                    <a:pt x="3746" y="2036"/>
                    <a:pt x="4333" y="1450"/>
                  </a:cubicBezTo>
                  <a:cubicBezTo>
                    <a:pt x="4988" y="795"/>
                    <a:pt x="6050" y="795"/>
                    <a:pt x="6705" y="1450"/>
                  </a:cubicBezTo>
                  <a:cubicBezTo>
                    <a:pt x="7359" y="2105"/>
                    <a:pt x="7359" y="3166"/>
                    <a:pt x="6705" y="3821"/>
                  </a:cubicBezTo>
                  <a:cubicBezTo>
                    <a:pt x="6415" y="4111"/>
                    <a:pt x="6046" y="4264"/>
                    <a:pt x="5667" y="4298"/>
                  </a:cubicBezTo>
                  <a:lnTo>
                    <a:pt x="8847" y="7478"/>
                  </a:lnTo>
                  <a:lnTo>
                    <a:pt x="8851" y="7475"/>
                  </a:lnTo>
                  <a:cubicBezTo>
                    <a:pt x="9038" y="7644"/>
                    <a:pt x="9325" y="7642"/>
                    <a:pt x="9504" y="7462"/>
                  </a:cubicBezTo>
                  <a:cubicBezTo>
                    <a:pt x="9684" y="7282"/>
                    <a:pt x="9686" y="6995"/>
                    <a:pt x="9517" y="6808"/>
                  </a:cubicBezTo>
                  <a:lnTo>
                    <a:pt x="7293" y="4569"/>
                  </a:lnTo>
                  <a:cubicBezTo>
                    <a:pt x="7321" y="4543"/>
                    <a:pt x="7355" y="4526"/>
                    <a:pt x="7382" y="4498"/>
                  </a:cubicBezTo>
                  <a:cubicBezTo>
                    <a:pt x="8411" y="3470"/>
                    <a:pt x="8411" y="1802"/>
                    <a:pt x="7382" y="772"/>
                  </a:cubicBezTo>
                  <a:cubicBezTo>
                    <a:pt x="6353" y="-257"/>
                    <a:pt x="4685" y="-257"/>
                    <a:pt x="3656" y="772"/>
                  </a:cubicBezTo>
                  <a:cubicBezTo>
                    <a:pt x="3075" y="1353"/>
                    <a:pt x="2834" y="2137"/>
                    <a:pt x="2909" y="2895"/>
                  </a:cubicBezTo>
                  <a:cubicBezTo>
                    <a:pt x="2147" y="2818"/>
                    <a:pt x="1358" y="3059"/>
                    <a:pt x="774" y="3641"/>
                  </a:cubicBezTo>
                  <a:cubicBezTo>
                    <a:pt x="-258" y="4671"/>
                    <a:pt x="-258" y="6339"/>
                    <a:pt x="774" y="7368"/>
                  </a:cubicBezTo>
                  <a:cubicBezTo>
                    <a:pt x="1806" y="8397"/>
                    <a:pt x="3479" y="8397"/>
                    <a:pt x="4511" y="736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758">
              <a:extLst>
                <a:ext uri="{FF2B5EF4-FFF2-40B4-BE49-F238E27FC236}">
                  <a16:creationId xmlns:a16="http://schemas.microsoft.com/office/drawing/2014/main" id="{DC00D80B-959A-4C4B-BA59-8B6EA9A6EACA}"/>
                </a:ext>
              </a:extLst>
            </p:cNvPr>
            <p:cNvSpPr/>
            <p:nvPr/>
          </p:nvSpPr>
          <p:spPr bwMode="gray">
            <a:xfrm>
              <a:off x="6160946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982" y="6873"/>
                  </a:moveTo>
                  <a:lnTo>
                    <a:pt x="14727" y="6873"/>
                  </a:lnTo>
                  <a:lnTo>
                    <a:pt x="14727" y="8836"/>
                  </a:lnTo>
                  <a:lnTo>
                    <a:pt x="982" y="8836"/>
                  </a:lnTo>
                  <a:cubicBezTo>
                    <a:pt x="982" y="8836"/>
                    <a:pt x="982" y="6873"/>
                    <a:pt x="982" y="6873"/>
                  </a:cubicBezTo>
                  <a:close/>
                  <a:moveTo>
                    <a:pt x="982" y="9818"/>
                  </a:moveTo>
                  <a:lnTo>
                    <a:pt x="14727" y="9818"/>
                  </a:lnTo>
                  <a:cubicBezTo>
                    <a:pt x="15269" y="9818"/>
                    <a:pt x="15709" y="9378"/>
                    <a:pt x="15709" y="8836"/>
                  </a:cubicBezTo>
                  <a:lnTo>
                    <a:pt x="15709" y="6873"/>
                  </a:lnTo>
                  <a:cubicBezTo>
                    <a:pt x="15709" y="6331"/>
                    <a:pt x="15269" y="5891"/>
                    <a:pt x="14727" y="5891"/>
                  </a:cubicBez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moveTo>
                    <a:pt x="14727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14727" y="18655"/>
                  </a:lnTo>
                  <a:cubicBezTo>
                    <a:pt x="14727" y="18655"/>
                    <a:pt x="14727" y="20618"/>
                    <a:pt x="14727" y="20618"/>
                  </a:cubicBezTo>
                  <a:close/>
                  <a:moveTo>
                    <a:pt x="14727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14727" y="21600"/>
                  </a:lnTo>
                  <a:cubicBezTo>
                    <a:pt x="15269" y="21600"/>
                    <a:pt x="15709" y="21160"/>
                    <a:pt x="15709" y="20618"/>
                  </a:cubicBezTo>
                  <a:lnTo>
                    <a:pt x="15709" y="18655"/>
                  </a:lnTo>
                  <a:cubicBezTo>
                    <a:pt x="15709" y="18113"/>
                    <a:pt x="15269" y="17673"/>
                    <a:pt x="14727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759">
              <a:extLst>
                <a:ext uri="{FF2B5EF4-FFF2-40B4-BE49-F238E27FC236}">
                  <a16:creationId xmlns:a16="http://schemas.microsoft.com/office/drawing/2014/main" id="{CB4DEF42-07BD-429B-96D2-D1DE8CE857D0}"/>
                </a:ext>
              </a:extLst>
            </p:cNvPr>
            <p:cNvSpPr/>
            <p:nvPr/>
          </p:nvSpPr>
          <p:spPr bwMode="gray">
            <a:xfrm>
              <a:off x="671266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3927" y="6873"/>
                  </a:moveTo>
                  <a:lnTo>
                    <a:pt x="17673" y="6873"/>
                  </a:lnTo>
                  <a:lnTo>
                    <a:pt x="17673" y="8836"/>
                  </a:lnTo>
                  <a:lnTo>
                    <a:pt x="3927" y="8836"/>
                  </a:lnTo>
                  <a:cubicBezTo>
                    <a:pt x="3927" y="8836"/>
                    <a:pt x="3927" y="6873"/>
                    <a:pt x="3927" y="6873"/>
                  </a:cubicBezTo>
                  <a:close/>
                  <a:moveTo>
                    <a:pt x="17673" y="9818"/>
                  </a:moveTo>
                  <a:cubicBezTo>
                    <a:pt x="18215" y="9818"/>
                    <a:pt x="18655" y="9378"/>
                    <a:pt x="18655" y="8836"/>
                  </a:cubicBezTo>
                  <a:lnTo>
                    <a:pt x="18655" y="6873"/>
                  </a:lnTo>
                  <a:cubicBezTo>
                    <a:pt x="18655" y="6331"/>
                    <a:pt x="18215" y="5891"/>
                    <a:pt x="17673" y="5891"/>
                  </a:cubicBezTo>
                  <a:lnTo>
                    <a:pt x="3927" y="5891"/>
                  </a:lnTo>
                  <a:cubicBezTo>
                    <a:pt x="3385" y="5891"/>
                    <a:pt x="2945" y="6331"/>
                    <a:pt x="2945" y="6873"/>
                  </a:cubicBezTo>
                  <a:lnTo>
                    <a:pt x="2945" y="8836"/>
                  </a:lnTo>
                  <a:cubicBezTo>
                    <a:pt x="2945" y="9378"/>
                    <a:pt x="3385" y="9818"/>
                    <a:pt x="3927" y="9818"/>
                  </a:cubicBezTo>
                  <a:cubicBezTo>
                    <a:pt x="3927" y="9818"/>
                    <a:pt x="17673" y="9818"/>
                    <a:pt x="17673" y="9818"/>
                  </a:cubicBezTo>
                  <a:close/>
                  <a:moveTo>
                    <a:pt x="17673" y="20618"/>
                  </a:moveTo>
                  <a:lnTo>
                    <a:pt x="3927" y="20618"/>
                  </a:lnTo>
                  <a:lnTo>
                    <a:pt x="3927" y="18655"/>
                  </a:lnTo>
                  <a:lnTo>
                    <a:pt x="17673" y="18655"/>
                  </a:lnTo>
                  <a:cubicBezTo>
                    <a:pt x="17673" y="18655"/>
                    <a:pt x="17673" y="20618"/>
                    <a:pt x="17673" y="20618"/>
                  </a:cubicBezTo>
                  <a:close/>
                  <a:moveTo>
                    <a:pt x="17673" y="17673"/>
                  </a:moveTo>
                  <a:lnTo>
                    <a:pt x="3927" y="17673"/>
                  </a:lnTo>
                  <a:cubicBezTo>
                    <a:pt x="3385" y="17673"/>
                    <a:pt x="2945" y="18113"/>
                    <a:pt x="2945" y="18655"/>
                  </a:cubicBezTo>
                  <a:lnTo>
                    <a:pt x="2945" y="20618"/>
                  </a:lnTo>
                  <a:cubicBezTo>
                    <a:pt x="2945" y="21160"/>
                    <a:pt x="3385" y="21600"/>
                    <a:pt x="3927" y="21600"/>
                  </a:cubicBezTo>
                  <a:lnTo>
                    <a:pt x="17673" y="21600"/>
                  </a:lnTo>
                  <a:cubicBezTo>
                    <a:pt x="18215" y="21600"/>
                    <a:pt x="18655" y="21160"/>
                    <a:pt x="18655" y="20618"/>
                  </a:cubicBezTo>
                  <a:lnTo>
                    <a:pt x="18655" y="18655"/>
                  </a:lnTo>
                  <a:cubicBezTo>
                    <a:pt x="18655" y="18113"/>
                    <a:pt x="18215" y="17673"/>
                    <a:pt x="17673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760">
              <a:extLst>
                <a:ext uri="{FF2B5EF4-FFF2-40B4-BE49-F238E27FC236}">
                  <a16:creationId xmlns:a16="http://schemas.microsoft.com/office/drawing/2014/main" id="{08489D00-8E0E-4821-8596-54B5AC8B4DD3}"/>
                </a:ext>
              </a:extLst>
            </p:cNvPr>
            <p:cNvSpPr/>
            <p:nvPr/>
          </p:nvSpPr>
          <p:spPr bwMode="gray">
            <a:xfrm>
              <a:off x="7264373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6873" y="8836"/>
                  </a:lnTo>
                  <a:lnTo>
                    <a:pt x="6873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6873" y="5891"/>
                  </a:lnTo>
                  <a:cubicBezTo>
                    <a:pt x="6331" y="5891"/>
                    <a:pt x="5891" y="6331"/>
                    <a:pt x="5891" y="6873"/>
                  </a:cubicBezTo>
                  <a:lnTo>
                    <a:pt x="5891" y="8836"/>
                  </a:lnTo>
                  <a:cubicBezTo>
                    <a:pt x="5891" y="9378"/>
                    <a:pt x="6331" y="9818"/>
                    <a:pt x="6873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0618"/>
                  </a:moveTo>
                  <a:lnTo>
                    <a:pt x="6873" y="20618"/>
                  </a:lnTo>
                  <a:lnTo>
                    <a:pt x="6873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6873" y="17673"/>
                  </a:lnTo>
                  <a:cubicBezTo>
                    <a:pt x="6331" y="17673"/>
                    <a:pt x="5891" y="18113"/>
                    <a:pt x="5891" y="18655"/>
                  </a:cubicBezTo>
                  <a:lnTo>
                    <a:pt x="5891" y="20618"/>
                  </a:lnTo>
                  <a:cubicBezTo>
                    <a:pt x="5891" y="21160"/>
                    <a:pt x="6331" y="21600"/>
                    <a:pt x="6873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761">
              <a:extLst>
                <a:ext uri="{FF2B5EF4-FFF2-40B4-BE49-F238E27FC236}">
                  <a16:creationId xmlns:a16="http://schemas.microsoft.com/office/drawing/2014/main" id="{8A8141C9-5F78-4B22-A6E1-0A494297C589}"/>
                </a:ext>
              </a:extLst>
            </p:cNvPr>
            <p:cNvSpPr/>
            <p:nvPr/>
          </p:nvSpPr>
          <p:spPr bwMode="gray">
            <a:xfrm>
              <a:off x="7816087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4727"/>
                  </a:moveTo>
                  <a:lnTo>
                    <a:pt x="982" y="14727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4727"/>
                    <a:pt x="20618" y="14727"/>
                  </a:cubicBezTo>
                  <a:close/>
                  <a:moveTo>
                    <a:pt x="20618" y="11782"/>
                  </a:move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4727"/>
                  </a:lnTo>
                  <a:cubicBezTo>
                    <a:pt x="0" y="15270"/>
                    <a:pt x="440" y="15709"/>
                    <a:pt x="982" y="15709"/>
                  </a:cubicBezTo>
                  <a:lnTo>
                    <a:pt x="20618" y="15709"/>
                  </a:lnTo>
                  <a:cubicBezTo>
                    <a:pt x="21160" y="15709"/>
                    <a:pt x="21600" y="15270"/>
                    <a:pt x="21600" y="14727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20618" y="8836"/>
                  </a:moveTo>
                  <a:lnTo>
                    <a:pt x="982" y="8836"/>
                  </a:lnTo>
                  <a:lnTo>
                    <a:pt x="982" y="6873"/>
                  </a:lnTo>
                  <a:lnTo>
                    <a:pt x="20618" y="6873"/>
                  </a:lnTo>
                  <a:cubicBezTo>
                    <a:pt x="20618" y="6873"/>
                    <a:pt x="20618" y="8836"/>
                    <a:pt x="20618" y="8836"/>
                  </a:cubicBezTo>
                  <a:close/>
                  <a:moveTo>
                    <a:pt x="20618" y="5891"/>
                  </a:moveTo>
                  <a:lnTo>
                    <a:pt x="982" y="5891"/>
                  </a:lnTo>
                  <a:cubicBezTo>
                    <a:pt x="440" y="5891"/>
                    <a:pt x="0" y="6331"/>
                    <a:pt x="0" y="6873"/>
                  </a:cubicBezTo>
                  <a:lnTo>
                    <a:pt x="0" y="8836"/>
                  </a:lnTo>
                  <a:cubicBezTo>
                    <a:pt x="0" y="9378"/>
                    <a:pt x="440" y="9818"/>
                    <a:pt x="982" y="9818"/>
                  </a:cubicBezTo>
                  <a:lnTo>
                    <a:pt x="20618" y="9818"/>
                  </a:lnTo>
                  <a:cubicBezTo>
                    <a:pt x="21160" y="9818"/>
                    <a:pt x="21600" y="9378"/>
                    <a:pt x="21600" y="8836"/>
                  </a:cubicBezTo>
                  <a:lnTo>
                    <a:pt x="21600" y="6873"/>
                  </a:lnTo>
                  <a:cubicBezTo>
                    <a:pt x="21600" y="6331"/>
                    <a:pt x="21160" y="5891"/>
                    <a:pt x="20618" y="5891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982"/>
                  </a:lnTo>
                  <a:lnTo>
                    <a:pt x="20618" y="982"/>
                  </a:lnTo>
                  <a:cubicBezTo>
                    <a:pt x="20618" y="982"/>
                    <a:pt x="20618" y="2945"/>
                    <a:pt x="20618" y="2945"/>
                  </a:cubicBezTo>
                  <a:close/>
                  <a:moveTo>
                    <a:pt x="20618" y="0"/>
                  </a:moveTo>
                  <a:lnTo>
                    <a:pt x="982" y="0"/>
                  </a:lnTo>
                  <a:cubicBezTo>
                    <a:pt x="440" y="0"/>
                    <a:pt x="0" y="440"/>
                    <a:pt x="0" y="982"/>
                  </a:cubicBezTo>
                  <a:lnTo>
                    <a:pt x="0" y="2945"/>
                  </a:lnTo>
                  <a:cubicBezTo>
                    <a:pt x="0" y="3487"/>
                    <a:pt x="440" y="3927"/>
                    <a:pt x="982" y="3927"/>
                  </a:cubicBezTo>
                  <a:lnTo>
                    <a:pt x="20618" y="3927"/>
                  </a:lnTo>
                  <a:cubicBezTo>
                    <a:pt x="21160" y="3927"/>
                    <a:pt x="21600" y="3487"/>
                    <a:pt x="21600" y="2945"/>
                  </a:cubicBezTo>
                  <a:lnTo>
                    <a:pt x="21600" y="982"/>
                  </a:lnTo>
                  <a:cubicBezTo>
                    <a:pt x="21600" y="440"/>
                    <a:pt x="21160" y="0"/>
                    <a:pt x="20618" y="0"/>
                  </a:cubicBezTo>
                  <a:moveTo>
                    <a:pt x="20618" y="20618"/>
                  </a:moveTo>
                  <a:lnTo>
                    <a:pt x="982" y="20618"/>
                  </a:lnTo>
                  <a:lnTo>
                    <a:pt x="982" y="18655"/>
                  </a:lnTo>
                  <a:lnTo>
                    <a:pt x="20618" y="18655"/>
                  </a:lnTo>
                  <a:cubicBezTo>
                    <a:pt x="20618" y="18655"/>
                    <a:pt x="20618" y="20618"/>
                    <a:pt x="20618" y="20618"/>
                  </a:cubicBezTo>
                  <a:close/>
                  <a:moveTo>
                    <a:pt x="20618" y="17673"/>
                  </a:moveTo>
                  <a:lnTo>
                    <a:pt x="982" y="17673"/>
                  </a:lnTo>
                  <a:cubicBezTo>
                    <a:pt x="440" y="17673"/>
                    <a:pt x="0" y="18113"/>
                    <a:pt x="0" y="18655"/>
                  </a:cubicBezTo>
                  <a:lnTo>
                    <a:pt x="0" y="20618"/>
                  </a:lnTo>
                  <a:cubicBezTo>
                    <a:pt x="0" y="21160"/>
                    <a:pt x="440" y="21600"/>
                    <a:pt x="982" y="21600"/>
                  </a:cubicBezTo>
                  <a:lnTo>
                    <a:pt x="20618" y="21600"/>
                  </a:lnTo>
                  <a:cubicBezTo>
                    <a:pt x="21160" y="21600"/>
                    <a:pt x="21600" y="21160"/>
                    <a:pt x="21600" y="20618"/>
                  </a:cubicBezTo>
                  <a:lnTo>
                    <a:pt x="21600" y="18655"/>
                  </a:lnTo>
                  <a:cubicBezTo>
                    <a:pt x="21600" y="18113"/>
                    <a:pt x="21160" y="17673"/>
                    <a:pt x="20618" y="176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762">
              <a:extLst>
                <a:ext uri="{FF2B5EF4-FFF2-40B4-BE49-F238E27FC236}">
                  <a16:creationId xmlns:a16="http://schemas.microsoft.com/office/drawing/2014/main" id="{1ACC0E73-7F24-48CB-9C63-D107316E2748}"/>
                </a:ext>
              </a:extLst>
            </p:cNvPr>
            <p:cNvSpPr/>
            <p:nvPr/>
          </p:nvSpPr>
          <p:spPr bwMode="gray">
            <a:xfrm>
              <a:off x="8367800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982"/>
                  </a:moveTo>
                  <a:cubicBezTo>
                    <a:pt x="19520" y="982"/>
                    <a:pt x="20618" y="2081"/>
                    <a:pt x="20618" y="3436"/>
                  </a:cubicBezTo>
                  <a:cubicBezTo>
                    <a:pt x="20618" y="4792"/>
                    <a:pt x="19520" y="5891"/>
                    <a:pt x="18164" y="5891"/>
                  </a:cubicBezTo>
                  <a:cubicBezTo>
                    <a:pt x="16808" y="5891"/>
                    <a:pt x="15709" y="4792"/>
                    <a:pt x="15709" y="3436"/>
                  </a:cubicBezTo>
                  <a:cubicBezTo>
                    <a:pt x="15709" y="2081"/>
                    <a:pt x="16808" y="982"/>
                    <a:pt x="18164" y="982"/>
                  </a:cubicBezTo>
                  <a:moveTo>
                    <a:pt x="18164" y="6873"/>
                  </a:moveTo>
                  <a:cubicBezTo>
                    <a:pt x="20062" y="6873"/>
                    <a:pt x="21600" y="5334"/>
                    <a:pt x="21600" y="3436"/>
                  </a:cubicBezTo>
                  <a:cubicBezTo>
                    <a:pt x="21600" y="1538"/>
                    <a:pt x="20062" y="0"/>
                    <a:pt x="18164" y="0"/>
                  </a:cubicBezTo>
                  <a:cubicBezTo>
                    <a:pt x="16266" y="0"/>
                    <a:pt x="14727" y="1538"/>
                    <a:pt x="14727" y="3436"/>
                  </a:cubicBezTo>
                  <a:cubicBezTo>
                    <a:pt x="14727" y="5334"/>
                    <a:pt x="16266" y="6873"/>
                    <a:pt x="18164" y="6873"/>
                  </a:cubicBezTo>
                  <a:moveTo>
                    <a:pt x="18164" y="3927"/>
                  </a:moveTo>
                  <a:lnTo>
                    <a:pt x="18655" y="3927"/>
                  </a:lnTo>
                  <a:cubicBezTo>
                    <a:pt x="18925" y="3927"/>
                    <a:pt x="19145" y="3708"/>
                    <a:pt x="19145" y="3436"/>
                  </a:cubicBezTo>
                  <a:cubicBezTo>
                    <a:pt x="19145" y="3165"/>
                    <a:pt x="18925" y="2945"/>
                    <a:pt x="18655" y="2945"/>
                  </a:cubicBezTo>
                  <a:lnTo>
                    <a:pt x="18655" y="2455"/>
                  </a:lnTo>
                  <a:cubicBezTo>
                    <a:pt x="18655" y="2183"/>
                    <a:pt x="18434" y="1964"/>
                    <a:pt x="18164" y="1964"/>
                  </a:cubicBezTo>
                  <a:cubicBezTo>
                    <a:pt x="17893" y="1964"/>
                    <a:pt x="17673" y="2183"/>
                    <a:pt x="17673" y="2455"/>
                  </a:cubicBezTo>
                  <a:lnTo>
                    <a:pt x="17673" y="3436"/>
                  </a:lnTo>
                  <a:cubicBezTo>
                    <a:pt x="17673" y="3708"/>
                    <a:pt x="17893" y="3927"/>
                    <a:pt x="18164" y="3927"/>
                  </a:cubicBezTo>
                  <a:moveTo>
                    <a:pt x="9818" y="11782"/>
                  </a:moveTo>
                  <a:lnTo>
                    <a:pt x="4909" y="11782"/>
                  </a:lnTo>
                  <a:lnTo>
                    <a:pt x="4909" y="8836"/>
                  </a:lnTo>
                  <a:lnTo>
                    <a:pt x="9818" y="8836"/>
                  </a:lnTo>
                  <a:cubicBezTo>
                    <a:pt x="9818" y="8836"/>
                    <a:pt x="9818" y="11782"/>
                    <a:pt x="9818" y="11782"/>
                  </a:cubicBezTo>
                  <a:close/>
                  <a:moveTo>
                    <a:pt x="21109" y="12764"/>
                  </a:moveTo>
                  <a:lnTo>
                    <a:pt x="11291" y="12764"/>
                  </a:lnTo>
                  <a:cubicBezTo>
                    <a:pt x="11562" y="12764"/>
                    <a:pt x="11782" y="12544"/>
                    <a:pt x="11782" y="12273"/>
                  </a:cubicBezTo>
                  <a:cubicBezTo>
                    <a:pt x="11782" y="12001"/>
                    <a:pt x="11562" y="11782"/>
                    <a:pt x="11291" y="11782"/>
                  </a:cubicBezTo>
                  <a:lnTo>
                    <a:pt x="10800" y="11782"/>
                  </a:lnTo>
                  <a:lnTo>
                    <a:pt x="10800" y="8836"/>
                  </a:lnTo>
                  <a:cubicBezTo>
                    <a:pt x="10800" y="8295"/>
                    <a:pt x="10360" y="7855"/>
                    <a:pt x="9818" y="7855"/>
                  </a:cubicBezTo>
                  <a:lnTo>
                    <a:pt x="4909" y="7855"/>
                  </a:lnTo>
                  <a:cubicBezTo>
                    <a:pt x="4367" y="7855"/>
                    <a:pt x="3927" y="8295"/>
                    <a:pt x="3927" y="8836"/>
                  </a:cubicBezTo>
                  <a:lnTo>
                    <a:pt x="3927" y="11782"/>
                  </a:lnTo>
                  <a:lnTo>
                    <a:pt x="3436" y="11782"/>
                  </a:lnTo>
                  <a:cubicBezTo>
                    <a:pt x="3166" y="11782"/>
                    <a:pt x="2945" y="12001"/>
                    <a:pt x="2945" y="12273"/>
                  </a:cubicBezTo>
                  <a:cubicBezTo>
                    <a:pt x="2945" y="12544"/>
                    <a:pt x="3166" y="12764"/>
                    <a:pt x="3436" y="12764"/>
                  </a:cubicBezTo>
                  <a:lnTo>
                    <a:pt x="491" y="12764"/>
                  </a:lnTo>
                  <a:cubicBezTo>
                    <a:pt x="220" y="12764"/>
                    <a:pt x="0" y="12983"/>
                    <a:pt x="0" y="13255"/>
                  </a:cubicBezTo>
                  <a:cubicBezTo>
                    <a:pt x="0" y="13526"/>
                    <a:pt x="220" y="13745"/>
                    <a:pt x="491" y="13745"/>
                  </a:cubicBezTo>
                  <a:lnTo>
                    <a:pt x="2945" y="13745"/>
                  </a:ln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cubicBezTo>
                    <a:pt x="3707" y="21600"/>
                    <a:pt x="3927" y="21380"/>
                    <a:pt x="3927" y="21109"/>
                  </a:cubicBezTo>
                  <a:lnTo>
                    <a:pt x="3927" y="13745"/>
                  </a:lnTo>
                  <a:lnTo>
                    <a:pt x="17673" y="13745"/>
                  </a:lnTo>
                  <a:lnTo>
                    <a:pt x="17673" y="21109"/>
                  </a:lnTo>
                  <a:cubicBezTo>
                    <a:pt x="17673" y="21380"/>
                    <a:pt x="17893" y="21600"/>
                    <a:pt x="18164" y="21600"/>
                  </a:cubicBez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lnTo>
                    <a:pt x="21109" y="13745"/>
                  </a:lnTo>
                  <a:cubicBezTo>
                    <a:pt x="21380" y="13745"/>
                    <a:pt x="21600" y="13526"/>
                    <a:pt x="21600" y="13255"/>
                  </a:cubicBezTo>
                  <a:cubicBezTo>
                    <a:pt x="21600" y="12983"/>
                    <a:pt x="21380" y="12764"/>
                    <a:pt x="21109" y="127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763">
              <a:extLst>
                <a:ext uri="{FF2B5EF4-FFF2-40B4-BE49-F238E27FC236}">
                  <a16:creationId xmlns:a16="http://schemas.microsoft.com/office/drawing/2014/main" id="{15F16DFE-3539-4C5A-8499-2A90CE197FCA}"/>
                </a:ext>
              </a:extLst>
            </p:cNvPr>
            <p:cNvSpPr/>
            <p:nvPr/>
          </p:nvSpPr>
          <p:spPr bwMode="gray">
            <a:xfrm>
              <a:off x="8919514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9" y="7008"/>
                  </a:moveTo>
                  <a:cubicBezTo>
                    <a:pt x="20006" y="12260"/>
                    <a:pt x="12624" y="19436"/>
                    <a:pt x="10800" y="20538"/>
                  </a:cubicBezTo>
                  <a:cubicBezTo>
                    <a:pt x="8976" y="19436"/>
                    <a:pt x="1594" y="12260"/>
                    <a:pt x="1021" y="7001"/>
                  </a:cubicBezTo>
                  <a:cubicBezTo>
                    <a:pt x="1021" y="7001"/>
                    <a:pt x="982" y="6718"/>
                    <a:pt x="982" y="6382"/>
                  </a:cubicBezTo>
                  <a:cubicBezTo>
                    <a:pt x="982" y="3405"/>
                    <a:pt x="3404" y="982"/>
                    <a:pt x="6382" y="982"/>
                  </a:cubicBezTo>
                  <a:cubicBezTo>
                    <a:pt x="7780" y="982"/>
                    <a:pt x="9107" y="1518"/>
                    <a:pt x="10120" y="2491"/>
                  </a:cubicBezTo>
                  <a:lnTo>
                    <a:pt x="10585" y="2939"/>
                  </a:lnTo>
                  <a:lnTo>
                    <a:pt x="8836" y="6873"/>
                  </a:lnTo>
                  <a:lnTo>
                    <a:pt x="11291" y="9818"/>
                  </a:lnTo>
                  <a:lnTo>
                    <a:pt x="9327" y="14236"/>
                  </a:lnTo>
                  <a:lnTo>
                    <a:pt x="10800" y="16691"/>
                  </a:lnTo>
                  <a:lnTo>
                    <a:pt x="10432" y="14236"/>
                  </a:lnTo>
                  <a:lnTo>
                    <a:pt x="12365" y="9542"/>
                  </a:lnTo>
                  <a:lnTo>
                    <a:pt x="10002" y="6781"/>
                  </a:lnTo>
                  <a:lnTo>
                    <a:pt x="12069" y="2007"/>
                  </a:lnTo>
                  <a:cubicBezTo>
                    <a:pt x="12984" y="1345"/>
                    <a:pt x="14076" y="982"/>
                    <a:pt x="15218" y="982"/>
                  </a:cubicBezTo>
                  <a:cubicBezTo>
                    <a:pt x="18196" y="982"/>
                    <a:pt x="20618" y="3405"/>
                    <a:pt x="20618" y="6382"/>
                  </a:cubicBezTo>
                  <a:cubicBezTo>
                    <a:pt x="20618" y="6725"/>
                    <a:pt x="20579" y="7008"/>
                    <a:pt x="20579" y="7008"/>
                  </a:cubicBezTo>
                  <a:moveTo>
                    <a:pt x="21600" y="6382"/>
                  </a:moveTo>
                  <a:cubicBezTo>
                    <a:pt x="21600" y="2857"/>
                    <a:pt x="18743" y="0"/>
                    <a:pt x="15218" y="0"/>
                  </a:cubicBezTo>
                  <a:cubicBezTo>
                    <a:pt x="13502" y="0"/>
                    <a:pt x="11947" y="681"/>
                    <a:pt x="10800" y="1783"/>
                  </a:cubicBezTo>
                  <a:cubicBezTo>
                    <a:pt x="9653" y="681"/>
                    <a:pt x="8098" y="0"/>
                    <a:pt x="6382" y="0"/>
                  </a:cubicBezTo>
                  <a:cubicBezTo>
                    <a:pt x="2857" y="0"/>
                    <a:pt x="0" y="2857"/>
                    <a:pt x="0" y="6382"/>
                  </a:cubicBezTo>
                  <a:cubicBezTo>
                    <a:pt x="0" y="6792"/>
                    <a:pt x="65" y="7282"/>
                    <a:pt x="45" y="7115"/>
                  </a:cubicBezTo>
                  <a:cubicBezTo>
                    <a:pt x="733" y="13419"/>
                    <a:pt x="9855" y="21600"/>
                    <a:pt x="10800" y="21600"/>
                  </a:cubicBezTo>
                  <a:cubicBezTo>
                    <a:pt x="11745" y="21600"/>
                    <a:pt x="20867" y="13419"/>
                    <a:pt x="21555" y="7115"/>
                  </a:cubicBezTo>
                  <a:cubicBezTo>
                    <a:pt x="21536" y="7282"/>
                    <a:pt x="21600" y="6792"/>
                    <a:pt x="21600" y="63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764">
              <a:extLst>
                <a:ext uri="{FF2B5EF4-FFF2-40B4-BE49-F238E27FC236}">
                  <a16:creationId xmlns:a16="http://schemas.microsoft.com/office/drawing/2014/main" id="{0DB5A04B-A948-4403-B920-6217AAD8E2BD}"/>
                </a:ext>
              </a:extLst>
            </p:cNvPr>
            <p:cNvSpPr/>
            <p:nvPr/>
          </p:nvSpPr>
          <p:spPr bwMode="gray">
            <a:xfrm>
              <a:off x="9471227" y="4506194"/>
              <a:ext cx="288993" cy="262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88" y="6611"/>
                  </a:moveTo>
                  <a:cubicBezTo>
                    <a:pt x="20587" y="6619"/>
                    <a:pt x="20587" y="6627"/>
                    <a:pt x="20586" y="6635"/>
                  </a:cubicBezTo>
                  <a:cubicBezTo>
                    <a:pt x="20585" y="6640"/>
                    <a:pt x="20582" y="6674"/>
                    <a:pt x="20581" y="6680"/>
                  </a:cubicBezTo>
                  <a:cubicBezTo>
                    <a:pt x="20107" y="11287"/>
                    <a:pt x="14607" y="17428"/>
                    <a:pt x="12595" y="19086"/>
                  </a:cubicBezTo>
                  <a:lnTo>
                    <a:pt x="11905" y="15660"/>
                  </a:lnTo>
                  <a:lnTo>
                    <a:pt x="13960" y="10631"/>
                  </a:lnTo>
                  <a:lnTo>
                    <a:pt x="11429" y="7425"/>
                  </a:lnTo>
                  <a:lnTo>
                    <a:pt x="12699" y="2550"/>
                  </a:lnTo>
                  <a:cubicBezTo>
                    <a:pt x="12708" y="2540"/>
                    <a:pt x="12713" y="2534"/>
                    <a:pt x="12723" y="2524"/>
                  </a:cubicBezTo>
                  <a:cubicBezTo>
                    <a:pt x="13572" y="1625"/>
                    <a:pt x="14916" y="1080"/>
                    <a:pt x="16088" y="1080"/>
                  </a:cubicBezTo>
                  <a:cubicBezTo>
                    <a:pt x="18586" y="1080"/>
                    <a:pt x="20618" y="3315"/>
                    <a:pt x="20618" y="6063"/>
                  </a:cubicBezTo>
                  <a:cubicBezTo>
                    <a:pt x="20618" y="6262"/>
                    <a:pt x="20598" y="6506"/>
                    <a:pt x="20588" y="6611"/>
                  </a:cubicBezTo>
                  <a:moveTo>
                    <a:pt x="21600" y="6063"/>
                  </a:moveTo>
                  <a:cubicBezTo>
                    <a:pt x="21600" y="2715"/>
                    <a:pt x="19132" y="0"/>
                    <a:pt x="16088" y="0"/>
                  </a:cubicBezTo>
                  <a:cubicBezTo>
                    <a:pt x="14607" y="0"/>
                    <a:pt x="12974" y="748"/>
                    <a:pt x="11983" y="1794"/>
                  </a:cubicBezTo>
                  <a:lnTo>
                    <a:pt x="11985" y="1802"/>
                  </a:lnTo>
                  <a:cubicBezTo>
                    <a:pt x="11900" y="1871"/>
                    <a:pt x="11839" y="1965"/>
                    <a:pt x="11809" y="2079"/>
                  </a:cubicBezTo>
                  <a:lnTo>
                    <a:pt x="11797" y="2076"/>
                  </a:lnTo>
                  <a:lnTo>
                    <a:pt x="10309" y="7560"/>
                  </a:lnTo>
                  <a:lnTo>
                    <a:pt x="12764" y="10800"/>
                  </a:lnTo>
                  <a:lnTo>
                    <a:pt x="10800" y="15660"/>
                  </a:lnTo>
                  <a:lnTo>
                    <a:pt x="11797" y="20098"/>
                  </a:lnTo>
                  <a:lnTo>
                    <a:pt x="11803" y="20097"/>
                  </a:lnTo>
                  <a:cubicBezTo>
                    <a:pt x="11853" y="20337"/>
                    <a:pt x="12039" y="20520"/>
                    <a:pt x="12273" y="20520"/>
                  </a:cubicBezTo>
                  <a:cubicBezTo>
                    <a:pt x="12410" y="20520"/>
                    <a:pt x="12534" y="20457"/>
                    <a:pt x="12623" y="20357"/>
                  </a:cubicBezTo>
                  <a:cubicBezTo>
                    <a:pt x="14361" y="19225"/>
                    <a:pt x="20995" y="12270"/>
                    <a:pt x="21558" y="6787"/>
                  </a:cubicBezTo>
                  <a:lnTo>
                    <a:pt x="21558" y="6791"/>
                  </a:lnTo>
                  <a:cubicBezTo>
                    <a:pt x="21559" y="6791"/>
                    <a:pt x="21600" y="6399"/>
                    <a:pt x="21600" y="6063"/>
                  </a:cubicBezTo>
                  <a:moveTo>
                    <a:pt x="1019" y="7760"/>
                  </a:moveTo>
                  <a:cubicBezTo>
                    <a:pt x="1018" y="7754"/>
                    <a:pt x="1015" y="7720"/>
                    <a:pt x="1014" y="7715"/>
                  </a:cubicBezTo>
                  <a:cubicBezTo>
                    <a:pt x="1013" y="7707"/>
                    <a:pt x="1013" y="7699"/>
                    <a:pt x="1012" y="7691"/>
                  </a:cubicBezTo>
                  <a:cubicBezTo>
                    <a:pt x="1002" y="7586"/>
                    <a:pt x="982" y="7342"/>
                    <a:pt x="982" y="7143"/>
                  </a:cubicBezTo>
                  <a:cubicBezTo>
                    <a:pt x="982" y="4395"/>
                    <a:pt x="3014" y="2160"/>
                    <a:pt x="5512" y="2160"/>
                  </a:cubicBezTo>
                  <a:cubicBezTo>
                    <a:pt x="6634" y="2160"/>
                    <a:pt x="7908" y="2664"/>
                    <a:pt x="8760" y="3495"/>
                  </a:cubicBezTo>
                  <a:lnTo>
                    <a:pt x="7364" y="8640"/>
                  </a:lnTo>
                  <a:lnTo>
                    <a:pt x="9818" y="11880"/>
                  </a:lnTo>
                  <a:lnTo>
                    <a:pt x="7855" y="16740"/>
                  </a:lnTo>
                  <a:lnTo>
                    <a:pt x="8531" y="19752"/>
                  </a:lnTo>
                  <a:cubicBezTo>
                    <a:pt x="6242" y="17649"/>
                    <a:pt x="1459" y="12041"/>
                    <a:pt x="1019" y="7760"/>
                  </a:cubicBezTo>
                  <a:moveTo>
                    <a:pt x="9803" y="20925"/>
                  </a:moveTo>
                  <a:lnTo>
                    <a:pt x="8959" y="16740"/>
                  </a:lnTo>
                  <a:lnTo>
                    <a:pt x="11015" y="11711"/>
                  </a:lnTo>
                  <a:lnTo>
                    <a:pt x="8484" y="8505"/>
                  </a:lnTo>
                  <a:lnTo>
                    <a:pt x="9799" y="3457"/>
                  </a:lnTo>
                  <a:lnTo>
                    <a:pt x="9791" y="3454"/>
                  </a:lnTo>
                  <a:cubicBezTo>
                    <a:pt x="9804" y="3407"/>
                    <a:pt x="9818" y="3360"/>
                    <a:pt x="9818" y="3308"/>
                  </a:cubicBezTo>
                  <a:cubicBezTo>
                    <a:pt x="9818" y="3130"/>
                    <a:pt x="9736" y="2981"/>
                    <a:pt x="9615" y="2882"/>
                  </a:cubicBezTo>
                  <a:lnTo>
                    <a:pt x="9617" y="2874"/>
                  </a:lnTo>
                  <a:cubicBezTo>
                    <a:pt x="8626" y="1827"/>
                    <a:pt x="6993" y="1080"/>
                    <a:pt x="5512" y="1080"/>
                  </a:cubicBezTo>
                  <a:cubicBezTo>
                    <a:pt x="2468" y="1080"/>
                    <a:pt x="0" y="3795"/>
                    <a:pt x="0" y="7143"/>
                  </a:cubicBezTo>
                  <a:cubicBezTo>
                    <a:pt x="0" y="7479"/>
                    <a:pt x="41" y="7871"/>
                    <a:pt x="42" y="7871"/>
                  </a:cubicBezTo>
                  <a:lnTo>
                    <a:pt x="42" y="7867"/>
                  </a:lnTo>
                  <a:cubicBezTo>
                    <a:pt x="605" y="13350"/>
                    <a:pt x="7239" y="20305"/>
                    <a:pt x="8977" y="21437"/>
                  </a:cubicBezTo>
                  <a:cubicBezTo>
                    <a:pt x="9066" y="21537"/>
                    <a:pt x="9190" y="21600"/>
                    <a:pt x="9327" y="21600"/>
                  </a:cubicBezTo>
                  <a:cubicBezTo>
                    <a:pt x="9599" y="21600"/>
                    <a:pt x="9818" y="21358"/>
                    <a:pt x="9818" y="21060"/>
                  </a:cubicBezTo>
                  <a:cubicBezTo>
                    <a:pt x="9818" y="21013"/>
                    <a:pt x="9804" y="20971"/>
                    <a:pt x="9794" y="20927"/>
                  </a:cubicBezTo>
                  <a:cubicBezTo>
                    <a:pt x="9794" y="20927"/>
                    <a:pt x="9803" y="20925"/>
                    <a:pt x="9803" y="2092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765">
              <a:extLst>
                <a:ext uri="{FF2B5EF4-FFF2-40B4-BE49-F238E27FC236}">
                  <a16:creationId xmlns:a16="http://schemas.microsoft.com/office/drawing/2014/main" id="{A9029033-6C37-4F71-89D6-2E61F6774197}"/>
                </a:ext>
              </a:extLst>
            </p:cNvPr>
            <p:cNvSpPr/>
            <p:nvPr/>
          </p:nvSpPr>
          <p:spPr bwMode="gray">
            <a:xfrm>
              <a:off x="10022941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764"/>
                  </a:moveTo>
                  <a:cubicBezTo>
                    <a:pt x="11510" y="12764"/>
                    <a:pt x="11291" y="12984"/>
                    <a:pt x="11291" y="13255"/>
                  </a:cubicBezTo>
                  <a:cubicBezTo>
                    <a:pt x="11291" y="13526"/>
                    <a:pt x="11510" y="13745"/>
                    <a:pt x="11782" y="13745"/>
                  </a:cubicBezTo>
                  <a:cubicBezTo>
                    <a:pt x="12053" y="13745"/>
                    <a:pt x="12273" y="13526"/>
                    <a:pt x="12273" y="13255"/>
                  </a:cubicBezTo>
                  <a:cubicBezTo>
                    <a:pt x="12273" y="12984"/>
                    <a:pt x="12053" y="12764"/>
                    <a:pt x="11782" y="12764"/>
                  </a:cubicBezTo>
                  <a:moveTo>
                    <a:pt x="14727" y="10800"/>
                  </a:moveTo>
                  <a:cubicBezTo>
                    <a:pt x="14999" y="10800"/>
                    <a:pt x="15218" y="10580"/>
                    <a:pt x="15218" y="10309"/>
                  </a:cubicBezTo>
                  <a:cubicBezTo>
                    <a:pt x="15218" y="10038"/>
                    <a:pt x="14999" y="9818"/>
                    <a:pt x="14727" y="9818"/>
                  </a:cubicBezTo>
                  <a:cubicBezTo>
                    <a:pt x="14456" y="9818"/>
                    <a:pt x="14236" y="10038"/>
                    <a:pt x="14236" y="10309"/>
                  </a:cubicBezTo>
                  <a:cubicBezTo>
                    <a:pt x="14236" y="10580"/>
                    <a:pt x="14456" y="10800"/>
                    <a:pt x="14727" y="10800"/>
                  </a:cubicBezTo>
                  <a:moveTo>
                    <a:pt x="19913" y="7150"/>
                  </a:moveTo>
                  <a:lnTo>
                    <a:pt x="19959" y="7195"/>
                  </a:lnTo>
                  <a:lnTo>
                    <a:pt x="19468" y="7686"/>
                  </a:lnTo>
                  <a:lnTo>
                    <a:pt x="19468" y="7687"/>
                  </a:lnTo>
                  <a:lnTo>
                    <a:pt x="17606" y="9549"/>
                  </a:lnTo>
                  <a:lnTo>
                    <a:pt x="12052" y="3994"/>
                  </a:lnTo>
                  <a:lnTo>
                    <a:pt x="13913" y="2132"/>
                  </a:lnTo>
                  <a:cubicBezTo>
                    <a:pt x="13914" y="2132"/>
                    <a:pt x="13914" y="2132"/>
                    <a:pt x="13914" y="2132"/>
                  </a:cubicBezTo>
                  <a:lnTo>
                    <a:pt x="14405" y="1641"/>
                  </a:lnTo>
                  <a:lnTo>
                    <a:pt x="14450" y="1687"/>
                  </a:lnTo>
                  <a:cubicBezTo>
                    <a:pt x="15086" y="1244"/>
                    <a:pt x="15857" y="982"/>
                    <a:pt x="16691" y="982"/>
                  </a:cubicBezTo>
                  <a:cubicBezTo>
                    <a:pt x="18860" y="982"/>
                    <a:pt x="20618" y="2740"/>
                    <a:pt x="20618" y="4909"/>
                  </a:cubicBezTo>
                  <a:cubicBezTo>
                    <a:pt x="20618" y="5743"/>
                    <a:pt x="20356" y="6514"/>
                    <a:pt x="19913" y="7150"/>
                  </a:cubicBezTo>
                  <a:moveTo>
                    <a:pt x="10242" y="16912"/>
                  </a:moveTo>
                  <a:lnTo>
                    <a:pt x="4689" y="11358"/>
                  </a:lnTo>
                  <a:lnTo>
                    <a:pt x="11358" y="4689"/>
                  </a:lnTo>
                  <a:lnTo>
                    <a:pt x="16911" y="10243"/>
                  </a:lnTo>
                  <a:cubicBezTo>
                    <a:pt x="16911" y="10243"/>
                    <a:pt x="10242" y="16912"/>
                    <a:pt x="10242" y="16912"/>
                  </a:cubicBezTo>
                  <a:close/>
                  <a:moveTo>
                    <a:pt x="7686" y="19468"/>
                  </a:moveTo>
                  <a:cubicBezTo>
                    <a:pt x="6975" y="20179"/>
                    <a:pt x="5994" y="20618"/>
                    <a:pt x="4909" y="20618"/>
                  </a:cubicBezTo>
                  <a:cubicBezTo>
                    <a:pt x="2740" y="20618"/>
                    <a:pt x="982" y="18860"/>
                    <a:pt x="982" y="16691"/>
                  </a:cubicBezTo>
                  <a:cubicBezTo>
                    <a:pt x="982" y="15606"/>
                    <a:pt x="1421" y="14625"/>
                    <a:pt x="2132" y="13914"/>
                  </a:cubicBezTo>
                  <a:lnTo>
                    <a:pt x="3994" y="12052"/>
                  </a:lnTo>
                  <a:lnTo>
                    <a:pt x="9548" y="17606"/>
                  </a:lnTo>
                  <a:cubicBezTo>
                    <a:pt x="9548" y="17606"/>
                    <a:pt x="7686" y="19468"/>
                    <a:pt x="7686" y="19468"/>
                  </a:cubicBezTo>
                  <a:close/>
                  <a:moveTo>
                    <a:pt x="21600" y="4909"/>
                  </a:moveTo>
                  <a:cubicBezTo>
                    <a:pt x="21600" y="2198"/>
                    <a:pt x="19402" y="0"/>
                    <a:pt x="16691" y="0"/>
                  </a:cubicBezTo>
                  <a:cubicBezTo>
                    <a:pt x="15586" y="0"/>
                    <a:pt x="14570" y="370"/>
                    <a:pt x="13749" y="986"/>
                  </a:cubicBezTo>
                  <a:lnTo>
                    <a:pt x="13710" y="947"/>
                  </a:lnTo>
                  <a:lnTo>
                    <a:pt x="13221" y="1437"/>
                  </a:lnTo>
                  <a:cubicBezTo>
                    <a:pt x="13220" y="1438"/>
                    <a:pt x="13220" y="1438"/>
                    <a:pt x="13219" y="1439"/>
                  </a:cubicBezTo>
                  <a:lnTo>
                    <a:pt x="1438" y="13220"/>
                  </a:lnTo>
                  <a:cubicBezTo>
                    <a:pt x="549" y="14108"/>
                    <a:pt x="0" y="15336"/>
                    <a:pt x="0" y="16691"/>
                  </a:cubicBezTo>
                  <a:cubicBezTo>
                    <a:pt x="0" y="19402"/>
                    <a:pt x="2198" y="21600"/>
                    <a:pt x="4909" y="21600"/>
                  </a:cubicBezTo>
                  <a:cubicBezTo>
                    <a:pt x="6265" y="21600"/>
                    <a:pt x="7492" y="21051"/>
                    <a:pt x="8380" y="20162"/>
                  </a:cubicBezTo>
                  <a:lnTo>
                    <a:pt x="20162" y="8381"/>
                  </a:lnTo>
                  <a:lnTo>
                    <a:pt x="20163" y="8380"/>
                  </a:lnTo>
                  <a:lnTo>
                    <a:pt x="20653" y="7890"/>
                  </a:lnTo>
                  <a:lnTo>
                    <a:pt x="20614" y="7851"/>
                  </a:lnTo>
                  <a:cubicBezTo>
                    <a:pt x="21230" y="7030"/>
                    <a:pt x="21600" y="6015"/>
                    <a:pt x="21600" y="4909"/>
                  </a:cubicBezTo>
                  <a:moveTo>
                    <a:pt x="10800" y="6873"/>
                  </a:moveTo>
                  <a:cubicBezTo>
                    <a:pt x="10800" y="7144"/>
                    <a:pt x="11020" y="7364"/>
                    <a:pt x="11291" y="7364"/>
                  </a:cubicBezTo>
                  <a:cubicBezTo>
                    <a:pt x="11562" y="7364"/>
                    <a:pt x="11782" y="7144"/>
                    <a:pt x="11782" y="6873"/>
                  </a:cubicBezTo>
                  <a:cubicBezTo>
                    <a:pt x="11782" y="6602"/>
                    <a:pt x="11562" y="6382"/>
                    <a:pt x="11291" y="6382"/>
                  </a:cubicBezTo>
                  <a:cubicBezTo>
                    <a:pt x="11020" y="6382"/>
                    <a:pt x="10800" y="6602"/>
                    <a:pt x="10800" y="6873"/>
                  </a:cubicBezTo>
                  <a:moveTo>
                    <a:pt x="13255" y="12273"/>
                  </a:moveTo>
                  <a:cubicBezTo>
                    <a:pt x="13526" y="12273"/>
                    <a:pt x="13745" y="12053"/>
                    <a:pt x="13745" y="11782"/>
                  </a:cubicBezTo>
                  <a:cubicBezTo>
                    <a:pt x="13745" y="11511"/>
                    <a:pt x="13526" y="11291"/>
                    <a:pt x="13255" y="11291"/>
                  </a:cubicBezTo>
                  <a:cubicBezTo>
                    <a:pt x="12983" y="11291"/>
                    <a:pt x="12764" y="11511"/>
                    <a:pt x="12764" y="11782"/>
                  </a:cubicBezTo>
                  <a:cubicBezTo>
                    <a:pt x="12764" y="12053"/>
                    <a:pt x="12983" y="12273"/>
                    <a:pt x="13255" y="12273"/>
                  </a:cubicBezTo>
                  <a:moveTo>
                    <a:pt x="12273" y="9818"/>
                  </a:moveTo>
                  <a:cubicBezTo>
                    <a:pt x="12544" y="9818"/>
                    <a:pt x="12764" y="9599"/>
                    <a:pt x="12764" y="9327"/>
                  </a:cubicBezTo>
                  <a:cubicBezTo>
                    <a:pt x="12764" y="9056"/>
                    <a:pt x="12544" y="8836"/>
                    <a:pt x="12273" y="8836"/>
                  </a:cubicBezTo>
                  <a:cubicBezTo>
                    <a:pt x="12001" y="8836"/>
                    <a:pt x="11782" y="9056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moveTo>
                    <a:pt x="10800" y="10309"/>
                  </a:moveTo>
                  <a:cubicBezTo>
                    <a:pt x="10529" y="10309"/>
                    <a:pt x="10309" y="10529"/>
                    <a:pt x="10309" y="10800"/>
                  </a:cubicBezTo>
                  <a:cubicBezTo>
                    <a:pt x="10309" y="11071"/>
                    <a:pt x="10529" y="11291"/>
                    <a:pt x="10800" y="11291"/>
                  </a:cubicBezTo>
                  <a:cubicBezTo>
                    <a:pt x="11071" y="11291"/>
                    <a:pt x="11291" y="11071"/>
                    <a:pt x="11291" y="10800"/>
                  </a:cubicBezTo>
                  <a:cubicBezTo>
                    <a:pt x="11291" y="10529"/>
                    <a:pt x="11071" y="10309"/>
                    <a:pt x="10800" y="10309"/>
                  </a:cubicBezTo>
                  <a:moveTo>
                    <a:pt x="10309" y="14236"/>
                  </a:moveTo>
                  <a:cubicBezTo>
                    <a:pt x="10038" y="14236"/>
                    <a:pt x="9818" y="14456"/>
                    <a:pt x="9818" y="14727"/>
                  </a:cubicBezTo>
                  <a:cubicBezTo>
                    <a:pt x="9818" y="14999"/>
                    <a:pt x="10038" y="15218"/>
                    <a:pt x="10309" y="15218"/>
                  </a:cubicBezTo>
                  <a:cubicBezTo>
                    <a:pt x="10580" y="15218"/>
                    <a:pt x="10800" y="14999"/>
                    <a:pt x="10800" y="14727"/>
                  </a:cubicBezTo>
                  <a:cubicBezTo>
                    <a:pt x="10800" y="14456"/>
                    <a:pt x="10580" y="14236"/>
                    <a:pt x="10309" y="14236"/>
                  </a:cubicBezTo>
                  <a:moveTo>
                    <a:pt x="9818" y="8836"/>
                  </a:moveTo>
                  <a:cubicBezTo>
                    <a:pt x="10090" y="8836"/>
                    <a:pt x="10309" y="8617"/>
                    <a:pt x="10309" y="8345"/>
                  </a:cubicBezTo>
                  <a:cubicBezTo>
                    <a:pt x="10309" y="8075"/>
                    <a:pt x="10090" y="7855"/>
                    <a:pt x="9818" y="7855"/>
                  </a:cubicBezTo>
                  <a:cubicBezTo>
                    <a:pt x="9547" y="7855"/>
                    <a:pt x="9327" y="8075"/>
                    <a:pt x="9327" y="8345"/>
                  </a:cubicBezTo>
                  <a:cubicBezTo>
                    <a:pt x="9327" y="8617"/>
                    <a:pt x="9547" y="8836"/>
                    <a:pt x="9818" y="8836"/>
                  </a:cubicBezTo>
                  <a:moveTo>
                    <a:pt x="6873" y="10800"/>
                  </a:moveTo>
                  <a:cubicBezTo>
                    <a:pt x="6601" y="10800"/>
                    <a:pt x="6382" y="11020"/>
                    <a:pt x="6382" y="11291"/>
                  </a:cubicBezTo>
                  <a:cubicBezTo>
                    <a:pt x="6382" y="11562"/>
                    <a:pt x="6601" y="11782"/>
                    <a:pt x="6873" y="11782"/>
                  </a:cubicBezTo>
                  <a:cubicBezTo>
                    <a:pt x="7144" y="11782"/>
                    <a:pt x="7364" y="11562"/>
                    <a:pt x="7364" y="11291"/>
                  </a:cubicBezTo>
                  <a:cubicBezTo>
                    <a:pt x="7364" y="11020"/>
                    <a:pt x="7144" y="10800"/>
                    <a:pt x="6873" y="10800"/>
                  </a:cubicBezTo>
                  <a:moveTo>
                    <a:pt x="8345" y="9327"/>
                  </a:moveTo>
                  <a:cubicBezTo>
                    <a:pt x="8074" y="9327"/>
                    <a:pt x="7855" y="9547"/>
                    <a:pt x="7855" y="9818"/>
                  </a:cubicBezTo>
                  <a:cubicBezTo>
                    <a:pt x="7855" y="10090"/>
                    <a:pt x="8074" y="10309"/>
                    <a:pt x="8345" y="10309"/>
                  </a:cubicBezTo>
                  <a:cubicBezTo>
                    <a:pt x="8617" y="10309"/>
                    <a:pt x="8836" y="10090"/>
                    <a:pt x="8836" y="9818"/>
                  </a:cubicBezTo>
                  <a:cubicBezTo>
                    <a:pt x="8836" y="9547"/>
                    <a:pt x="8617" y="9327"/>
                    <a:pt x="8345" y="9327"/>
                  </a:cubicBezTo>
                  <a:moveTo>
                    <a:pt x="9327" y="11782"/>
                  </a:moveTo>
                  <a:cubicBezTo>
                    <a:pt x="9056" y="11782"/>
                    <a:pt x="8836" y="12001"/>
                    <a:pt x="8836" y="12273"/>
                  </a:cubicBezTo>
                  <a:cubicBezTo>
                    <a:pt x="8836" y="12544"/>
                    <a:pt x="9056" y="12764"/>
                    <a:pt x="9327" y="12764"/>
                  </a:cubicBezTo>
                  <a:cubicBezTo>
                    <a:pt x="9599" y="12764"/>
                    <a:pt x="9818" y="12544"/>
                    <a:pt x="9818" y="12273"/>
                  </a:cubicBezTo>
                  <a:cubicBezTo>
                    <a:pt x="9818" y="12001"/>
                    <a:pt x="9599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766">
              <a:extLst>
                <a:ext uri="{FF2B5EF4-FFF2-40B4-BE49-F238E27FC236}">
                  <a16:creationId xmlns:a16="http://schemas.microsoft.com/office/drawing/2014/main" id="{42BA1F13-7B32-49D3-B540-30DC5EFC7FF8}"/>
                </a:ext>
              </a:extLst>
            </p:cNvPr>
            <p:cNvSpPr/>
            <p:nvPr/>
          </p:nvSpPr>
          <p:spPr bwMode="gray">
            <a:xfrm>
              <a:off x="10574655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767">
              <a:extLst>
                <a:ext uri="{FF2B5EF4-FFF2-40B4-BE49-F238E27FC236}">
                  <a16:creationId xmlns:a16="http://schemas.microsoft.com/office/drawing/2014/main" id="{7E82E703-F051-421B-9AF8-A94C1F1B066F}"/>
                </a:ext>
              </a:extLst>
            </p:cNvPr>
            <p:cNvSpPr/>
            <p:nvPr/>
          </p:nvSpPr>
          <p:spPr bwMode="gray">
            <a:xfrm>
              <a:off x="11126368" y="4493058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1782"/>
                  </a:moveTo>
                  <a:lnTo>
                    <a:pt x="11782" y="11782"/>
                  </a:lnTo>
                  <a:lnTo>
                    <a:pt x="11782" y="15709"/>
                  </a:lnTo>
                  <a:lnTo>
                    <a:pt x="9818" y="15709"/>
                  </a:lnTo>
                  <a:lnTo>
                    <a:pt x="9818" y="11782"/>
                  </a:lnTo>
                  <a:lnTo>
                    <a:pt x="5891" y="11782"/>
                  </a:lnTo>
                  <a:lnTo>
                    <a:pt x="5891" y="9818"/>
                  </a:lnTo>
                  <a:lnTo>
                    <a:pt x="9818" y="9818"/>
                  </a:lnTo>
                  <a:lnTo>
                    <a:pt x="9818" y="5891"/>
                  </a:lnTo>
                  <a:lnTo>
                    <a:pt x="11782" y="5891"/>
                  </a:lnTo>
                  <a:lnTo>
                    <a:pt x="11782" y="9818"/>
                  </a:lnTo>
                  <a:lnTo>
                    <a:pt x="15709" y="9818"/>
                  </a:lnTo>
                  <a:cubicBezTo>
                    <a:pt x="15709" y="9818"/>
                    <a:pt x="15709" y="11782"/>
                    <a:pt x="15709" y="11782"/>
                  </a:cubicBezTo>
                  <a:close/>
                  <a:moveTo>
                    <a:pt x="15709" y="8836"/>
                  </a:moveTo>
                  <a:lnTo>
                    <a:pt x="12764" y="8836"/>
                  </a:lnTo>
                  <a:lnTo>
                    <a:pt x="12764" y="5891"/>
                  </a:lnTo>
                  <a:cubicBezTo>
                    <a:pt x="12764" y="5349"/>
                    <a:pt x="12324" y="4909"/>
                    <a:pt x="11782" y="4909"/>
                  </a:cubicBezTo>
                  <a:lnTo>
                    <a:pt x="9818" y="4909"/>
                  </a:lnTo>
                  <a:cubicBezTo>
                    <a:pt x="9276" y="4909"/>
                    <a:pt x="8836" y="5349"/>
                    <a:pt x="8836" y="5891"/>
                  </a:cubicBezTo>
                  <a:lnTo>
                    <a:pt x="8836" y="8836"/>
                  </a:lnTo>
                  <a:lnTo>
                    <a:pt x="5891" y="8836"/>
                  </a:lnTo>
                  <a:cubicBezTo>
                    <a:pt x="5349" y="8836"/>
                    <a:pt x="4909" y="9276"/>
                    <a:pt x="4909" y="9818"/>
                  </a:cubicBezTo>
                  <a:lnTo>
                    <a:pt x="4909" y="11782"/>
                  </a:lnTo>
                  <a:cubicBezTo>
                    <a:pt x="4909" y="12324"/>
                    <a:pt x="5349" y="12764"/>
                    <a:pt x="5891" y="12764"/>
                  </a:cubicBezTo>
                  <a:lnTo>
                    <a:pt x="8836" y="12764"/>
                  </a:lnTo>
                  <a:lnTo>
                    <a:pt x="8836" y="15709"/>
                  </a:lnTo>
                  <a:cubicBezTo>
                    <a:pt x="8836" y="16251"/>
                    <a:pt x="9276" y="16691"/>
                    <a:pt x="9818" y="16691"/>
                  </a:cubicBezTo>
                  <a:lnTo>
                    <a:pt x="11782" y="16691"/>
                  </a:lnTo>
                  <a:cubicBezTo>
                    <a:pt x="12324" y="16691"/>
                    <a:pt x="12764" y="16251"/>
                    <a:pt x="12764" y="15709"/>
                  </a:cubicBezTo>
                  <a:lnTo>
                    <a:pt x="12764" y="12764"/>
                  </a:lnTo>
                  <a:lnTo>
                    <a:pt x="15709" y="12764"/>
                  </a:lnTo>
                  <a:cubicBezTo>
                    <a:pt x="16251" y="12764"/>
                    <a:pt x="16691" y="12324"/>
                    <a:pt x="16691" y="11782"/>
                  </a:cubicBezTo>
                  <a:lnTo>
                    <a:pt x="16691" y="9818"/>
                  </a:lnTo>
                  <a:cubicBezTo>
                    <a:pt x="16691" y="9276"/>
                    <a:pt x="16251" y="8836"/>
                    <a:pt x="15709" y="8836"/>
                  </a:cubicBezTo>
                  <a:moveTo>
                    <a:pt x="10800" y="20618"/>
                  </a:moveTo>
                  <a:cubicBezTo>
                    <a:pt x="5377" y="20618"/>
                    <a:pt x="982" y="16222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2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768">
              <a:extLst>
                <a:ext uri="{FF2B5EF4-FFF2-40B4-BE49-F238E27FC236}">
                  <a16:creationId xmlns:a16="http://schemas.microsoft.com/office/drawing/2014/main" id="{79473613-7105-4D29-A781-E308C978304C}"/>
                </a:ext>
              </a:extLst>
            </p:cNvPr>
            <p:cNvSpPr/>
            <p:nvPr/>
          </p:nvSpPr>
          <p:spPr bwMode="gray">
            <a:xfrm>
              <a:off x="6160946" y="5136724"/>
              <a:ext cx="288993" cy="1050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8900"/>
                  </a:moveTo>
                  <a:lnTo>
                    <a:pt x="11291" y="18900"/>
                  </a:lnTo>
                  <a:lnTo>
                    <a:pt x="11291" y="2700"/>
                  </a:lnTo>
                  <a:lnTo>
                    <a:pt x="17673" y="2700"/>
                  </a:lnTo>
                  <a:cubicBezTo>
                    <a:pt x="19300" y="2700"/>
                    <a:pt x="20618" y="6328"/>
                    <a:pt x="20618" y="10800"/>
                  </a:cubicBezTo>
                  <a:cubicBezTo>
                    <a:pt x="20618" y="15273"/>
                    <a:pt x="19300" y="18900"/>
                    <a:pt x="17673" y="18900"/>
                  </a:cubicBezTo>
                  <a:moveTo>
                    <a:pt x="6382" y="13500"/>
                  </a:moveTo>
                  <a:cubicBezTo>
                    <a:pt x="6111" y="13500"/>
                    <a:pt x="5891" y="12896"/>
                    <a:pt x="5891" y="12150"/>
                  </a:cubicBezTo>
                  <a:cubicBezTo>
                    <a:pt x="5891" y="11404"/>
                    <a:pt x="6111" y="10800"/>
                    <a:pt x="6382" y="10800"/>
                  </a:cubicBezTo>
                  <a:cubicBezTo>
                    <a:pt x="6653" y="10800"/>
                    <a:pt x="6873" y="11404"/>
                    <a:pt x="6873" y="12150"/>
                  </a:cubicBezTo>
                  <a:cubicBezTo>
                    <a:pt x="6873" y="12896"/>
                    <a:pt x="6653" y="13500"/>
                    <a:pt x="6382" y="13500"/>
                  </a:cubicBezTo>
                  <a:moveTo>
                    <a:pt x="3927" y="10800"/>
                  </a:moveTo>
                  <a:cubicBezTo>
                    <a:pt x="3385" y="10800"/>
                    <a:pt x="2945" y="9592"/>
                    <a:pt x="2945" y="8100"/>
                  </a:cubicBezTo>
                  <a:cubicBezTo>
                    <a:pt x="2945" y="6610"/>
                    <a:pt x="3385" y="5400"/>
                    <a:pt x="3927" y="5400"/>
                  </a:cubicBezTo>
                  <a:cubicBezTo>
                    <a:pt x="4469" y="5400"/>
                    <a:pt x="4909" y="6610"/>
                    <a:pt x="4909" y="8100"/>
                  </a:cubicBezTo>
                  <a:cubicBezTo>
                    <a:pt x="4909" y="9592"/>
                    <a:pt x="4469" y="10800"/>
                    <a:pt x="3927" y="10800"/>
                  </a:cubicBezTo>
                  <a:moveTo>
                    <a:pt x="17673" y="0"/>
                  </a:moveTo>
                  <a:lnTo>
                    <a:pt x="3927" y="0"/>
                  </a:lnTo>
                  <a:cubicBezTo>
                    <a:pt x="1758" y="0"/>
                    <a:pt x="0" y="4836"/>
                    <a:pt x="0" y="10800"/>
                  </a:cubicBezTo>
                  <a:cubicBezTo>
                    <a:pt x="0" y="1676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6764"/>
                    <a:pt x="21600" y="10800"/>
                  </a:cubicBezTo>
                  <a:cubicBezTo>
                    <a:pt x="21600" y="4836"/>
                    <a:pt x="19842" y="0"/>
                    <a:pt x="17673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769">
              <a:extLst>
                <a:ext uri="{FF2B5EF4-FFF2-40B4-BE49-F238E27FC236}">
                  <a16:creationId xmlns:a16="http://schemas.microsoft.com/office/drawing/2014/main" id="{F7511590-ADA7-4EEE-87C5-673C2A1694E5}"/>
                </a:ext>
              </a:extLst>
            </p:cNvPr>
            <p:cNvSpPr/>
            <p:nvPr/>
          </p:nvSpPr>
          <p:spPr bwMode="gray">
            <a:xfrm>
              <a:off x="6752068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0" y="8836"/>
                  </a:moveTo>
                  <a:cubicBezTo>
                    <a:pt x="1350" y="7752"/>
                    <a:pt x="2559" y="6873"/>
                    <a:pt x="4050" y="6873"/>
                  </a:cubicBezTo>
                  <a:lnTo>
                    <a:pt x="17550" y="6873"/>
                  </a:lnTo>
                  <a:cubicBezTo>
                    <a:pt x="19041" y="6873"/>
                    <a:pt x="20250" y="7752"/>
                    <a:pt x="20250" y="8836"/>
                  </a:cubicBezTo>
                  <a:cubicBezTo>
                    <a:pt x="20250" y="8836"/>
                    <a:pt x="1350" y="8836"/>
                    <a:pt x="1350" y="8836"/>
                  </a:cubicBezTo>
                  <a:close/>
                  <a:moveTo>
                    <a:pt x="14850" y="12764"/>
                  </a:moveTo>
                  <a:lnTo>
                    <a:pt x="14850" y="14727"/>
                  </a:lnTo>
                  <a:lnTo>
                    <a:pt x="12150" y="14727"/>
                  </a:lnTo>
                  <a:lnTo>
                    <a:pt x="12150" y="16691"/>
                  </a:lnTo>
                  <a:lnTo>
                    <a:pt x="9450" y="16691"/>
                  </a:lnTo>
                  <a:lnTo>
                    <a:pt x="9450" y="14727"/>
                  </a:lnTo>
                  <a:lnTo>
                    <a:pt x="6750" y="14727"/>
                  </a:lnTo>
                  <a:lnTo>
                    <a:pt x="6750" y="12764"/>
                  </a:lnTo>
                  <a:lnTo>
                    <a:pt x="9450" y="12764"/>
                  </a:lnTo>
                  <a:lnTo>
                    <a:pt x="9450" y="10800"/>
                  </a:lnTo>
                  <a:lnTo>
                    <a:pt x="12150" y="10800"/>
                  </a:lnTo>
                  <a:lnTo>
                    <a:pt x="12150" y="12764"/>
                  </a:lnTo>
                  <a:cubicBezTo>
                    <a:pt x="12150" y="12764"/>
                    <a:pt x="14850" y="12764"/>
                    <a:pt x="14850" y="12764"/>
                  </a:cubicBezTo>
                  <a:close/>
                  <a:moveTo>
                    <a:pt x="17550" y="20618"/>
                  </a:moveTo>
                  <a:lnTo>
                    <a:pt x="4050" y="20618"/>
                  </a:lnTo>
                  <a:cubicBezTo>
                    <a:pt x="2559" y="20618"/>
                    <a:pt x="1350" y="19739"/>
                    <a:pt x="1350" y="18655"/>
                  </a:cubicBezTo>
                  <a:lnTo>
                    <a:pt x="20250" y="18655"/>
                  </a:lnTo>
                  <a:cubicBezTo>
                    <a:pt x="20250" y="19739"/>
                    <a:pt x="19041" y="20618"/>
                    <a:pt x="17550" y="20618"/>
                  </a:cubicBezTo>
                  <a:moveTo>
                    <a:pt x="6750" y="2945"/>
                  </a:moveTo>
                  <a:lnTo>
                    <a:pt x="14850" y="2945"/>
                  </a:lnTo>
                  <a:lnTo>
                    <a:pt x="14850" y="4909"/>
                  </a:lnTo>
                  <a:lnTo>
                    <a:pt x="6750" y="4909"/>
                  </a:lnTo>
                  <a:cubicBezTo>
                    <a:pt x="6750" y="4909"/>
                    <a:pt x="6750" y="2945"/>
                    <a:pt x="6750" y="2945"/>
                  </a:cubicBezTo>
                  <a:close/>
                  <a:moveTo>
                    <a:pt x="6750" y="982"/>
                  </a:moveTo>
                  <a:lnTo>
                    <a:pt x="14850" y="982"/>
                  </a:lnTo>
                  <a:lnTo>
                    <a:pt x="14850" y="1964"/>
                  </a:lnTo>
                  <a:lnTo>
                    <a:pt x="6750" y="1964"/>
                  </a:lnTo>
                  <a:cubicBezTo>
                    <a:pt x="6750" y="1964"/>
                    <a:pt x="6750" y="982"/>
                    <a:pt x="6750" y="982"/>
                  </a:cubicBezTo>
                  <a:close/>
                  <a:moveTo>
                    <a:pt x="17550" y="5891"/>
                  </a:moveTo>
                  <a:lnTo>
                    <a:pt x="16200" y="5891"/>
                  </a:lnTo>
                  <a:lnTo>
                    <a:pt x="16200" y="4909"/>
                  </a:lnTo>
                  <a:lnTo>
                    <a:pt x="16200" y="982"/>
                  </a:lnTo>
                  <a:cubicBezTo>
                    <a:pt x="16200" y="440"/>
                    <a:pt x="15595" y="0"/>
                    <a:pt x="14850" y="0"/>
                  </a:cubicBezTo>
                  <a:lnTo>
                    <a:pt x="6750" y="0"/>
                  </a:lnTo>
                  <a:cubicBezTo>
                    <a:pt x="6005" y="0"/>
                    <a:pt x="5400" y="440"/>
                    <a:pt x="5400" y="982"/>
                  </a:cubicBezTo>
                  <a:lnTo>
                    <a:pt x="5400" y="4909"/>
                  </a:lnTo>
                  <a:lnTo>
                    <a:pt x="5400" y="5891"/>
                  </a:lnTo>
                  <a:lnTo>
                    <a:pt x="4050" y="5891"/>
                  </a:lnTo>
                  <a:cubicBezTo>
                    <a:pt x="1813" y="5891"/>
                    <a:pt x="0" y="7210"/>
                    <a:pt x="0" y="8836"/>
                  </a:cubicBezTo>
                  <a:lnTo>
                    <a:pt x="0" y="18655"/>
                  </a:lnTo>
                  <a:cubicBezTo>
                    <a:pt x="0" y="20282"/>
                    <a:pt x="1813" y="21600"/>
                    <a:pt x="4050" y="21600"/>
                  </a:cubicBezTo>
                  <a:lnTo>
                    <a:pt x="17550" y="21600"/>
                  </a:lnTo>
                  <a:cubicBezTo>
                    <a:pt x="19787" y="21600"/>
                    <a:pt x="21600" y="20282"/>
                    <a:pt x="21600" y="18655"/>
                  </a:cubicBezTo>
                  <a:lnTo>
                    <a:pt x="21600" y="8836"/>
                  </a:lnTo>
                  <a:cubicBezTo>
                    <a:pt x="21600" y="7210"/>
                    <a:pt x="19787" y="5891"/>
                    <a:pt x="17550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770">
              <a:extLst>
                <a:ext uri="{FF2B5EF4-FFF2-40B4-BE49-F238E27FC236}">
                  <a16:creationId xmlns:a16="http://schemas.microsoft.com/office/drawing/2014/main" id="{3165C790-4C40-4A1B-AAF5-A52E5F69BF7D}"/>
                </a:ext>
              </a:extLst>
            </p:cNvPr>
            <p:cNvSpPr/>
            <p:nvPr/>
          </p:nvSpPr>
          <p:spPr bwMode="gray">
            <a:xfrm>
              <a:off x="7264373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771">
              <a:extLst>
                <a:ext uri="{FF2B5EF4-FFF2-40B4-BE49-F238E27FC236}">
                  <a16:creationId xmlns:a16="http://schemas.microsoft.com/office/drawing/2014/main" id="{719043BC-9BE5-494C-BD47-BB2A2B7A767A}"/>
                </a:ext>
              </a:extLst>
            </p:cNvPr>
            <p:cNvSpPr/>
            <p:nvPr/>
          </p:nvSpPr>
          <p:spPr bwMode="gray">
            <a:xfrm>
              <a:off x="781608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8836"/>
                  </a:moveTo>
                  <a:cubicBezTo>
                    <a:pt x="15812" y="8836"/>
                    <a:pt x="16691" y="9716"/>
                    <a:pt x="16691" y="10800"/>
                  </a:cubicBezTo>
                  <a:cubicBezTo>
                    <a:pt x="16691" y="11884"/>
                    <a:pt x="15812" y="12764"/>
                    <a:pt x="14727" y="12764"/>
                  </a:cubicBezTo>
                  <a:cubicBezTo>
                    <a:pt x="13643" y="12764"/>
                    <a:pt x="12764" y="11884"/>
                    <a:pt x="12764" y="10800"/>
                  </a:cubicBezTo>
                  <a:cubicBezTo>
                    <a:pt x="12764" y="9716"/>
                    <a:pt x="13643" y="8836"/>
                    <a:pt x="14727" y="8836"/>
                  </a:cubicBezTo>
                  <a:moveTo>
                    <a:pt x="14727" y="13745"/>
                  </a:moveTo>
                  <a:cubicBezTo>
                    <a:pt x="16354" y="13745"/>
                    <a:pt x="17673" y="12427"/>
                    <a:pt x="17673" y="10800"/>
                  </a:cubicBezTo>
                  <a:cubicBezTo>
                    <a:pt x="17673" y="9174"/>
                    <a:pt x="16354" y="7855"/>
                    <a:pt x="14727" y="7855"/>
                  </a:cubicBezTo>
                  <a:cubicBezTo>
                    <a:pt x="13100" y="7855"/>
                    <a:pt x="11782" y="9174"/>
                    <a:pt x="11782" y="10800"/>
                  </a:cubicBezTo>
                  <a:cubicBezTo>
                    <a:pt x="11782" y="12427"/>
                    <a:pt x="13100" y="13745"/>
                    <a:pt x="14727" y="13745"/>
                  </a:cubicBezTo>
                  <a:moveTo>
                    <a:pt x="6873" y="7308"/>
                  </a:moveTo>
                  <a:lnTo>
                    <a:pt x="8442" y="9818"/>
                  </a:lnTo>
                  <a:lnTo>
                    <a:pt x="5304" y="9818"/>
                  </a:lnTo>
                  <a:cubicBezTo>
                    <a:pt x="5304" y="9818"/>
                    <a:pt x="6873" y="7308"/>
                    <a:pt x="6873" y="7308"/>
                  </a:cubicBezTo>
                  <a:close/>
                  <a:moveTo>
                    <a:pt x="4418" y="10800"/>
                  </a:moveTo>
                  <a:lnTo>
                    <a:pt x="9327" y="10800"/>
                  </a:lnTo>
                  <a:cubicBezTo>
                    <a:pt x="9598" y="10800"/>
                    <a:pt x="9818" y="10580"/>
                    <a:pt x="9818" y="10309"/>
                  </a:cubicBezTo>
                  <a:cubicBezTo>
                    <a:pt x="9818" y="10208"/>
                    <a:pt x="9780" y="10120"/>
                    <a:pt x="9728" y="10042"/>
                  </a:cubicBezTo>
                  <a:lnTo>
                    <a:pt x="9736" y="10037"/>
                  </a:lnTo>
                  <a:lnTo>
                    <a:pt x="7281" y="6110"/>
                  </a:lnTo>
                  <a:lnTo>
                    <a:pt x="7274" y="6114"/>
                  </a:lnTo>
                  <a:cubicBezTo>
                    <a:pt x="7186" y="5983"/>
                    <a:pt x="7043" y="5891"/>
                    <a:pt x="6873" y="5891"/>
                  </a:cubicBezTo>
                  <a:cubicBezTo>
                    <a:pt x="6702" y="5891"/>
                    <a:pt x="6560" y="5983"/>
                    <a:pt x="6472" y="6114"/>
                  </a:cubicBezTo>
                  <a:lnTo>
                    <a:pt x="6464" y="6110"/>
                  </a:lnTo>
                  <a:lnTo>
                    <a:pt x="4010" y="10037"/>
                  </a:lnTo>
                  <a:lnTo>
                    <a:pt x="4018" y="10042"/>
                  </a:lnTo>
                  <a:cubicBezTo>
                    <a:pt x="3965" y="10120"/>
                    <a:pt x="3927" y="10208"/>
                    <a:pt x="3927" y="10309"/>
                  </a:cubicBezTo>
                  <a:cubicBezTo>
                    <a:pt x="3927" y="10580"/>
                    <a:pt x="4147" y="10800"/>
                    <a:pt x="4418" y="10800"/>
                  </a:cubicBezTo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772">
              <a:extLst>
                <a:ext uri="{FF2B5EF4-FFF2-40B4-BE49-F238E27FC236}">
                  <a16:creationId xmlns:a16="http://schemas.microsoft.com/office/drawing/2014/main" id="{87176EF2-ECAE-445E-9DAE-C9133CB790AA}"/>
                </a:ext>
              </a:extLst>
            </p:cNvPr>
            <p:cNvSpPr/>
            <p:nvPr/>
          </p:nvSpPr>
          <p:spPr bwMode="gray">
            <a:xfrm>
              <a:off x="8367800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4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7" y="21545"/>
                    <a:pt x="13610" y="21600"/>
                    <a:pt x="13745" y="21600"/>
                  </a:cubicBezTo>
                  <a:cubicBezTo>
                    <a:pt x="14016" y="21600"/>
                    <a:pt x="14236" y="21380"/>
                    <a:pt x="14236" y="21109"/>
                  </a:cubicBezTo>
                  <a:cubicBezTo>
                    <a:pt x="14236" y="20974"/>
                    <a:pt x="14181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2273" y="12764"/>
                  </a:moveTo>
                  <a:lnTo>
                    <a:pt x="17182" y="12764"/>
                  </a:lnTo>
                  <a:cubicBezTo>
                    <a:pt x="17453" y="12764"/>
                    <a:pt x="17673" y="12544"/>
                    <a:pt x="17673" y="12273"/>
                  </a:cubicBezTo>
                  <a:cubicBezTo>
                    <a:pt x="17673" y="12002"/>
                    <a:pt x="17453" y="11782"/>
                    <a:pt x="17182" y="11782"/>
                  </a:cubicBezTo>
                  <a:lnTo>
                    <a:pt x="12273" y="11782"/>
                  </a:lnTo>
                  <a:cubicBezTo>
                    <a:pt x="12002" y="11782"/>
                    <a:pt x="11782" y="12002"/>
                    <a:pt x="11782" y="12273"/>
                  </a:cubicBezTo>
                  <a:cubicBezTo>
                    <a:pt x="11782" y="12544"/>
                    <a:pt x="12002" y="12764"/>
                    <a:pt x="12273" y="12764"/>
                  </a:cubicBezTo>
                  <a:moveTo>
                    <a:pt x="4909" y="6873"/>
                  </a:moveTo>
                  <a:lnTo>
                    <a:pt x="8836" y="6873"/>
                  </a:lnTo>
                  <a:lnTo>
                    <a:pt x="8836" y="11782"/>
                  </a:lnTo>
                  <a:lnTo>
                    <a:pt x="4909" y="11782"/>
                  </a:lnTo>
                  <a:cubicBezTo>
                    <a:pt x="4909" y="11782"/>
                    <a:pt x="4909" y="6873"/>
                    <a:pt x="4909" y="6873"/>
                  </a:cubicBezTo>
                  <a:close/>
                  <a:moveTo>
                    <a:pt x="4909" y="12764"/>
                  </a:moveTo>
                  <a:lnTo>
                    <a:pt x="8836" y="12764"/>
                  </a:lnTo>
                  <a:cubicBezTo>
                    <a:pt x="9378" y="12764"/>
                    <a:pt x="9818" y="12325"/>
                    <a:pt x="9818" y="11782"/>
                  </a:cubicBezTo>
                  <a:lnTo>
                    <a:pt x="9818" y="6873"/>
                  </a:lnTo>
                  <a:cubicBezTo>
                    <a:pt x="9818" y="6331"/>
                    <a:pt x="9378" y="5891"/>
                    <a:pt x="8836" y="5891"/>
                  </a:cubicBezTo>
                  <a:lnTo>
                    <a:pt x="4909" y="5891"/>
                  </a:lnTo>
                  <a:cubicBezTo>
                    <a:pt x="4367" y="5891"/>
                    <a:pt x="3927" y="6331"/>
                    <a:pt x="3927" y="6873"/>
                  </a:cubicBezTo>
                  <a:lnTo>
                    <a:pt x="3927" y="11782"/>
                  </a:lnTo>
                  <a:cubicBezTo>
                    <a:pt x="3927" y="12325"/>
                    <a:pt x="4367" y="12764"/>
                    <a:pt x="4909" y="12764"/>
                  </a:cubicBezTo>
                  <a:moveTo>
                    <a:pt x="12273" y="10800"/>
                  </a:moveTo>
                  <a:lnTo>
                    <a:pt x="14236" y="10800"/>
                  </a:lnTo>
                  <a:cubicBezTo>
                    <a:pt x="14507" y="10800"/>
                    <a:pt x="14727" y="10580"/>
                    <a:pt x="14727" y="10309"/>
                  </a:cubicBezTo>
                  <a:cubicBezTo>
                    <a:pt x="14727" y="10038"/>
                    <a:pt x="14507" y="9818"/>
                    <a:pt x="14236" y="9818"/>
                  </a:cubicBezTo>
                  <a:lnTo>
                    <a:pt x="12273" y="9818"/>
                  </a:lnTo>
                  <a:cubicBezTo>
                    <a:pt x="12002" y="9818"/>
                    <a:pt x="11782" y="10038"/>
                    <a:pt x="11782" y="10309"/>
                  </a:cubicBezTo>
                  <a:cubicBezTo>
                    <a:pt x="11782" y="10580"/>
                    <a:pt x="12002" y="10800"/>
                    <a:pt x="12273" y="10800"/>
                  </a:cubicBezTo>
                  <a:moveTo>
                    <a:pt x="12273" y="6873"/>
                  </a:moveTo>
                  <a:lnTo>
                    <a:pt x="15218" y="6873"/>
                  </a:lnTo>
                  <a:cubicBezTo>
                    <a:pt x="15489" y="6873"/>
                    <a:pt x="15709" y="6653"/>
                    <a:pt x="15709" y="6382"/>
                  </a:cubicBezTo>
                  <a:cubicBezTo>
                    <a:pt x="15709" y="6111"/>
                    <a:pt x="15489" y="5891"/>
                    <a:pt x="15218" y="5891"/>
                  </a:cubicBezTo>
                  <a:lnTo>
                    <a:pt x="12273" y="5891"/>
                  </a:lnTo>
                  <a:cubicBezTo>
                    <a:pt x="12002" y="5891"/>
                    <a:pt x="11782" y="6111"/>
                    <a:pt x="11782" y="6382"/>
                  </a:cubicBezTo>
                  <a:cubicBezTo>
                    <a:pt x="11782" y="6653"/>
                    <a:pt x="12002" y="6873"/>
                    <a:pt x="12273" y="6873"/>
                  </a:cubicBezTo>
                  <a:moveTo>
                    <a:pt x="12273" y="8836"/>
                  </a:moveTo>
                  <a:lnTo>
                    <a:pt x="17182" y="8836"/>
                  </a:lnTo>
                  <a:cubicBezTo>
                    <a:pt x="17453" y="8836"/>
                    <a:pt x="17673" y="8617"/>
                    <a:pt x="17673" y="8345"/>
                  </a:cubicBezTo>
                  <a:cubicBezTo>
                    <a:pt x="17673" y="8075"/>
                    <a:pt x="17453" y="7855"/>
                    <a:pt x="17182" y="7855"/>
                  </a:cubicBezTo>
                  <a:lnTo>
                    <a:pt x="12273" y="7855"/>
                  </a:lnTo>
                  <a:cubicBezTo>
                    <a:pt x="12002" y="7855"/>
                    <a:pt x="11782" y="8075"/>
                    <a:pt x="11782" y="8345"/>
                  </a:cubicBezTo>
                  <a:cubicBezTo>
                    <a:pt x="11782" y="8617"/>
                    <a:pt x="12002" y="8836"/>
                    <a:pt x="12273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773">
              <a:extLst>
                <a:ext uri="{FF2B5EF4-FFF2-40B4-BE49-F238E27FC236}">
                  <a16:creationId xmlns:a16="http://schemas.microsoft.com/office/drawing/2014/main" id="{988A4F50-5AD4-432A-922A-32308CABC1CE}"/>
                </a:ext>
              </a:extLst>
            </p:cNvPr>
            <p:cNvSpPr/>
            <p:nvPr/>
          </p:nvSpPr>
          <p:spPr bwMode="gray">
            <a:xfrm>
              <a:off x="8919514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8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40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40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2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8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4909" y="12764"/>
                  </a:moveTo>
                  <a:cubicBezTo>
                    <a:pt x="5180" y="12764"/>
                    <a:pt x="5400" y="12544"/>
                    <a:pt x="5400" y="12273"/>
                  </a:cubicBezTo>
                  <a:cubicBezTo>
                    <a:pt x="5400" y="9290"/>
                    <a:pt x="7818" y="6873"/>
                    <a:pt x="10800" y="6873"/>
                  </a:cubicBezTo>
                  <a:cubicBezTo>
                    <a:pt x="13782" y="6873"/>
                    <a:pt x="16200" y="9290"/>
                    <a:pt x="16200" y="12273"/>
                  </a:cubicBezTo>
                  <a:cubicBezTo>
                    <a:pt x="16200" y="12544"/>
                    <a:pt x="16420" y="12764"/>
                    <a:pt x="16691" y="12764"/>
                  </a:cubicBezTo>
                  <a:cubicBezTo>
                    <a:pt x="16962" y="12764"/>
                    <a:pt x="17182" y="12544"/>
                    <a:pt x="17182" y="12273"/>
                  </a:cubicBezTo>
                  <a:cubicBezTo>
                    <a:pt x="17182" y="8748"/>
                    <a:pt x="14325" y="5891"/>
                    <a:pt x="10800" y="5891"/>
                  </a:cubicBezTo>
                  <a:cubicBezTo>
                    <a:pt x="7275" y="5891"/>
                    <a:pt x="4418" y="8748"/>
                    <a:pt x="4418" y="12273"/>
                  </a:cubicBezTo>
                  <a:cubicBezTo>
                    <a:pt x="4418" y="12544"/>
                    <a:pt x="4638" y="12764"/>
                    <a:pt x="4909" y="12764"/>
                  </a:cubicBezTo>
                  <a:moveTo>
                    <a:pt x="10800" y="11782"/>
                  </a:moveTo>
                  <a:cubicBezTo>
                    <a:pt x="10529" y="11782"/>
                    <a:pt x="10309" y="12002"/>
                    <a:pt x="10309" y="12273"/>
                  </a:cubicBezTo>
                  <a:cubicBezTo>
                    <a:pt x="10309" y="12544"/>
                    <a:pt x="10529" y="12764"/>
                    <a:pt x="10800" y="12764"/>
                  </a:cubicBezTo>
                  <a:cubicBezTo>
                    <a:pt x="11071" y="12764"/>
                    <a:pt x="11291" y="12544"/>
                    <a:pt x="11291" y="12273"/>
                  </a:cubicBezTo>
                  <a:cubicBezTo>
                    <a:pt x="11291" y="12002"/>
                    <a:pt x="11071" y="11782"/>
                    <a:pt x="10800" y="11782"/>
                  </a:cubicBezTo>
                  <a:moveTo>
                    <a:pt x="10800" y="8836"/>
                  </a:moveTo>
                  <a:cubicBezTo>
                    <a:pt x="8903" y="8836"/>
                    <a:pt x="7364" y="10375"/>
                    <a:pt x="7364" y="12273"/>
                  </a:cubicBezTo>
                  <a:cubicBezTo>
                    <a:pt x="7364" y="12544"/>
                    <a:pt x="7583" y="12764"/>
                    <a:pt x="7855" y="12764"/>
                  </a:cubicBezTo>
                  <a:cubicBezTo>
                    <a:pt x="8126" y="12764"/>
                    <a:pt x="8345" y="12544"/>
                    <a:pt x="8345" y="12273"/>
                  </a:cubicBezTo>
                  <a:cubicBezTo>
                    <a:pt x="8345" y="10917"/>
                    <a:pt x="9444" y="9818"/>
                    <a:pt x="10800" y="9818"/>
                  </a:cubicBezTo>
                  <a:cubicBezTo>
                    <a:pt x="12156" y="9818"/>
                    <a:pt x="13255" y="10917"/>
                    <a:pt x="13255" y="12273"/>
                  </a:cubicBezTo>
                  <a:cubicBezTo>
                    <a:pt x="13255" y="12544"/>
                    <a:pt x="13474" y="12764"/>
                    <a:pt x="13745" y="12764"/>
                  </a:cubicBezTo>
                  <a:cubicBezTo>
                    <a:pt x="14017" y="12764"/>
                    <a:pt x="14236" y="12544"/>
                    <a:pt x="14236" y="12273"/>
                  </a:cubicBezTo>
                  <a:cubicBezTo>
                    <a:pt x="14236" y="10375"/>
                    <a:pt x="12698" y="8836"/>
                    <a:pt x="108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774">
              <a:extLst>
                <a:ext uri="{FF2B5EF4-FFF2-40B4-BE49-F238E27FC236}">
                  <a16:creationId xmlns:a16="http://schemas.microsoft.com/office/drawing/2014/main" id="{76C14E1A-4544-4227-B09A-719C95045FB4}"/>
                </a:ext>
              </a:extLst>
            </p:cNvPr>
            <p:cNvSpPr/>
            <p:nvPr/>
          </p:nvSpPr>
          <p:spPr bwMode="gray">
            <a:xfrm>
              <a:off x="9471227" y="5044772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945"/>
                  </a:moveTo>
                  <a:lnTo>
                    <a:pt x="982" y="2945"/>
                  </a:lnTo>
                  <a:lnTo>
                    <a:pt x="982" y="1964"/>
                  </a:lnTo>
                  <a:lnTo>
                    <a:pt x="20618" y="1964"/>
                  </a:lnTo>
                  <a:cubicBezTo>
                    <a:pt x="20618" y="1964"/>
                    <a:pt x="20618" y="2945"/>
                    <a:pt x="20618" y="2945"/>
                  </a:cubicBezTo>
                  <a:close/>
                  <a:moveTo>
                    <a:pt x="19636" y="15709"/>
                  </a:moveTo>
                  <a:lnTo>
                    <a:pt x="1964" y="15709"/>
                  </a:lnTo>
                  <a:lnTo>
                    <a:pt x="1964" y="3927"/>
                  </a:lnTo>
                  <a:lnTo>
                    <a:pt x="19636" y="3927"/>
                  </a:lnTo>
                  <a:cubicBezTo>
                    <a:pt x="19636" y="3927"/>
                    <a:pt x="19636" y="15709"/>
                    <a:pt x="19636" y="15709"/>
                  </a:cubicBezTo>
                  <a:close/>
                  <a:moveTo>
                    <a:pt x="20618" y="982"/>
                  </a:moveTo>
                  <a:lnTo>
                    <a:pt x="11782" y="982"/>
                  </a:lnTo>
                  <a:cubicBezTo>
                    <a:pt x="11782" y="440"/>
                    <a:pt x="11342" y="0"/>
                    <a:pt x="10800" y="0"/>
                  </a:cubicBezTo>
                  <a:cubicBezTo>
                    <a:pt x="10257" y="0"/>
                    <a:pt x="9818" y="440"/>
                    <a:pt x="9818" y="982"/>
                  </a:cubicBezTo>
                  <a:lnTo>
                    <a:pt x="982" y="982"/>
                  </a:lnTo>
                  <a:cubicBezTo>
                    <a:pt x="439" y="982"/>
                    <a:pt x="0" y="1422"/>
                    <a:pt x="0" y="1964"/>
                  </a:cubicBezTo>
                  <a:lnTo>
                    <a:pt x="0" y="2945"/>
                  </a:lnTo>
                  <a:cubicBezTo>
                    <a:pt x="0" y="3488"/>
                    <a:pt x="439" y="3927"/>
                    <a:pt x="982" y="3927"/>
                  </a:cubicBezTo>
                  <a:lnTo>
                    <a:pt x="982" y="15709"/>
                  </a:lnTo>
                  <a:cubicBezTo>
                    <a:pt x="982" y="16252"/>
                    <a:pt x="1421" y="16691"/>
                    <a:pt x="1964" y="16691"/>
                  </a:cubicBezTo>
                  <a:lnTo>
                    <a:pt x="10309" y="16691"/>
                  </a:lnTo>
                  <a:lnTo>
                    <a:pt x="10309" y="17960"/>
                  </a:lnTo>
                  <a:lnTo>
                    <a:pt x="7507" y="20762"/>
                  </a:lnTo>
                  <a:cubicBezTo>
                    <a:pt x="7419" y="20851"/>
                    <a:pt x="7364" y="20974"/>
                    <a:pt x="7364" y="21109"/>
                  </a:cubicBezTo>
                  <a:cubicBezTo>
                    <a:pt x="7364" y="21380"/>
                    <a:pt x="7583" y="21600"/>
                    <a:pt x="7855" y="21600"/>
                  </a:cubicBezTo>
                  <a:cubicBezTo>
                    <a:pt x="7990" y="21600"/>
                    <a:pt x="8113" y="21545"/>
                    <a:pt x="8202" y="21456"/>
                  </a:cubicBezTo>
                  <a:lnTo>
                    <a:pt x="10800" y="18858"/>
                  </a:lnTo>
                  <a:lnTo>
                    <a:pt x="13398" y="21456"/>
                  </a:lnTo>
                  <a:cubicBezTo>
                    <a:pt x="13488" y="21545"/>
                    <a:pt x="13610" y="21600"/>
                    <a:pt x="13745" y="21600"/>
                  </a:cubicBezTo>
                  <a:cubicBezTo>
                    <a:pt x="14017" y="21600"/>
                    <a:pt x="14236" y="21380"/>
                    <a:pt x="14236" y="21109"/>
                  </a:cubicBezTo>
                  <a:cubicBezTo>
                    <a:pt x="14236" y="20974"/>
                    <a:pt x="14182" y="20851"/>
                    <a:pt x="14093" y="20762"/>
                  </a:cubicBezTo>
                  <a:lnTo>
                    <a:pt x="11291" y="17960"/>
                  </a:lnTo>
                  <a:lnTo>
                    <a:pt x="11291" y="16691"/>
                  </a:lnTo>
                  <a:lnTo>
                    <a:pt x="19636" y="16691"/>
                  </a:lnTo>
                  <a:cubicBezTo>
                    <a:pt x="20178" y="16691"/>
                    <a:pt x="20618" y="16252"/>
                    <a:pt x="20618" y="15709"/>
                  </a:cubicBezTo>
                  <a:lnTo>
                    <a:pt x="20618" y="3927"/>
                  </a:lnTo>
                  <a:cubicBezTo>
                    <a:pt x="21160" y="3927"/>
                    <a:pt x="21600" y="3488"/>
                    <a:pt x="21600" y="2945"/>
                  </a:cubicBezTo>
                  <a:lnTo>
                    <a:pt x="21600" y="1964"/>
                  </a:lnTo>
                  <a:cubicBezTo>
                    <a:pt x="21600" y="1422"/>
                    <a:pt x="21160" y="982"/>
                    <a:pt x="20618" y="982"/>
                  </a:cubicBezTo>
                  <a:moveTo>
                    <a:pt x="16200" y="5891"/>
                  </a:moveTo>
                  <a:cubicBezTo>
                    <a:pt x="16471" y="5891"/>
                    <a:pt x="16691" y="6111"/>
                    <a:pt x="16691" y="6382"/>
                  </a:cubicBezTo>
                  <a:cubicBezTo>
                    <a:pt x="16691" y="6653"/>
                    <a:pt x="16471" y="6873"/>
                    <a:pt x="16200" y="6873"/>
                  </a:cubicBezTo>
                  <a:cubicBezTo>
                    <a:pt x="15929" y="6873"/>
                    <a:pt x="15709" y="6653"/>
                    <a:pt x="15709" y="6382"/>
                  </a:cubicBezTo>
                  <a:cubicBezTo>
                    <a:pt x="15709" y="6111"/>
                    <a:pt x="15929" y="5891"/>
                    <a:pt x="16200" y="5891"/>
                  </a:cubicBezTo>
                  <a:moveTo>
                    <a:pt x="16200" y="7855"/>
                  </a:moveTo>
                  <a:cubicBezTo>
                    <a:pt x="17013" y="7855"/>
                    <a:pt x="17673" y="7196"/>
                    <a:pt x="17673" y="6382"/>
                  </a:cubicBezTo>
                  <a:cubicBezTo>
                    <a:pt x="17673" y="5569"/>
                    <a:pt x="17013" y="4909"/>
                    <a:pt x="16200" y="4909"/>
                  </a:cubicBezTo>
                  <a:cubicBezTo>
                    <a:pt x="15387" y="4909"/>
                    <a:pt x="14727" y="5569"/>
                    <a:pt x="14727" y="6382"/>
                  </a:cubicBezTo>
                  <a:cubicBezTo>
                    <a:pt x="14727" y="7196"/>
                    <a:pt x="15387" y="7855"/>
                    <a:pt x="16200" y="7855"/>
                  </a:cubicBezTo>
                  <a:moveTo>
                    <a:pt x="8422" y="8135"/>
                  </a:moveTo>
                  <a:lnTo>
                    <a:pt x="11926" y="11638"/>
                  </a:lnTo>
                  <a:cubicBezTo>
                    <a:pt x="12015" y="11727"/>
                    <a:pt x="12138" y="11782"/>
                    <a:pt x="12273" y="11782"/>
                  </a:cubicBezTo>
                  <a:cubicBezTo>
                    <a:pt x="12408" y="11782"/>
                    <a:pt x="12531" y="11727"/>
                    <a:pt x="12620" y="11638"/>
                  </a:cubicBezTo>
                  <a:lnTo>
                    <a:pt x="14183" y="10075"/>
                  </a:lnTo>
                  <a:lnTo>
                    <a:pt x="16200" y="12764"/>
                  </a:lnTo>
                  <a:lnTo>
                    <a:pt x="5336" y="12764"/>
                  </a:lnTo>
                  <a:cubicBezTo>
                    <a:pt x="5336" y="12764"/>
                    <a:pt x="8422" y="8135"/>
                    <a:pt x="8422" y="8135"/>
                  </a:cubicBezTo>
                  <a:close/>
                  <a:moveTo>
                    <a:pt x="4418" y="13745"/>
                  </a:moveTo>
                  <a:lnTo>
                    <a:pt x="17182" y="13745"/>
                  </a:lnTo>
                  <a:cubicBezTo>
                    <a:pt x="17453" y="13745"/>
                    <a:pt x="17673" y="13526"/>
                    <a:pt x="17673" y="13255"/>
                  </a:cubicBezTo>
                  <a:cubicBezTo>
                    <a:pt x="17673" y="13144"/>
                    <a:pt x="17630" y="13047"/>
                    <a:pt x="17568" y="12965"/>
                  </a:cubicBezTo>
                  <a:lnTo>
                    <a:pt x="17575" y="12960"/>
                  </a:lnTo>
                  <a:lnTo>
                    <a:pt x="14629" y="9033"/>
                  </a:lnTo>
                  <a:lnTo>
                    <a:pt x="14622" y="9038"/>
                  </a:lnTo>
                  <a:cubicBezTo>
                    <a:pt x="14533" y="8919"/>
                    <a:pt x="14397" y="8836"/>
                    <a:pt x="14236" y="8836"/>
                  </a:cubicBezTo>
                  <a:cubicBezTo>
                    <a:pt x="14101" y="8836"/>
                    <a:pt x="13978" y="8891"/>
                    <a:pt x="13889" y="8980"/>
                  </a:cubicBezTo>
                  <a:lnTo>
                    <a:pt x="12273" y="10597"/>
                  </a:lnTo>
                  <a:lnTo>
                    <a:pt x="8693" y="7017"/>
                  </a:lnTo>
                  <a:cubicBezTo>
                    <a:pt x="8604" y="6928"/>
                    <a:pt x="8481" y="6873"/>
                    <a:pt x="8345" y="6873"/>
                  </a:cubicBezTo>
                  <a:cubicBezTo>
                    <a:pt x="8175" y="6873"/>
                    <a:pt x="8033" y="6965"/>
                    <a:pt x="7945" y="7097"/>
                  </a:cubicBezTo>
                  <a:lnTo>
                    <a:pt x="7937" y="7091"/>
                  </a:lnTo>
                  <a:lnTo>
                    <a:pt x="4010" y="12982"/>
                  </a:lnTo>
                  <a:lnTo>
                    <a:pt x="4017" y="12988"/>
                  </a:lnTo>
                  <a:cubicBezTo>
                    <a:pt x="3965" y="13066"/>
                    <a:pt x="3927" y="13154"/>
                    <a:pt x="3927" y="13255"/>
                  </a:cubicBezTo>
                  <a:cubicBezTo>
                    <a:pt x="3927" y="13526"/>
                    <a:pt x="4147" y="13745"/>
                    <a:pt x="4418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775">
              <a:extLst>
                <a:ext uri="{FF2B5EF4-FFF2-40B4-BE49-F238E27FC236}">
                  <a16:creationId xmlns:a16="http://schemas.microsoft.com/office/drawing/2014/main" id="{DBF389D0-4749-42D5-B03C-94D069ED00E0}"/>
                </a:ext>
              </a:extLst>
            </p:cNvPr>
            <p:cNvSpPr/>
            <p:nvPr/>
          </p:nvSpPr>
          <p:spPr bwMode="gray">
            <a:xfrm>
              <a:off x="10022941" y="5090748"/>
              <a:ext cx="288993" cy="21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755"/>
                  </a:moveTo>
                  <a:lnTo>
                    <a:pt x="1866" y="6075"/>
                  </a:lnTo>
                  <a:lnTo>
                    <a:pt x="10800" y="1395"/>
                  </a:lnTo>
                  <a:lnTo>
                    <a:pt x="19735" y="6075"/>
                  </a:lnTo>
                  <a:cubicBezTo>
                    <a:pt x="19735" y="6075"/>
                    <a:pt x="10800" y="10755"/>
                    <a:pt x="10800" y="10755"/>
                  </a:cubicBezTo>
                  <a:close/>
                  <a:moveTo>
                    <a:pt x="18031" y="17315"/>
                  </a:moveTo>
                  <a:lnTo>
                    <a:pt x="14834" y="16216"/>
                  </a:lnTo>
                  <a:lnTo>
                    <a:pt x="14832" y="16229"/>
                  </a:lnTo>
                  <a:cubicBezTo>
                    <a:pt x="14797" y="16218"/>
                    <a:pt x="14765" y="16200"/>
                    <a:pt x="14727" y="16200"/>
                  </a:cubicBezTo>
                  <a:cubicBezTo>
                    <a:pt x="14627" y="16200"/>
                    <a:pt x="14538" y="16251"/>
                    <a:pt x="14460" y="16324"/>
                  </a:cubicBezTo>
                  <a:lnTo>
                    <a:pt x="14455" y="16313"/>
                  </a:lnTo>
                  <a:lnTo>
                    <a:pt x="10820" y="20061"/>
                  </a:lnTo>
                  <a:lnTo>
                    <a:pt x="7658" y="16334"/>
                  </a:lnTo>
                  <a:lnTo>
                    <a:pt x="7653" y="16344"/>
                  </a:lnTo>
                  <a:cubicBezTo>
                    <a:pt x="7571" y="16259"/>
                    <a:pt x="7474" y="16200"/>
                    <a:pt x="7364" y="16200"/>
                  </a:cubicBezTo>
                  <a:cubicBezTo>
                    <a:pt x="7327" y="16200"/>
                    <a:pt x="7294" y="16218"/>
                    <a:pt x="7259" y="16229"/>
                  </a:cubicBezTo>
                  <a:lnTo>
                    <a:pt x="7257" y="16216"/>
                  </a:lnTo>
                  <a:lnTo>
                    <a:pt x="4013" y="17331"/>
                  </a:lnTo>
                  <a:lnTo>
                    <a:pt x="4767" y="9035"/>
                  </a:lnTo>
                  <a:lnTo>
                    <a:pt x="10589" y="12084"/>
                  </a:lnTo>
                  <a:lnTo>
                    <a:pt x="10591" y="12080"/>
                  </a:lnTo>
                  <a:cubicBezTo>
                    <a:pt x="10655" y="12122"/>
                    <a:pt x="10724" y="12150"/>
                    <a:pt x="10800" y="12150"/>
                  </a:cubicBezTo>
                  <a:cubicBezTo>
                    <a:pt x="10876" y="12150"/>
                    <a:pt x="10946" y="12122"/>
                    <a:pt x="11009" y="12080"/>
                  </a:cubicBezTo>
                  <a:lnTo>
                    <a:pt x="11011" y="12084"/>
                  </a:lnTo>
                  <a:lnTo>
                    <a:pt x="16897" y="9001"/>
                  </a:lnTo>
                  <a:cubicBezTo>
                    <a:pt x="16897" y="9001"/>
                    <a:pt x="18031" y="17315"/>
                    <a:pt x="18031" y="17315"/>
                  </a:cubicBezTo>
                  <a:close/>
                  <a:moveTo>
                    <a:pt x="21600" y="6075"/>
                  </a:moveTo>
                  <a:cubicBezTo>
                    <a:pt x="21600" y="5806"/>
                    <a:pt x="21484" y="5579"/>
                    <a:pt x="21319" y="5470"/>
                  </a:cubicBezTo>
                  <a:lnTo>
                    <a:pt x="21320" y="5466"/>
                  </a:lnTo>
                  <a:lnTo>
                    <a:pt x="21306" y="5458"/>
                  </a:lnTo>
                  <a:cubicBezTo>
                    <a:pt x="21301" y="5455"/>
                    <a:pt x="21296" y="5453"/>
                    <a:pt x="21292" y="5451"/>
                  </a:cubicBezTo>
                  <a:lnTo>
                    <a:pt x="11011" y="66"/>
                  </a:lnTo>
                  <a:lnTo>
                    <a:pt x="11009" y="70"/>
                  </a:lnTo>
                  <a:cubicBezTo>
                    <a:pt x="10946" y="28"/>
                    <a:pt x="10876" y="0"/>
                    <a:pt x="10800" y="0"/>
                  </a:cubicBezTo>
                  <a:cubicBezTo>
                    <a:pt x="10724" y="0"/>
                    <a:pt x="10655" y="28"/>
                    <a:pt x="10591" y="70"/>
                  </a:cubicBezTo>
                  <a:lnTo>
                    <a:pt x="10589" y="66"/>
                  </a:lnTo>
                  <a:lnTo>
                    <a:pt x="309" y="5451"/>
                  </a:lnTo>
                  <a:cubicBezTo>
                    <a:pt x="304" y="5453"/>
                    <a:pt x="299" y="5455"/>
                    <a:pt x="295" y="5458"/>
                  </a:cubicBezTo>
                  <a:lnTo>
                    <a:pt x="280" y="5466"/>
                  </a:lnTo>
                  <a:lnTo>
                    <a:pt x="281" y="5470"/>
                  </a:lnTo>
                  <a:cubicBezTo>
                    <a:pt x="116" y="5579"/>
                    <a:pt x="0" y="5806"/>
                    <a:pt x="0" y="6075"/>
                  </a:cubicBezTo>
                  <a:cubicBezTo>
                    <a:pt x="0" y="6344"/>
                    <a:pt x="116" y="6571"/>
                    <a:pt x="281" y="6680"/>
                  </a:cubicBezTo>
                  <a:lnTo>
                    <a:pt x="280" y="6684"/>
                  </a:lnTo>
                  <a:lnTo>
                    <a:pt x="295" y="6692"/>
                  </a:lnTo>
                  <a:cubicBezTo>
                    <a:pt x="299" y="6695"/>
                    <a:pt x="304" y="6697"/>
                    <a:pt x="309" y="6699"/>
                  </a:cubicBezTo>
                  <a:lnTo>
                    <a:pt x="1230" y="7182"/>
                  </a:lnTo>
                  <a:lnTo>
                    <a:pt x="608" y="13603"/>
                  </a:lnTo>
                  <a:cubicBezTo>
                    <a:pt x="251" y="13805"/>
                    <a:pt x="0" y="14287"/>
                    <a:pt x="0" y="14850"/>
                  </a:cubicBezTo>
                  <a:cubicBezTo>
                    <a:pt x="0" y="15596"/>
                    <a:pt x="439" y="16200"/>
                    <a:pt x="982" y="16200"/>
                  </a:cubicBezTo>
                  <a:cubicBezTo>
                    <a:pt x="1524" y="16200"/>
                    <a:pt x="1964" y="15596"/>
                    <a:pt x="1964" y="14850"/>
                  </a:cubicBezTo>
                  <a:cubicBezTo>
                    <a:pt x="1964" y="14416"/>
                    <a:pt x="1812" y="14034"/>
                    <a:pt x="1580" y="13787"/>
                  </a:cubicBezTo>
                  <a:lnTo>
                    <a:pt x="2173" y="7676"/>
                  </a:lnTo>
                  <a:lnTo>
                    <a:pt x="3822" y="8540"/>
                  </a:lnTo>
                  <a:lnTo>
                    <a:pt x="2950" y="18135"/>
                  </a:lnTo>
                  <a:lnTo>
                    <a:pt x="2958" y="18138"/>
                  </a:lnTo>
                  <a:cubicBezTo>
                    <a:pt x="2955" y="18167"/>
                    <a:pt x="2945" y="18193"/>
                    <a:pt x="2945" y="18225"/>
                  </a:cubicBezTo>
                  <a:cubicBezTo>
                    <a:pt x="2945" y="18598"/>
                    <a:pt x="3165" y="18900"/>
                    <a:pt x="3436" y="18900"/>
                  </a:cubicBezTo>
                  <a:cubicBezTo>
                    <a:pt x="3474" y="18900"/>
                    <a:pt x="3506" y="18884"/>
                    <a:pt x="3541" y="18873"/>
                  </a:cubicBezTo>
                  <a:lnTo>
                    <a:pt x="3543" y="18884"/>
                  </a:lnTo>
                  <a:lnTo>
                    <a:pt x="7238" y="17613"/>
                  </a:lnTo>
                  <a:lnTo>
                    <a:pt x="10506" y="21465"/>
                  </a:lnTo>
                  <a:lnTo>
                    <a:pt x="10510" y="21456"/>
                  </a:lnTo>
                  <a:cubicBezTo>
                    <a:pt x="10593" y="21541"/>
                    <a:pt x="10690" y="21600"/>
                    <a:pt x="10800" y="21600"/>
                  </a:cubicBezTo>
                  <a:cubicBezTo>
                    <a:pt x="10901" y="21600"/>
                    <a:pt x="10989" y="21548"/>
                    <a:pt x="11068" y="21476"/>
                  </a:cubicBezTo>
                  <a:lnTo>
                    <a:pt x="11072" y="21487"/>
                  </a:lnTo>
                  <a:lnTo>
                    <a:pt x="14834" y="17607"/>
                  </a:lnTo>
                  <a:lnTo>
                    <a:pt x="18548" y="18884"/>
                  </a:lnTo>
                  <a:lnTo>
                    <a:pt x="18550" y="18871"/>
                  </a:lnTo>
                  <a:cubicBezTo>
                    <a:pt x="18585" y="18882"/>
                    <a:pt x="18618" y="18900"/>
                    <a:pt x="18655" y="18900"/>
                  </a:cubicBezTo>
                  <a:cubicBezTo>
                    <a:pt x="18926" y="18900"/>
                    <a:pt x="19145" y="18598"/>
                    <a:pt x="19145" y="18225"/>
                  </a:cubicBezTo>
                  <a:cubicBezTo>
                    <a:pt x="19145" y="18181"/>
                    <a:pt x="19135" y="18143"/>
                    <a:pt x="19130" y="18102"/>
                  </a:cubicBezTo>
                  <a:lnTo>
                    <a:pt x="19137" y="18100"/>
                  </a:lnTo>
                  <a:lnTo>
                    <a:pt x="17830" y="8513"/>
                  </a:lnTo>
                  <a:lnTo>
                    <a:pt x="21292" y="6699"/>
                  </a:lnTo>
                  <a:cubicBezTo>
                    <a:pt x="21296" y="6697"/>
                    <a:pt x="21301" y="6695"/>
                    <a:pt x="21306" y="6692"/>
                  </a:cubicBezTo>
                  <a:lnTo>
                    <a:pt x="21320" y="6684"/>
                  </a:lnTo>
                  <a:lnTo>
                    <a:pt x="21319" y="6680"/>
                  </a:lnTo>
                  <a:cubicBezTo>
                    <a:pt x="21484" y="6571"/>
                    <a:pt x="21600" y="6344"/>
                    <a:pt x="21600" y="607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776">
              <a:extLst>
                <a:ext uri="{FF2B5EF4-FFF2-40B4-BE49-F238E27FC236}">
                  <a16:creationId xmlns:a16="http://schemas.microsoft.com/office/drawing/2014/main" id="{ED0AD155-E819-4629-A6A5-51D1AE5AFF0D}"/>
                </a:ext>
              </a:extLst>
            </p:cNvPr>
            <p:cNvSpPr/>
            <p:nvPr/>
          </p:nvSpPr>
          <p:spPr bwMode="gray">
            <a:xfrm>
              <a:off x="10640335" y="5044772"/>
              <a:ext cx="15763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00" y="7855"/>
                  </a:moveTo>
                  <a:lnTo>
                    <a:pt x="9900" y="7855"/>
                  </a:lnTo>
                  <a:lnTo>
                    <a:pt x="9900" y="9818"/>
                  </a:lnTo>
                  <a:cubicBezTo>
                    <a:pt x="9900" y="10090"/>
                    <a:pt x="10303" y="10309"/>
                    <a:pt x="10800" y="10309"/>
                  </a:cubicBezTo>
                  <a:cubicBezTo>
                    <a:pt x="11297" y="10309"/>
                    <a:pt x="11700" y="10090"/>
                    <a:pt x="11700" y="9818"/>
                  </a:cubicBezTo>
                  <a:lnTo>
                    <a:pt x="11700" y="7855"/>
                  </a:lnTo>
                  <a:lnTo>
                    <a:pt x="15300" y="7855"/>
                  </a:lnTo>
                  <a:cubicBezTo>
                    <a:pt x="15797" y="7855"/>
                    <a:pt x="16200" y="7635"/>
                    <a:pt x="16200" y="7364"/>
                  </a:cubicBezTo>
                  <a:cubicBezTo>
                    <a:pt x="16200" y="7092"/>
                    <a:pt x="15797" y="6873"/>
                    <a:pt x="15300" y="6873"/>
                  </a:cubicBezTo>
                  <a:lnTo>
                    <a:pt x="11700" y="6873"/>
                  </a:lnTo>
                  <a:lnTo>
                    <a:pt x="11700" y="4909"/>
                  </a:lnTo>
                  <a:cubicBezTo>
                    <a:pt x="11700" y="4638"/>
                    <a:pt x="11297" y="4418"/>
                    <a:pt x="10800" y="4418"/>
                  </a:cubicBezTo>
                  <a:cubicBezTo>
                    <a:pt x="10303" y="4418"/>
                    <a:pt x="9900" y="4638"/>
                    <a:pt x="9900" y="4909"/>
                  </a:cubicBezTo>
                  <a:lnTo>
                    <a:pt x="9900" y="6873"/>
                  </a:lnTo>
                  <a:lnTo>
                    <a:pt x="6300" y="6873"/>
                  </a:lnTo>
                  <a:cubicBezTo>
                    <a:pt x="5803" y="6873"/>
                    <a:pt x="5400" y="7092"/>
                    <a:pt x="5400" y="7364"/>
                  </a:cubicBezTo>
                  <a:cubicBezTo>
                    <a:pt x="5400" y="7635"/>
                    <a:pt x="5803" y="7855"/>
                    <a:pt x="6300" y="7855"/>
                  </a:cubicBezTo>
                  <a:moveTo>
                    <a:pt x="19800" y="19847"/>
                  </a:moveTo>
                  <a:lnTo>
                    <a:pt x="11464" y="14886"/>
                  </a:lnTo>
                  <a:lnTo>
                    <a:pt x="11457" y="14889"/>
                  </a:lnTo>
                  <a:cubicBezTo>
                    <a:pt x="11294" y="14791"/>
                    <a:pt x="11063" y="14727"/>
                    <a:pt x="10800" y="14727"/>
                  </a:cubicBezTo>
                  <a:cubicBezTo>
                    <a:pt x="10537" y="14727"/>
                    <a:pt x="10306" y="14791"/>
                    <a:pt x="10142" y="14889"/>
                  </a:cubicBezTo>
                  <a:lnTo>
                    <a:pt x="10136" y="14886"/>
                  </a:lnTo>
                  <a:lnTo>
                    <a:pt x="1800" y="19847"/>
                  </a:lnTo>
                  <a:lnTo>
                    <a:pt x="1800" y="982"/>
                  </a:lnTo>
                  <a:lnTo>
                    <a:pt x="19800" y="982"/>
                  </a:lnTo>
                  <a:cubicBezTo>
                    <a:pt x="19800" y="982"/>
                    <a:pt x="19800" y="19847"/>
                    <a:pt x="19800" y="19847"/>
                  </a:cubicBezTo>
                  <a:close/>
                  <a:moveTo>
                    <a:pt x="20700" y="0"/>
                  </a:moveTo>
                  <a:lnTo>
                    <a:pt x="900" y="0"/>
                  </a:ln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63" y="21600"/>
                    <a:pt x="1394" y="21536"/>
                    <a:pt x="1559" y="21438"/>
                  </a:cubicBezTo>
                  <a:lnTo>
                    <a:pt x="1564" y="21441"/>
                  </a:lnTo>
                  <a:lnTo>
                    <a:pt x="10800" y="15945"/>
                  </a:lnTo>
                  <a:lnTo>
                    <a:pt x="20036" y="21441"/>
                  </a:lnTo>
                  <a:lnTo>
                    <a:pt x="20041" y="21438"/>
                  </a:lnTo>
                  <a:cubicBezTo>
                    <a:pt x="20206" y="21536"/>
                    <a:pt x="20437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777">
              <a:extLst>
                <a:ext uri="{FF2B5EF4-FFF2-40B4-BE49-F238E27FC236}">
                  <a16:creationId xmlns:a16="http://schemas.microsoft.com/office/drawing/2014/main" id="{D77902D6-FDFD-4E09-B465-846296CB4516}"/>
                </a:ext>
              </a:extLst>
            </p:cNvPr>
            <p:cNvSpPr/>
            <p:nvPr/>
          </p:nvSpPr>
          <p:spPr bwMode="gray">
            <a:xfrm>
              <a:off x="11165776" y="5044772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20095"/>
                  </a:moveTo>
                  <a:lnTo>
                    <a:pt x="11298" y="14886"/>
                  </a:lnTo>
                  <a:lnTo>
                    <a:pt x="11293" y="14890"/>
                  </a:lnTo>
                  <a:cubicBezTo>
                    <a:pt x="11170" y="14791"/>
                    <a:pt x="10997" y="14727"/>
                    <a:pt x="10800" y="14727"/>
                  </a:cubicBezTo>
                  <a:cubicBezTo>
                    <a:pt x="10603" y="14727"/>
                    <a:pt x="10430" y="14791"/>
                    <a:pt x="10306" y="14890"/>
                  </a:cubicBezTo>
                  <a:lnTo>
                    <a:pt x="10302" y="14886"/>
                  </a:lnTo>
                  <a:lnTo>
                    <a:pt x="1350" y="20095"/>
                  </a:lnTo>
                  <a:lnTo>
                    <a:pt x="1350" y="982"/>
                  </a:lnTo>
                  <a:lnTo>
                    <a:pt x="20250" y="982"/>
                  </a:lnTo>
                  <a:cubicBezTo>
                    <a:pt x="20250" y="982"/>
                    <a:pt x="20250" y="20095"/>
                    <a:pt x="20250" y="20095"/>
                  </a:cubicBezTo>
                  <a:close/>
                  <a:moveTo>
                    <a:pt x="20925" y="0"/>
                  </a:moveTo>
                  <a:lnTo>
                    <a:pt x="675" y="0"/>
                  </a:lnTo>
                  <a:cubicBezTo>
                    <a:pt x="302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872" y="21600"/>
                    <a:pt x="1045" y="21537"/>
                    <a:pt x="1169" y="21438"/>
                  </a:cubicBezTo>
                  <a:lnTo>
                    <a:pt x="1173" y="21441"/>
                  </a:lnTo>
                  <a:lnTo>
                    <a:pt x="10800" y="15839"/>
                  </a:lnTo>
                  <a:lnTo>
                    <a:pt x="20427" y="21441"/>
                  </a:lnTo>
                  <a:lnTo>
                    <a:pt x="20431" y="21438"/>
                  </a:lnTo>
                  <a:cubicBezTo>
                    <a:pt x="20555" y="21537"/>
                    <a:pt x="20728" y="21600"/>
                    <a:pt x="20925" y="21600"/>
                  </a:cubicBezTo>
                  <a:cubicBezTo>
                    <a:pt x="21298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298" y="0"/>
                    <a:pt x="20925" y="0"/>
                  </a:cubicBezTo>
                  <a:moveTo>
                    <a:pt x="7337" y="7850"/>
                  </a:moveTo>
                  <a:lnTo>
                    <a:pt x="9710" y="7850"/>
                  </a:lnTo>
                  <a:lnTo>
                    <a:pt x="10039" y="7213"/>
                  </a:lnTo>
                  <a:lnTo>
                    <a:pt x="10800" y="5738"/>
                  </a:lnTo>
                  <a:lnTo>
                    <a:pt x="11561" y="7213"/>
                  </a:lnTo>
                  <a:lnTo>
                    <a:pt x="11890" y="7850"/>
                  </a:lnTo>
                  <a:lnTo>
                    <a:pt x="14263" y="7850"/>
                  </a:lnTo>
                  <a:lnTo>
                    <a:pt x="13014" y="8550"/>
                  </a:lnTo>
                  <a:lnTo>
                    <a:pt x="12253" y="8976"/>
                  </a:lnTo>
                  <a:lnTo>
                    <a:pt x="12557" y="9638"/>
                  </a:lnTo>
                  <a:lnTo>
                    <a:pt x="13240" y="11130"/>
                  </a:lnTo>
                  <a:lnTo>
                    <a:pt x="11598" y="10254"/>
                  </a:lnTo>
                  <a:lnTo>
                    <a:pt x="10800" y="9828"/>
                  </a:lnTo>
                  <a:lnTo>
                    <a:pt x="10002" y="10254"/>
                  </a:lnTo>
                  <a:lnTo>
                    <a:pt x="8360" y="11130"/>
                  </a:lnTo>
                  <a:lnTo>
                    <a:pt x="9043" y="9638"/>
                  </a:lnTo>
                  <a:lnTo>
                    <a:pt x="9347" y="8976"/>
                  </a:lnTo>
                  <a:lnTo>
                    <a:pt x="8586" y="8550"/>
                  </a:lnTo>
                  <a:cubicBezTo>
                    <a:pt x="8586" y="8550"/>
                    <a:pt x="7337" y="7850"/>
                    <a:pt x="7337" y="7850"/>
                  </a:cubicBezTo>
                  <a:close/>
                  <a:moveTo>
                    <a:pt x="5737" y="13745"/>
                  </a:moveTo>
                  <a:lnTo>
                    <a:pt x="10800" y="11045"/>
                  </a:lnTo>
                  <a:lnTo>
                    <a:pt x="15863" y="13745"/>
                  </a:lnTo>
                  <a:lnTo>
                    <a:pt x="13838" y="9328"/>
                  </a:lnTo>
                  <a:lnTo>
                    <a:pt x="18225" y="6868"/>
                  </a:lnTo>
                  <a:lnTo>
                    <a:pt x="12825" y="6868"/>
                  </a:lnTo>
                  <a:lnTo>
                    <a:pt x="10800" y="2945"/>
                  </a:lnTo>
                  <a:lnTo>
                    <a:pt x="8775" y="6868"/>
                  </a:lnTo>
                  <a:lnTo>
                    <a:pt x="3375" y="6868"/>
                  </a:lnTo>
                  <a:lnTo>
                    <a:pt x="7762" y="9328"/>
                  </a:lnTo>
                  <a:cubicBezTo>
                    <a:pt x="7762" y="9328"/>
                    <a:pt x="5737" y="13745"/>
                    <a:pt x="5737" y="1374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778">
              <a:extLst>
                <a:ext uri="{FF2B5EF4-FFF2-40B4-BE49-F238E27FC236}">
                  <a16:creationId xmlns:a16="http://schemas.microsoft.com/office/drawing/2014/main" id="{14CAFABD-8BD8-449E-89AE-5790AD39B947}"/>
                </a:ext>
              </a:extLst>
            </p:cNvPr>
            <p:cNvSpPr/>
            <p:nvPr/>
          </p:nvSpPr>
          <p:spPr bwMode="gray">
            <a:xfrm>
              <a:off x="6160946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81" y="12956"/>
                  </a:moveTo>
                  <a:cubicBezTo>
                    <a:pt x="17070" y="12258"/>
                    <a:pt x="16576" y="11533"/>
                    <a:pt x="16011" y="10795"/>
                  </a:cubicBezTo>
                  <a:cubicBezTo>
                    <a:pt x="16573" y="10063"/>
                    <a:pt x="17072" y="9339"/>
                    <a:pt x="17481" y="8644"/>
                  </a:cubicBezTo>
                  <a:cubicBezTo>
                    <a:pt x="19410" y="9181"/>
                    <a:pt x="20618" y="9948"/>
                    <a:pt x="20618" y="10800"/>
                  </a:cubicBezTo>
                  <a:cubicBezTo>
                    <a:pt x="20618" y="11652"/>
                    <a:pt x="19410" y="12419"/>
                    <a:pt x="17481" y="12956"/>
                  </a:cubicBezTo>
                  <a:moveTo>
                    <a:pt x="17742" y="17743"/>
                  </a:moveTo>
                  <a:cubicBezTo>
                    <a:pt x="17140" y="18345"/>
                    <a:pt x="15740" y="18028"/>
                    <a:pt x="13996" y="17045"/>
                  </a:cubicBezTo>
                  <a:cubicBezTo>
                    <a:pt x="14198" y="16261"/>
                    <a:pt x="14365" y="15406"/>
                    <a:pt x="14487" y="14488"/>
                  </a:cubicBezTo>
                  <a:cubicBezTo>
                    <a:pt x="15405" y="14366"/>
                    <a:pt x="16261" y="14198"/>
                    <a:pt x="17044" y="13996"/>
                  </a:cubicBezTo>
                  <a:cubicBezTo>
                    <a:pt x="18028" y="15740"/>
                    <a:pt x="18345" y="17140"/>
                    <a:pt x="17742" y="17743"/>
                  </a:cubicBezTo>
                  <a:moveTo>
                    <a:pt x="15404" y="11561"/>
                  </a:moveTo>
                  <a:cubicBezTo>
                    <a:pt x="15837" y="12119"/>
                    <a:pt x="16219" y="12662"/>
                    <a:pt x="16554" y="13185"/>
                  </a:cubicBezTo>
                  <a:cubicBezTo>
                    <a:pt x="15950" y="13317"/>
                    <a:pt x="15295" y="13429"/>
                    <a:pt x="14597" y="13517"/>
                  </a:cubicBezTo>
                  <a:cubicBezTo>
                    <a:pt x="14631" y="13155"/>
                    <a:pt x="14655" y="12784"/>
                    <a:pt x="14677" y="12409"/>
                  </a:cubicBezTo>
                  <a:cubicBezTo>
                    <a:pt x="14930" y="12127"/>
                    <a:pt x="15170" y="11844"/>
                    <a:pt x="15404" y="11561"/>
                  </a:cubicBezTo>
                  <a:moveTo>
                    <a:pt x="15402" y="10032"/>
                  </a:moveTo>
                  <a:cubicBezTo>
                    <a:pt x="15170" y="9752"/>
                    <a:pt x="14928" y="9471"/>
                    <a:pt x="14677" y="9191"/>
                  </a:cubicBezTo>
                  <a:cubicBezTo>
                    <a:pt x="14655" y="8817"/>
                    <a:pt x="14631" y="8445"/>
                    <a:pt x="14597" y="8084"/>
                  </a:cubicBezTo>
                  <a:cubicBezTo>
                    <a:pt x="15295" y="8171"/>
                    <a:pt x="15950" y="8283"/>
                    <a:pt x="16554" y="8415"/>
                  </a:cubicBezTo>
                  <a:cubicBezTo>
                    <a:pt x="16221" y="8935"/>
                    <a:pt x="15832" y="9478"/>
                    <a:pt x="15402" y="10032"/>
                  </a:cubicBezTo>
                  <a:moveTo>
                    <a:pt x="17742" y="3857"/>
                  </a:moveTo>
                  <a:cubicBezTo>
                    <a:pt x="18345" y="4460"/>
                    <a:pt x="18028" y="5860"/>
                    <a:pt x="17044" y="7604"/>
                  </a:cubicBezTo>
                  <a:cubicBezTo>
                    <a:pt x="16261" y="7402"/>
                    <a:pt x="15405" y="7234"/>
                    <a:pt x="14487" y="7112"/>
                  </a:cubicBezTo>
                  <a:cubicBezTo>
                    <a:pt x="14365" y="6194"/>
                    <a:pt x="14198" y="5339"/>
                    <a:pt x="13996" y="4555"/>
                  </a:cubicBezTo>
                  <a:cubicBezTo>
                    <a:pt x="15740" y="3572"/>
                    <a:pt x="17140" y="3255"/>
                    <a:pt x="17742" y="3857"/>
                  </a:cubicBezTo>
                  <a:moveTo>
                    <a:pt x="13718" y="12012"/>
                  </a:moveTo>
                  <a:cubicBezTo>
                    <a:pt x="13448" y="12303"/>
                    <a:pt x="13172" y="12593"/>
                    <a:pt x="12882" y="12883"/>
                  </a:cubicBezTo>
                  <a:cubicBezTo>
                    <a:pt x="12593" y="13172"/>
                    <a:pt x="12303" y="13449"/>
                    <a:pt x="12012" y="13719"/>
                  </a:cubicBezTo>
                  <a:cubicBezTo>
                    <a:pt x="11614" y="13733"/>
                    <a:pt x="11212" y="13745"/>
                    <a:pt x="10800" y="13745"/>
                  </a:cubicBezTo>
                  <a:cubicBezTo>
                    <a:pt x="10387" y="13745"/>
                    <a:pt x="9985" y="13733"/>
                    <a:pt x="9587" y="13719"/>
                  </a:cubicBezTo>
                  <a:cubicBezTo>
                    <a:pt x="9297" y="13449"/>
                    <a:pt x="9006" y="13172"/>
                    <a:pt x="8717" y="12883"/>
                  </a:cubicBezTo>
                  <a:cubicBezTo>
                    <a:pt x="8428" y="12593"/>
                    <a:pt x="8152" y="12303"/>
                    <a:pt x="7881" y="12012"/>
                  </a:cubicBezTo>
                  <a:cubicBezTo>
                    <a:pt x="7866" y="11614"/>
                    <a:pt x="7855" y="11212"/>
                    <a:pt x="7855" y="10800"/>
                  </a:cubicBezTo>
                  <a:cubicBezTo>
                    <a:pt x="7855" y="10388"/>
                    <a:pt x="7866" y="9986"/>
                    <a:pt x="7881" y="9587"/>
                  </a:cubicBezTo>
                  <a:cubicBezTo>
                    <a:pt x="8152" y="9297"/>
                    <a:pt x="8428" y="9007"/>
                    <a:pt x="8717" y="8717"/>
                  </a:cubicBezTo>
                  <a:cubicBezTo>
                    <a:pt x="9006" y="8428"/>
                    <a:pt x="9297" y="8151"/>
                    <a:pt x="9587" y="7881"/>
                  </a:cubicBezTo>
                  <a:cubicBezTo>
                    <a:pt x="9985" y="7867"/>
                    <a:pt x="10387" y="7855"/>
                    <a:pt x="10800" y="7855"/>
                  </a:cubicBezTo>
                  <a:cubicBezTo>
                    <a:pt x="11212" y="7855"/>
                    <a:pt x="11614" y="7867"/>
                    <a:pt x="12012" y="7881"/>
                  </a:cubicBezTo>
                  <a:cubicBezTo>
                    <a:pt x="12303" y="8151"/>
                    <a:pt x="12593" y="8428"/>
                    <a:pt x="12882" y="8717"/>
                  </a:cubicBezTo>
                  <a:cubicBezTo>
                    <a:pt x="13172" y="9007"/>
                    <a:pt x="13448" y="9297"/>
                    <a:pt x="13718" y="9587"/>
                  </a:cubicBezTo>
                  <a:cubicBezTo>
                    <a:pt x="13733" y="9986"/>
                    <a:pt x="13745" y="10388"/>
                    <a:pt x="13745" y="10800"/>
                  </a:cubicBezTo>
                  <a:cubicBezTo>
                    <a:pt x="13745" y="11212"/>
                    <a:pt x="13733" y="11614"/>
                    <a:pt x="13718" y="12012"/>
                  </a:cubicBezTo>
                  <a:moveTo>
                    <a:pt x="13185" y="16555"/>
                  </a:moveTo>
                  <a:cubicBezTo>
                    <a:pt x="12662" y="16219"/>
                    <a:pt x="12120" y="15837"/>
                    <a:pt x="11561" y="15404"/>
                  </a:cubicBezTo>
                  <a:cubicBezTo>
                    <a:pt x="11844" y="15170"/>
                    <a:pt x="12127" y="14931"/>
                    <a:pt x="12409" y="14677"/>
                  </a:cubicBezTo>
                  <a:cubicBezTo>
                    <a:pt x="12783" y="14655"/>
                    <a:pt x="13155" y="14631"/>
                    <a:pt x="13517" y="14597"/>
                  </a:cubicBezTo>
                  <a:cubicBezTo>
                    <a:pt x="13429" y="15295"/>
                    <a:pt x="13316" y="15950"/>
                    <a:pt x="13185" y="16555"/>
                  </a:cubicBezTo>
                  <a:moveTo>
                    <a:pt x="10800" y="20618"/>
                  </a:moveTo>
                  <a:cubicBezTo>
                    <a:pt x="9948" y="20618"/>
                    <a:pt x="9181" y="19410"/>
                    <a:pt x="8643" y="17481"/>
                  </a:cubicBezTo>
                  <a:cubicBezTo>
                    <a:pt x="9339" y="17072"/>
                    <a:pt x="10062" y="16573"/>
                    <a:pt x="10795" y="16011"/>
                  </a:cubicBezTo>
                  <a:cubicBezTo>
                    <a:pt x="11532" y="16576"/>
                    <a:pt x="12258" y="17070"/>
                    <a:pt x="12957" y="17481"/>
                  </a:cubicBezTo>
                  <a:cubicBezTo>
                    <a:pt x="12419" y="19410"/>
                    <a:pt x="11652" y="20618"/>
                    <a:pt x="10800" y="20618"/>
                  </a:cubicBezTo>
                  <a:moveTo>
                    <a:pt x="8083" y="14597"/>
                  </a:moveTo>
                  <a:cubicBezTo>
                    <a:pt x="8445" y="14631"/>
                    <a:pt x="8816" y="14655"/>
                    <a:pt x="9190" y="14677"/>
                  </a:cubicBezTo>
                  <a:cubicBezTo>
                    <a:pt x="9471" y="14929"/>
                    <a:pt x="9751" y="15170"/>
                    <a:pt x="10032" y="15403"/>
                  </a:cubicBezTo>
                  <a:cubicBezTo>
                    <a:pt x="9478" y="15832"/>
                    <a:pt x="8935" y="16221"/>
                    <a:pt x="8415" y="16555"/>
                  </a:cubicBezTo>
                  <a:cubicBezTo>
                    <a:pt x="8283" y="15950"/>
                    <a:pt x="8171" y="15295"/>
                    <a:pt x="8083" y="14597"/>
                  </a:cubicBezTo>
                  <a:moveTo>
                    <a:pt x="8415" y="5045"/>
                  </a:moveTo>
                  <a:cubicBezTo>
                    <a:pt x="8938" y="5381"/>
                    <a:pt x="9480" y="5762"/>
                    <a:pt x="10038" y="6196"/>
                  </a:cubicBezTo>
                  <a:cubicBezTo>
                    <a:pt x="9756" y="6430"/>
                    <a:pt x="9473" y="6670"/>
                    <a:pt x="9190" y="6924"/>
                  </a:cubicBezTo>
                  <a:cubicBezTo>
                    <a:pt x="8816" y="6945"/>
                    <a:pt x="8445" y="6969"/>
                    <a:pt x="8083" y="7003"/>
                  </a:cubicBezTo>
                  <a:cubicBezTo>
                    <a:pt x="8171" y="6305"/>
                    <a:pt x="8283" y="5650"/>
                    <a:pt x="8415" y="5045"/>
                  </a:cubicBezTo>
                  <a:moveTo>
                    <a:pt x="10800" y="982"/>
                  </a:moveTo>
                  <a:cubicBezTo>
                    <a:pt x="11652" y="982"/>
                    <a:pt x="12419" y="2191"/>
                    <a:pt x="12957" y="4119"/>
                  </a:cubicBezTo>
                  <a:cubicBezTo>
                    <a:pt x="12261" y="4528"/>
                    <a:pt x="11537" y="5027"/>
                    <a:pt x="10804" y="5589"/>
                  </a:cubicBezTo>
                  <a:cubicBezTo>
                    <a:pt x="10067" y="5024"/>
                    <a:pt x="9341" y="4530"/>
                    <a:pt x="8643" y="4119"/>
                  </a:cubicBezTo>
                  <a:cubicBezTo>
                    <a:pt x="9181" y="2191"/>
                    <a:pt x="9948" y="982"/>
                    <a:pt x="10800" y="982"/>
                  </a:cubicBezTo>
                  <a:moveTo>
                    <a:pt x="13517" y="7003"/>
                  </a:moveTo>
                  <a:cubicBezTo>
                    <a:pt x="13155" y="6969"/>
                    <a:pt x="12783" y="6945"/>
                    <a:pt x="12409" y="6924"/>
                  </a:cubicBezTo>
                  <a:cubicBezTo>
                    <a:pt x="12129" y="6671"/>
                    <a:pt x="11848" y="6430"/>
                    <a:pt x="11568" y="6198"/>
                  </a:cubicBezTo>
                  <a:cubicBezTo>
                    <a:pt x="12122" y="5768"/>
                    <a:pt x="12665" y="5379"/>
                    <a:pt x="13185" y="5045"/>
                  </a:cubicBezTo>
                  <a:cubicBezTo>
                    <a:pt x="13316" y="5650"/>
                    <a:pt x="13429" y="6305"/>
                    <a:pt x="13517" y="7003"/>
                  </a:cubicBezTo>
                  <a:moveTo>
                    <a:pt x="7112" y="7112"/>
                  </a:moveTo>
                  <a:cubicBezTo>
                    <a:pt x="6194" y="7234"/>
                    <a:pt x="5339" y="7402"/>
                    <a:pt x="4555" y="7604"/>
                  </a:cubicBezTo>
                  <a:cubicBezTo>
                    <a:pt x="3572" y="5860"/>
                    <a:pt x="3255" y="4460"/>
                    <a:pt x="3858" y="3857"/>
                  </a:cubicBezTo>
                  <a:cubicBezTo>
                    <a:pt x="4460" y="3255"/>
                    <a:pt x="5860" y="3572"/>
                    <a:pt x="7604" y="4555"/>
                  </a:cubicBezTo>
                  <a:cubicBezTo>
                    <a:pt x="7402" y="5339"/>
                    <a:pt x="7234" y="6194"/>
                    <a:pt x="7112" y="7112"/>
                  </a:cubicBezTo>
                  <a:moveTo>
                    <a:pt x="3858" y="17743"/>
                  </a:moveTo>
                  <a:cubicBezTo>
                    <a:pt x="3255" y="17140"/>
                    <a:pt x="3572" y="15740"/>
                    <a:pt x="4555" y="13996"/>
                  </a:cubicBezTo>
                  <a:cubicBezTo>
                    <a:pt x="5339" y="14198"/>
                    <a:pt x="6194" y="14366"/>
                    <a:pt x="7112" y="14488"/>
                  </a:cubicBezTo>
                  <a:cubicBezTo>
                    <a:pt x="7234" y="15406"/>
                    <a:pt x="7402" y="16261"/>
                    <a:pt x="7604" y="17045"/>
                  </a:cubicBezTo>
                  <a:cubicBezTo>
                    <a:pt x="5860" y="18028"/>
                    <a:pt x="4460" y="18345"/>
                    <a:pt x="3858" y="17743"/>
                  </a:cubicBezTo>
                  <a:moveTo>
                    <a:pt x="7003" y="13517"/>
                  </a:moveTo>
                  <a:cubicBezTo>
                    <a:pt x="6305" y="13429"/>
                    <a:pt x="5650" y="13317"/>
                    <a:pt x="5045" y="13185"/>
                  </a:cubicBezTo>
                  <a:cubicBezTo>
                    <a:pt x="5379" y="12665"/>
                    <a:pt x="5768" y="12122"/>
                    <a:pt x="6197" y="11568"/>
                  </a:cubicBezTo>
                  <a:cubicBezTo>
                    <a:pt x="6429" y="11848"/>
                    <a:pt x="6671" y="12129"/>
                    <a:pt x="6923" y="12409"/>
                  </a:cubicBezTo>
                  <a:cubicBezTo>
                    <a:pt x="6944" y="12784"/>
                    <a:pt x="6968" y="13155"/>
                    <a:pt x="7003" y="13517"/>
                  </a:cubicBezTo>
                  <a:moveTo>
                    <a:pt x="6923" y="9191"/>
                  </a:moveTo>
                  <a:cubicBezTo>
                    <a:pt x="6669" y="9473"/>
                    <a:pt x="6429" y="9756"/>
                    <a:pt x="6196" y="10039"/>
                  </a:cubicBezTo>
                  <a:cubicBezTo>
                    <a:pt x="5763" y="9481"/>
                    <a:pt x="5381" y="8938"/>
                    <a:pt x="5045" y="8415"/>
                  </a:cubicBezTo>
                  <a:cubicBezTo>
                    <a:pt x="5650" y="8283"/>
                    <a:pt x="6305" y="8171"/>
                    <a:pt x="7003" y="8084"/>
                  </a:cubicBezTo>
                  <a:cubicBezTo>
                    <a:pt x="6968" y="8445"/>
                    <a:pt x="6944" y="8816"/>
                    <a:pt x="6923" y="9191"/>
                  </a:cubicBezTo>
                  <a:moveTo>
                    <a:pt x="982" y="10800"/>
                  </a:moveTo>
                  <a:cubicBezTo>
                    <a:pt x="982" y="9948"/>
                    <a:pt x="2190" y="9181"/>
                    <a:pt x="4119" y="8644"/>
                  </a:cubicBezTo>
                  <a:cubicBezTo>
                    <a:pt x="4530" y="9342"/>
                    <a:pt x="5023" y="10067"/>
                    <a:pt x="5588" y="10805"/>
                  </a:cubicBezTo>
                  <a:cubicBezTo>
                    <a:pt x="5027" y="11537"/>
                    <a:pt x="4528" y="12262"/>
                    <a:pt x="4119" y="12956"/>
                  </a:cubicBezTo>
                  <a:cubicBezTo>
                    <a:pt x="2190" y="12419"/>
                    <a:pt x="982" y="11652"/>
                    <a:pt x="982" y="10800"/>
                  </a:cubicBezTo>
                  <a:moveTo>
                    <a:pt x="21600" y="10800"/>
                  </a:moveTo>
                  <a:cubicBezTo>
                    <a:pt x="21600" y="9624"/>
                    <a:pt x="20173" y="8571"/>
                    <a:pt x="17918" y="7853"/>
                  </a:cubicBezTo>
                  <a:cubicBezTo>
                    <a:pt x="19002" y="5750"/>
                    <a:pt x="19269" y="3995"/>
                    <a:pt x="18437" y="3163"/>
                  </a:cubicBezTo>
                  <a:cubicBezTo>
                    <a:pt x="17605" y="2332"/>
                    <a:pt x="15850" y="2598"/>
                    <a:pt x="13748" y="3682"/>
                  </a:cubicBezTo>
                  <a:cubicBezTo>
                    <a:pt x="13029" y="1427"/>
                    <a:pt x="11976" y="0"/>
                    <a:pt x="10800" y="0"/>
                  </a:cubicBezTo>
                  <a:cubicBezTo>
                    <a:pt x="9623" y="0"/>
                    <a:pt x="8571" y="1427"/>
                    <a:pt x="7852" y="3682"/>
                  </a:cubicBezTo>
                  <a:cubicBezTo>
                    <a:pt x="5750" y="2598"/>
                    <a:pt x="3995" y="2332"/>
                    <a:pt x="3163" y="3163"/>
                  </a:cubicBezTo>
                  <a:cubicBezTo>
                    <a:pt x="2331" y="3995"/>
                    <a:pt x="2598" y="5750"/>
                    <a:pt x="3682" y="7853"/>
                  </a:cubicBezTo>
                  <a:cubicBezTo>
                    <a:pt x="1426" y="8571"/>
                    <a:pt x="0" y="9624"/>
                    <a:pt x="0" y="10800"/>
                  </a:cubicBezTo>
                  <a:cubicBezTo>
                    <a:pt x="0" y="11976"/>
                    <a:pt x="1426" y="13029"/>
                    <a:pt x="3682" y="13748"/>
                  </a:cubicBezTo>
                  <a:cubicBezTo>
                    <a:pt x="2598" y="15851"/>
                    <a:pt x="2331" y="17605"/>
                    <a:pt x="3163" y="18437"/>
                  </a:cubicBezTo>
                  <a:cubicBezTo>
                    <a:pt x="3995" y="19268"/>
                    <a:pt x="5750" y="19002"/>
                    <a:pt x="7852" y="17918"/>
                  </a:cubicBezTo>
                  <a:cubicBezTo>
                    <a:pt x="8571" y="20173"/>
                    <a:pt x="9623" y="21600"/>
                    <a:pt x="10800" y="21600"/>
                  </a:cubicBezTo>
                  <a:cubicBezTo>
                    <a:pt x="11976" y="21600"/>
                    <a:pt x="13029" y="20173"/>
                    <a:pt x="13748" y="17918"/>
                  </a:cubicBezTo>
                  <a:cubicBezTo>
                    <a:pt x="15850" y="19002"/>
                    <a:pt x="17605" y="19268"/>
                    <a:pt x="18437" y="18437"/>
                  </a:cubicBezTo>
                  <a:cubicBezTo>
                    <a:pt x="19269" y="17605"/>
                    <a:pt x="19002" y="15851"/>
                    <a:pt x="17918" y="13748"/>
                  </a:cubicBezTo>
                  <a:cubicBezTo>
                    <a:pt x="20173" y="13029"/>
                    <a:pt x="21600" y="11976"/>
                    <a:pt x="21600" y="10800"/>
                  </a:cubicBezTo>
                  <a:moveTo>
                    <a:pt x="10800" y="9818"/>
                  </a:moveTo>
                  <a:cubicBezTo>
                    <a:pt x="10258" y="9818"/>
                    <a:pt x="9818" y="10258"/>
                    <a:pt x="9818" y="10800"/>
                  </a:cubicBezTo>
                  <a:cubicBezTo>
                    <a:pt x="9818" y="11342"/>
                    <a:pt x="10258" y="11782"/>
                    <a:pt x="10800" y="11782"/>
                  </a:cubicBezTo>
                  <a:cubicBezTo>
                    <a:pt x="11342" y="11782"/>
                    <a:pt x="11782" y="11342"/>
                    <a:pt x="11782" y="10800"/>
                  </a:cubicBezTo>
                  <a:cubicBezTo>
                    <a:pt x="11782" y="10258"/>
                    <a:pt x="11342" y="9818"/>
                    <a:pt x="10800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779">
              <a:extLst>
                <a:ext uri="{FF2B5EF4-FFF2-40B4-BE49-F238E27FC236}">
                  <a16:creationId xmlns:a16="http://schemas.microsoft.com/office/drawing/2014/main" id="{8FB66548-CE3F-4F97-807A-AB34A35578C7}"/>
                </a:ext>
              </a:extLst>
            </p:cNvPr>
            <p:cNvSpPr/>
            <p:nvPr/>
          </p:nvSpPr>
          <p:spPr bwMode="gray">
            <a:xfrm>
              <a:off x="6752068" y="5596485"/>
              <a:ext cx="210177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780">
              <a:extLst>
                <a:ext uri="{FF2B5EF4-FFF2-40B4-BE49-F238E27FC236}">
                  <a16:creationId xmlns:a16="http://schemas.microsoft.com/office/drawing/2014/main" id="{71170C2F-80BE-49B1-BB90-E88B7D65A9B9}"/>
                </a:ext>
              </a:extLst>
            </p:cNvPr>
            <p:cNvSpPr/>
            <p:nvPr/>
          </p:nvSpPr>
          <p:spPr bwMode="gray">
            <a:xfrm>
              <a:off x="7343189" y="5596485"/>
              <a:ext cx="131361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40" y="14727"/>
                  </a:moveTo>
                  <a:lnTo>
                    <a:pt x="2160" y="14727"/>
                  </a:lnTo>
                  <a:lnTo>
                    <a:pt x="2160" y="4909"/>
                  </a:lnTo>
                  <a:cubicBezTo>
                    <a:pt x="2160" y="2740"/>
                    <a:pt x="6028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4909"/>
                    <a:pt x="19440" y="14727"/>
                    <a:pt x="19440" y="14727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8"/>
                    <a:pt x="0" y="4909"/>
                  </a:cubicBezTo>
                  <a:lnTo>
                    <a:pt x="0" y="14727"/>
                  </a:lnTo>
                  <a:cubicBezTo>
                    <a:pt x="0" y="15269"/>
                    <a:pt x="968" y="15709"/>
                    <a:pt x="2160" y="15709"/>
                  </a:cubicBezTo>
                  <a:lnTo>
                    <a:pt x="9720" y="15709"/>
                  </a:lnTo>
                  <a:lnTo>
                    <a:pt x="9720" y="21109"/>
                  </a:lnTo>
                  <a:cubicBezTo>
                    <a:pt x="9720" y="21380"/>
                    <a:pt x="10204" y="21600"/>
                    <a:pt x="10800" y="21600"/>
                  </a:cubicBezTo>
                  <a:cubicBezTo>
                    <a:pt x="11396" y="21600"/>
                    <a:pt x="11880" y="21380"/>
                    <a:pt x="11880" y="21109"/>
                  </a:cubicBezTo>
                  <a:lnTo>
                    <a:pt x="11880" y="15709"/>
                  </a:lnTo>
                  <a:lnTo>
                    <a:pt x="19440" y="15709"/>
                  </a:lnTo>
                  <a:cubicBezTo>
                    <a:pt x="20632" y="15709"/>
                    <a:pt x="21600" y="15269"/>
                    <a:pt x="21600" y="14727"/>
                  </a:cubicBezTo>
                  <a:lnTo>
                    <a:pt x="21600" y="4909"/>
                  </a:lnTo>
                  <a:cubicBezTo>
                    <a:pt x="21600" y="2198"/>
                    <a:pt x="16765" y="0"/>
                    <a:pt x="10800" y="0"/>
                  </a:cubicBezTo>
                  <a:moveTo>
                    <a:pt x="7560" y="4909"/>
                  </a:moveTo>
                  <a:cubicBezTo>
                    <a:pt x="6964" y="4909"/>
                    <a:pt x="6480" y="5129"/>
                    <a:pt x="6480" y="5400"/>
                  </a:cubicBezTo>
                  <a:lnTo>
                    <a:pt x="6480" y="12273"/>
                  </a:lnTo>
                  <a:cubicBezTo>
                    <a:pt x="6480" y="12544"/>
                    <a:pt x="6964" y="12764"/>
                    <a:pt x="7560" y="12764"/>
                  </a:cubicBezTo>
                  <a:cubicBezTo>
                    <a:pt x="8156" y="12764"/>
                    <a:pt x="8640" y="12544"/>
                    <a:pt x="8640" y="12273"/>
                  </a:cubicBezTo>
                  <a:lnTo>
                    <a:pt x="8640" y="5400"/>
                  </a:lnTo>
                  <a:cubicBezTo>
                    <a:pt x="8640" y="5129"/>
                    <a:pt x="8156" y="4909"/>
                    <a:pt x="7560" y="4909"/>
                  </a:cubicBezTo>
                  <a:moveTo>
                    <a:pt x="14040" y="4909"/>
                  </a:moveTo>
                  <a:cubicBezTo>
                    <a:pt x="13444" y="4909"/>
                    <a:pt x="12960" y="5129"/>
                    <a:pt x="12960" y="5400"/>
                  </a:cubicBezTo>
                  <a:lnTo>
                    <a:pt x="12960" y="12273"/>
                  </a:lnTo>
                  <a:cubicBezTo>
                    <a:pt x="12960" y="12544"/>
                    <a:pt x="13444" y="12764"/>
                    <a:pt x="14040" y="12764"/>
                  </a:cubicBezTo>
                  <a:cubicBezTo>
                    <a:pt x="14636" y="12764"/>
                    <a:pt x="15120" y="12544"/>
                    <a:pt x="15120" y="12273"/>
                  </a:cubicBezTo>
                  <a:lnTo>
                    <a:pt x="15120" y="5400"/>
                  </a:lnTo>
                  <a:cubicBezTo>
                    <a:pt x="15120" y="5129"/>
                    <a:pt x="14636" y="4909"/>
                    <a:pt x="14040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781">
              <a:extLst>
                <a:ext uri="{FF2B5EF4-FFF2-40B4-BE49-F238E27FC236}">
                  <a16:creationId xmlns:a16="http://schemas.microsoft.com/office/drawing/2014/main" id="{17B8C613-889D-4287-BFA7-5CE643834FA4}"/>
                </a:ext>
              </a:extLst>
            </p:cNvPr>
            <p:cNvSpPr/>
            <p:nvPr/>
          </p:nvSpPr>
          <p:spPr bwMode="gray">
            <a:xfrm>
              <a:off x="781608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91" y="6873"/>
                  </a:moveTo>
                  <a:cubicBezTo>
                    <a:pt x="6162" y="6873"/>
                    <a:pt x="6382" y="6653"/>
                    <a:pt x="6382" y="6382"/>
                  </a:cubicBezTo>
                  <a:lnTo>
                    <a:pt x="6382" y="1473"/>
                  </a:lnTo>
                  <a:cubicBezTo>
                    <a:pt x="6382" y="1201"/>
                    <a:pt x="6162" y="982"/>
                    <a:pt x="5891" y="982"/>
                  </a:cubicBezTo>
                  <a:cubicBezTo>
                    <a:pt x="5620" y="982"/>
                    <a:pt x="5400" y="1201"/>
                    <a:pt x="5400" y="1473"/>
                  </a:cubicBezTo>
                  <a:lnTo>
                    <a:pt x="5400" y="6382"/>
                  </a:lnTo>
                  <a:cubicBezTo>
                    <a:pt x="5400" y="6653"/>
                    <a:pt x="5620" y="6873"/>
                    <a:pt x="5891" y="6873"/>
                  </a:cubicBezTo>
                  <a:moveTo>
                    <a:pt x="2945" y="5891"/>
                  </a:moveTo>
                  <a:cubicBezTo>
                    <a:pt x="3216" y="5891"/>
                    <a:pt x="3436" y="5671"/>
                    <a:pt x="3436" y="5400"/>
                  </a:cubicBezTo>
                  <a:lnTo>
                    <a:pt x="3436" y="2455"/>
                  </a:lnTo>
                  <a:cubicBezTo>
                    <a:pt x="3436" y="2183"/>
                    <a:pt x="3216" y="1964"/>
                    <a:pt x="2945" y="1964"/>
                  </a:cubicBezTo>
                  <a:cubicBezTo>
                    <a:pt x="2675" y="1964"/>
                    <a:pt x="2455" y="2183"/>
                    <a:pt x="2455" y="2455"/>
                  </a:cubicBezTo>
                  <a:lnTo>
                    <a:pt x="2455" y="5400"/>
                  </a:lnTo>
                  <a:cubicBezTo>
                    <a:pt x="2455" y="5671"/>
                    <a:pt x="2675" y="5891"/>
                    <a:pt x="2945" y="5891"/>
                  </a:cubicBezTo>
                  <a:moveTo>
                    <a:pt x="18655" y="15218"/>
                  </a:moveTo>
                  <a:lnTo>
                    <a:pt x="17648" y="15218"/>
                  </a:lnTo>
                  <a:cubicBezTo>
                    <a:pt x="17660" y="15056"/>
                    <a:pt x="17673" y="14893"/>
                    <a:pt x="17673" y="14727"/>
                  </a:cubicBezTo>
                  <a:lnTo>
                    <a:pt x="17673" y="11291"/>
                  </a:lnTo>
                  <a:lnTo>
                    <a:pt x="18655" y="11291"/>
                  </a:lnTo>
                  <a:cubicBezTo>
                    <a:pt x="19739" y="11291"/>
                    <a:pt x="20618" y="12170"/>
                    <a:pt x="20618" y="13255"/>
                  </a:cubicBezTo>
                  <a:cubicBezTo>
                    <a:pt x="20618" y="14339"/>
                    <a:pt x="19739" y="15218"/>
                    <a:pt x="18655" y="15218"/>
                  </a:cubicBezTo>
                  <a:moveTo>
                    <a:pt x="16691" y="14727"/>
                  </a:moveTo>
                  <a:cubicBezTo>
                    <a:pt x="16691" y="15802"/>
                    <a:pt x="16399" y="16805"/>
                    <a:pt x="15896" y="17673"/>
                  </a:cubicBezTo>
                  <a:lnTo>
                    <a:pt x="1777" y="17673"/>
                  </a:lnTo>
                  <a:cubicBezTo>
                    <a:pt x="1274" y="16805"/>
                    <a:pt x="982" y="15802"/>
                    <a:pt x="982" y="14727"/>
                  </a:cubicBezTo>
                  <a:lnTo>
                    <a:pt x="982" y="8836"/>
                  </a:lnTo>
                  <a:lnTo>
                    <a:pt x="16691" y="8836"/>
                  </a:lnTo>
                  <a:cubicBezTo>
                    <a:pt x="16691" y="8836"/>
                    <a:pt x="16691" y="14727"/>
                    <a:pt x="16691" y="14727"/>
                  </a:cubicBezTo>
                  <a:close/>
                  <a:moveTo>
                    <a:pt x="10800" y="20618"/>
                  </a:moveTo>
                  <a:lnTo>
                    <a:pt x="6873" y="20618"/>
                  </a:lnTo>
                  <a:cubicBezTo>
                    <a:pt x="5131" y="20618"/>
                    <a:pt x="3569" y="19857"/>
                    <a:pt x="2491" y="18655"/>
                  </a:cubicBezTo>
                  <a:lnTo>
                    <a:pt x="15182" y="18655"/>
                  </a:lnTo>
                  <a:cubicBezTo>
                    <a:pt x="14103" y="19857"/>
                    <a:pt x="12542" y="20618"/>
                    <a:pt x="10800" y="20618"/>
                  </a:cubicBezTo>
                  <a:moveTo>
                    <a:pt x="18655" y="10309"/>
                  </a:moveTo>
                  <a:lnTo>
                    <a:pt x="17673" y="10309"/>
                  </a:lnTo>
                  <a:lnTo>
                    <a:pt x="17673" y="8836"/>
                  </a:lnTo>
                  <a:cubicBezTo>
                    <a:pt x="17673" y="8295"/>
                    <a:pt x="17233" y="7855"/>
                    <a:pt x="16691" y="7855"/>
                  </a:cubicBezTo>
                  <a:lnTo>
                    <a:pt x="982" y="7855"/>
                  </a:lnTo>
                  <a:cubicBezTo>
                    <a:pt x="440" y="7855"/>
                    <a:pt x="0" y="8295"/>
                    <a:pt x="0" y="8836"/>
                  </a:cubicBezTo>
                  <a:lnTo>
                    <a:pt x="0" y="14727"/>
                  </a:lnTo>
                  <a:cubicBezTo>
                    <a:pt x="0" y="17232"/>
                    <a:pt x="1344" y="19417"/>
                    <a:pt x="3346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cubicBezTo>
                    <a:pt x="17673" y="20838"/>
                    <a:pt x="17453" y="20618"/>
                    <a:pt x="17182" y="20618"/>
                  </a:cubicBezTo>
                  <a:lnTo>
                    <a:pt x="14330" y="20618"/>
                  </a:lnTo>
                  <a:cubicBezTo>
                    <a:pt x="15925" y="19659"/>
                    <a:pt x="17101" y="18074"/>
                    <a:pt x="17511" y="16200"/>
                  </a:cubicBezTo>
                  <a:lnTo>
                    <a:pt x="18655" y="16200"/>
                  </a:lnTo>
                  <a:cubicBezTo>
                    <a:pt x="20281" y="16200"/>
                    <a:pt x="21600" y="14882"/>
                    <a:pt x="21600" y="13255"/>
                  </a:cubicBezTo>
                  <a:cubicBezTo>
                    <a:pt x="21600" y="11628"/>
                    <a:pt x="20281" y="10309"/>
                    <a:pt x="18655" y="10309"/>
                  </a:cubicBezTo>
                  <a:moveTo>
                    <a:pt x="11782" y="5891"/>
                  </a:moveTo>
                  <a:cubicBezTo>
                    <a:pt x="12053" y="5891"/>
                    <a:pt x="12273" y="5671"/>
                    <a:pt x="12273" y="5400"/>
                  </a:cubicBezTo>
                  <a:lnTo>
                    <a:pt x="12273" y="2455"/>
                  </a:lnTo>
                  <a:cubicBezTo>
                    <a:pt x="12273" y="2183"/>
                    <a:pt x="12053" y="1964"/>
                    <a:pt x="11782" y="1964"/>
                  </a:cubicBezTo>
                  <a:cubicBezTo>
                    <a:pt x="11511" y="1964"/>
                    <a:pt x="11291" y="2183"/>
                    <a:pt x="11291" y="2455"/>
                  </a:cubicBezTo>
                  <a:lnTo>
                    <a:pt x="11291" y="5400"/>
                  </a:lnTo>
                  <a:cubicBezTo>
                    <a:pt x="11291" y="5671"/>
                    <a:pt x="11511" y="5891"/>
                    <a:pt x="11782" y="5891"/>
                  </a:cubicBezTo>
                  <a:moveTo>
                    <a:pt x="14727" y="6873"/>
                  </a:moveTo>
                  <a:cubicBezTo>
                    <a:pt x="14998" y="6873"/>
                    <a:pt x="15218" y="6653"/>
                    <a:pt x="15218" y="6382"/>
                  </a:cubicBezTo>
                  <a:lnTo>
                    <a:pt x="15218" y="1473"/>
                  </a:lnTo>
                  <a:cubicBezTo>
                    <a:pt x="15218" y="1201"/>
                    <a:pt x="14998" y="982"/>
                    <a:pt x="14727" y="982"/>
                  </a:cubicBezTo>
                  <a:cubicBezTo>
                    <a:pt x="14456" y="982"/>
                    <a:pt x="14236" y="1201"/>
                    <a:pt x="14236" y="1473"/>
                  </a:cubicBezTo>
                  <a:lnTo>
                    <a:pt x="14236" y="6382"/>
                  </a:lnTo>
                  <a:cubicBezTo>
                    <a:pt x="14236" y="6653"/>
                    <a:pt x="14456" y="6873"/>
                    <a:pt x="14727" y="6873"/>
                  </a:cubicBezTo>
                  <a:moveTo>
                    <a:pt x="8836" y="5891"/>
                  </a:moveTo>
                  <a:cubicBezTo>
                    <a:pt x="9107" y="5891"/>
                    <a:pt x="9327" y="5671"/>
                    <a:pt x="9327" y="5400"/>
                  </a:cubicBezTo>
                  <a:lnTo>
                    <a:pt x="9327" y="491"/>
                  </a:lnTo>
                  <a:cubicBezTo>
                    <a:pt x="9327" y="220"/>
                    <a:pt x="9107" y="0"/>
                    <a:pt x="8836" y="0"/>
                  </a:cubicBezTo>
                  <a:cubicBezTo>
                    <a:pt x="8566" y="0"/>
                    <a:pt x="8345" y="220"/>
                    <a:pt x="8345" y="491"/>
                  </a:cubicBezTo>
                  <a:lnTo>
                    <a:pt x="8345" y="5400"/>
                  </a:lnTo>
                  <a:cubicBezTo>
                    <a:pt x="8345" y="5671"/>
                    <a:pt x="8566" y="5891"/>
                    <a:pt x="8836" y="58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782">
              <a:extLst>
                <a:ext uri="{FF2B5EF4-FFF2-40B4-BE49-F238E27FC236}">
                  <a16:creationId xmlns:a16="http://schemas.microsoft.com/office/drawing/2014/main" id="{A7751017-1199-4F09-9215-6106DCA4FC2E}"/>
                </a:ext>
              </a:extLst>
            </p:cNvPr>
            <p:cNvSpPr/>
            <p:nvPr/>
          </p:nvSpPr>
          <p:spPr bwMode="gray">
            <a:xfrm>
              <a:off x="8367800" y="5616190"/>
              <a:ext cx="289272" cy="249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3" h="20545" extrusionOk="0">
                  <a:moveTo>
                    <a:pt x="9621" y="9676"/>
                  </a:moveTo>
                  <a:cubicBezTo>
                    <a:pt x="9621" y="9676"/>
                    <a:pt x="9621" y="9675"/>
                    <a:pt x="9621" y="9675"/>
                  </a:cubicBezTo>
                  <a:lnTo>
                    <a:pt x="9620" y="9674"/>
                  </a:lnTo>
                  <a:cubicBezTo>
                    <a:pt x="9620" y="9674"/>
                    <a:pt x="9621" y="9676"/>
                    <a:pt x="9621" y="9676"/>
                  </a:cubicBezTo>
                  <a:close/>
                  <a:moveTo>
                    <a:pt x="19582" y="1266"/>
                  </a:moveTo>
                  <a:cubicBezTo>
                    <a:pt x="18115" y="-422"/>
                    <a:pt x="15737" y="-422"/>
                    <a:pt x="14270" y="1266"/>
                  </a:cubicBezTo>
                  <a:lnTo>
                    <a:pt x="14934" y="2030"/>
                  </a:lnTo>
                  <a:cubicBezTo>
                    <a:pt x="16034" y="765"/>
                    <a:pt x="17818" y="765"/>
                    <a:pt x="18918" y="2030"/>
                  </a:cubicBezTo>
                  <a:cubicBezTo>
                    <a:pt x="20019" y="3297"/>
                    <a:pt x="20019" y="5351"/>
                    <a:pt x="18918" y="6618"/>
                  </a:cubicBezTo>
                  <a:lnTo>
                    <a:pt x="8956" y="17881"/>
                  </a:lnTo>
                  <a:lnTo>
                    <a:pt x="9621" y="18645"/>
                  </a:lnTo>
                  <a:lnTo>
                    <a:pt x="19582" y="7382"/>
                  </a:lnTo>
                  <a:cubicBezTo>
                    <a:pt x="21050" y="5693"/>
                    <a:pt x="21050" y="2955"/>
                    <a:pt x="19582" y="1266"/>
                  </a:cubicBezTo>
                  <a:moveTo>
                    <a:pt x="2315" y="17881"/>
                  </a:moveTo>
                  <a:cubicBezTo>
                    <a:pt x="481" y="15770"/>
                    <a:pt x="481" y="12551"/>
                    <a:pt x="2315" y="10439"/>
                  </a:cubicBezTo>
                  <a:cubicBezTo>
                    <a:pt x="2317" y="10437"/>
                    <a:pt x="2320" y="10434"/>
                    <a:pt x="2323" y="10431"/>
                  </a:cubicBezTo>
                  <a:lnTo>
                    <a:pt x="2323" y="10431"/>
                  </a:lnTo>
                  <a:lnTo>
                    <a:pt x="9289" y="2413"/>
                  </a:lnTo>
                  <a:cubicBezTo>
                    <a:pt x="9472" y="2201"/>
                    <a:pt x="9472" y="1859"/>
                    <a:pt x="9289" y="1648"/>
                  </a:cubicBezTo>
                  <a:cubicBezTo>
                    <a:pt x="9105" y="1437"/>
                    <a:pt x="8808" y="1437"/>
                    <a:pt x="8624" y="1648"/>
                  </a:cubicBezTo>
                  <a:lnTo>
                    <a:pt x="1651" y="9675"/>
                  </a:lnTo>
                  <a:cubicBezTo>
                    <a:pt x="-550" y="12208"/>
                    <a:pt x="-550" y="16112"/>
                    <a:pt x="1651" y="18645"/>
                  </a:cubicBezTo>
                  <a:cubicBezTo>
                    <a:pt x="3852" y="21178"/>
                    <a:pt x="7420" y="21178"/>
                    <a:pt x="9621" y="18645"/>
                  </a:cubicBezTo>
                  <a:lnTo>
                    <a:pt x="8948" y="17889"/>
                  </a:lnTo>
                  <a:cubicBezTo>
                    <a:pt x="7114" y="19991"/>
                    <a:pt x="4147" y="19989"/>
                    <a:pt x="2315" y="17881"/>
                  </a:cubicBezTo>
                  <a:moveTo>
                    <a:pt x="6300" y="13497"/>
                  </a:moveTo>
                  <a:cubicBezTo>
                    <a:pt x="7033" y="14341"/>
                    <a:pt x="8223" y="14341"/>
                    <a:pt x="8956" y="13497"/>
                  </a:cubicBezTo>
                  <a:lnTo>
                    <a:pt x="13937" y="7764"/>
                  </a:lnTo>
                  <a:cubicBezTo>
                    <a:pt x="14121" y="7553"/>
                    <a:pt x="14121" y="7211"/>
                    <a:pt x="13937" y="7000"/>
                  </a:cubicBezTo>
                  <a:cubicBezTo>
                    <a:pt x="13754" y="6789"/>
                    <a:pt x="13457" y="6789"/>
                    <a:pt x="13273" y="7000"/>
                  </a:cubicBezTo>
                  <a:lnTo>
                    <a:pt x="8292" y="12732"/>
                  </a:lnTo>
                  <a:cubicBezTo>
                    <a:pt x="7926" y="13155"/>
                    <a:pt x="7331" y="13155"/>
                    <a:pt x="6964" y="12732"/>
                  </a:cubicBezTo>
                  <a:cubicBezTo>
                    <a:pt x="6597" y="12310"/>
                    <a:pt x="6597" y="11626"/>
                    <a:pt x="6964" y="11204"/>
                  </a:cubicBezTo>
                  <a:lnTo>
                    <a:pt x="8292" y="9675"/>
                  </a:lnTo>
                  <a:lnTo>
                    <a:pt x="14934" y="2030"/>
                  </a:lnTo>
                  <a:lnTo>
                    <a:pt x="14270" y="1266"/>
                  </a:lnTo>
                  <a:lnTo>
                    <a:pt x="6300" y="10439"/>
                  </a:lnTo>
                  <a:cubicBezTo>
                    <a:pt x="5566" y="11284"/>
                    <a:pt x="5566" y="12653"/>
                    <a:pt x="6300" y="1349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783">
              <a:extLst>
                <a:ext uri="{FF2B5EF4-FFF2-40B4-BE49-F238E27FC236}">
                  <a16:creationId xmlns:a16="http://schemas.microsoft.com/office/drawing/2014/main" id="{4435B092-62B9-4F98-A156-8A22A39C9504}"/>
                </a:ext>
              </a:extLst>
            </p:cNvPr>
            <p:cNvSpPr/>
            <p:nvPr/>
          </p:nvSpPr>
          <p:spPr bwMode="gray">
            <a:xfrm>
              <a:off x="8919514" y="5616189"/>
              <a:ext cx="288993" cy="249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5855"/>
                  </a:moveTo>
                  <a:lnTo>
                    <a:pt x="1633" y="10800"/>
                  </a:lnTo>
                  <a:lnTo>
                    <a:pt x="4615" y="9156"/>
                  </a:lnTo>
                  <a:lnTo>
                    <a:pt x="10589" y="12450"/>
                  </a:lnTo>
                  <a:lnTo>
                    <a:pt x="10591" y="12446"/>
                  </a:lnTo>
                  <a:cubicBezTo>
                    <a:pt x="10654" y="12482"/>
                    <a:pt x="10724" y="12505"/>
                    <a:pt x="10800" y="12505"/>
                  </a:cubicBezTo>
                  <a:cubicBezTo>
                    <a:pt x="10876" y="12505"/>
                    <a:pt x="10946" y="12482"/>
                    <a:pt x="11009" y="12446"/>
                  </a:cubicBezTo>
                  <a:lnTo>
                    <a:pt x="11011" y="12450"/>
                  </a:lnTo>
                  <a:lnTo>
                    <a:pt x="16985" y="9156"/>
                  </a:lnTo>
                  <a:lnTo>
                    <a:pt x="19967" y="10800"/>
                  </a:lnTo>
                  <a:cubicBezTo>
                    <a:pt x="19967" y="10800"/>
                    <a:pt x="10800" y="15855"/>
                    <a:pt x="10800" y="15855"/>
                  </a:cubicBezTo>
                  <a:close/>
                  <a:moveTo>
                    <a:pt x="19967" y="15347"/>
                  </a:moveTo>
                  <a:lnTo>
                    <a:pt x="10800" y="20402"/>
                  </a:lnTo>
                  <a:lnTo>
                    <a:pt x="1633" y="15347"/>
                  </a:lnTo>
                  <a:lnTo>
                    <a:pt x="4615" y="13703"/>
                  </a:lnTo>
                  <a:lnTo>
                    <a:pt x="10589" y="16997"/>
                  </a:lnTo>
                  <a:lnTo>
                    <a:pt x="10591" y="16994"/>
                  </a:lnTo>
                  <a:cubicBezTo>
                    <a:pt x="10654" y="17029"/>
                    <a:pt x="10724" y="17053"/>
                    <a:pt x="10800" y="17053"/>
                  </a:cubicBezTo>
                  <a:cubicBezTo>
                    <a:pt x="10876" y="17053"/>
                    <a:pt x="10946" y="17029"/>
                    <a:pt x="11009" y="16994"/>
                  </a:cubicBezTo>
                  <a:lnTo>
                    <a:pt x="11011" y="16997"/>
                  </a:lnTo>
                  <a:lnTo>
                    <a:pt x="16985" y="13703"/>
                  </a:lnTo>
                  <a:cubicBezTo>
                    <a:pt x="16985" y="13703"/>
                    <a:pt x="19967" y="15347"/>
                    <a:pt x="19967" y="15347"/>
                  </a:cubicBezTo>
                  <a:close/>
                  <a:moveTo>
                    <a:pt x="1633" y="6253"/>
                  </a:moveTo>
                  <a:lnTo>
                    <a:pt x="10800" y="1198"/>
                  </a:lnTo>
                  <a:lnTo>
                    <a:pt x="19967" y="6253"/>
                  </a:lnTo>
                  <a:lnTo>
                    <a:pt x="10800" y="11307"/>
                  </a:lnTo>
                  <a:cubicBezTo>
                    <a:pt x="10800" y="11307"/>
                    <a:pt x="1633" y="6253"/>
                    <a:pt x="1633" y="6253"/>
                  </a:cubicBezTo>
                  <a:close/>
                  <a:moveTo>
                    <a:pt x="21600" y="10800"/>
                  </a:moveTo>
                  <a:cubicBezTo>
                    <a:pt x="21600" y="10574"/>
                    <a:pt x="21484" y="10383"/>
                    <a:pt x="21319" y="10290"/>
                  </a:cubicBezTo>
                  <a:lnTo>
                    <a:pt x="21320" y="10287"/>
                  </a:lnTo>
                  <a:lnTo>
                    <a:pt x="18127" y="8526"/>
                  </a:lnTo>
                  <a:lnTo>
                    <a:pt x="21320" y="6766"/>
                  </a:lnTo>
                  <a:lnTo>
                    <a:pt x="21319" y="6762"/>
                  </a:lnTo>
                  <a:cubicBezTo>
                    <a:pt x="21484" y="6671"/>
                    <a:pt x="21600" y="6479"/>
                    <a:pt x="21600" y="6253"/>
                  </a:cubicBezTo>
                  <a:cubicBezTo>
                    <a:pt x="21600" y="6027"/>
                    <a:pt x="21484" y="5835"/>
                    <a:pt x="21319" y="5743"/>
                  </a:cubicBezTo>
                  <a:lnTo>
                    <a:pt x="21320" y="5740"/>
                  </a:lnTo>
                  <a:lnTo>
                    <a:pt x="11011" y="56"/>
                  </a:lnTo>
                  <a:lnTo>
                    <a:pt x="11009" y="59"/>
                  </a:lnTo>
                  <a:cubicBezTo>
                    <a:pt x="10946" y="23"/>
                    <a:pt x="10876" y="0"/>
                    <a:pt x="10800" y="0"/>
                  </a:cubicBezTo>
                  <a:cubicBezTo>
                    <a:pt x="10724" y="0"/>
                    <a:pt x="10654" y="23"/>
                    <a:pt x="10591" y="59"/>
                  </a:cubicBezTo>
                  <a:lnTo>
                    <a:pt x="10589" y="56"/>
                  </a:lnTo>
                  <a:lnTo>
                    <a:pt x="280" y="5740"/>
                  </a:lnTo>
                  <a:lnTo>
                    <a:pt x="281" y="5743"/>
                  </a:lnTo>
                  <a:cubicBezTo>
                    <a:pt x="116" y="5835"/>
                    <a:pt x="0" y="6027"/>
                    <a:pt x="0" y="6253"/>
                  </a:cubicBezTo>
                  <a:cubicBezTo>
                    <a:pt x="0" y="6479"/>
                    <a:pt x="116" y="6671"/>
                    <a:pt x="281" y="6762"/>
                  </a:cubicBezTo>
                  <a:lnTo>
                    <a:pt x="280" y="6766"/>
                  </a:lnTo>
                  <a:lnTo>
                    <a:pt x="3473" y="8526"/>
                  </a:lnTo>
                  <a:lnTo>
                    <a:pt x="280" y="10287"/>
                  </a:lnTo>
                  <a:lnTo>
                    <a:pt x="281" y="10290"/>
                  </a:lnTo>
                  <a:cubicBezTo>
                    <a:pt x="116" y="10383"/>
                    <a:pt x="0" y="10574"/>
                    <a:pt x="0" y="10800"/>
                  </a:cubicBezTo>
                  <a:cubicBezTo>
                    <a:pt x="0" y="11026"/>
                    <a:pt x="116" y="11218"/>
                    <a:pt x="281" y="11310"/>
                  </a:cubicBezTo>
                  <a:lnTo>
                    <a:pt x="280" y="11313"/>
                  </a:lnTo>
                  <a:lnTo>
                    <a:pt x="3473" y="13074"/>
                  </a:lnTo>
                  <a:lnTo>
                    <a:pt x="280" y="14834"/>
                  </a:lnTo>
                  <a:lnTo>
                    <a:pt x="281" y="14838"/>
                  </a:lnTo>
                  <a:cubicBezTo>
                    <a:pt x="116" y="14930"/>
                    <a:pt x="0" y="15121"/>
                    <a:pt x="0" y="15347"/>
                  </a:cubicBezTo>
                  <a:cubicBezTo>
                    <a:pt x="0" y="15574"/>
                    <a:pt x="116" y="15765"/>
                    <a:pt x="281" y="15857"/>
                  </a:cubicBezTo>
                  <a:lnTo>
                    <a:pt x="280" y="15860"/>
                  </a:lnTo>
                  <a:lnTo>
                    <a:pt x="10589" y="21544"/>
                  </a:lnTo>
                  <a:lnTo>
                    <a:pt x="10591" y="21541"/>
                  </a:lnTo>
                  <a:cubicBezTo>
                    <a:pt x="10654" y="21577"/>
                    <a:pt x="10724" y="21600"/>
                    <a:pt x="10800" y="21600"/>
                  </a:cubicBezTo>
                  <a:cubicBezTo>
                    <a:pt x="10876" y="21600"/>
                    <a:pt x="10946" y="21577"/>
                    <a:pt x="11009" y="21541"/>
                  </a:cubicBezTo>
                  <a:lnTo>
                    <a:pt x="11011" y="21544"/>
                  </a:lnTo>
                  <a:lnTo>
                    <a:pt x="21320" y="15860"/>
                  </a:lnTo>
                  <a:lnTo>
                    <a:pt x="21319" y="15857"/>
                  </a:lnTo>
                  <a:cubicBezTo>
                    <a:pt x="21484" y="15765"/>
                    <a:pt x="21600" y="15574"/>
                    <a:pt x="21600" y="15347"/>
                  </a:cubicBezTo>
                  <a:cubicBezTo>
                    <a:pt x="21600" y="15121"/>
                    <a:pt x="21484" y="14930"/>
                    <a:pt x="21319" y="14838"/>
                  </a:cubicBezTo>
                  <a:lnTo>
                    <a:pt x="21320" y="14834"/>
                  </a:lnTo>
                  <a:lnTo>
                    <a:pt x="18127" y="13074"/>
                  </a:lnTo>
                  <a:lnTo>
                    <a:pt x="21320" y="11313"/>
                  </a:lnTo>
                  <a:lnTo>
                    <a:pt x="21319" y="11310"/>
                  </a:lnTo>
                  <a:cubicBezTo>
                    <a:pt x="21484" y="11218"/>
                    <a:pt x="21600" y="1102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784">
              <a:extLst>
                <a:ext uri="{FF2B5EF4-FFF2-40B4-BE49-F238E27FC236}">
                  <a16:creationId xmlns:a16="http://schemas.microsoft.com/office/drawing/2014/main" id="{A6F87C4A-54E8-4884-86D2-085578D21A79}"/>
                </a:ext>
              </a:extLst>
            </p:cNvPr>
            <p:cNvSpPr/>
            <p:nvPr/>
          </p:nvSpPr>
          <p:spPr bwMode="gray">
            <a:xfrm>
              <a:off x="9471227" y="5596485"/>
              <a:ext cx="288993" cy="288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53" y="11229"/>
                  </a:moveTo>
                  <a:lnTo>
                    <a:pt x="20356" y="11234"/>
                  </a:lnTo>
                  <a:lnTo>
                    <a:pt x="11029" y="16143"/>
                  </a:lnTo>
                  <a:lnTo>
                    <a:pt x="11026" y="16138"/>
                  </a:lnTo>
                  <a:cubicBezTo>
                    <a:pt x="10957" y="16174"/>
                    <a:pt x="10883" y="16200"/>
                    <a:pt x="10800" y="16200"/>
                  </a:cubicBezTo>
                  <a:cubicBezTo>
                    <a:pt x="10717" y="16200"/>
                    <a:pt x="10643" y="16174"/>
                    <a:pt x="10574" y="16138"/>
                  </a:cubicBezTo>
                  <a:lnTo>
                    <a:pt x="10571" y="16143"/>
                  </a:lnTo>
                  <a:lnTo>
                    <a:pt x="1244" y="11234"/>
                  </a:lnTo>
                  <a:lnTo>
                    <a:pt x="1247" y="11229"/>
                  </a:lnTo>
                  <a:cubicBezTo>
                    <a:pt x="1091" y="11147"/>
                    <a:pt x="982" y="10988"/>
                    <a:pt x="982" y="10800"/>
                  </a:cubicBezTo>
                  <a:cubicBezTo>
                    <a:pt x="982" y="10612"/>
                    <a:pt x="1091" y="10453"/>
                    <a:pt x="1247" y="10371"/>
                  </a:cubicBezTo>
                  <a:lnTo>
                    <a:pt x="1244" y="10366"/>
                  </a:lnTo>
                  <a:lnTo>
                    <a:pt x="3562" y="9146"/>
                  </a:lnTo>
                  <a:lnTo>
                    <a:pt x="10113" y="12594"/>
                  </a:lnTo>
                  <a:lnTo>
                    <a:pt x="10117" y="12588"/>
                  </a:lnTo>
                  <a:cubicBezTo>
                    <a:pt x="10322" y="12697"/>
                    <a:pt x="10552" y="12764"/>
                    <a:pt x="10800" y="12764"/>
                  </a:cubicBezTo>
                  <a:cubicBezTo>
                    <a:pt x="11048" y="12764"/>
                    <a:pt x="11278" y="12697"/>
                    <a:pt x="11483" y="12588"/>
                  </a:cubicBezTo>
                  <a:lnTo>
                    <a:pt x="11486" y="12594"/>
                  </a:lnTo>
                  <a:lnTo>
                    <a:pt x="18038" y="9146"/>
                  </a:lnTo>
                  <a:lnTo>
                    <a:pt x="20356" y="10366"/>
                  </a:lnTo>
                  <a:lnTo>
                    <a:pt x="20353" y="10371"/>
                  </a:lnTo>
                  <a:cubicBezTo>
                    <a:pt x="20509" y="10453"/>
                    <a:pt x="20618" y="10612"/>
                    <a:pt x="20618" y="10800"/>
                  </a:cubicBezTo>
                  <a:cubicBezTo>
                    <a:pt x="20618" y="10988"/>
                    <a:pt x="20509" y="11147"/>
                    <a:pt x="20353" y="11229"/>
                  </a:cubicBezTo>
                  <a:moveTo>
                    <a:pt x="20356" y="14784"/>
                  </a:moveTo>
                  <a:lnTo>
                    <a:pt x="20353" y="14790"/>
                  </a:lnTo>
                  <a:cubicBezTo>
                    <a:pt x="20509" y="14872"/>
                    <a:pt x="20618" y="15030"/>
                    <a:pt x="20618" y="15218"/>
                  </a:cubicBezTo>
                  <a:cubicBezTo>
                    <a:pt x="20618" y="15407"/>
                    <a:pt x="20509" y="15565"/>
                    <a:pt x="20353" y="15647"/>
                  </a:cubicBezTo>
                  <a:lnTo>
                    <a:pt x="20356" y="15653"/>
                  </a:lnTo>
                  <a:lnTo>
                    <a:pt x="11029" y="20562"/>
                  </a:lnTo>
                  <a:lnTo>
                    <a:pt x="11026" y="20556"/>
                  </a:lnTo>
                  <a:cubicBezTo>
                    <a:pt x="10957" y="20592"/>
                    <a:pt x="10883" y="20618"/>
                    <a:pt x="10800" y="20618"/>
                  </a:cubicBezTo>
                  <a:cubicBezTo>
                    <a:pt x="10717" y="20618"/>
                    <a:pt x="10643" y="20592"/>
                    <a:pt x="10574" y="20556"/>
                  </a:cubicBezTo>
                  <a:lnTo>
                    <a:pt x="10571" y="20562"/>
                  </a:lnTo>
                  <a:lnTo>
                    <a:pt x="1244" y="15653"/>
                  </a:lnTo>
                  <a:lnTo>
                    <a:pt x="1247" y="15647"/>
                  </a:lnTo>
                  <a:cubicBezTo>
                    <a:pt x="1091" y="15565"/>
                    <a:pt x="982" y="15407"/>
                    <a:pt x="982" y="15218"/>
                  </a:cubicBezTo>
                  <a:cubicBezTo>
                    <a:pt x="982" y="15030"/>
                    <a:pt x="1091" y="14872"/>
                    <a:pt x="1247" y="14790"/>
                  </a:cubicBezTo>
                  <a:lnTo>
                    <a:pt x="1244" y="14784"/>
                  </a:lnTo>
                  <a:lnTo>
                    <a:pt x="3562" y="13564"/>
                  </a:lnTo>
                  <a:lnTo>
                    <a:pt x="10113" y="17012"/>
                  </a:lnTo>
                  <a:lnTo>
                    <a:pt x="10117" y="17006"/>
                  </a:lnTo>
                  <a:cubicBezTo>
                    <a:pt x="10322" y="17115"/>
                    <a:pt x="10552" y="17182"/>
                    <a:pt x="10800" y="17182"/>
                  </a:cubicBezTo>
                  <a:cubicBezTo>
                    <a:pt x="11048" y="17182"/>
                    <a:pt x="11278" y="17115"/>
                    <a:pt x="11483" y="17006"/>
                  </a:cubicBezTo>
                  <a:lnTo>
                    <a:pt x="11486" y="17012"/>
                  </a:lnTo>
                  <a:lnTo>
                    <a:pt x="18038" y="13564"/>
                  </a:lnTo>
                  <a:cubicBezTo>
                    <a:pt x="18038" y="13564"/>
                    <a:pt x="20356" y="14784"/>
                    <a:pt x="20356" y="14784"/>
                  </a:cubicBezTo>
                  <a:close/>
                  <a:moveTo>
                    <a:pt x="1244" y="6816"/>
                  </a:moveTo>
                  <a:lnTo>
                    <a:pt x="1247" y="6811"/>
                  </a:lnTo>
                  <a:cubicBezTo>
                    <a:pt x="1091" y="6728"/>
                    <a:pt x="982" y="6570"/>
                    <a:pt x="982" y="6382"/>
                  </a:cubicBezTo>
                  <a:cubicBezTo>
                    <a:pt x="982" y="6194"/>
                    <a:pt x="1091" y="6035"/>
                    <a:pt x="1247" y="5953"/>
                  </a:cubicBezTo>
                  <a:lnTo>
                    <a:pt x="1244" y="5947"/>
                  </a:lnTo>
                  <a:lnTo>
                    <a:pt x="10571" y="1038"/>
                  </a:lnTo>
                  <a:lnTo>
                    <a:pt x="10574" y="1044"/>
                  </a:lnTo>
                  <a:cubicBezTo>
                    <a:pt x="10643" y="1008"/>
                    <a:pt x="10717" y="982"/>
                    <a:pt x="10800" y="982"/>
                  </a:cubicBezTo>
                  <a:cubicBezTo>
                    <a:pt x="10883" y="982"/>
                    <a:pt x="10957" y="1008"/>
                    <a:pt x="11026" y="1044"/>
                  </a:cubicBezTo>
                  <a:lnTo>
                    <a:pt x="11029" y="1038"/>
                  </a:lnTo>
                  <a:lnTo>
                    <a:pt x="20356" y="5947"/>
                  </a:lnTo>
                  <a:lnTo>
                    <a:pt x="20353" y="5953"/>
                  </a:lnTo>
                  <a:cubicBezTo>
                    <a:pt x="20509" y="6035"/>
                    <a:pt x="20618" y="6194"/>
                    <a:pt x="20618" y="6382"/>
                  </a:cubicBezTo>
                  <a:cubicBezTo>
                    <a:pt x="20618" y="6570"/>
                    <a:pt x="20509" y="6728"/>
                    <a:pt x="20353" y="6811"/>
                  </a:cubicBezTo>
                  <a:lnTo>
                    <a:pt x="20356" y="6816"/>
                  </a:lnTo>
                  <a:lnTo>
                    <a:pt x="11029" y="11725"/>
                  </a:lnTo>
                  <a:lnTo>
                    <a:pt x="11026" y="11720"/>
                  </a:lnTo>
                  <a:cubicBezTo>
                    <a:pt x="10957" y="11756"/>
                    <a:pt x="10883" y="11782"/>
                    <a:pt x="10800" y="11782"/>
                  </a:cubicBezTo>
                  <a:cubicBezTo>
                    <a:pt x="10717" y="11782"/>
                    <a:pt x="10643" y="11756"/>
                    <a:pt x="10574" y="11720"/>
                  </a:cubicBezTo>
                  <a:lnTo>
                    <a:pt x="10571" y="11725"/>
                  </a:lnTo>
                  <a:cubicBezTo>
                    <a:pt x="10571" y="11725"/>
                    <a:pt x="1244" y="6816"/>
                    <a:pt x="1244" y="6816"/>
                  </a:cubicBezTo>
                  <a:close/>
                  <a:moveTo>
                    <a:pt x="21600" y="10800"/>
                  </a:moveTo>
                  <a:cubicBezTo>
                    <a:pt x="21600" y="10234"/>
                    <a:pt x="21278" y="9749"/>
                    <a:pt x="20810" y="9503"/>
                  </a:cubicBezTo>
                  <a:lnTo>
                    <a:pt x="20813" y="9497"/>
                  </a:lnTo>
                  <a:lnTo>
                    <a:pt x="19092" y="8591"/>
                  </a:lnTo>
                  <a:lnTo>
                    <a:pt x="20813" y="7685"/>
                  </a:lnTo>
                  <a:lnTo>
                    <a:pt x="20810" y="7679"/>
                  </a:lnTo>
                  <a:cubicBezTo>
                    <a:pt x="21278" y="7433"/>
                    <a:pt x="21600" y="6948"/>
                    <a:pt x="21600" y="6382"/>
                  </a:cubicBezTo>
                  <a:cubicBezTo>
                    <a:pt x="21600" y="5816"/>
                    <a:pt x="21278" y="5331"/>
                    <a:pt x="20810" y="5085"/>
                  </a:cubicBezTo>
                  <a:lnTo>
                    <a:pt x="20813" y="5079"/>
                  </a:lnTo>
                  <a:lnTo>
                    <a:pt x="11486" y="170"/>
                  </a:lnTo>
                  <a:lnTo>
                    <a:pt x="11483" y="175"/>
                  </a:lnTo>
                  <a:cubicBezTo>
                    <a:pt x="11278" y="67"/>
                    <a:pt x="11048" y="0"/>
                    <a:pt x="10800" y="0"/>
                  </a:cubicBezTo>
                  <a:cubicBezTo>
                    <a:pt x="10552" y="0"/>
                    <a:pt x="10322" y="67"/>
                    <a:pt x="10117" y="175"/>
                  </a:cubicBezTo>
                  <a:lnTo>
                    <a:pt x="10113" y="170"/>
                  </a:lnTo>
                  <a:lnTo>
                    <a:pt x="786" y="5079"/>
                  </a:lnTo>
                  <a:lnTo>
                    <a:pt x="790" y="5085"/>
                  </a:lnTo>
                  <a:cubicBezTo>
                    <a:pt x="322" y="5331"/>
                    <a:pt x="0" y="5816"/>
                    <a:pt x="0" y="6382"/>
                  </a:cubicBezTo>
                  <a:cubicBezTo>
                    <a:pt x="0" y="6948"/>
                    <a:pt x="322" y="7433"/>
                    <a:pt x="790" y="7679"/>
                  </a:cubicBezTo>
                  <a:lnTo>
                    <a:pt x="786" y="7685"/>
                  </a:lnTo>
                  <a:lnTo>
                    <a:pt x="2508" y="8591"/>
                  </a:lnTo>
                  <a:lnTo>
                    <a:pt x="786" y="9497"/>
                  </a:lnTo>
                  <a:lnTo>
                    <a:pt x="790" y="9503"/>
                  </a:lnTo>
                  <a:cubicBezTo>
                    <a:pt x="322" y="9749"/>
                    <a:pt x="0" y="10234"/>
                    <a:pt x="0" y="10800"/>
                  </a:cubicBezTo>
                  <a:cubicBezTo>
                    <a:pt x="0" y="11366"/>
                    <a:pt x="322" y="11851"/>
                    <a:pt x="790" y="12097"/>
                  </a:cubicBezTo>
                  <a:lnTo>
                    <a:pt x="786" y="12103"/>
                  </a:lnTo>
                  <a:lnTo>
                    <a:pt x="2508" y="13009"/>
                  </a:lnTo>
                  <a:lnTo>
                    <a:pt x="786" y="13915"/>
                  </a:lnTo>
                  <a:lnTo>
                    <a:pt x="790" y="13921"/>
                  </a:lnTo>
                  <a:cubicBezTo>
                    <a:pt x="322" y="14167"/>
                    <a:pt x="0" y="14652"/>
                    <a:pt x="0" y="15218"/>
                  </a:cubicBezTo>
                  <a:cubicBezTo>
                    <a:pt x="0" y="15784"/>
                    <a:pt x="322" y="16269"/>
                    <a:pt x="790" y="16515"/>
                  </a:cubicBezTo>
                  <a:lnTo>
                    <a:pt x="786" y="16521"/>
                  </a:lnTo>
                  <a:lnTo>
                    <a:pt x="10113" y="21430"/>
                  </a:lnTo>
                  <a:lnTo>
                    <a:pt x="10117" y="21425"/>
                  </a:lnTo>
                  <a:cubicBezTo>
                    <a:pt x="10322" y="21533"/>
                    <a:pt x="10552" y="21600"/>
                    <a:pt x="10800" y="21600"/>
                  </a:cubicBezTo>
                  <a:cubicBezTo>
                    <a:pt x="11048" y="21600"/>
                    <a:pt x="11278" y="21533"/>
                    <a:pt x="11483" y="21425"/>
                  </a:cubicBezTo>
                  <a:lnTo>
                    <a:pt x="11486" y="21430"/>
                  </a:lnTo>
                  <a:lnTo>
                    <a:pt x="20813" y="16521"/>
                  </a:lnTo>
                  <a:lnTo>
                    <a:pt x="20810" y="16515"/>
                  </a:lnTo>
                  <a:cubicBezTo>
                    <a:pt x="21278" y="16269"/>
                    <a:pt x="21600" y="15784"/>
                    <a:pt x="21600" y="15218"/>
                  </a:cubicBezTo>
                  <a:cubicBezTo>
                    <a:pt x="21600" y="14652"/>
                    <a:pt x="21278" y="14167"/>
                    <a:pt x="20810" y="13921"/>
                  </a:cubicBezTo>
                  <a:lnTo>
                    <a:pt x="20813" y="13915"/>
                  </a:lnTo>
                  <a:lnTo>
                    <a:pt x="19092" y="13009"/>
                  </a:lnTo>
                  <a:lnTo>
                    <a:pt x="20813" y="12103"/>
                  </a:lnTo>
                  <a:lnTo>
                    <a:pt x="20810" y="12097"/>
                  </a:lnTo>
                  <a:cubicBezTo>
                    <a:pt x="21278" y="11851"/>
                    <a:pt x="21600" y="11366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785">
              <a:extLst>
                <a:ext uri="{FF2B5EF4-FFF2-40B4-BE49-F238E27FC236}">
                  <a16:creationId xmlns:a16="http://schemas.microsoft.com/office/drawing/2014/main" id="{C3191ECA-35B8-4A8A-BAFA-E6C26E92C18F}"/>
                </a:ext>
              </a:extLst>
            </p:cNvPr>
            <p:cNvSpPr/>
            <p:nvPr/>
          </p:nvSpPr>
          <p:spPr bwMode="gray">
            <a:xfrm>
              <a:off x="10022941" y="5622757"/>
              <a:ext cx="288993" cy="2364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400"/>
                  </a:moveTo>
                  <a:cubicBezTo>
                    <a:pt x="14522" y="20400"/>
                    <a:pt x="12764" y="18251"/>
                    <a:pt x="12764" y="15600"/>
                  </a:cubicBezTo>
                  <a:cubicBezTo>
                    <a:pt x="12764" y="12949"/>
                    <a:pt x="14522" y="10800"/>
                    <a:pt x="16691" y="10800"/>
                  </a:cubicBezTo>
                  <a:cubicBezTo>
                    <a:pt x="18860" y="10800"/>
                    <a:pt x="20618" y="12949"/>
                    <a:pt x="20618" y="15600"/>
                  </a:cubicBezTo>
                  <a:cubicBezTo>
                    <a:pt x="20618" y="18251"/>
                    <a:pt x="18860" y="20400"/>
                    <a:pt x="16691" y="20400"/>
                  </a:cubicBezTo>
                  <a:moveTo>
                    <a:pt x="12762" y="3393"/>
                  </a:moveTo>
                  <a:lnTo>
                    <a:pt x="12781" y="3388"/>
                  </a:lnTo>
                  <a:cubicBezTo>
                    <a:pt x="12870" y="2164"/>
                    <a:pt x="13702" y="1200"/>
                    <a:pt x="14727" y="1200"/>
                  </a:cubicBezTo>
                  <a:cubicBezTo>
                    <a:pt x="15521" y="1200"/>
                    <a:pt x="16202" y="1779"/>
                    <a:pt x="16511" y="2609"/>
                  </a:cubicBezTo>
                  <a:lnTo>
                    <a:pt x="16509" y="2609"/>
                  </a:lnTo>
                  <a:lnTo>
                    <a:pt x="19162" y="10421"/>
                  </a:lnTo>
                  <a:cubicBezTo>
                    <a:pt x="18436" y="9902"/>
                    <a:pt x="17593" y="9600"/>
                    <a:pt x="16691" y="9600"/>
                  </a:cubicBezTo>
                  <a:cubicBezTo>
                    <a:pt x="15082" y="9600"/>
                    <a:pt x="13658" y="10550"/>
                    <a:pt x="12763" y="12012"/>
                  </a:cubicBezTo>
                  <a:cubicBezTo>
                    <a:pt x="12763" y="12012"/>
                    <a:pt x="12762" y="3393"/>
                    <a:pt x="12762" y="3393"/>
                  </a:cubicBezTo>
                  <a:close/>
                  <a:moveTo>
                    <a:pt x="11782" y="13200"/>
                  </a:moveTo>
                  <a:lnTo>
                    <a:pt x="9818" y="13200"/>
                  </a:lnTo>
                  <a:lnTo>
                    <a:pt x="9818" y="4800"/>
                  </a:lnTo>
                  <a:lnTo>
                    <a:pt x="11782" y="4800"/>
                  </a:lnTo>
                  <a:cubicBezTo>
                    <a:pt x="11782" y="4800"/>
                    <a:pt x="11782" y="13200"/>
                    <a:pt x="11782" y="13200"/>
                  </a:cubicBezTo>
                  <a:close/>
                  <a:moveTo>
                    <a:pt x="11782" y="15600"/>
                  </a:moveTo>
                  <a:lnTo>
                    <a:pt x="9818" y="15600"/>
                  </a:lnTo>
                  <a:lnTo>
                    <a:pt x="9818" y="14400"/>
                  </a:lnTo>
                  <a:lnTo>
                    <a:pt x="11782" y="14400"/>
                  </a:lnTo>
                  <a:cubicBezTo>
                    <a:pt x="11782" y="14400"/>
                    <a:pt x="11782" y="15600"/>
                    <a:pt x="11782" y="15600"/>
                  </a:cubicBezTo>
                  <a:close/>
                  <a:moveTo>
                    <a:pt x="8837" y="12012"/>
                  </a:moveTo>
                  <a:cubicBezTo>
                    <a:pt x="7942" y="10550"/>
                    <a:pt x="6518" y="9600"/>
                    <a:pt x="4909" y="9600"/>
                  </a:cubicBezTo>
                  <a:cubicBezTo>
                    <a:pt x="4007" y="9600"/>
                    <a:pt x="3164" y="9902"/>
                    <a:pt x="2438" y="10421"/>
                  </a:cubicBezTo>
                  <a:lnTo>
                    <a:pt x="5091" y="2609"/>
                  </a:lnTo>
                  <a:lnTo>
                    <a:pt x="5089" y="2609"/>
                  </a:lnTo>
                  <a:cubicBezTo>
                    <a:pt x="5398" y="1779"/>
                    <a:pt x="6079" y="1200"/>
                    <a:pt x="6873" y="1200"/>
                  </a:cubicBezTo>
                  <a:cubicBezTo>
                    <a:pt x="7898" y="1200"/>
                    <a:pt x="8730" y="2164"/>
                    <a:pt x="8819" y="3388"/>
                  </a:cubicBezTo>
                  <a:lnTo>
                    <a:pt x="8838" y="3393"/>
                  </a:lnTo>
                  <a:cubicBezTo>
                    <a:pt x="8838" y="3393"/>
                    <a:pt x="8837" y="12012"/>
                    <a:pt x="8837" y="12012"/>
                  </a:cubicBezTo>
                  <a:close/>
                  <a:moveTo>
                    <a:pt x="4909" y="20400"/>
                  </a:moveTo>
                  <a:cubicBezTo>
                    <a:pt x="2740" y="20400"/>
                    <a:pt x="982" y="18251"/>
                    <a:pt x="982" y="15600"/>
                  </a:cubicBezTo>
                  <a:cubicBezTo>
                    <a:pt x="982" y="12949"/>
                    <a:pt x="2740" y="10800"/>
                    <a:pt x="4909" y="10800"/>
                  </a:cubicBezTo>
                  <a:cubicBezTo>
                    <a:pt x="7078" y="10800"/>
                    <a:pt x="8836" y="12949"/>
                    <a:pt x="8836" y="15600"/>
                  </a:cubicBezTo>
                  <a:cubicBezTo>
                    <a:pt x="8836" y="18251"/>
                    <a:pt x="7078" y="20400"/>
                    <a:pt x="4909" y="20400"/>
                  </a:cubicBezTo>
                  <a:moveTo>
                    <a:pt x="21102" y="12980"/>
                  </a:moveTo>
                  <a:lnTo>
                    <a:pt x="17504" y="2400"/>
                  </a:lnTo>
                  <a:lnTo>
                    <a:pt x="17493" y="2402"/>
                  </a:lnTo>
                  <a:cubicBezTo>
                    <a:pt x="17088" y="1006"/>
                    <a:pt x="16009" y="0"/>
                    <a:pt x="14727" y="0"/>
                  </a:cubicBezTo>
                  <a:cubicBezTo>
                    <a:pt x="13101" y="0"/>
                    <a:pt x="11782" y="1612"/>
                    <a:pt x="11782" y="3600"/>
                  </a:cubicBezTo>
                  <a:lnTo>
                    <a:pt x="9818" y="3600"/>
                  </a:lnTo>
                  <a:cubicBezTo>
                    <a:pt x="9818" y="1612"/>
                    <a:pt x="8499" y="0"/>
                    <a:pt x="6873" y="0"/>
                  </a:cubicBezTo>
                  <a:cubicBezTo>
                    <a:pt x="5592" y="0"/>
                    <a:pt x="4512" y="1006"/>
                    <a:pt x="4107" y="2402"/>
                  </a:cubicBezTo>
                  <a:lnTo>
                    <a:pt x="4096" y="2400"/>
                  </a:lnTo>
                  <a:lnTo>
                    <a:pt x="498" y="12980"/>
                  </a:lnTo>
                  <a:cubicBezTo>
                    <a:pt x="182" y="13772"/>
                    <a:pt x="0" y="14659"/>
                    <a:pt x="0" y="15600"/>
                  </a:cubicBezTo>
                  <a:cubicBezTo>
                    <a:pt x="0" y="18914"/>
                    <a:pt x="2198" y="21600"/>
                    <a:pt x="4909" y="21600"/>
                  </a:cubicBezTo>
                  <a:cubicBezTo>
                    <a:pt x="7284" y="21600"/>
                    <a:pt x="9265" y="19539"/>
                    <a:pt x="9719" y="16800"/>
                  </a:cubicBezTo>
                  <a:lnTo>
                    <a:pt x="11881" y="16800"/>
                  </a:lnTo>
                  <a:cubicBezTo>
                    <a:pt x="12335" y="19539"/>
                    <a:pt x="14316" y="21600"/>
                    <a:pt x="16691" y="21600"/>
                  </a:cubicBezTo>
                  <a:cubicBezTo>
                    <a:pt x="19402" y="21600"/>
                    <a:pt x="21600" y="18914"/>
                    <a:pt x="21600" y="15600"/>
                  </a:cubicBezTo>
                  <a:cubicBezTo>
                    <a:pt x="21600" y="14659"/>
                    <a:pt x="21418" y="13772"/>
                    <a:pt x="21102" y="12980"/>
                  </a:cubicBezTo>
                  <a:moveTo>
                    <a:pt x="16691" y="12000"/>
                  </a:moveTo>
                  <a:cubicBezTo>
                    <a:pt x="15064" y="12000"/>
                    <a:pt x="13745" y="13612"/>
                    <a:pt x="13745" y="15600"/>
                  </a:cubicBezTo>
                  <a:cubicBezTo>
                    <a:pt x="13745" y="15932"/>
                    <a:pt x="13965" y="16200"/>
                    <a:pt x="14236" y="16200"/>
                  </a:cubicBezTo>
                  <a:cubicBezTo>
                    <a:pt x="14508" y="16200"/>
                    <a:pt x="14727" y="15932"/>
                    <a:pt x="14727" y="15600"/>
                  </a:cubicBezTo>
                  <a:cubicBezTo>
                    <a:pt x="14727" y="14275"/>
                    <a:pt x="15606" y="13200"/>
                    <a:pt x="16691" y="13200"/>
                  </a:cubicBezTo>
                  <a:cubicBezTo>
                    <a:pt x="16962" y="13200"/>
                    <a:pt x="17182" y="12932"/>
                    <a:pt x="17182" y="12600"/>
                  </a:cubicBezTo>
                  <a:cubicBezTo>
                    <a:pt x="17182" y="12268"/>
                    <a:pt x="16962" y="12000"/>
                    <a:pt x="16691" y="12000"/>
                  </a:cubicBezTo>
                  <a:moveTo>
                    <a:pt x="4909" y="12000"/>
                  </a:moveTo>
                  <a:cubicBezTo>
                    <a:pt x="3282" y="12000"/>
                    <a:pt x="1964" y="13612"/>
                    <a:pt x="1964" y="15600"/>
                  </a:cubicBezTo>
                  <a:cubicBezTo>
                    <a:pt x="1964" y="15932"/>
                    <a:pt x="2183" y="16200"/>
                    <a:pt x="2455" y="16200"/>
                  </a:cubicBezTo>
                  <a:cubicBezTo>
                    <a:pt x="2726" y="16200"/>
                    <a:pt x="2945" y="15932"/>
                    <a:pt x="2945" y="15600"/>
                  </a:cubicBezTo>
                  <a:cubicBezTo>
                    <a:pt x="2945" y="14275"/>
                    <a:pt x="3825" y="13200"/>
                    <a:pt x="4909" y="13200"/>
                  </a:cubicBezTo>
                  <a:cubicBezTo>
                    <a:pt x="5180" y="13200"/>
                    <a:pt x="5400" y="12932"/>
                    <a:pt x="5400" y="12600"/>
                  </a:cubicBezTo>
                  <a:cubicBezTo>
                    <a:pt x="5400" y="12268"/>
                    <a:pt x="5180" y="12000"/>
                    <a:pt x="4909" y="120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786">
              <a:extLst>
                <a:ext uri="{FF2B5EF4-FFF2-40B4-BE49-F238E27FC236}">
                  <a16:creationId xmlns:a16="http://schemas.microsoft.com/office/drawing/2014/main" id="{1A38E5B5-C711-4459-BE91-DB92056E48EF}"/>
                </a:ext>
              </a:extLst>
            </p:cNvPr>
            <p:cNvSpPr/>
            <p:nvPr/>
          </p:nvSpPr>
          <p:spPr bwMode="gray">
            <a:xfrm>
              <a:off x="10574655" y="5609621"/>
              <a:ext cx="288785" cy="2627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79" h="20458" extrusionOk="0">
                  <a:moveTo>
                    <a:pt x="8629" y="9718"/>
                  </a:moveTo>
                  <a:cubicBezTo>
                    <a:pt x="8364" y="9718"/>
                    <a:pt x="8150" y="9946"/>
                    <a:pt x="8150" y="10229"/>
                  </a:cubicBezTo>
                  <a:cubicBezTo>
                    <a:pt x="8150" y="10512"/>
                    <a:pt x="8364" y="10740"/>
                    <a:pt x="8629" y="10740"/>
                  </a:cubicBezTo>
                  <a:cubicBezTo>
                    <a:pt x="8894" y="10740"/>
                    <a:pt x="9109" y="10512"/>
                    <a:pt x="9109" y="10229"/>
                  </a:cubicBezTo>
                  <a:cubicBezTo>
                    <a:pt x="9109" y="9946"/>
                    <a:pt x="8894" y="9718"/>
                    <a:pt x="8629" y="9718"/>
                  </a:cubicBezTo>
                  <a:moveTo>
                    <a:pt x="19841" y="17227"/>
                  </a:moveTo>
                  <a:cubicBezTo>
                    <a:pt x="18962" y="17974"/>
                    <a:pt x="18122" y="17900"/>
                    <a:pt x="18122" y="17900"/>
                  </a:cubicBezTo>
                  <a:cubicBezTo>
                    <a:pt x="17681" y="17900"/>
                    <a:pt x="16277" y="16919"/>
                    <a:pt x="9448" y="11852"/>
                  </a:cubicBezTo>
                  <a:lnTo>
                    <a:pt x="10866" y="10844"/>
                  </a:lnTo>
                  <a:cubicBezTo>
                    <a:pt x="10866" y="10844"/>
                    <a:pt x="19841" y="17227"/>
                    <a:pt x="19841" y="17227"/>
                  </a:cubicBezTo>
                  <a:close/>
                  <a:moveTo>
                    <a:pt x="6661" y="12605"/>
                  </a:moveTo>
                  <a:cubicBezTo>
                    <a:pt x="6010" y="12349"/>
                    <a:pt x="5264" y="12239"/>
                    <a:pt x="4521" y="12267"/>
                  </a:cubicBezTo>
                  <a:cubicBezTo>
                    <a:pt x="15686" y="3965"/>
                    <a:pt x="17591" y="2558"/>
                    <a:pt x="18122" y="2558"/>
                  </a:cubicBezTo>
                  <a:cubicBezTo>
                    <a:pt x="18122" y="2558"/>
                    <a:pt x="18962" y="2484"/>
                    <a:pt x="19841" y="3231"/>
                  </a:cubicBezTo>
                  <a:cubicBezTo>
                    <a:pt x="19841" y="3231"/>
                    <a:pt x="6661" y="12605"/>
                    <a:pt x="6661" y="12605"/>
                  </a:cubicBezTo>
                  <a:close/>
                  <a:moveTo>
                    <a:pt x="5586" y="19031"/>
                  </a:moveTo>
                  <a:cubicBezTo>
                    <a:pt x="4111" y="19863"/>
                    <a:pt x="2224" y="19369"/>
                    <a:pt x="1372" y="17927"/>
                  </a:cubicBezTo>
                  <a:cubicBezTo>
                    <a:pt x="520" y="16485"/>
                    <a:pt x="1026" y="14640"/>
                    <a:pt x="2501" y="13808"/>
                  </a:cubicBezTo>
                  <a:cubicBezTo>
                    <a:pt x="3977" y="12975"/>
                    <a:pt x="6532" y="13092"/>
                    <a:pt x="7383" y="14534"/>
                  </a:cubicBezTo>
                  <a:cubicBezTo>
                    <a:pt x="8235" y="15977"/>
                    <a:pt x="7062" y="18198"/>
                    <a:pt x="5586" y="19031"/>
                  </a:cubicBezTo>
                  <a:moveTo>
                    <a:pt x="4521" y="8191"/>
                  </a:moveTo>
                  <a:cubicBezTo>
                    <a:pt x="5264" y="8219"/>
                    <a:pt x="6010" y="8109"/>
                    <a:pt x="6661" y="7853"/>
                  </a:cubicBezTo>
                  <a:lnTo>
                    <a:pt x="7765" y="8638"/>
                  </a:lnTo>
                  <a:cubicBezTo>
                    <a:pt x="7345" y="8950"/>
                    <a:pt x="6901" y="9281"/>
                    <a:pt x="6443" y="9621"/>
                  </a:cubicBezTo>
                  <a:cubicBezTo>
                    <a:pt x="5833" y="9167"/>
                    <a:pt x="5200" y="8696"/>
                    <a:pt x="4521" y="8191"/>
                  </a:cubicBezTo>
                  <a:moveTo>
                    <a:pt x="2501" y="6650"/>
                  </a:moveTo>
                  <a:cubicBezTo>
                    <a:pt x="1026" y="5818"/>
                    <a:pt x="520" y="3973"/>
                    <a:pt x="1372" y="2531"/>
                  </a:cubicBezTo>
                  <a:cubicBezTo>
                    <a:pt x="2224" y="1089"/>
                    <a:pt x="4111" y="595"/>
                    <a:pt x="5586" y="1427"/>
                  </a:cubicBezTo>
                  <a:cubicBezTo>
                    <a:pt x="7062" y="2260"/>
                    <a:pt x="8235" y="4481"/>
                    <a:pt x="7383" y="5924"/>
                  </a:cubicBezTo>
                  <a:cubicBezTo>
                    <a:pt x="6532" y="7366"/>
                    <a:pt x="3977" y="7483"/>
                    <a:pt x="2501" y="6650"/>
                  </a:cubicBezTo>
                  <a:moveTo>
                    <a:pt x="21079" y="3580"/>
                  </a:moveTo>
                  <a:cubicBezTo>
                    <a:pt x="21079" y="2451"/>
                    <a:pt x="19262" y="1535"/>
                    <a:pt x="18203" y="1535"/>
                  </a:cubicBezTo>
                  <a:lnTo>
                    <a:pt x="18122" y="1535"/>
                  </a:lnTo>
                  <a:cubicBezTo>
                    <a:pt x="17404" y="1535"/>
                    <a:pt x="17139" y="1673"/>
                    <a:pt x="8610" y="8009"/>
                  </a:cubicBezTo>
                  <a:lnTo>
                    <a:pt x="7613" y="7300"/>
                  </a:lnTo>
                  <a:cubicBezTo>
                    <a:pt x="7876" y="7084"/>
                    <a:pt x="8104" y="6833"/>
                    <a:pt x="8275" y="6534"/>
                  </a:cubicBezTo>
                  <a:cubicBezTo>
                    <a:pt x="9372" y="4611"/>
                    <a:pt x="7861" y="1650"/>
                    <a:pt x="5960" y="539"/>
                  </a:cubicBezTo>
                  <a:cubicBezTo>
                    <a:pt x="4060" y="-571"/>
                    <a:pt x="1629" y="88"/>
                    <a:pt x="532" y="2011"/>
                  </a:cubicBezTo>
                  <a:cubicBezTo>
                    <a:pt x="-521" y="3857"/>
                    <a:pt x="41" y="6194"/>
                    <a:pt x="1769" y="7361"/>
                  </a:cubicBezTo>
                  <a:cubicBezTo>
                    <a:pt x="3185" y="8414"/>
                    <a:pt x="4458" y="9360"/>
                    <a:pt x="5626" y="10229"/>
                  </a:cubicBezTo>
                  <a:cubicBezTo>
                    <a:pt x="4461" y="11096"/>
                    <a:pt x="3178" y="12049"/>
                    <a:pt x="1769" y="13097"/>
                  </a:cubicBezTo>
                  <a:cubicBezTo>
                    <a:pt x="40" y="14264"/>
                    <a:pt x="-521" y="16601"/>
                    <a:pt x="532" y="18447"/>
                  </a:cubicBezTo>
                  <a:cubicBezTo>
                    <a:pt x="1629" y="20371"/>
                    <a:pt x="4060" y="21029"/>
                    <a:pt x="5960" y="19919"/>
                  </a:cubicBezTo>
                  <a:cubicBezTo>
                    <a:pt x="7861" y="18808"/>
                    <a:pt x="9372" y="15847"/>
                    <a:pt x="8275" y="13924"/>
                  </a:cubicBezTo>
                  <a:cubicBezTo>
                    <a:pt x="8104" y="13625"/>
                    <a:pt x="7876" y="13374"/>
                    <a:pt x="7613" y="13158"/>
                  </a:cubicBezTo>
                  <a:lnTo>
                    <a:pt x="8610" y="12449"/>
                  </a:lnTo>
                  <a:cubicBezTo>
                    <a:pt x="17134" y="18781"/>
                    <a:pt x="17404" y="18923"/>
                    <a:pt x="18122" y="18923"/>
                  </a:cubicBezTo>
                  <a:lnTo>
                    <a:pt x="18203" y="18923"/>
                  </a:lnTo>
                  <a:cubicBezTo>
                    <a:pt x="19262" y="18923"/>
                    <a:pt x="21079" y="18007"/>
                    <a:pt x="21079" y="16878"/>
                  </a:cubicBezTo>
                  <a:lnTo>
                    <a:pt x="11731" y="10229"/>
                  </a:lnTo>
                  <a:cubicBezTo>
                    <a:pt x="11731" y="10229"/>
                    <a:pt x="21079" y="3580"/>
                    <a:pt x="21079" y="3580"/>
                  </a:cubicBezTo>
                  <a:close/>
                  <a:moveTo>
                    <a:pt x="4639" y="16789"/>
                  </a:moveTo>
                  <a:cubicBezTo>
                    <a:pt x="4496" y="16859"/>
                    <a:pt x="4332" y="16897"/>
                    <a:pt x="4162" y="16897"/>
                  </a:cubicBezTo>
                  <a:cubicBezTo>
                    <a:pt x="3846" y="16897"/>
                    <a:pt x="3544" y="16764"/>
                    <a:pt x="3411" y="16567"/>
                  </a:cubicBezTo>
                  <a:cubicBezTo>
                    <a:pt x="3347" y="16471"/>
                    <a:pt x="3351" y="16406"/>
                    <a:pt x="3362" y="16361"/>
                  </a:cubicBezTo>
                  <a:cubicBezTo>
                    <a:pt x="3392" y="16240"/>
                    <a:pt x="3511" y="16117"/>
                    <a:pt x="3682" y="16034"/>
                  </a:cubicBezTo>
                  <a:cubicBezTo>
                    <a:pt x="3891" y="15930"/>
                    <a:pt x="4198" y="15869"/>
                    <a:pt x="4503" y="15869"/>
                  </a:cubicBezTo>
                  <a:cubicBezTo>
                    <a:pt x="4935" y="15869"/>
                    <a:pt x="5194" y="15988"/>
                    <a:pt x="5273" y="16050"/>
                  </a:cubicBezTo>
                  <a:cubicBezTo>
                    <a:pt x="5252" y="16207"/>
                    <a:pt x="5019" y="16601"/>
                    <a:pt x="4639" y="16789"/>
                  </a:cubicBezTo>
                  <a:moveTo>
                    <a:pt x="4503" y="14845"/>
                  </a:moveTo>
                  <a:cubicBezTo>
                    <a:pt x="4065" y="14845"/>
                    <a:pt x="3621" y="14936"/>
                    <a:pt x="3279" y="15105"/>
                  </a:cubicBezTo>
                  <a:cubicBezTo>
                    <a:pt x="2435" y="15522"/>
                    <a:pt x="2147" y="16443"/>
                    <a:pt x="2633" y="17165"/>
                  </a:cubicBezTo>
                  <a:cubicBezTo>
                    <a:pt x="2960" y="17649"/>
                    <a:pt x="3553" y="17919"/>
                    <a:pt x="4162" y="17919"/>
                  </a:cubicBezTo>
                  <a:cubicBezTo>
                    <a:pt x="4461" y="17919"/>
                    <a:pt x="4764" y="17854"/>
                    <a:pt x="5041" y="17717"/>
                  </a:cubicBezTo>
                  <a:cubicBezTo>
                    <a:pt x="5885" y="17300"/>
                    <a:pt x="6555" y="16190"/>
                    <a:pt x="6069" y="15469"/>
                  </a:cubicBezTo>
                  <a:cubicBezTo>
                    <a:pt x="5779" y="15040"/>
                    <a:pt x="5146" y="14845"/>
                    <a:pt x="4503" y="14845"/>
                  </a:cubicBezTo>
                  <a:moveTo>
                    <a:pt x="4503" y="4590"/>
                  </a:moveTo>
                  <a:cubicBezTo>
                    <a:pt x="4198" y="4590"/>
                    <a:pt x="3891" y="4528"/>
                    <a:pt x="3682" y="4425"/>
                  </a:cubicBezTo>
                  <a:cubicBezTo>
                    <a:pt x="3511" y="4341"/>
                    <a:pt x="3392" y="4219"/>
                    <a:pt x="3362" y="4098"/>
                  </a:cubicBezTo>
                  <a:cubicBezTo>
                    <a:pt x="3351" y="4052"/>
                    <a:pt x="3347" y="3987"/>
                    <a:pt x="3411" y="3891"/>
                  </a:cubicBezTo>
                  <a:cubicBezTo>
                    <a:pt x="3544" y="3694"/>
                    <a:pt x="3846" y="3561"/>
                    <a:pt x="4162" y="3561"/>
                  </a:cubicBezTo>
                  <a:cubicBezTo>
                    <a:pt x="4332" y="3561"/>
                    <a:pt x="4496" y="3599"/>
                    <a:pt x="4639" y="3669"/>
                  </a:cubicBezTo>
                  <a:cubicBezTo>
                    <a:pt x="5019" y="3857"/>
                    <a:pt x="5252" y="4252"/>
                    <a:pt x="5273" y="4408"/>
                  </a:cubicBezTo>
                  <a:cubicBezTo>
                    <a:pt x="5194" y="4470"/>
                    <a:pt x="4935" y="4590"/>
                    <a:pt x="4503" y="4590"/>
                  </a:cubicBezTo>
                  <a:moveTo>
                    <a:pt x="5041" y="2741"/>
                  </a:moveTo>
                  <a:cubicBezTo>
                    <a:pt x="4764" y="2604"/>
                    <a:pt x="4461" y="2539"/>
                    <a:pt x="4162" y="2539"/>
                  </a:cubicBezTo>
                  <a:cubicBezTo>
                    <a:pt x="3553" y="2539"/>
                    <a:pt x="2960" y="2809"/>
                    <a:pt x="2633" y="3294"/>
                  </a:cubicBezTo>
                  <a:cubicBezTo>
                    <a:pt x="2147" y="4015"/>
                    <a:pt x="2435" y="4937"/>
                    <a:pt x="3279" y="5353"/>
                  </a:cubicBezTo>
                  <a:cubicBezTo>
                    <a:pt x="3621" y="5522"/>
                    <a:pt x="4065" y="5613"/>
                    <a:pt x="4503" y="5613"/>
                  </a:cubicBezTo>
                  <a:cubicBezTo>
                    <a:pt x="5146" y="5613"/>
                    <a:pt x="5779" y="5418"/>
                    <a:pt x="6069" y="4990"/>
                  </a:cubicBezTo>
                  <a:cubicBezTo>
                    <a:pt x="6555" y="4268"/>
                    <a:pt x="5885" y="3158"/>
                    <a:pt x="5041" y="274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787">
              <a:extLst>
                <a:ext uri="{FF2B5EF4-FFF2-40B4-BE49-F238E27FC236}">
                  <a16:creationId xmlns:a16="http://schemas.microsoft.com/office/drawing/2014/main" id="{F5650743-773C-42E5-9FAC-370826FBC1E1}"/>
                </a:ext>
              </a:extLst>
            </p:cNvPr>
            <p:cNvSpPr/>
            <p:nvPr/>
          </p:nvSpPr>
          <p:spPr bwMode="gray">
            <a:xfrm>
              <a:off x="11126368" y="5596485"/>
              <a:ext cx="288814" cy="2890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86" h="21600" extrusionOk="0">
                  <a:moveTo>
                    <a:pt x="11502" y="10309"/>
                  </a:moveTo>
                  <a:cubicBezTo>
                    <a:pt x="11767" y="10309"/>
                    <a:pt x="11981" y="10090"/>
                    <a:pt x="11981" y="9818"/>
                  </a:cubicBezTo>
                  <a:cubicBezTo>
                    <a:pt x="11981" y="9547"/>
                    <a:pt x="11767" y="9327"/>
                    <a:pt x="11502" y="9327"/>
                  </a:cubicBezTo>
                  <a:cubicBezTo>
                    <a:pt x="11237" y="9327"/>
                    <a:pt x="11022" y="9547"/>
                    <a:pt x="11022" y="9818"/>
                  </a:cubicBezTo>
                  <a:cubicBezTo>
                    <a:pt x="11022" y="10090"/>
                    <a:pt x="11237" y="10309"/>
                    <a:pt x="11502" y="10309"/>
                  </a:cubicBezTo>
                  <a:moveTo>
                    <a:pt x="15818" y="4909"/>
                  </a:moveTo>
                  <a:cubicBezTo>
                    <a:pt x="16083" y="4909"/>
                    <a:pt x="16297" y="5129"/>
                    <a:pt x="16297" y="5400"/>
                  </a:cubicBezTo>
                  <a:cubicBezTo>
                    <a:pt x="16297" y="5672"/>
                    <a:pt x="16083" y="5891"/>
                    <a:pt x="15818" y="5891"/>
                  </a:cubicBezTo>
                  <a:cubicBezTo>
                    <a:pt x="15553" y="5891"/>
                    <a:pt x="15338" y="5672"/>
                    <a:pt x="15338" y="5400"/>
                  </a:cubicBezTo>
                  <a:cubicBezTo>
                    <a:pt x="15338" y="5129"/>
                    <a:pt x="15553" y="4909"/>
                    <a:pt x="15818" y="4909"/>
                  </a:cubicBezTo>
                  <a:moveTo>
                    <a:pt x="15818" y="6873"/>
                  </a:moveTo>
                  <a:cubicBezTo>
                    <a:pt x="16612" y="6873"/>
                    <a:pt x="17256" y="6213"/>
                    <a:pt x="17256" y="5400"/>
                  </a:cubicBezTo>
                  <a:cubicBezTo>
                    <a:pt x="17256" y="4587"/>
                    <a:pt x="16612" y="3928"/>
                    <a:pt x="15818" y="3928"/>
                  </a:cubicBezTo>
                  <a:cubicBezTo>
                    <a:pt x="15023" y="3928"/>
                    <a:pt x="14379" y="4587"/>
                    <a:pt x="14379" y="5400"/>
                  </a:cubicBezTo>
                  <a:cubicBezTo>
                    <a:pt x="14379" y="6213"/>
                    <a:pt x="15023" y="6873"/>
                    <a:pt x="15818" y="6873"/>
                  </a:cubicBezTo>
                  <a:moveTo>
                    <a:pt x="12941" y="11782"/>
                  </a:moveTo>
                  <a:cubicBezTo>
                    <a:pt x="13206" y="11782"/>
                    <a:pt x="13420" y="11562"/>
                    <a:pt x="13420" y="11291"/>
                  </a:cubicBezTo>
                  <a:cubicBezTo>
                    <a:pt x="13420" y="11020"/>
                    <a:pt x="13206" y="10800"/>
                    <a:pt x="12941" y="10800"/>
                  </a:cubicBezTo>
                  <a:cubicBezTo>
                    <a:pt x="12675" y="10800"/>
                    <a:pt x="12461" y="11020"/>
                    <a:pt x="12461" y="11291"/>
                  </a:cubicBezTo>
                  <a:cubicBezTo>
                    <a:pt x="12461" y="11562"/>
                    <a:pt x="12675" y="11782"/>
                    <a:pt x="12941" y="11782"/>
                  </a:cubicBezTo>
                  <a:moveTo>
                    <a:pt x="10063" y="7855"/>
                  </a:moveTo>
                  <a:cubicBezTo>
                    <a:pt x="9798" y="7855"/>
                    <a:pt x="9584" y="8074"/>
                    <a:pt x="9584" y="8346"/>
                  </a:cubicBezTo>
                  <a:cubicBezTo>
                    <a:pt x="9584" y="8617"/>
                    <a:pt x="9798" y="8836"/>
                    <a:pt x="10063" y="8836"/>
                  </a:cubicBezTo>
                  <a:cubicBezTo>
                    <a:pt x="10328" y="8836"/>
                    <a:pt x="10543" y="8617"/>
                    <a:pt x="10543" y="8346"/>
                  </a:cubicBezTo>
                  <a:cubicBezTo>
                    <a:pt x="10543" y="8074"/>
                    <a:pt x="10328" y="7855"/>
                    <a:pt x="10063" y="7855"/>
                  </a:cubicBezTo>
                  <a:moveTo>
                    <a:pt x="1718" y="19842"/>
                  </a:moveTo>
                  <a:lnTo>
                    <a:pt x="3451" y="15392"/>
                  </a:lnTo>
                  <a:cubicBezTo>
                    <a:pt x="3684" y="15834"/>
                    <a:pt x="3973" y="16253"/>
                    <a:pt x="4312" y="16642"/>
                  </a:cubicBezTo>
                  <a:cubicBezTo>
                    <a:pt x="4824" y="17230"/>
                    <a:pt x="5418" y="17711"/>
                    <a:pt x="6061" y="18068"/>
                  </a:cubicBezTo>
                  <a:cubicBezTo>
                    <a:pt x="6061" y="18068"/>
                    <a:pt x="1718" y="19842"/>
                    <a:pt x="1718" y="19842"/>
                  </a:cubicBezTo>
                  <a:close/>
                  <a:moveTo>
                    <a:pt x="3717" y="12060"/>
                  </a:moveTo>
                  <a:lnTo>
                    <a:pt x="0" y="21600"/>
                  </a:lnTo>
                  <a:lnTo>
                    <a:pt x="9319" y="17795"/>
                  </a:lnTo>
                  <a:cubicBezTo>
                    <a:pt x="9153" y="17815"/>
                    <a:pt x="8987" y="17824"/>
                    <a:pt x="8822" y="17824"/>
                  </a:cubicBezTo>
                  <a:cubicBezTo>
                    <a:pt x="5971" y="17824"/>
                    <a:pt x="3389" y="15002"/>
                    <a:pt x="3717" y="12060"/>
                  </a:cubicBezTo>
                  <a:moveTo>
                    <a:pt x="16115" y="10657"/>
                  </a:moveTo>
                  <a:cubicBezTo>
                    <a:pt x="15925" y="10851"/>
                    <a:pt x="15627" y="11171"/>
                    <a:pt x="15280" y="11542"/>
                  </a:cubicBezTo>
                  <a:cubicBezTo>
                    <a:pt x="14662" y="12204"/>
                    <a:pt x="13712" y="13221"/>
                    <a:pt x="13147" y="13753"/>
                  </a:cubicBezTo>
                  <a:lnTo>
                    <a:pt x="7665" y="8141"/>
                  </a:lnTo>
                  <a:cubicBezTo>
                    <a:pt x="8185" y="7563"/>
                    <a:pt x="9179" y="6590"/>
                    <a:pt x="9825" y="5958"/>
                  </a:cubicBezTo>
                  <a:cubicBezTo>
                    <a:pt x="10188" y="5603"/>
                    <a:pt x="10500" y="5298"/>
                    <a:pt x="10690" y="5103"/>
                  </a:cubicBezTo>
                  <a:cubicBezTo>
                    <a:pt x="13284" y="2447"/>
                    <a:pt x="18271" y="993"/>
                    <a:pt x="20136" y="982"/>
                  </a:cubicBezTo>
                  <a:cubicBezTo>
                    <a:pt x="20132" y="2572"/>
                    <a:pt x="18824" y="7884"/>
                    <a:pt x="16115" y="10657"/>
                  </a:cubicBezTo>
                  <a:moveTo>
                    <a:pt x="12477" y="14563"/>
                  </a:moveTo>
                  <a:cubicBezTo>
                    <a:pt x="12127" y="15873"/>
                    <a:pt x="11665" y="17072"/>
                    <a:pt x="11154" y="18035"/>
                  </a:cubicBezTo>
                  <a:cubicBezTo>
                    <a:pt x="10943" y="17454"/>
                    <a:pt x="10642" y="16798"/>
                    <a:pt x="10214" y="16110"/>
                  </a:cubicBezTo>
                  <a:cubicBezTo>
                    <a:pt x="10035" y="15823"/>
                    <a:pt x="9728" y="15656"/>
                    <a:pt x="9405" y="15656"/>
                  </a:cubicBezTo>
                  <a:cubicBezTo>
                    <a:pt x="9329" y="15656"/>
                    <a:pt x="9252" y="15665"/>
                    <a:pt x="9176" y="15684"/>
                  </a:cubicBezTo>
                  <a:cubicBezTo>
                    <a:pt x="8990" y="15731"/>
                    <a:pt x="8799" y="15755"/>
                    <a:pt x="8610" y="15755"/>
                  </a:cubicBezTo>
                  <a:cubicBezTo>
                    <a:pt x="7905" y="15755"/>
                    <a:pt x="7217" y="15432"/>
                    <a:pt x="6621" y="14822"/>
                  </a:cubicBezTo>
                  <a:cubicBezTo>
                    <a:pt x="5861" y="14044"/>
                    <a:pt x="5561" y="13114"/>
                    <a:pt x="5779" y="12206"/>
                  </a:cubicBezTo>
                  <a:cubicBezTo>
                    <a:pt x="5877" y="11797"/>
                    <a:pt x="5709" y="11370"/>
                    <a:pt x="5363" y="11144"/>
                  </a:cubicBezTo>
                  <a:cubicBezTo>
                    <a:pt x="4690" y="10706"/>
                    <a:pt x="4050" y="10398"/>
                    <a:pt x="3482" y="10183"/>
                  </a:cubicBezTo>
                  <a:cubicBezTo>
                    <a:pt x="4423" y="9658"/>
                    <a:pt x="5594" y="9186"/>
                    <a:pt x="6874" y="8827"/>
                  </a:cubicBezTo>
                  <a:cubicBezTo>
                    <a:pt x="6900" y="8820"/>
                    <a:pt x="6921" y="8803"/>
                    <a:pt x="6946" y="8793"/>
                  </a:cubicBezTo>
                  <a:lnTo>
                    <a:pt x="12510" y="14490"/>
                  </a:lnTo>
                  <a:cubicBezTo>
                    <a:pt x="12501" y="14515"/>
                    <a:pt x="12484" y="14536"/>
                    <a:pt x="12477" y="14563"/>
                  </a:cubicBezTo>
                  <a:moveTo>
                    <a:pt x="20922" y="167"/>
                  </a:moveTo>
                  <a:cubicBezTo>
                    <a:pt x="20813" y="55"/>
                    <a:pt x="20545" y="0"/>
                    <a:pt x="20157" y="0"/>
                  </a:cubicBezTo>
                  <a:cubicBezTo>
                    <a:pt x="18131" y="0"/>
                    <a:pt x="12842" y="1511"/>
                    <a:pt x="10012" y="4409"/>
                  </a:cubicBezTo>
                  <a:cubicBezTo>
                    <a:pt x="9345" y="5092"/>
                    <a:pt x="7134" y="7175"/>
                    <a:pt x="6621" y="7880"/>
                  </a:cubicBezTo>
                  <a:cubicBezTo>
                    <a:pt x="4961" y="8346"/>
                    <a:pt x="2544" y="9277"/>
                    <a:pt x="1196" y="10657"/>
                  </a:cubicBezTo>
                  <a:cubicBezTo>
                    <a:pt x="1196" y="10657"/>
                    <a:pt x="2841" y="10663"/>
                    <a:pt x="4848" y="11972"/>
                  </a:cubicBezTo>
                  <a:cubicBezTo>
                    <a:pt x="4556" y="13190"/>
                    <a:pt x="4926" y="14475"/>
                    <a:pt x="5943" y="15516"/>
                  </a:cubicBezTo>
                  <a:cubicBezTo>
                    <a:pt x="6735" y="16327"/>
                    <a:pt x="7672" y="16737"/>
                    <a:pt x="8610" y="16737"/>
                  </a:cubicBezTo>
                  <a:cubicBezTo>
                    <a:pt x="8876" y="16737"/>
                    <a:pt x="9142" y="16704"/>
                    <a:pt x="9405" y="16637"/>
                  </a:cubicBezTo>
                  <a:cubicBezTo>
                    <a:pt x="10683" y="18692"/>
                    <a:pt x="10690" y="20376"/>
                    <a:pt x="10690" y="20376"/>
                  </a:cubicBezTo>
                  <a:cubicBezTo>
                    <a:pt x="12038" y="18996"/>
                    <a:pt x="12948" y="16521"/>
                    <a:pt x="13402" y="14822"/>
                  </a:cubicBezTo>
                  <a:cubicBezTo>
                    <a:pt x="14091" y="14297"/>
                    <a:pt x="16126" y="12034"/>
                    <a:pt x="16793" y="11351"/>
                  </a:cubicBezTo>
                  <a:cubicBezTo>
                    <a:pt x="20164" y="7900"/>
                    <a:pt x="21600" y="861"/>
                    <a:pt x="20922" y="16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94B032-2E16-4CAA-8E4D-56ACB99293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751411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51D00-AACB-A54E-933E-33C42987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odo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74C122-FDEB-FB42-9DE9-D6542E2FFC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11AF08-2A72-3649-956E-FB8544F2288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7745B4-29F0-F541-9DDC-C81BEB1AC1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8FF9A-9724-7946-BC71-DD2C3CFF6E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9E9C10-BB7E-E54A-B2E6-DA4500FA18DC}"/>
              </a:ext>
            </a:extLst>
          </p:cNvPr>
          <p:cNvSpPr txBox="1">
            <a:spLocks/>
          </p:cNvSpPr>
          <p:nvPr/>
        </p:nvSpPr>
        <p:spPr>
          <a:xfrm>
            <a:off x="623888" y="1564845"/>
            <a:ext cx="10074592" cy="4308328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ym typeface="Wingdings" pitchFamily="2" charset="2"/>
              </a:rPr>
              <a:t>Mehr Bilder zum verdeutlichen von Konzepten</a:t>
            </a:r>
          </a:p>
          <a:p>
            <a:r>
              <a:rPr lang="de-DE" sz="1200" dirty="0">
                <a:sym typeface="Wingdings" pitchFamily="2" charset="2"/>
              </a:rPr>
              <a:t>Kapitel überall einblenden</a:t>
            </a:r>
          </a:p>
          <a:p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nacheinander einblenden</a:t>
            </a:r>
          </a:p>
          <a:p>
            <a:r>
              <a:rPr lang="de-DE" sz="1200" dirty="0" err="1">
                <a:sym typeface="Wingdings" pitchFamily="2" charset="2"/>
              </a:rPr>
              <a:t>Gzip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buffer</a:t>
            </a:r>
            <a:r>
              <a:rPr lang="de-DE" sz="1200" dirty="0">
                <a:sym typeface="Wingdings" pitchFamily="2" charset="2"/>
              </a:rPr>
              <a:t>-</a:t>
            </a:r>
            <a:r>
              <a:rPr lang="de-DE" sz="1200" dirty="0" err="1">
                <a:sym typeface="Wingdings" pitchFamily="2" charset="2"/>
              </a:rPr>
              <a:t>vs</a:t>
            </a:r>
            <a:r>
              <a:rPr lang="de-DE" sz="1200" dirty="0">
                <a:sym typeface="Wingdings" pitchFamily="2" charset="2"/>
              </a:rPr>
              <a:t>-stream  mehr zu den einzelnen Streams; </a:t>
            </a:r>
            <a:r>
              <a:rPr lang="de-DE" sz="1200" dirty="0" err="1">
                <a:sym typeface="Wingdings" pitchFamily="2" charset="2"/>
              </a:rPr>
              <a:t>vlt</a:t>
            </a:r>
            <a:r>
              <a:rPr lang="de-DE" sz="1200" dirty="0">
                <a:sym typeface="Wingdings" pitchFamily="2" charset="2"/>
              </a:rPr>
              <a:t> bisschen Doku zeigen?</a:t>
            </a:r>
          </a:p>
          <a:p>
            <a:r>
              <a:rPr lang="de-DE" sz="1200" dirty="0">
                <a:sym typeface="Wingdings" pitchFamily="2" charset="2"/>
              </a:rPr>
              <a:t>Ab 07-flowing durchgehen und </a:t>
            </a:r>
            <a:r>
              <a:rPr lang="de-DE" sz="1200" dirty="0" err="1">
                <a:sym typeface="Wingdings" pitchFamily="2" charset="2"/>
              </a:rPr>
              <a:t>readmes</a:t>
            </a:r>
            <a:r>
              <a:rPr lang="de-DE" sz="1200" dirty="0">
                <a:sym typeface="Wingdings" pitchFamily="2" charset="2"/>
              </a:rPr>
              <a:t> so schreiben, dass alles drinsteht für live </a:t>
            </a:r>
            <a:r>
              <a:rPr lang="de-DE" sz="1200" dirty="0" err="1">
                <a:sym typeface="Wingdings" pitchFamily="2" charset="2"/>
              </a:rPr>
              <a:t>coding</a:t>
            </a:r>
            <a:endParaRPr lang="de-DE" sz="1200" dirty="0">
              <a:sym typeface="Wingdings" pitchFamily="2" charset="2"/>
            </a:endParaRPr>
          </a:p>
          <a:p>
            <a:r>
              <a:rPr lang="de-DE" sz="1200" dirty="0">
                <a:sym typeface="Wingdings" pitchFamily="2" charset="2"/>
              </a:rPr>
              <a:t>Was in den </a:t>
            </a:r>
            <a:r>
              <a:rPr lang="de-DE" sz="1200" dirty="0" err="1">
                <a:sym typeface="Wingdings" pitchFamily="2" charset="2"/>
              </a:rPr>
              <a:t>anhang</a:t>
            </a:r>
            <a:r>
              <a:rPr lang="de-DE" sz="1200" dirty="0">
                <a:sym typeface="Wingdings" pitchFamily="2" charset="2"/>
              </a:rPr>
              <a:t>? Diese Beispiele mit paar </a:t>
            </a:r>
            <a:r>
              <a:rPr lang="de-DE" sz="1200" dirty="0" err="1">
                <a:sym typeface="Wingdings" pitchFamily="2" charset="2"/>
              </a:rPr>
              <a:t>Bullets</a:t>
            </a:r>
            <a:r>
              <a:rPr lang="de-DE" sz="1200" dirty="0">
                <a:sym typeface="Wingdings" pitchFamily="2" charset="2"/>
              </a:rPr>
              <a:t> erläuter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CF0747-1BDC-3BE4-7FC4-8B19B4494325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FCD9793-185A-102E-6953-4CBB32B58F41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330781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B128AE1-1137-4A12-8461-9792A2802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23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B128AE1-1137-4A12-8461-9792A2802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4F6583-7EBC-4A76-AB1F-119505AC9B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3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2357BD0-5A99-4929-8210-05D1632972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E-Commerce &amp; Web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13D2B68-557C-4B7B-9638-E3B1B8F55B4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66C76B-65A7-4FD9-9446-F7F1FBF444C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90FC60-F1A5-425B-81D5-D161492B73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0</a:t>
            </a:fld>
            <a:endParaRPr lang="de-DE" dirty="0"/>
          </a:p>
        </p:txBody>
      </p:sp>
      <p:sp>
        <p:nvSpPr>
          <p:cNvPr id="16" name="Shape 2790">
            <a:extLst>
              <a:ext uri="{FF2B5EF4-FFF2-40B4-BE49-F238E27FC236}">
                <a16:creationId xmlns:a16="http://schemas.microsoft.com/office/drawing/2014/main" id="{18C42729-D208-48FE-8CA9-64B8C1935583}"/>
              </a:ext>
            </a:extLst>
          </p:cNvPr>
          <p:cNvSpPr/>
          <p:nvPr/>
        </p:nvSpPr>
        <p:spPr bwMode="gray">
          <a:xfrm>
            <a:off x="617539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36" y="17550"/>
                </a:moveTo>
                <a:lnTo>
                  <a:pt x="10309" y="17550"/>
                </a:lnTo>
                <a:cubicBezTo>
                  <a:pt x="10580" y="17550"/>
                  <a:pt x="10800" y="17248"/>
                  <a:pt x="10800" y="16875"/>
                </a:cubicBezTo>
                <a:cubicBezTo>
                  <a:pt x="10800" y="16503"/>
                  <a:pt x="10580" y="16200"/>
                  <a:pt x="10309" y="16200"/>
                </a:cubicBezTo>
                <a:lnTo>
                  <a:pt x="3436" y="16200"/>
                </a:lnTo>
                <a:cubicBezTo>
                  <a:pt x="3166" y="16200"/>
                  <a:pt x="2945" y="16503"/>
                  <a:pt x="2945" y="16875"/>
                </a:cubicBezTo>
                <a:cubicBezTo>
                  <a:pt x="2945" y="17248"/>
                  <a:pt x="3166" y="17550"/>
                  <a:pt x="3436" y="17550"/>
                </a:cubicBezTo>
                <a:moveTo>
                  <a:pt x="3436" y="14850"/>
                </a:moveTo>
                <a:lnTo>
                  <a:pt x="12273" y="14850"/>
                </a:lnTo>
                <a:cubicBezTo>
                  <a:pt x="12544" y="14850"/>
                  <a:pt x="12764" y="14548"/>
                  <a:pt x="12764" y="14175"/>
                </a:cubicBezTo>
                <a:cubicBezTo>
                  <a:pt x="12764" y="13803"/>
                  <a:pt x="12544" y="13500"/>
                  <a:pt x="12273" y="13500"/>
                </a:cubicBezTo>
                <a:lnTo>
                  <a:pt x="3436" y="13500"/>
                </a:lnTo>
                <a:cubicBezTo>
                  <a:pt x="3166" y="13500"/>
                  <a:pt x="2945" y="13803"/>
                  <a:pt x="2945" y="14175"/>
                </a:cubicBezTo>
                <a:cubicBezTo>
                  <a:pt x="2945" y="14548"/>
                  <a:pt x="3166" y="14850"/>
                  <a:pt x="3436" y="14850"/>
                </a:cubicBezTo>
                <a:moveTo>
                  <a:pt x="20618" y="4050"/>
                </a:moveTo>
                <a:lnTo>
                  <a:pt x="982" y="4050"/>
                </a:lnTo>
                <a:lnTo>
                  <a:pt x="982" y="1350"/>
                </a:lnTo>
                <a:lnTo>
                  <a:pt x="20618" y="1350"/>
                </a:lnTo>
                <a:cubicBezTo>
                  <a:pt x="20618" y="1350"/>
                  <a:pt x="20618" y="4050"/>
                  <a:pt x="20618" y="4050"/>
                </a:cubicBezTo>
                <a:close/>
                <a:moveTo>
                  <a:pt x="20618" y="20250"/>
                </a:moveTo>
                <a:lnTo>
                  <a:pt x="982" y="20250"/>
                </a:lnTo>
                <a:lnTo>
                  <a:pt x="982" y="9450"/>
                </a:lnTo>
                <a:lnTo>
                  <a:pt x="20618" y="9450"/>
                </a:lnTo>
                <a:cubicBezTo>
                  <a:pt x="20618" y="9450"/>
                  <a:pt x="20618" y="20250"/>
                  <a:pt x="20618" y="20250"/>
                </a:cubicBezTo>
                <a:close/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605"/>
                  <a:pt x="0" y="1350"/>
                </a:cubicBezTo>
                <a:lnTo>
                  <a:pt x="0" y="20250"/>
                </a:lnTo>
                <a:cubicBezTo>
                  <a:pt x="0" y="20995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5"/>
                  <a:pt x="21600" y="20250"/>
                </a:cubicBezTo>
                <a:lnTo>
                  <a:pt x="21600" y="1350"/>
                </a:lnTo>
                <a:cubicBezTo>
                  <a:pt x="21600" y="605"/>
                  <a:pt x="21160" y="0"/>
                  <a:pt x="20618" y="0"/>
                </a:cubicBezTo>
                <a:moveTo>
                  <a:pt x="16200" y="17550"/>
                </a:moveTo>
                <a:lnTo>
                  <a:pt x="18164" y="17550"/>
                </a:lnTo>
                <a:cubicBezTo>
                  <a:pt x="18434" y="17550"/>
                  <a:pt x="18655" y="17248"/>
                  <a:pt x="18655" y="16875"/>
                </a:cubicBezTo>
                <a:lnTo>
                  <a:pt x="18655" y="14175"/>
                </a:lnTo>
                <a:cubicBezTo>
                  <a:pt x="18655" y="13803"/>
                  <a:pt x="18434" y="13500"/>
                  <a:pt x="18164" y="13500"/>
                </a:cubicBezTo>
                <a:lnTo>
                  <a:pt x="16200" y="13500"/>
                </a:lnTo>
                <a:cubicBezTo>
                  <a:pt x="15929" y="13500"/>
                  <a:pt x="15709" y="13803"/>
                  <a:pt x="15709" y="14175"/>
                </a:cubicBezTo>
                <a:lnTo>
                  <a:pt x="15709" y="16875"/>
                </a:lnTo>
                <a:cubicBezTo>
                  <a:pt x="15709" y="17248"/>
                  <a:pt x="15929" y="17550"/>
                  <a:pt x="16200" y="175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hape 2791">
            <a:extLst>
              <a:ext uri="{FF2B5EF4-FFF2-40B4-BE49-F238E27FC236}">
                <a16:creationId xmlns:a16="http://schemas.microsoft.com/office/drawing/2014/main" id="{015D5892-B803-4D77-B620-42220236C6D5}"/>
              </a:ext>
            </a:extLst>
          </p:cNvPr>
          <p:cNvSpPr/>
          <p:nvPr/>
        </p:nvSpPr>
        <p:spPr bwMode="gray">
          <a:xfrm>
            <a:off x="1171851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538"/>
                  <a:pt x="3927" y="1200"/>
                </a:cubicBezTo>
                <a:lnTo>
                  <a:pt x="3927" y="3000"/>
                </a:lnTo>
                <a:cubicBezTo>
                  <a:pt x="3927" y="3332"/>
                  <a:pt x="4147" y="3600"/>
                  <a:pt x="4418" y="3600"/>
                </a:cubicBezTo>
                <a:cubicBezTo>
                  <a:pt x="4689" y="3600"/>
                  <a:pt x="4909" y="3332"/>
                  <a:pt x="4909" y="3000"/>
                </a:cubicBezTo>
                <a:lnTo>
                  <a:pt x="4909" y="1200"/>
                </a:lnTo>
                <a:lnTo>
                  <a:pt x="20618" y="1200"/>
                </a:lnTo>
                <a:lnTo>
                  <a:pt x="20618" y="15600"/>
                </a:lnTo>
                <a:lnTo>
                  <a:pt x="19145" y="15600"/>
                </a:lnTo>
                <a:cubicBezTo>
                  <a:pt x="18875" y="15600"/>
                  <a:pt x="18655" y="15869"/>
                  <a:pt x="18655" y="16200"/>
                </a:cubicBezTo>
                <a:cubicBezTo>
                  <a:pt x="18655" y="16532"/>
                  <a:pt x="18875" y="16800"/>
                  <a:pt x="19145" y="16800"/>
                </a:cubicBezTo>
                <a:lnTo>
                  <a:pt x="20618" y="16800"/>
                </a:lnTo>
                <a:cubicBezTo>
                  <a:pt x="21160" y="16800"/>
                  <a:pt x="21600" y="16262"/>
                  <a:pt x="21600" y="15600"/>
                </a:cubicBezTo>
                <a:lnTo>
                  <a:pt x="21600" y="1200"/>
                </a:lnTo>
                <a:cubicBezTo>
                  <a:pt x="21600" y="538"/>
                  <a:pt x="21160" y="0"/>
                  <a:pt x="20618" y="0"/>
                </a:cubicBezTo>
                <a:moveTo>
                  <a:pt x="16691" y="8400"/>
                </a:moveTo>
                <a:lnTo>
                  <a:pt x="982" y="8400"/>
                </a:lnTo>
                <a:lnTo>
                  <a:pt x="982" y="6000"/>
                </a:lnTo>
                <a:lnTo>
                  <a:pt x="16691" y="6000"/>
                </a:lnTo>
                <a:cubicBezTo>
                  <a:pt x="16691" y="6000"/>
                  <a:pt x="16691" y="8400"/>
                  <a:pt x="16691" y="8400"/>
                </a:cubicBezTo>
                <a:close/>
                <a:moveTo>
                  <a:pt x="16691" y="20400"/>
                </a:moveTo>
                <a:lnTo>
                  <a:pt x="982" y="20400"/>
                </a:lnTo>
                <a:lnTo>
                  <a:pt x="982" y="12000"/>
                </a:lnTo>
                <a:lnTo>
                  <a:pt x="16691" y="12000"/>
                </a:lnTo>
                <a:cubicBezTo>
                  <a:pt x="16691" y="12000"/>
                  <a:pt x="16691" y="20400"/>
                  <a:pt x="16691" y="20400"/>
                </a:cubicBezTo>
                <a:close/>
                <a:moveTo>
                  <a:pt x="16691" y="4800"/>
                </a:moveTo>
                <a:lnTo>
                  <a:pt x="982" y="4800"/>
                </a:lnTo>
                <a:cubicBezTo>
                  <a:pt x="440" y="4800"/>
                  <a:pt x="0" y="5338"/>
                  <a:pt x="0" y="6000"/>
                </a:cubicBezTo>
                <a:lnTo>
                  <a:pt x="0" y="20400"/>
                </a:lnTo>
                <a:cubicBezTo>
                  <a:pt x="0" y="21062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062"/>
                  <a:pt x="17673" y="20400"/>
                </a:cubicBezTo>
                <a:lnTo>
                  <a:pt x="17673" y="6000"/>
                </a:lnTo>
                <a:cubicBezTo>
                  <a:pt x="17673" y="5338"/>
                  <a:pt x="17233" y="4800"/>
                  <a:pt x="16691" y="4800"/>
                </a:cubicBezTo>
                <a:moveTo>
                  <a:pt x="3436" y="18000"/>
                </a:moveTo>
                <a:lnTo>
                  <a:pt x="7364" y="18000"/>
                </a:lnTo>
                <a:cubicBezTo>
                  <a:pt x="7634" y="18000"/>
                  <a:pt x="7855" y="17732"/>
                  <a:pt x="7855" y="17400"/>
                </a:cubicBezTo>
                <a:cubicBezTo>
                  <a:pt x="7855" y="17069"/>
                  <a:pt x="7634" y="16800"/>
                  <a:pt x="7364" y="16800"/>
                </a:cubicBezTo>
                <a:lnTo>
                  <a:pt x="3436" y="16800"/>
                </a:lnTo>
                <a:cubicBezTo>
                  <a:pt x="3166" y="16800"/>
                  <a:pt x="2945" y="17069"/>
                  <a:pt x="2945" y="17400"/>
                </a:cubicBezTo>
                <a:cubicBezTo>
                  <a:pt x="2945" y="17732"/>
                  <a:pt x="3166" y="18000"/>
                  <a:pt x="3436" y="18000"/>
                </a:cubicBezTo>
                <a:moveTo>
                  <a:pt x="3436" y="15600"/>
                </a:moveTo>
                <a:lnTo>
                  <a:pt x="9327" y="15600"/>
                </a:lnTo>
                <a:cubicBezTo>
                  <a:pt x="9598" y="15600"/>
                  <a:pt x="9818" y="15332"/>
                  <a:pt x="9818" y="15000"/>
                </a:cubicBezTo>
                <a:cubicBezTo>
                  <a:pt x="9818" y="14668"/>
                  <a:pt x="9598" y="14400"/>
                  <a:pt x="9327" y="14400"/>
                </a:cubicBezTo>
                <a:lnTo>
                  <a:pt x="3436" y="14400"/>
                </a:lnTo>
                <a:cubicBezTo>
                  <a:pt x="3166" y="14400"/>
                  <a:pt x="2945" y="14668"/>
                  <a:pt x="2945" y="15000"/>
                </a:cubicBezTo>
                <a:cubicBezTo>
                  <a:pt x="2945" y="15332"/>
                  <a:pt x="3166" y="15600"/>
                  <a:pt x="3436" y="15600"/>
                </a:cubicBezTo>
                <a:moveTo>
                  <a:pt x="12273" y="18000"/>
                </a:moveTo>
                <a:lnTo>
                  <a:pt x="14236" y="18000"/>
                </a:lnTo>
                <a:cubicBezTo>
                  <a:pt x="14507" y="18000"/>
                  <a:pt x="14727" y="17732"/>
                  <a:pt x="14727" y="17400"/>
                </a:cubicBezTo>
                <a:lnTo>
                  <a:pt x="14727" y="15000"/>
                </a:lnTo>
                <a:cubicBezTo>
                  <a:pt x="14727" y="14668"/>
                  <a:pt x="14507" y="14400"/>
                  <a:pt x="14236" y="14400"/>
                </a:cubicBezTo>
                <a:lnTo>
                  <a:pt x="12273" y="14400"/>
                </a:lnTo>
                <a:cubicBezTo>
                  <a:pt x="12002" y="14400"/>
                  <a:pt x="11782" y="14668"/>
                  <a:pt x="11782" y="15000"/>
                </a:cubicBezTo>
                <a:lnTo>
                  <a:pt x="11782" y="17400"/>
                </a:lnTo>
                <a:cubicBezTo>
                  <a:pt x="11782" y="17732"/>
                  <a:pt x="12002" y="18000"/>
                  <a:pt x="12273" y="180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hape 2792">
            <a:extLst>
              <a:ext uri="{FF2B5EF4-FFF2-40B4-BE49-F238E27FC236}">
                <a16:creationId xmlns:a16="http://schemas.microsoft.com/office/drawing/2014/main" id="{3E21FFF6-092B-4D40-B402-2886F4D06CDD}"/>
              </a:ext>
            </a:extLst>
          </p:cNvPr>
          <p:cNvSpPr/>
          <p:nvPr/>
        </p:nvSpPr>
        <p:spPr bwMode="gray">
          <a:xfrm>
            <a:off x="1726163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949" y="13580"/>
                </a:moveTo>
                <a:cubicBezTo>
                  <a:pt x="11701" y="13784"/>
                  <a:pt x="11474" y="13901"/>
                  <a:pt x="11085" y="13931"/>
                </a:cubicBezTo>
                <a:lnTo>
                  <a:pt x="11085" y="11339"/>
                </a:lnTo>
                <a:cubicBezTo>
                  <a:pt x="11251" y="11383"/>
                  <a:pt x="11321" y="11435"/>
                  <a:pt x="11479" y="11494"/>
                </a:cubicBezTo>
                <a:cubicBezTo>
                  <a:pt x="11638" y="11554"/>
                  <a:pt x="11780" y="11632"/>
                  <a:pt x="11906" y="11728"/>
                </a:cubicBezTo>
                <a:cubicBezTo>
                  <a:pt x="12032" y="11824"/>
                  <a:pt x="12133" y="11943"/>
                  <a:pt x="12208" y="12084"/>
                </a:cubicBezTo>
                <a:cubicBezTo>
                  <a:pt x="12284" y="12225"/>
                  <a:pt x="12322" y="12399"/>
                  <a:pt x="12322" y="12607"/>
                </a:cubicBezTo>
                <a:cubicBezTo>
                  <a:pt x="12322" y="13052"/>
                  <a:pt x="12198" y="13376"/>
                  <a:pt x="11949" y="13580"/>
                </a:cubicBezTo>
                <a:moveTo>
                  <a:pt x="10437" y="9837"/>
                </a:moveTo>
                <a:cubicBezTo>
                  <a:pt x="10286" y="9800"/>
                  <a:pt x="10228" y="9753"/>
                  <a:pt x="10081" y="9698"/>
                </a:cubicBezTo>
                <a:cubicBezTo>
                  <a:pt x="9933" y="9642"/>
                  <a:pt x="9803" y="9570"/>
                  <a:pt x="9692" y="9481"/>
                </a:cubicBezTo>
                <a:cubicBezTo>
                  <a:pt x="9581" y="9392"/>
                  <a:pt x="9489" y="9285"/>
                  <a:pt x="9417" y="9159"/>
                </a:cubicBezTo>
                <a:cubicBezTo>
                  <a:pt x="9345" y="9032"/>
                  <a:pt x="9309" y="8880"/>
                  <a:pt x="9309" y="8702"/>
                </a:cubicBezTo>
                <a:cubicBezTo>
                  <a:pt x="9309" y="8309"/>
                  <a:pt x="9415" y="8030"/>
                  <a:pt x="9627" y="7862"/>
                </a:cubicBezTo>
                <a:cubicBezTo>
                  <a:pt x="9839" y="7696"/>
                  <a:pt x="10048" y="7612"/>
                  <a:pt x="10437" y="7612"/>
                </a:cubicBezTo>
                <a:cubicBezTo>
                  <a:pt x="10437" y="7612"/>
                  <a:pt x="10437" y="9837"/>
                  <a:pt x="10437" y="9837"/>
                </a:cubicBezTo>
                <a:close/>
                <a:moveTo>
                  <a:pt x="12765" y="10727"/>
                </a:moveTo>
                <a:cubicBezTo>
                  <a:pt x="12527" y="10542"/>
                  <a:pt x="12253" y="10390"/>
                  <a:pt x="11944" y="10271"/>
                </a:cubicBezTo>
                <a:cubicBezTo>
                  <a:pt x="11634" y="10153"/>
                  <a:pt x="11410" y="10049"/>
                  <a:pt x="11085" y="9959"/>
                </a:cubicBezTo>
                <a:lnTo>
                  <a:pt x="11085" y="7612"/>
                </a:lnTo>
                <a:cubicBezTo>
                  <a:pt x="11474" y="7612"/>
                  <a:pt x="11665" y="7713"/>
                  <a:pt x="11841" y="7913"/>
                </a:cubicBezTo>
                <a:cubicBezTo>
                  <a:pt x="12017" y="8113"/>
                  <a:pt x="12113" y="8402"/>
                  <a:pt x="12127" y="8781"/>
                </a:cubicBezTo>
                <a:lnTo>
                  <a:pt x="13359" y="8781"/>
                </a:lnTo>
                <a:cubicBezTo>
                  <a:pt x="13359" y="8417"/>
                  <a:pt x="13295" y="8098"/>
                  <a:pt x="13170" y="7824"/>
                </a:cubicBezTo>
                <a:cubicBezTo>
                  <a:pt x="13043" y="7550"/>
                  <a:pt x="12875" y="7323"/>
                  <a:pt x="12662" y="7145"/>
                </a:cubicBezTo>
                <a:cubicBezTo>
                  <a:pt x="12449" y="6967"/>
                  <a:pt x="12200" y="6833"/>
                  <a:pt x="11911" y="6744"/>
                </a:cubicBezTo>
                <a:cubicBezTo>
                  <a:pt x="11623" y="6656"/>
                  <a:pt x="11410" y="6611"/>
                  <a:pt x="11085" y="6611"/>
                </a:cubicBezTo>
                <a:lnTo>
                  <a:pt x="11085" y="5881"/>
                </a:lnTo>
                <a:lnTo>
                  <a:pt x="10437" y="5881"/>
                </a:lnTo>
                <a:lnTo>
                  <a:pt x="10437" y="6611"/>
                </a:lnTo>
                <a:cubicBezTo>
                  <a:pt x="10113" y="6611"/>
                  <a:pt x="9895" y="6659"/>
                  <a:pt x="9600" y="6756"/>
                </a:cubicBezTo>
                <a:cubicBezTo>
                  <a:pt x="9305" y="6852"/>
                  <a:pt x="9044" y="6991"/>
                  <a:pt x="8817" y="7173"/>
                </a:cubicBezTo>
                <a:cubicBezTo>
                  <a:pt x="8590" y="7355"/>
                  <a:pt x="8410" y="7581"/>
                  <a:pt x="8277" y="7852"/>
                </a:cubicBezTo>
                <a:cubicBezTo>
                  <a:pt x="8144" y="8122"/>
                  <a:pt x="8077" y="8436"/>
                  <a:pt x="8077" y="8791"/>
                </a:cubicBezTo>
                <a:cubicBezTo>
                  <a:pt x="8077" y="9199"/>
                  <a:pt x="8150" y="9541"/>
                  <a:pt x="8293" y="9815"/>
                </a:cubicBezTo>
                <a:cubicBezTo>
                  <a:pt x="8438" y="10089"/>
                  <a:pt x="8626" y="10317"/>
                  <a:pt x="8860" y="10499"/>
                </a:cubicBezTo>
                <a:cubicBezTo>
                  <a:pt x="9094" y="10681"/>
                  <a:pt x="9357" y="10829"/>
                  <a:pt x="9649" y="10944"/>
                </a:cubicBezTo>
                <a:cubicBezTo>
                  <a:pt x="9940" y="11059"/>
                  <a:pt x="10142" y="11157"/>
                  <a:pt x="10437" y="11239"/>
                </a:cubicBezTo>
                <a:lnTo>
                  <a:pt x="10437" y="13931"/>
                </a:lnTo>
                <a:cubicBezTo>
                  <a:pt x="9940" y="13916"/>
                  <a:pt x="9676" y="13768"/>
                  <a:pt x="9460" y="13486"/>
                </a:cubicBezTo>
                <a:cubicBezTo>
                  <a:pt x="9244" y="13204"/>
                  <a:pt x="9139" y="12818"/>
                  <a:pt x="9147" y="12329"/>
                </a:cubicBezTo>
                <a:lnTo>
                  <a:pt x="7915" y="12329"/>
                </a:lnTo>
                <a:cubicBezTo>
                  <a:pt x="7908" y="12744"/>
                  <a:pt x="7967" y="13111"/>
                  <a:pt x="8094" y="13430"/>
                </a:cubicBezTo>
                <a:cubicBezTo>
                  <a:pt x="8220" y="13749"/>
                  <a:pt x="8397" y="14018"/>
                  <a:pt x="8628" y="14236"/>
                </a:cubicBezTo>
                <a:cubicBezTo>
                  <a:pt x="8858" y="14455"/>
                  <a:pt x="9136" y="14624"/>
                  <a:pt x="9460" y="14743"/>
                </a:cubicBezTo>
                <a:cubicBezTo>
                  <a:pt x="9784" y="14861"/>
                  <a:pt x="10048" y="14924"/>
                  <a:pt x="10437" y="14932"/>
                </a:cubicBezTo>
                <a:lnTo>
                  <a:pt x="10437" y="15692"/>
                </a:lnTo>
                <a:lnTo>
                  <a:pt x="11085" y="15692"/>
                </a:lnTo>
                <a:lnTo>
                  <a:pt x="11085" y="14932"/>
                </a:lnTo>
                <a:cubicBezTo>
                  <a:pt x="11446" y="14917"/>
                  <a:pt x="11688" y="14856"/>
                  <a:pt x="11998" y="14748"/>
                </a:cubicBezTo>
                <a:cubicBezTo>
                  <a:pt x="12307" y="14641"/>
                  <a:pt x="12578" y="14485"/>
                  <a:pt x="12808" y="14281"/>
                </a:cubicBezTo>
                <a:cubicBezTo>
                  <a:pt x="13038" y="14077"/>
                  <a:pt x="13220" y="13821"/>
                  <a:pt x="13353" y="13513"/>
                </a:cubicBezTo>
                <a:cubicBezTo>
                  <a:pt x="13486" y="13206"/>
                  <a:pt x="13553" y="12844"/>
                  <a:pt x="13553" y="12429"/>
                </a:cubicBezTo>
                <a:cubicBezTo>
                  <a:pt x="13553" y="12028"/>
                  <a:pt x="13481" y="11691"/>
                  <a:pt x="13337" y="11417"/>
                </a:cubicBezTo>
                <a:cubicBezTo>
                  <a:pt x="13193" y="11142"/>
                  <a:pt x="13002" y="10912"/>
                  <a:pt x="12765" y="107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hape 2793">
            <a:extLst>
              <a:ext uri="{FF2B5EF4-FFF2-40B4-BE49-F238E27FC236}">
                <a16:creationId xmlns:a16="http://schemas.microsoft.com/office/drawing/2014/main" id="{AD4331D2-D25A-4470-89EC-3AA10A7F7974}"/>
              </a:ext>
            </a:extLst>
          </p:cNvPr>
          <p:cNvSpPr/>
          <p:nvPr/>
        </p:nvSpPr>
        <p:spPr bwMode="gray">
          <a:xfrm>
            <a:off x="2280475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hape 2794">
            <a:extLst>
              <a:ext uri="{FF2B5EF4-FFF2-40B4-BE49-F238E27FC236}">
                <a16:creationId xmlns:a16="http://schemas.microsoft.com/office/drawing/2014/main" id="{8D39A3AB-DE67-4AD1-AE85-9205207EEB41}"/>
              </a:ext>
            </a:extLst>
          </p:cNvPr>
          <p:cNvSpPr/>
          <p:nvPr/>
        </p:nvSpPr>
        <p:spPr bwMode="gray">
          <a:xfrm>
            <a:off x="2834787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535" y="7724"/>
                </a:moveTo>
                <a:cubicBezTo>
                  <a:pt x="12082" y="7724"/>
                  <a:pt x="12586" y="7961"/>
                  <a:pt x="13047" y="8436"/>
                </a:cubicBezTo>
                <a:lnTo>
                  <a:pt x="13544" y="7424"/>
                </a:lnTo>
                <a:cubicBezTo>
                  <a:pt x="12888" y="6964"/>
                  <a:pt x="12248" y="6734"/>
                  <a:pt x="11621" y="6734"/>
                </a:cubicBezTo>
                <a:cubicBezTo>
                  <a:pt x="10757" y="6734"/>
                  <a:pt x="10048" y="7019"/>
                  <a:pt x="9494" y="7590"/>
                </a:cubicBezTo>
                <a:cubicBezTo>
                  <a:pt x="9019" y="8087"/>
                  <a:pt x="8691" y="8762"/>
                  <a:pt x="8510" y="9615"/>
                </a:cubicBezTo>
                <a:lnTo>
                  <a:pt x="7938" y="9615"/>
                </a:lnTo>
                <a:lnTo>
                  <a:pt x="7658" y="10327"/>
                </a:lnTo>
                <a:lnTo>
                  <a:pt x="8435" y="10327"/>
                </a:lnTo>
                <a:cubicBezTo>
                  <a:pt x="8428" y="10409"/>
                  <a:pt x="8423" y="10483"/>
                  <a:pt x="8419" y="10549"/>
                </a:cubicBezTo>
                <a:cubicBezTo>
                  <a:pt x="8415" y="10616"/>
                  <a:pt x="8414" y="10675"/>
                  <a:pt x="8414" y="10727"/>
                </a:cubicBezTo>
                <a:cubicBezTo>
                  <a:pt x="8414" y="10794"/>
                  <a:pt x="8415" y="10857"/>
                  <a:pt x="8419" y="10916"/>
                </a:cubicBezTo>
                <a:cubicBezTo>
                  <a:pt x="8423" y="10976"/>
                  <a:pt x="8428" y="11032"/>
                  <a:pt x="8435" y="11083"/>
                </a:cubicBezTo>
                <a:lnTo>
                  <a:pt x="7949" y="11083"/>
                </a:lnTo>
                <a:lnTo>
                  <a:pt x="7658" y="11784"/>
                </a:lnTo>
                <a:lnTo>
                  <a:pt x="8489" y="11784"/>
                </a:lnTo>
                <a:cubicBezTo>
                  <a:pt x="8604" y="12674"/>
                  <a:pt x="8896" y="13382"/>
                  <a:pt x="9364" y="13908"/>
                </a:cubicBezTo>
                <a:cubicBezTo>
                  <a:pt x="9904" y="14517"/>
                  <a:pt x="10656" y="14821"/>
                  <a:pt x="11621" y="14821"/>
                </a:cubicBezTo>
                <a:cubicBezTo>
                  <a:pt x="12219" y="14821"/>
                  <a:pt x="12762" y="14658"/>
                  <a:pt x="13252" y="14331"/>
                </a:cubicBezTo>
                <a:lnTo>
                  <a:pt x="13252" y="13097"/>
                </a:lnTo>
                <a:cubicBezTo>
                  <a:pt x="12978" y="13356"/>
                  <a:pt x="12733" y="13542"/>
                  <a:pt x="12517" y="13653"/>
                </a:cubicBezTo>
                <a:cubicBezTo>
                  <a:pt x="12280" y="13772"/>
                  <a:pt x="11981" y="13831"/>
                  <a:pt x="11621" y="13831"/>
                </a:cubicBezTo>
                <a:cubicBezTo>
                  <a:pt x="11067" y="13831"/>
                  <a:pt x="10627" y="13620"/>
                  <a:pt x="10304" y="13197"/>
                </a:cubicBezTo>
                <a:cubicBezTo>
                  <a:pt x="10023" y="12855"/>
                  <a:pt x="9839" y="12385"/>
                  <a:pt x="9753" y="11784"/>
                </a:cubicBezTo>
                <a:lnTo>
                  <a:pt x="11924" y="11784"/>
                </a:lnTo>
                <a:lnTo>
                  <a:pt x="12193" y="11083"/>
                </a:lnTo>
                <a:lnTo>
                  <a:pt x="9699" y="11083"/>
                </a:lnTo>
                <a:cubicBezTo>
                  <a:pt x="9692" y="11046"/>
                  <a:pt x="9688" y="10932"/>
                  <a:pt x="9688" y="10739"/>
                </a:cubicBezTo>
                <a:lnTo>
                  <a:pt x="9688" y="10483"/>
                </a:lnTo>
                <a:cubicBezTo>
                  <a:pt x="9688" y="10416"/>
                  <a:pt x="9692" y="10364"/>
                  <a:pt x="9699" y="10327"/>
                </a:cubicBezTo>
                <a:lnTo>
                  <a:pt x="12344" y="10327"/>
                </a:lnTo>
                <a:lnTo>
                  <a:pt x="12626" y="9615"/>
                </a:lnTo>
                <a:lnTo>
                  <a:pt x="9775" y="9615"/>
                </a:lnTo>
                <a:cubicBezTo>
                  <a:pt x="9868" y="9096"/>
                  <a:pt x="10051" y="8662"/>
                  <a:pt x="10325" y="8314"/>
                </a:cubicBezTo>
                <a:cubicBezTo>
                  <a:pt x="10649" y="7920"/>
                  <a:pt x="11052" y="7724"/>
                  <a:pt x="11535" y="772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hape 2795">
            <a:extLst>
              <a:ext uri="{FF2B5EF4-FFF2-40B4-BE49-F238E27FC236}">
                <a16:creationId xmlns:a16="http://schemas.microsoft.com/office/drawing/2014/main" id="{31FC4741-202B-4A3D-9B8A-BB5ABF30FDD0}"/>
              </a:ext>
            </a:extLst>
          </p:cNvPr>
          <p:cNvSpPr/>
          <p:nvPr/>
        </p:nvSpPr>
        <p:spPr bwMode="gray">
          <a:xfrm>
            <a:off x="3389098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5" y="1349"/>
                  <a:pt x="5780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2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9292" y="10539"/>
                </a:moveTo>
                <a:cubicBezTo>
                  <a:pt x="9702" y="10539"/>
                  <a:pt x="10080" y="10712"/>
                  <a:pt x="10426" y="11057"/>
                </a:cubicBezTo>
                <a:lnTo>
                  <a:pt x="10798" y="10320"/>
                </a:lnTo>
                <a:cubicBezTo>
                  <a:pt x="10307" y="9985"/>
                  <a:pt x="9826" y="9817"/>
                  <a:pt x="9356" y="9817"/>
                </a:cubicBezTo>
                <a:cubicBezTo>
                  <a:pt x="8708" y="9817"/>
                  <a:pt x="8176" y="10026"/>
                  <a:pt x="7761" y="10441"/>
                </a:cubicBezTo>
                <a:cubicBezTo>
                  <a:pt x="7404" y="10804"/>
                  <a:pt x="7158" y="11296"/>
                  <a:pt x="7023" y="11917"/>
                </a:cubicBezTo>
                <a:lnTo>
                  <a:pt x="6594" y="11917"/>
                </a:lnTo>
                <a:lnTo>
                  <a:pt x="6384" y="12435"/>
                </a:lnTo>
                <a:lnTo>
                  <a:pt x="6967" y="12435"/>
                </a:lnTo>
                <a:cubicBezTo>
                  <a:pt x="6961" y="12495"/>
                  <a:pt x="6957" y="12549"/>
                  <a:pt x="6955" y="12598"/>
                </a:cubicBezTo>
                <a:cubicBezTo>
                  <a:pt x="6952" y="12646"/>
                  <a:pt x="6950" y="12690"/>
                  <a:pt x="6950" y="12727"/>
                </a:cubicBezTo>
                <a:cubicBezTo>
                  <a:pt x="6950" y="12776"/>
                  <a:pt x="6952" y="12822"/>
                  <a:pt x="6955" y="12865"/>
                </a:cubicBezTo>
                <a:cubicBezTo>
                  <a:pt x="6957" y="12908"/>
                  <a:pt x="6961" y="12949"/>
                  <a:pt x="6967" y="12987"/>
                </a:cubicBezTo>
                <a:lnTo>
                  <a:pt x="6602" y="12987"/>
                </a:lnTo>
                <a:lnTo>
                  <a:pt x="6384" y="13497"/>
                </a:lnTo>
                <a:lnTo>
                  <a:pt x="7007" y="13497"/>
                </a:lnTo>
                <a:cubicBezTo>
                  <a:pt x="7093" y="14146"/>
                  <a:pt x="7313" y="14662"/>
                  <a:pt x="7663" y="15045"/>
                </a:cubicBezTo>
                <a:cubicBezTo>
                  <a:pt x="8068" y="15489"/>
                  <a:pt x="8633" y="15710"/>
                  <a:pt x="9356" y="15710"/>
                </a:cubicBezTo>
                <a:cubicBezTo>
                  <a:pt x="9805" y="15710"/>
                  <a:pt x="10212" y="15591"/>
                  <a:pt x="10579" y="15354"/>
                </a:cubicBezTo>
                <a:lnTo>
                  <a:pt x="10579" y="14454"/>
                </a:lnTo>
                <a:cubicBezTo>
                  <a:pt x="10374" y="14643"/>
                  <a:pt x="10191" y="14778"/>
                  <a:pt x="10029" y="14859"/>
                </a:cubicBezTo>
                <a:cubicBezTo>
                  <a:pt x="9850" y="14945"/>
                  <a:pt x="9626" y="14989"/>
                  <a:pt x="9356" y="14989"/>
                </a:cubicBezTo>
                <a:cubicBezTo>
                  <a:pt x="8940" y="14989"/>
                  <a:pt x="8611" y="14834"/>
                  <a:pt x="8368" y="14527"/>
                </a:cubicBezTo>
                <a:cubicBezTo>
                  <a:pt x="8158" y="14279"/>
                  <a:pt x="8020" y="13935"/>
                  <a:pt x="7955" y="13497"/>
                </a:cubicBezTo>
                <a:lnTo>
                  <a:pt x="9583" y="13497"/>
                </a:lnTo>
                <a:lnTo>
                  <a:pt x="9786" y="12987"/>
                </a:lnTo>
                <a:lnTo>
                  <a:pt x="7914" y="12987"/>
                </a:lnTo>
                <a:cubicBezTo>
                  <a:pt x="7909" y="12960"/>
                  <a:pt x="7906" y="12876"/>
                  <a:pt x="7906" y="12735"/>
                </a:cubicBezTo>
                <a:lnTo>
                  <a:pt x="7906" y="12549"/>
                </a:lnTo>
                <a:cubicBezTo>
                  <a:pt x="7906" y="12500"/>
                  <a:pt x="7909" y="12462"/>
                  <a:pt x="7914" y="12435"/>
                </a:cubicBezTo>
                <a:lnTo>
                  <a:pt x="9899" y="12435"/>
                </a:lnTo>
                <a:lnTo>
                  <a:pt x="10110" y="11917"/>
                </a:lnTo>
                <a:lnTo>
                  <a:pt x="7972" y="11917"/>
                </a:lnTo>
                <a:cubicBezTo>
                  <a:pt x="8042" y="11539"/>
                  <a:pt x="8179" y="11222"/>
                  <a:pt x="8384" y="10968"/>
                </a:cubicBezTo>
                <a:cubicBezTo>
                  <a:pt x="8627" y="10682"/>
                  <a:pt x="8929" y="10539"/>
                  <a:pt x="9292" y="1053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796">
            <a:extLst>
              <a:ext uri="{FF2B5EF4-FFF2-40B4-BE49-F238E27FC236}">
                <a16:creationId xmlns:a16="http://schemas.microsoft.com/office/drawing/2014/main" id="{B2F80B46-A506-4F28-AA4D-3AE9F94F8138}"/>
              </a:ext>
            </a:extLst>
          </p:cNvPr>
          <p:cNvSpPr/>
          <p:nvPr/>
        </p:nvSpPr>
        <p:spPr bwMode="gray">
          <a:xfrm>
            <a:off x="3943410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2797">
            <a:extLst>
              <a:ext uri="{FF2B5EF4-FFF2-40B4-BE49-F238E27FC236}">
                <a16:creationId xmlns:a16="http://schemas.microsoft.com/office/drawing/2014/main" id="{948D28FA-74F9-40CE-A8C2-A3515B451FD9}"/>
              </a:ext>
            </a:extLst>
          </p:cNvPr>
          <p:cNvSpPr/>
          <p:nvPr/>
        </p:nvSpPr>
        <p:spPr bwMode="gray">
          <a:xfrm>
            <a:off x="4497722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52" y="12079"/>
                </a:moveTo>
                <a:cubicBezTo>
                  <a:pt x="9878" y="12752"/>
                  <a:pt x="8799" y="12411"/>
                  <a:pt x="8449" y="12327"/>
                </a:cubicBezTo>
                <a:lnTo>
                  <a:pt x="8758" y="11138"/>
                </a:lnTo>
                <a:cubicBezTo>
                  <a:pt x="9107" y="11222"/>
                  <a:pt x="10234" y="11378"/>
                  <a:pt x="10052" y="12079"/>
                </a:cubicBezTo>
                <a:moveTo>
                  <a:pt x="9860" y="13998"/>
                </a:moveTo>
                <a:cubicBezTo>
                  <a:pt x="9669" y="14737"/>
                  <a:pt x="8373" y="14338"/>
                  <a:pt x="7953" y="14238"/>
                </a:cubicBezTo>
                <a:lnTo>
                  <a:pt x="8293" y="12927"/>
                </a:lnTo>
                <a:cubicBezTo>
                  <a:pt x="8714" y="13027"/>
                  <a:pt x="10060" y="13227"/>
                  <a:pt x="9860" y="13998"/>
                </a:cubicBezTo>
                <a:moveTo>
                  <a:pt x="10034" y="10721"/>
                </a:moveTo>
                <a:lnTo>
                  <a:pt x="10288" y="9743"/>
                </a:lnTo>
                <a:lnTo>
                  <a:pt x="9668" y="9595"/>
                </a:lnTo>
                <a:lnTo>
                  <a:pt x="9421" y="10547"/>
                </a:lnTo>
                <a:cubicBezTo>
                  <a:pt x="9258" y="10508"/>
                  <a:pt x="9090" y="10471"/>
                  <a:pt x="8925" y="10434"/>
                </a:cubicBezTo>
                <a:lnTo>
                  <a:pt x="9173" y="9476"/>
                </a:lnTo>
                <a:lnTo>
                  <a:pt x="8554" y="9328"/>
                </a:lnTo>
                <a:lnTo>
                  <a:pt x="8300" y="10306"/>
                </a:lnTo>
                <a:cubicBezTo>
                  <a:pt x="8165" y="10276"/>
                  <a:pt x="8033" y="10247"/>
                  <a:pt x="7904" y="10216"/>
                </a:cubicBezTo>
                <a:lnTo>
                  <a:pt x="7904" y="10213"/>
                </a:lnTo>
                <a:lnTo>
                  <a:pt x="7050" y="10008"/>
                </a:lnTo>
                <a:lnTo>
                  <a:pt x="6885" y="10644"/>
                </a:lnTo>
                <a:cubicBezTo>
                  <a:pt x="6885" y="10644"/>
                  <a:pt x="7345" y="10745"/>
                  <a:pt x="7335" y="10751"/>
                </a:cubicBezTo>
                <a:cubicBezTo>
                  <a:pt x="7586" y="10812"/>
                  <a:pt x="7632" y="10971"/>
                  <a:pt x="7624" y="11098"/>
                </a:cubicBezTo>
                <a:lnTo>
                  <a:pt x="7335" y="12213"/>
                </a:lnTo>
                <a:cubicBezTo>
                  <a:pt x="7352" y="12216"/>
                  <a:pt x="7375" y="12222"/>
                  <a:pt x="7399" y="12232"/>
                </a:cubicBezTo>
                <a:cubicBezTo>
                  <a:pt x="7379" y="12227"/>
                  <a:pt x="7357" y="12222"/>
                  <a:pt x="7334" y="12216"/>
                </a:cubicBezTo>
                <a:lnTo>
                  <a:pt x="6928" y="13777"/>
                </a:lnTo>
                <a:cubicBezTo>
                  <a:pt x="6898" y="13851"/>
                  <a:pt x="6820" y="13960"/>
                  <a:pt x="6645" y="13919"/>
                </a:cubicBezTo>
                <a:cubicBezTo>
                  <a:pt x="6651" y="13928"/>
                  <a:pt x="6194" y="13811"/>
                  <a:pt x="6194" y="13811"/>
                </a:cubicBezTo>
                <a:lnTo>
                  <a:pt x="5886" y="14492"/>
                </a:lnTo>
                <a:lnTo>
                  <a:pt x="6692" y="14686"/>
                </a:lnTo>
                <a:cubicBezTo>
                  <a:pt x="6843" y="14721"/>
                  <a:pt x="6990" y="14759"/>
                  <a:pt x="7134" y="14795"/>
                </a:cubicBezTo>
                <a:lnTo>
                  <a:pt x="6878" y="15784"/>
                </a:lnTo>
                <a:lnTo>
                  <a:pt x="7497" y="15933"/>
                </a:lnTo>
                <a:lnTo>
                  <a:pt x="7751" y="14954"/>
                </a:lnTo>
                <a:cubicBezTo>
                  <a:pt x="7921" y="14998"/>
                  <a:pt x="8085" y="15039"/>
                  <a:pt x="8245" y="15077"/>
                </a:cubicBezTo>
                <a:lnTo>
                  <a:pt x="7992" y="16051"/>
                </a:lnTo>
                <a:lnTo>
                  <a:pt x="8612" y="16200"/>
                </a:lnTo>
                <a:lnTo>
                  <a:pt x="8868" y="15212"/>
                </a:lnTo>
                <a:cubicBezTo>
                  <a:pt x="9926" y="15404"/>
                  <a:pt x="10720" y="15327"/>
                  <a:pt x="11055" y="14408"/>
                </a:cubicBezTo>
                <a:cubicBezTo>
                  <a:pt x="11324" y="13669"/>
                  <a:pt x="11041" y="13242"/>
                  <a:pt x="10485" y="12965"/>
                </a:cubicBezTo>
                <a:cubicBezTo>
                  <a:pt x="10890" y="12875"/>
                  <a:pt x="11195" y="12619"/>
                  <a:pt x="11277" y="12090"/>
                </a:cubicBezTo>
                <a:cubicBezTo>
                  <a:pt x="11389" y="11368"/>
                  <a:pt x="10816" y="10980"/>
                  <a:pt x="10034" y="10721"/>
                </a:cubicBezTo>
                <a:moveTo>
                  <a:pt x="8836" y="20613"/>
                </a:moveTo>
                <a:cubicBezTo>
                  <a:pt x="4502" y="20613"/>
                  <a:pt x="988" y="17098"/>
                  <a:pt x="988" y="12764"/>
                </a:cubicBezTo>
                <a:cubicBezTo>
                  <a:pt x="988" y="8429"/>
                  <a:pt x="4502" y="4915"/>
                  <a:pt x="8836" y="4915"/>
                </a:cubicBezTo>
                <a:cubicBezTo>
                  <a:pt x="13171" y="4915"/>
                  <a:pt x="16685" y="8429"/>
                  <a:pt x="16685" y="12764"/>
                </a:cubicBezTo>
                <a:cubicBezTo>
                  <a:pt x="16685" y="17098"/>
                  <a:pt x="13171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4"/>
                  <a:pt x="13717" y="3927"/>
                  <a:pt x="8836" y="3927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8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8" y="987"/>
                  <a:pt x="20612" y="4501"/>
                  <a:pt x="20612" y="8836"/>
                </a:cubicBezTo>
                <a:cubicBezTo>
                  <a:pt x="20612" y="10878"/>
                  <a:pt x="19827" y="12732"/>
                  <a:pt x="18549" y="14128"/>
                </a:cubicBezTo>
                <a:cubicBezTo>
                  <a:pt x="18468" y="14709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2798">
            <a:extLst>
              <a:ext uri="{FF2B5EF4-FFF2-40B4-BE49-F238E27FC236}">
                <a16:creationId xmlns:a16="http://schemas.microsoft.com/office/drawing/2014/main" id="{1B62DAA5-B485-4110-A59D-E18F5357F119}"/>
              </a:ext>
            </a:extLst>
          </p:cNvPr>
          <p:cNvSpPr/>
          <p:nvPr/>
        </p:nvSpPr>
        <p:spPr bwMode="gray">
          <a:xfrm>
            <a:off x="5052034" y="1825035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799">
            <a:extLst>
              <a:ext uri="{FF2B5EF4-FFF2-40B4-BE49-F238E27FC236}">
                <a16:creationId xmlns:a16="http://schemas.microsoft.com/office/drawing/2014/main" id="{4CD37E1A-F9C1-43D7-A85E-0DF098C2EA0C}"/>
              </a:ext>
            </a:extLst>
          </p:cNvPr>
          <p:cNvSpPr/>
          <p:nvPr/>
        </p:nvSpPr>
        <p:spPr bwMode="gray">
          <a:xfrm>
            <a:off x="5606346" y="1798639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hape 2800">
            <a:extLst>
              <a:ext uri="{FF2B5EF4-FFF2-40B4-BE49-F238E27FC236}">
                <a16:creationId xmlns:a16="http://schemas.microsoft.com/office/drawing/2014/main" id="{FAC01158-AD88-4176-AC7C-40419D41F649}"/>
              </a:ext>
            </a:extLst>
          </p:cNvPr>
          <p:cNvSpPr/>
          <p:nvPr/>
        </p:nvSpPr>
        <p:spPr bwMode="gray">
          <a:xfrm>
            <a:off x="617539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hape 2801">
            <a:extLst>
              <a:ext uri="{FF2B5EF4-FFF2-40B4-BE49-F238E27FC236}">
                <a16:creationId xmlns:a16="http://schemas.microsoft.com/office/drawing/2014/main" id="{4854D1EC-2DEC-4CF9-AB47-5BE9A93CFA4C}"/>
              </a:ext>
            </a:extLst>
          </p:cNvPr>
          <p:cNvSpPr/>
          <p:nvPr/>
        </p:nvSpPr>
        <p:spPr bwMode="gray">
          <a:xfrm>
            <a:off x="1171851" y="2379347"/>
            <a:ext cx="290354" cy="158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58" y="9506"/>
                </a:moveTo>
                <a:lnTo>
                  <a:pt x="11671" y="10299"/>
                </a:lnTo>
                <a:lnTo>
                  <a:pt x="9907" y="10299"/>
                </a:lnTo>
                <a:cubicBezTo>
                  <a:pt x="9902" y="10340"/>
                  <a:pt x="9900" y="10398"/>
                  <a:pt x="9900" y="10472"/>
                </a:cubicBezTo>
                <a:lnTo>
                  <a:pt x="9900" y="10757"/>
                </a:lnTo>
                <a:cubicBezTo>
                  <a:pt x="9900" y="10972"/>
                  <a:pt x="9902" y="11100"/>
                  <a:pt x="9907" y="11141"/>
                </a:cubicBezTo>
                <a:lnTo>
                  <a:pt x="11570" y="11141"/>
                </a:lnTo>
                <a:lnTo>
                  <a:pt x="11390" y="11921"/>
                </a:lnTo>
                <a:lnTo>
                  <a:pt x="9943" y="11921"/>
                </a:lnTo>
                <a:cubicBezTo>
                  <a:pt x="10001" y="12589"/>
                  <a:pt x="10123" y="13114"/>
                  <a:pt x="10311" y="13494"/>
                </a:cubicBezTo>
                <a:cubicBezTo>
                  <a:pt x="10527" y="13964"/>
                  <a:pt x="10819" y="14199"/>
                  <a:pt x="11189" y="14199"/>
                </a:cubicBezTo>
                <a:cubicBezTo>
                  <a:pt x="11429" y="14199"/>
                  <a:pt x="11628" y="14134"/>
                  <a:pt x="11786" y="14001"/>
                </a:cubicBezTo>
                <a:cubicBezTo>
                  <a:pt x="11930" y="13878"/>
                  <a:pt x="12093" y="13671"/>
                  <a:pt x="12276" y="13382"/>
                </a:cubicBezTo>
                <a:lnTo>
                  <a:pt x="12276" y="14756"/>
                </a:lnTo>
                <a:cubicBezTo>
                  <a:pt x="11949" y="15119"/>
                  <a:pt x="11587" y="15301"/>
                  <a:pt x="11189" y="15301"/>
                </a:cubicBezTo>
                <a:cubicBezTo>
                  <a:pt x="10546" y="15301"/>
                  <a:pt x="10044" y="14963"/>
                  <a:pt x="9683" y="14287"/>
                </a:cubicBezTo>
                <a:cubicBezTo>
                  <a:pt x="9372" y="13700"/>
                  <a:pt x="9177" y="12912"/>
                  <a:pt x="9100" y="11921"/>
                </a:cubicBezTo>
                <a:lnTo>
                  <a:pt x="8546" y="11921"/>
                </a:lnTo>
                <a:lnTo>
                  <a:pt x="8740" y="11141"/>
                </a:lnTo>
                <a:lnTo>
                  <a:pt x="9065" y="11141"/>
                </a:lnTo>
                <a:cubicBezTo>
                  <a:pt x="9060" y="11083"/>
                  <a:pt x="9056" y="11022"/>
                  <a:pt x="9054" y="10955"/>
                </a:cubicBezTo>
                <a:cubicBezTo>
                  <a:pt x="9051" y="10889"/>
                  <a:pt x="9050" y="10819"/>
                  <a:pt x="9050" y="10744"/>
                </a:cubicBezTo>
                <a:cubicBezTo>
                  <a:pt x="9050" y="10687"/>
                  <a:pt x="9051" y="10620"/>
                  <a:pt x="9054" y="10547"/>
                </a:cubicBezTo>
                <a:cubicBezTo>
                  <a:pt x="9056" y="10472"/>
                  <a:pt x="9060" y="10389"/>
                  <a:pt x="9065" y="10299"/>
                </a:cubicBezTo>
                <a:lnTo>
                  <a:pt x="8546" y="10299"/>
                </a:lnTo>
                <a:lnTo>
                  <a:pt x="8734" y="9506"/>
                </a:lnTo>
                <a:lnTo>
                  <a:pt x="9115" y="9506"/>
                </a:lnTo>
                <a:cubicBezTo>
                  <a:pt x="9235" y="8557"/>
                  <a:pt x="9453" y="7806"/>
                  <a:pt x="9770" y="7253"/>
                </a:cubicBezTo>
                <a:cubicBezTo>
                  <a:pt x="10140" y="6617"/>
                  <a:pt x="10612" y="6299"/>
                  <a:pt x="11189" y="6299"/>
                </a:cubicBezTo>
                <a:cubicBezTo>
                  <a:pt x="11606" y="6299"/>
                  <a:pt x="12034" y="6555"/>
                  <a:pt x="12470" y="7066"/>
                </a:cubicBezTo>
                <a:lnTo>
                  <a:pt x="12139" y="8193"/>
                </a:lnTo>
                <a:cubicBezTo>
                  <a:pt x="11832" y="7666"/>
                  <a:pt x="11496" y="7401"/>
                  <a:pt x="11131" y="7401"/>
                </a:cubicBezTo>
                <a:cubicBezTo>
                  <a:pt x="10809" y="7401"/>
                  <a:pt x="10541" y="7620"/>
                  <a:pt x="10325" y="8058"/>
                </a:cubicBezTo>
                <a:cubicBezTo>
                  <a:pt x="10142" y="8445"/>
                  <a:pt x="10020" y="8929"/>
                  <a:pt x="9957" y="9506"/>
                </a:cubicBezTo>
                <a:cubicBezTo>
                  <a:pt x="9957" y="9506"/>
                  <a:pt x="11858" y="9506"/>
                  <a:pt x="11858" y="9506"/>
                </a:cubicBezTo>
                <a:close/>
                <a:moveTo>
                  <a:pt x="10800" y="3601"/>
                </a:moveTo>
                <a:cubicBezTo>
                  <a:pt x="8631" y="3601"/>
                  <a:pt x="6873" y="6824"/>
                  <a:pt x="6873" y="10799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799"/>
                </a:cubicBezTo>
                <a:cubicBezTo>
                  <a:pt x="14727" y="6824"/>
                  <a:pt x="12969" y="3601"/>
                  <a:pt x="10800" y="3601"/>
                </a:cubicBezTo>
                <a:moveTo>
                  <a:pt x="5400" y="3601"/>
                </a:moveTo>
                <a:lnTo>
                  <a:pt x="4418" y="3601"/>
                </a:lnTo>
                <a:cubicBezTo>
                  <a:pt x="4147" y="3601"/>
                  <a:pt x="3927" y="4003"/>
                  <a:pt x="3927" y="4501"/>
                </a:cubicBezTo>
                <a:cubicBezTo>
                  <a:pt x="3927" y="4998"/>
                  <a:pt x="4147" y="5401"/>
                  <a:pt x="4418" y="5401"/>
                </a:cubicBezTo>
                <a:lnTo>
                  <a:pt x="5400" y="5401"/>
                </a:lnTo>
                <a:cubicBezTo>
                  <a:pt x="5671" y="5401"/>
                  <a:pt x="5891" y="4998"/>
                  <a:pt x="5891" y="4501"/>
                </a:cubicBezTo>
                <a:cubicBezTo>
                  <a:pt x="5891" y="4003"/>
                  <a:pt x="5671" y="3601"/>
                  <a:pt x="5400" y="3601"/>
                </a:cubicBezTo>
                <a:moveTo>
                  <a:pt x="17182" y="16199"/>
                </a:moveTo>
                <a:lnTo>
                  <a:pt x="16200" y="16199"/>
                </a:lnTo>
                <a:cubicBezTo>
                  <a:pt x="15929" y="16199"/>
                  <a:pt x="15709" y="16603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3"/>
                  <a:pt x="17453" y="16199"/>
                  <a:pt x="17182" y="16199"/>
                </a:cubicBezTo>
                <a:moveTo>
                  <a:pt x="20127" y="3601"/>
                </a:moveTo>
                <a:cubicBezTo>
                  <a:pt x="19856" y="3601"/>
                  <a:pt x="19636" y="3198"/>
                  <a:pt x="19636" y="2701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1"/>
                </a:cubicBezTo>
                <a:cubicBezTo>
                  <a:pt x="20618" y="3198"/>
                  <a:pt x="20398" y="3601"/>
                  <a:pt x="20127" y="3601"/>
                </a:cubicBezTo>
                <a:moveTo>
                  <a:pt x="20618" y="16365"/>
                </a:moveTo>
                <a:cubicBezTo>
                  <a:pt x="20464" y="16264"/>
                  <a:pt x="20300" y="16199"/>
                  <a:pt x="20127" y="16199"/>
                </a:cubicBezTo>
                <a:cubicBezTo>
                  <a:pt x="19314" y="16199"/>
                  <a:pt x="18655" y="17409"/>
                  <a:pt x="18655" y="18900"/>
                </a:cubicBezTo>
                <a:cubicBezTo>
                  <a:pt x="18655" y="19217"/>
                  <a:pt x="18689" y="19517"/>
                  <a:pt x="18744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9"/>
                  <a:pt x="2286" y="16199"/>
                  <a:pt x="1473" y="16199"/>
                </a:cubicBezTo>
                <a:cubicBezTo>
                  <a:pt x="1299" y="16199"/>
                  <a:pt x="1136" y="16264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1"/>
                  <a:pt x="1473" y="5401"/>
                </a:cubicBezTo>
                <a:cubicBezTo>
                  <a:pt x="2286" y="5401"/>
                  <a:pt x="2945" y="4192"/>
                  <a:pt x="2945" y="2701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89" y="2083"/>
                  <a:pt x="18655" y="2383"/>
                  <a:pt x="18655" y="2701"/>
                </a:cubicBezTo>
                <a:cubicBezTo>
                  <a:pt x="18655" y="4192"/>
                  <a:pt x="19314" y="5401"/>
                  <a:pt x="20127" y="5401"/>
                </a:cubicBezTo>
                <a:cubicBezTo>
                  <a:pt x="20300" y="5401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2"/>
                  <a:pt x="19856" y="18000"/>
                  <a:pt x="20127" y="18000"/>
                </a:cubicBezTo>
                <a:cubicBezTo>
                  <a:pt x="20398" y="18000"/>
                  <a:pt x="20618" y="18402"/>
                  <a:pt x="20618" y="18900"/>
                </a:cubicBezTo>
                <a:cubicBezTo>
                  <a:pt x="20618" y="19397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2" y="19800"/>
                  <a:pt x="982" y="19397"/>
                  <a:pt x="982" y="18900"/>
                </a:cubicBezTo>
                <a:cubicBezTo>
                  <a:pt x="982" y="18402"/>
                  <a:pt x="1202" y="18000"/>
                  <a:pt x="1473" y="18000"/>
                </a:cubicBezTo>
                <a:cubicBezTo>
                  <a:pt x="1744" y="18000"/>
                  <a:pt x="1964" y="18402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1"/>
                </a:cubicBezTo>
                <a:cubicBezTo>
                  <a:pt x="1964" y="3198"/>
                  <a:pt x="1744" y="3601"/>
                  <a:pt x="1473" y="3601"/>
                </a:cubicBezTo>
                <a:cubicBezTo>
                  <a:pt x="1202" y="3601"/>
                  <a:pt x="982" y="3198"/>
                  <a:pt x="982" y="2701"/>
                </a:cubicBezTo>
                <a:cubicBezTo>
                  <a:pt x="982" y="2203"/>
                  <a:pt x="1202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3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3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hape 2802">
            <a:extLst>
              <a:ext uri="{FF2B5EF4-FFF2-40B4-BE49-F238E27FC236}">
                <a16:creationId xmlns:a16="http://schemas.microsoft.com/office/drawing/2014/main" id="{0B330397-F5CF-4FC0-98E0-5165E95ED598}"/>
              </a:ext>
            </a:extLst>
          </p:cNvPr>
          <p:cNvSpPr/>
          <p:nvPr/>
        </p:nvSpPr>
        <p:spPr bwMode="gray">
          <a:xfrm>
            <a:off x="172616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  <a:moveTo>
                  <a:pt x="11858" y="12529"/>
                </a:moveTo>
                <a:lnTo>
                  <a:pt x="11671" y="13124"/>
                </a:lnTo>
                <a:lnTo>
                  <a:pt x="9908" y="13124"/>
                </a:lnTo>
                <a:cubicBezTo>
                  <a:pt x="9902" y="13155"/>
                  <a:pt x="9900" y="13198"/>
                  <a:pt x="9900" y="13254"/>
                </a:cubicBezTo>
                <a:lnTo>
                  <a:pt x="9900" y="13468"/>
                </a:lnTo>
                <a:cubicBezTo>
                  <a:pt x="9900" y="13629"/>
                  <a:pt x="9902" y="13725"/>
                  <a:pt x="9908" y="13756"/>
                </a:cubicBezTo>
                <a:lnTo>
                  <a:pt x="11570" y="13756"/>
                </a:lnTo>
                <a:lnTo>
                  <a:pt x="11391" y="14340"/>
                </a:lnTo>
                <a:lnTo>
                  <a:pt x="9943" y="14340"/>
                </a:lnTo>
                <a:cubicBezTo>
                  <a:pt x="10001" y="14842"/>
                  <a:pt x="10124" y="15236"/>
                  <a:pt x="10311" y="15520"/>
                </a:cubicBezTo>
                <a:cubicBezTo>
                  <a:pt x="10527" y="15873"/>
                  <a:pt x="10819" y="16050"/>
                  <a:pt x="11189" y="16050"/>
                </a:cubicBezTo>
                <a:cubicBezTo>
                  <a:pt x="11429" y="16050"/>
                  <a:pt x="11628" y="16000"/>
                  <a:pt x="11787" y="15901"/>
                </a:cubicBezTo>
                <a:cubicBezTo>
                  <a:pt x="11930" y="15808"/>
                  <a:pt x="12093" y="15654"/>
                  <a:pt x="12276" y="15437"/>
                </a:cubicBezTo>
                <a:lnTo>
                  <a:pt x="12276" y="16468"/>
                </a:lnTo>
                <a:cubicBezTo>
                  <a:pt x="11950" y="16741"/>
                  <a:pt x="11587" y="16876"/>
                  <a:pt x="11189" y="16876"/>
                </a:cubicBezTo>
                <a:cubicBezTo>
                  <a:pt x="10546" y="16876"/>
                  <a:pt x="10044" y="16623"/>
                  <a:pt x="9684" y="16114"/>
                </a:cubicBezTo>
                <a:cubicBezTo>
                  <a:pt x="9372" y="15676"/>
                  <a:pt x="9177" y="15084"/>
                  <a:pt x="9101" y="14340"/>
                </a:cubicBezTo>
                <a:lnTo>
                  <a:pt x="8547" y="14340"/>
                </a:lnTo>
                <a:lnTo>
                  <a:pt x="8741" y="13756"/>
                </a:lnTo>
                <a:lnTo>
                  <a:pt x="9065" y="13756"/>
                </a:lnTo>
                <a:cubicBezTo>
                  <a:pt x="9060" y="13712"/>
                  <a:pt x="9056" y="13666"/>
                  <a:pt x="9054" y="13617"/>
                </a:cubicBezTo>
                <a:cubicBezTo>
                  <a:pt x="9051" y="13567"/>
                  <a:pt x="9050" y="13515"/>
                  <a:pt x="9050" y="13458"/>
                </a:cubicBezTo>
                <a:cubicBezTo>
                  <a:pt x="9050" y="13416"/>
                  <a:pt x="9051" y="13366"/>
                  <a:pt x="9054" y="13310"/>
                </a:cubicBezTo>
                <a:cubicBezTo>
                  <a:pt x="9056" y="13254"/>
                  <a:pt x="9060" y="13192"/>
                  <a:pt x="9065" y="13124"/>
                </a:cubicBezTo>
                <a:lnTo>
                  <a:pt x="8547" y="13124"/>
                </a:lnTo>
                <a:lnTo>
                  <a:pt x="8734" y="12529"/>
                </a:lnTo>
                <a:lnTo>
                  <a:pt x="9115" y="12529"/>
                </a:lnTo>
                <a:cubicBezTo>
                  <a:pt x="9235" y="11818"/>
                  <a:pt x="9453" y="11254"/>
                  <a:pt x="9770" y="10840"/>
                </a:cubicBezTo>
                <a:cubicBezTo>
                  <a:pt x="10140" y="10363"/>
                  <a:pt x="10613" y="10124"/>
                  <a:pt x="11189" y="10124"/>
                </a:cubicBezTo>
                <a:cubicBezTo>
                  <a:pt x="11607" y="10124"/>
                  <a:pt x="12034" y="10316"/>
                  <a:pt x="12470" y="10700"/>
                </a:cubicBezTo>
                <a:lnTo>
                  <a:pt x="12139" y="11545"/>
                </a:lnTo>
                <a:cubicBezTo>
                  <a:pt x="11832" y="11150"/>
                  <a:pt x="11496" y="10951"/>
                  <a:pt x="11131" y="10951"/>
                </a:cubicBezTo>
                <a:cubicBezTo>
                  <a:pt x="10809" y="10951"/>
                  <a:pt x="10541" y="11115"/>
                  <a:pt x="10325" y="11443"/>
                </a:cubicBezTo>
                <a:cubicBezTo>
                  <a:pt x="10143" y="11734"/>
                  <a:pt x="10020" y="12097"/>
                  <a:pt x="9958" y="12529"/>
                </a:cubicBezTo>
                <a:cubicBezTo>
                  <a:pt x="9958" y="12529"/>
                  <a:pt x="11858" y="12529"/>
                  <a:pt x="11858" y="12529"/>
                </a:cubicBezTo>
                <a:close/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8" y="6750"/>
                  <a:pt x="20618" y="7052"/>
                  <a:pt x="20618" y="7425"/>
                </a:cubicBezTo>
                <a:cubicBezTo>
                  <a:pt x="20618" y="7798"/>
                  <a:pt x="20398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9"/>
                  <a:pt x="18745" y="20250"/>
                </a:cubicBezTo>
                <a:lnTo>
                  <a:pt x="2855" y="20250"/>
                </a:lnTo>
                <a:cubicBezTo>
                  <a:pt x="2910" y="20039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299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299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8" y="18900"/>
                  <a:pt x="20618" y="19203"/>
                  <a:pt x="20618" y="19575"/>
                </a:cubicBezTo>
                <a:cubicBezTo>
                  <a:pt x="20618" y="19948"/>
                  <a:pt x="20398" y="20250"/>
                  <a:pt x="20127" y="20250"/>
                </a:cubicBezTo>
                <a:moveTo>
                  <a:pt x="1473" y="20250"/>
                </a:moveTo>
                <a:cubicBezTo>
                  <a:pt x="1202" y="20250"/>
                  <a:pt x="982" y="19948"/>
                  <a:pt x="982" y="19575"/>
                </a:cubicBezTo>
                <a:cubicBezTo>
                  <a:pt x="982" y="19203"/>
                  <a:pt x="1202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2" y="8100"/>
                  <a:pt x="982" y="7798"/>
                  <a:pt x="982" y="7425"/>
                </a:cubicBezTo>
                <a:cubicBezTo>
                  <a:pt x="982" y="7052"/>
                  <a:pt x="1202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5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5"/>
                  <a:pt x="21160" y="5400"/>
                  <a:pt x="20618" y="54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6" y="4050"/>
                  <a:pt x="19636" y="3748"/>
                  <a:pt x="19636" y="3375"/>
                </a:cubicBezTo>
                <a:cubicBezTo>
                  <a:pt x="19636" y="3002"/>
                  <a:pt x="19416" y="2700"/>
                  <a:pt x="19145" y="2700"/>
                </a:cubicBezTo>
                <a:lnTo>
                  <a:pt x="2455" y="2700"/>
                </a:lnTo>
                <a:cubicBezTo>
                  <a:pt x="2184" y="2700"/>
                  <a:pt x="1964" y="3002"/>
                  <a:pt x="1964" y="3375"/>
                </a:cubicBezTo>
                <a:cubicBezTo>
                  <a:pt x="1964" y="3748"/>
                  <a:pt x="2184" y="4050"/>
                  <a:pt x="2455" y="40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hape 2803">
            <a:extLst>
              <a:ext uri="{FF2B5EF4-FFF2-40B4-BE49-F238E27FC236}">
                <a16:creationId xmlns:a16="http://schemas.microsoft.com/office/drawing/2014/main" id="{516A7CF1-859B-49B4-AC73-DFAA58961CAB}"/>
              </a:ext>
            </a:extLst>
          </p:cNvPr>
          <p:cNvSpPr/>
          <p:nvPr/>
        </p:nvSpPr>
        <p:spPr bwMode="gray">
          <a:xfrm>
            <a:off x="2280475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4" y="12227"/>
                </a:moveTo>
                <a:lnTo>
                  <a:pt x="9494" y="12771"/>
                </a:lnTo>
                <a:lnTo>
                  <a:pt x="8171" y="12771"/>
                </a:lnTo>
                <a:cubicBezTo>
                  <a:pt x="8167" y="12799"/>
                  <a:pt x="8165" y="12839"/>
                  <a:pt x="8165" y="12890"/>
                </a:cubicBezTo>
                <a:lnTo>
                  <a:pt x="8165" y="13085"/>
                </a:lnTo>
                <a:cubicBezTo>
                  <a:pt x="8165" y="13232"/>
                  <a:pt x="8167" y="13320"/>
                  <a:pt x="8171" y="13348"/>
                </a:cubicBezTo>
                <a:lnTo>
                  <a:pt x="9418" y="13348"/>
                </a:lnTo>
                <a:lnTo>
                  <a:pt x="9283" y="13883"/>
                </a:lnTo>
                <a:lnTo>
                  <a:pt x="8198" y="13883"/>
                </a:lnTo>
                <a:cubicBezTo>
                  <a:pt x="8241" y="14342"/>
                  <a:pt x="8333" y="14701"/>
                  <a:pt x="8473" y="14961"/>
                </a:cubicBezTo>
                <a:cubicBezTo>
                  <a:pt x="8635" y="15284"/>
                  <a:pt x="8855" y="15445"/>
                  <a:pt x="9132" y="15445"/>
                </a:cubicBezTo>
                <a:cubicBezTo>
                  <a:pt x="9312" y="15445"/>
                  <a:pt x="9461" y="15401"/>
                  <a:pt x="9580" y="15310"/>
                </a:cubicBezTo>
                <a:cubicBezTo>
                  <a:pt x="9688" y="15225"/>
                  <a:pt x="9810" y="15084"/>
                  <a:pt x="9947" y="14885"/>
                </a:cubicBezTo>
                <a:lnTo>
                  <a:pt x="9947" y="15828"/>
                </a:lnTo>
                <a:cubicBezTo>
                  <a:pt x="9702" y="16076"/>
                  <a:pt x="9430" y="16202"/>
                  <a:pt x="9132" y="16202"/>
                </a:cubicBezTo>
                <a:cubicBezTo>
                  <a:pt x="8649" y="16202"/>
                  <a:pt x="8273" y="15970"/>
                  <a:pt x="8003" y="15505"/>
                </a:cubicBezTo>
                <a:cubicBezTo>
                  <a:pt x="7769" y="15104"/>
                  <a:pt x="7623" y="14562"/>
                  <a:pt x="7566" y="13883"/>
                </a:cubicBezTo>
                <a:lnTo>
                  <a:pt x="7150" y="13883"/>
                </a:lnTo>
                <a:lnTo>
                  <a:pt x="7296" y="13348"/>
                </a:lnTo>
                <a:lnTo>
                  <a:pt x="7539" y="13348"/>
                </a:lnTo>
                <a:cubicBezTo>
                  <a:pt x="7536" y="13309"/>
                  <a:pt x="7532" y="13267"/>
                  <a:pt x="7530" y="13221"/>
                </a:cubicBezTo>
                <a:cubicBezTo>
                  <a:pt x="7529" y="13175"/>
                  <a:pt x="7528" y="13127"/>
                  <a:pt x="7528" y="13077"/>
                </a:cubicBezTo>
                <a:cubicBezTo>
                  <a:pt x="7528" y="13037"/>
                  <a:pt x="7529" y="12991"/>
                  <a:pt x="7530" y="12941"/>
                </a:cubicBezTo>
                <a:cubicBezTo>
                  <a:pt x="7532" y="12890"/>
                  <a:pt x="7536" y="12833"/>
                  <a:pt x="7539" y="12771"/>
                </a:cubicBezTo>
                <a:lnTo>
                  <a:pt x="7150" y="12771"/>
                </a:lnTo>
                <a:lnTo>
                  <a:pt x="7291" y="12227"/>
                </a:lnTo>
                <a:lnTo>
                  <a:pt x="7577" y="12227"/>
                </a:lnTo>
                <a:cubicBezTo>
                  <a:pt x="7667" y="11576"/>
                  <a:pt x="7831" y="11061"/>
                  <a:pt x="8068" y="10682"/>
                </a:cubicBezTo>
                <a:cubicBezTo>
                  <a:pt x="8345" y="10247"/>
                  <a:pt x="8700" y="10028"/>
                  <a:pt x="9132" y="10028"/>
                </a:cubicBezTo>
                <a:cubicBezTo>
                  <a:pt x="9445" y="10028"/>
                  <a:pt x="9766" y="10203"/>
                  <a:pt x="10093" y="10554"/>
                </a:cubicBezTo>
                <a:lnTo>
                  <a:pt x="9845" y="11327"/>
                </a:lnTo>
                <a:cubicBezTo>
                  <a:pt x="9614" y="10965"/>
                  <a:pt x="9362" y="10783"/>
                  <a:pt x="9089" y="10783"/>
                </a:cubicBezTo>
                <a:cubicBezTo>
                  <a:pt x="8847" y="10783"/>
                  <a:pt x="8646" y="10934"/>
                  <a:pt x="8484" y="11234"/>
                </a:cubicBezTo>
                <a:cubicBezTo>
                  <a:pt x="8347" y="11500"/>
                  <a:pt x="8255" y="11831"/>
                  <a:pt x="8209" y="12227"/>
                </a:cubicBezTo>
                <a:cubicBezTo>
                  <a:pt x="8209" y="12227"/>
                  <a:pt x="9634" y="12227"/>
                  <a:pt x="9634" y="12227"/>
                </a:cubicBezTo>
                <a:close/>
                <a:moveTo>
                  <a:pt x="8836" y="7714"/>
                </a:moveTo>
                <a:cubicBezTo>
                  <a:pt x="6938" y="7714"/>
                  <a:pt x="5400" y="10133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3"/>
                  <a:pt x="10734" y="7714"/>
                  <a:pt x="8836" y="7714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8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8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2" y="20057"/>
                  <a:pt x="982" y="19712"/>
                  <a:pt x="982" y="19286"/>
                </a:cubicBezTo>
                <a:cubicBezTo>
                  <a:pt x="982" y="18860"/>
                  <a:pt x="1202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2" y="7714"/>
                  <a:pt x="982" y="7369"/>
                  <a:pt x="982" y="6943"/>
                </a:cubicBezTo>
                <a:cubicBezTo>
                  <a:pt x="982" y="6517"/>
                  <a:pt x="1202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89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5" y="15429"/>
                  <a:pt x="18655" y="15775"/>
                  <a:pt x="18655" y="16200"/>
                </a:cubicBezTo>
                <a:cubicBezTo>
                  <a:pt x="18655" y="16626"/>
                  <a:pt x="18875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3255" y="16971"/>
                </a:moveTo>
                <a:cubicBezTo>
                  <a:pt x="12984" y="16971"/>
                  <a:pt x="12764" y="17317"/>
                  <a:pt x="12764" y="17743"/>
                </a:cubicBezTo>
                <a:cubicBezTo>
                  <a:pt x="12764" y="18169"/>
                  <a:pt x="12984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7"/>
                  <a:pt x="13525" y="16971"/>
                  <a:pt x="13255" y="169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804">
            <a:extLst>
              <a:ext uri="{FF2B5EF4-FFF2-40B4-BE49-F238E27FC236}">
                <a16:creationId xmlns:a16="http://schemas.microsoft.com/office/drawing/2014/main" id="{4B52EFE5-016F-4EF6-8138-A065FE7DD1FB}"/>
              </a:ext>
            </a:extLst>
          </p:cNvPr>
          <p:cNvSpPr/>
          <p:nvPr/>
        </p:nvSpPr>
        <p:spPr bwMode="gray">
          <a:xfrm>
            <a:off x="2834787" y="2379347"/>
            <a:ext cx="290354" cy="158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1057"/>
                </a:moveTo>
                <a:lnTo>
                  <a:pt x="10114" y="13116"/>
                </a:lnTo>
                <a:cubicBezTo>
                  <a:pt x="10458" y="13273"/>
                  <a:pt x="11518" y="13902"/>
                  <a:pt x="11675" y="12740"/>
                </a:cubicBezTo>
                <a:cubicBezTo>
                  <a:pt x="11839" y="11528"/>
                  <a:pt x="10736" y="11215"/>
                  <a:pt x="10393" y="11057"/>
                </a:cubicBezTo>
                <a:moveTo>
                  <a:pt x="10772" y="8246"/>
                </a:moveTo>
                <a:lnTo>
                  <a:pt x="10520" y="10114"/>
                </a:lnTo>
                <a:cubicBezTo>
                  <a:pt x="10806" y="10246"/>
                  <a:pt x="11689" y="10782"/>
                  <a:pt x="11832" y="9726"/>
                </a:cubicBezTo>
                <a:cubicBezTo>
                  <a:pt x="11981" y="8623"/>
                  <a:pt x="11059" y="8378"/>
                  <a:pt x="10772" y="8246"/>
                </a:cubicBezTo>
                <a:moveTo>
                  <a:pt x="12833" y="9742"/>
                </a:moveTo>
                <a:cubicBezTo>
                  <a:pt x="12767" y="10572"/>
                  <a:pt x="12517" y="10974"/>
                  <a:pt x="12186" y="11116"/>
                </a:cubicBezTo>
                <a:cubicBezTo>
                  <a:pt x="12641" y="11552"/>
                  <a:pt x="12872" y="12224"/>
                  <a:pt x="12652" y="13386"/>
                </a:cubicBezTo>
                <a:cubicBezTo>
                  <a:pt x="12378" y="14828"/>
                  <a:pt x="11728" y="14950"/>
                  <a:pt x="10863" y="14648"/>
                </a:cubicBezTo>
                <a:lnTo>
                  <a:pt x="10653" y="16200"/>
                </a:lnTo>
                <a:lnTo>
                  <a:pt x="10146" y="15966"/>
                </a:lnTo>
                <a:lnTo>
                  <a:pt x="10353" y="14435"/>
                </a:lnTo>
                <a:cubicBezTo>
                  <a:pt x="10222" y="14376"/>
                  <a:pt x="10088" y="14311"/>
                  <a:pt x="9949" y="14242"/>
                </a:cubicBezTo>
                <a:lnTo>
                  <a:pt x="9741" y="15780"/>
                </a:lnTo>
                <a:lnTo>
                  <a:pt x="9235" y="15548"/>
                </a:lnTo>
                <a:lnTo>
                  <a:pt x="9444" y="13993"/>
                </a:lnTo>
                <a:cubicBezTo>
                  <a:pt x="9326" y="13936"/>
                  <a:pt x="9206" y="13877"/>
                  <a:pt x="9083" y="13820"/>
                </a:cubicBezTo>
                <a:lnTo>
                  <a:pt x="8423" y="13517"/>
                </a:lnTo>
                <a:lnTo>
                  <a:pt x="8675" y="12446"/>
                </a:lnTo>
                <a:cubicBezTo>
                  <a:pt x="8675" y="12446"/>
                  <a:pt x="9049" y="12629"/>
                  <a:pt x="9043" y="12615"/>
                </a:cubicBezTo>
                <a:cubicBezTo>
                  <a:pt x="9187" y="12681"/>
                  <a:pt x="9251" y="12509"/>
                  <a:pt x="9276" y="12393"/>
                </a:cubicBezTo>
                <a:lnTo>
                  <a:pt x="9607" y="9940"/>
                </a:lnTo>
                <a:cubicBezTo>
                  <a:pt x="9626" y="9949"/>
                  <a:pt x="9644" y="9957"/>
                  <a:pt x="9661" y="9965"/>
                </a:cubicBezTo>
                <a:cubicBezTo>
                  <a:pt x="9641" y="9950"/>
                  <a:pt x="9623" y="9940"/>
                  <a:pt x="9608" y="9933"/>
                </a:cubicBezTo>
                <a:lnTo>
                  <a:pt x="9845" y="8183"/>
                </a:lnTo>
                <a:cubicBezTo>
                  <a:pt x="9851" y="7984"/>
                  <a:pt x="9814" y="7733"/>
                  <a:pt x="9608" y="7639"/>
                </a:cubicBezTo>
                <a:cubicBezTo>
                  <a:pt x="9616" y="7629"/>
                  <a:pt x="9240" y="7469"/>
                  <a:pt x="9240" y="7469"/>
                </a:cubicBezTo>
                <a:lnTo>
                  <a:pt x="9375" y="6471"/>
                </a:lnTo>
                <a:lnTo>
                  <a:pt x="10074" y="6793"/>
                </a:lnTo>
                <a:lnTo>
                  <a:pt x="10074" y="6798"/>
                </a:lnTo>
                <a:cubicBezTo>
                  <a:pt x="10179" y="6845"/>
                  <a:pt x="10288" y="6892"/>
                  <a:pt x="10398" y="6937"/>
                </a:cubicBezTo>
                <a:lnTo>
                  <a:pt x="10606" y="5401"/>
                </a:lnTo>
                <a:lnTo>
                  <a:pt x="11113" y="5634"/>
                </a:lnTo>
                <a:lnTo>
                  <a:pt x="10909" y="7140"/>
                </a:lnTo>
                <a:cubicBezTo>
                  <a:pt x="11045" y="7197"/>
                  <a:pt x="11182" y="7255"/>
                  <a:pt x="11315" y="7317"/>
                </a:cubicBezTo>
                <a:lnTo>
                  <a:pt x="11517" y="5821"/>
                </a:lnTo>
                <a:lnTo>
                  <a:pt x="12025" y="6054"/>
                </a:lnTo>
                <a:lnTo>
                  <a:pt x="11817" y="7590"/>
                </a:lnTo>
                <a:cubicBezTo>
                  <a:pt x="12457" y="7998"/>
                  <a:pt x="12926" y="8607"/>
                  <a:pt x="12833" y="9742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7"/>
                  <a:pt x="8631" y="18000"/>
                  <a:pt x="10800" y="18000"/>
                </a:cubicBezTo>
                <a:cubicBezTo>
                  <a:pt x="12969" y="18000"/>
                  <a:pt x="14727" y="14777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8" y="16200"/>
                  <a:pt x="15709" y="16603"/>
                  <a:pt x="15709" y="17100"/>
                </a:cubicBezTo>
                <a:cubicBezTo>
                  <a:pt x="15709" y="17598"/>
                  <a:pt x="15928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8"/>
                  <a:pt x="17673" y="17100"/>
                </a:cubicBezTo>
                <a:cubicBezTo>
                  <a:pt x="17673" y="16603"/>
                  <a:pt x="17453" y="16200"/>
                  <a:pt x="17182" y="162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3"/>
                  <a:pt x="3927" y="4500"/>
                </a:cubicBezTo>
                <a:cubicBezTo>
                  <a:pt x="3927" y="4998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8"/>
                  <a:pt x="5891" y="4500"/>
                </a:cubicBezTo>
                <a:cubicBezTo>
                  <a:pt x="5891" y="4003"/>
                  <a:pt x="5671" y="3600"/>
                  <a:pt x="5400" y="3600"/>
                </a:cubicBezTo>
                <a:moveTo>
                  <a:pt x="20127" y="3600"/>
                </a:moveTo>
                <a:cubicBezTo>
                  <a:pt x="19856" y="3600"/>
                  <a:pt x="19636" y="3198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8" y="1800"/>
                  <a:pt x="20618" y="2203"/>
                  <a:pt x="20618" y="2700"/>
                </a:cubicBezTo>
                <a:cubicBezTo>
                  <a:pt x="20618" y="3198"/>
                  <a:pt x="20398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10"/>
                  <a:pt x="18655" y="18900"/>
                </a:cubicBezTo>
                <a:cubicBezTo>
                  <a:pt x="18655" y="19217"/>
                  <a:pt x="18690" y="19518"/>
                  <a:pt x="18744" y="19800"/>
                </a:cubicBezTo>
                <a:lnTo>
                  <a:pt x="2855" y="19800"/>
                </a:lnTo>
                <a:cubicBezTo>
                  <a:pt x="2910" y="19518"/>
                  <a:pt x="2945" y="19217"/>
                  <a:pt x="2945" y="18900"/>
                </a:cubicBezTo>
                <a:cubicBezTo>
                  <a:pt x="2945" y="17410"/>
                  <a:pt x="2286" y="16200"/>
                  <a:pt x="1473" y="16200"/>
                </a:cubicBezTo>
                <a:cubicBezTo>
                  <a:pt x="1299" y="16200"/>
                  <a:pt x="1136" y="16265"/>
                  <a:pt x="982" y="16365"/>
                </a:cubicBezTo>
                <a:lnTo>
                  <a:pt x="982" y="5235"/>
                </a:lnTo>
                <a:cubicBezTo>
                  <a:pt x="1136" y="5336"/>
                  <a:pt x="1299" y="5400"/>
                  <a:pt x="1473" y="5400"/>
                </a:cubicBezTo>
                <a:cubicBezTo>
                  <a:pt x="2286" y="5400"/>
                  <a:pt x="2945" y="4192"/>
                  <a:pt x="2945" y="2700"/>
                </a:cubicBezTo>
                <a:cubicBezTo>
                  <a:pt x="2945" y="2383"/>
                  <a:pt x="2910" y="2083"/>
                  <a:pt x="2855" y="1800"/>
                </a:cubicBezTo>
                <a:lnTo>
                  <a:pt x="18744" y="1800"/>
                </a:lnTo>
                <a:cubicBezTo>
                  <a:pt x="18690" y="2083"/>
                  <a:pt x="18655" y="2383"/>
                  <a:pt x="18655" y="2700"/>
                </a:cubicBezTo>
                <a:cubicBezTo>
                  <a:pt x="18655" y="4192"/>
                  <a:pt x="19314" y="5400"/>
                  <a:pt x="20127" y="5400"/>
                </a:cubicBezTo>
                <a:cubicBezTo>
                  <a:pt x="20300" y="5400"/>
                  <a:pt x="20464" y="5336"/>
                  <a:pt x="20618" y="5235"/>
                </a:cubicBezTo>
                <a:cubicBezTo>
                  <a:pt x="20618" y="5235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8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8" y="18000"/>
                  <a:pt x="20618" y="18403"/>
                  <a:pt x="20618" y="18900"/>
                </a:cubicBezTo>
                <a:cubicBezTo>
                  <a:pt x="20618" y="19398"/>
                  <a:pt x="20398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8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8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8"/>
                  <a:pt x="1744" y="3600"/>
                  <a:pt x="1473" y="3600"/>
                </a:cubicBezTo>
                <a:cubicBezTo>
                  <a:pt x="1201" y="3600"/>
                  <a:pt x="982" y="3198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39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39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hape 2805">
            <a:extLst>
              <a:ext uri="{FF2B5EF4-FFF2-40B4-BE49-F238E27FC236}">
                <a16:creationId xmlns:a16="http://schemas.microsoft.com/office/drawing/2014/main" id="{8AC75C95-3B7A-4FF3-8BBA-25E4FE29E545}"/>
              </a:ext>
            </a:extLst>
          </p:cNvPr>
          <p:cNvSpPr/>
          <p:nvPr/>
        </p:nvSpPr>
        <p:spPr bwMode="gray">
          <a:xfrm>
            <a:off x="3389098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93" y="13692"/>
                </a:moveTo>
                <a:lnTo>
                  <a:pt x="10114" y="15237"/>
                </a:lnTo>
                <a:cubicBezTo>
                  <a:pt x="10458" y="15355"/>
                  <a:pt x="11518" y="15826"/>
                  <a:pt x="11675" y="14955"/>
                </a:cubicBezTo>
                <a:cubicBezTo>
                  <a:pt x="11839" y="14046"/>
                  <a:pt x="10737" y="13811"/>
                  <a:pt x="10393" y="13692"/>
                </a:cubicBezTo>
                <a:moveTo>
                  <a:pt x="12834" y="12706"/>
                </a:moveTo>
                <a:cubicBezTo>
                  <a:pt x="12767" y="13329"/>
                  <a:pt x="12517" y="13631"/>
                  <a:pt x="12186" y="13737"/>
                </a:cubicBezTo>
                <a:cubicBezTo>
                  <a:pt x="12641" y="14064"/>
                  <a:pt x="12873" y="14567"/>
                  <a:pt x="12652" y="15439"/>
                </a:cubicBezTo>
                <a:cubicBezTo>
                  <a:pt x="12378" y="16521"/>
                  <a:pt x="11728" y="16613"/>
                  <a:pt x="10863" y="16386"/>
                </a:cubicBezTo>
                <a:lnTo>
                  <a:pt x="10653" y="17550"/>
                </a:lnTo>
                <a:lnTo>
                  <a:pt x="10147" y="17375"/>
                </a:lnTo>
                <a:lnTo>
                  <a:pt x="10354" y="16227"/>
                </a:lnTo>
                <a:cubicBezTo>
                  <a:pt x="10222" y="16182"/>
                  <a:pt x="10088" y="16133"/>
                  <a:pt x="9950" y="16081"/>
                </a:cubicBezTo>
                <a:lnTo>
                  <a:pt x="9741" y="17235"/>
                </a:lnTo>
                <a:lnTo>
                  <a:pt x="9235" y="17061"/>
                </a:lnTo>
                <a:lnTo>
                  <a:pt x="9445" y="15894"/>
                </a:lnTo>
                <a:cubicBezTo>
                  <a:pt x="9326" y="15852"/>
                  <a:pt x="9206" y="15808"/>
                  <a:pt x="9083" y="15765"/>
                </a:cubicBezTo>
                <a:lnTo>
                  <a:pt x="8424" y="15538"/>
                </a:lnTo>
                <a:lnTo>
                  <a:pt x="8675" y="14735"/>
                </a:lnTo>
                <a:cubicBezTo>
                  <a:pt x="8675" y="14735"/>
                  <a:pt x="9049" y="14872"/>
                  <a:pt x="9044" y="14862"/>
                </a:cubicBezTo>
                <a:cubicBezTo>
                  <a:pt x="9187" y="14911"/>
                  <a:pt x="9251" y="14781"/>
                  <a:pt x="9276" y="14695"/>
                </a:cubicBezTo>
                <a:lnTo>
                  <a:pt x="9608" y="12855"/>
                </a:lnTo>
                <a:cubicBezTo>
                  <a:pt x="9626" y="12862"/>
                  <a:pt x="9645" y="12868"/>
                  <a:pt x="9661" y="12874"/>
                </a:cubicBezTo>
                <a:cubicBezTo>
                  <a:pt x="9641" y="12862"/>
                  <a:pt x="9623" y="12855"/>
                  <a:pt x="9609" y="12850"/>
                </a:cubicBezTo>
                <a:lnTo>
                  <a:pt x="9845" y="11537"/>
                </a:lnTo>
                <a:cubicBezTo>
                  <a:pt x="9852" y="11388"/>
                  <a:pt x="9814" y="11200"/>
                  <a:pt x="9609" y="11129"/>
                </a:cubicBezTo>
                <a:cubicBezTo>
                  <a:pt x="9617" y="11121"/>
                  <a:pt x="9241" y="11002"/>
                  <a:pt x="9241" y="11002"/>
                </a:cubicBezTo>
                <a:lnTo>
                  <a:pt x="9376" y="10253"/>
                </a:lnTo>
                <a:lnTo>
                  <a:pt x="10075" y="10494"/>
                </a:lnTo>
                <a:lnTo>
                  <a:pt x="10074" y="10498"/>
                </a:lnTo>
                <a:cubicBezTo>
                  <a:pt x="10180" y="10534"/>
                  <a:pt x="10288" y="10569"/>
                  <a:pt x="10398" y="10603"/>
                </a:cubicBezTo>
                <a:lnTo>
                  <a:pt x="10606" y="9451"/>
                </a:lnTo>
                <a:lnTo>
                  <a:pt x="11113" y="9626"/>
                </a:lnTo>
                <a:lnTo>
                  <a:pt x="10909" y="10755"/>
                </a:lnTo>
                <a:cubicBezTo>
                  <a:pt x="11045" y="10798"/>
                  <a:pt x="11182" y="10842"/>
                  <a:pt x="11316" y="10887"/>
                </a:cubicBezTo>
                <a:lnTo>
                  <a:pt x="11518" y="9765"/>
                </a:lnTo>
                <a:lnTo>
                  <a:pt x="12025" y="9940"/>
                </a:lnTo>
                <a:lnTo>
                  <a:pt x="11817" y="11093"/>
                </a:lnTo>
                <a:cubicBezTo>
                  <a:pt x="12457" y="11398"/>
                  <a:pt x="12926" y="11855"/>
                  <a:pt x="12834" y="12706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2"/>
                  <a:pt x="8631" y="18900"/>
                  <a:pt x="10800" y="18900"/>
                </a:cubicBezTo>
                <a:cubicBezTo>
                  <a:pt x="12969" y="18900"/>
                  <a:pt x="14727" y="16482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2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2"/>
                  <a:pt x="5671" y="8100"/>
                  <a:pt x="54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3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3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10773" y="11584"/>
                </a:moveTo>
                <a:lnTo>
                  <a:pt x="10520" y="12985"/>
                </a:lnTo>
                <a:cubicBezTo>
                  <a:pt x="10807" y="13084"/>
                  <a:pt x="11689" y="13487"/>
                  <a:pt x="11832" y="12694"/>
                </a:cubicBezTo>
                <a:cubicBezTo>
                  <a:pt x="11981" y="11867"/>
                  <a:pt x="11059" y="11683"/>
                  <a:pt x="10773" y="11584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5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5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2806">
            <a:extLst>
              <a:ext uri="{FF2B5EF4-FFF2-40B4-BE49-F238E27FC236}">
                <a16:creationId xmlns:a16="http://schemas.microsoft.com/office/drawing/2014/main" id="{FFAD0FDD-75C9-434A-9AF0-35D10088044F}"/>
              </a:ext>
            </a:extLst>
          </p:cNvPr>
          <p:cNvSpPr/>
          <p:nvPr/>
        </p:nvSpPr>
        <p:spPr bwMode="gray">
          <a:xfrm>
            <a:off x="3943410" y="2366149"/>
            <a:ext cx="290354" cy="18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42" y="12358"/>
                </a:moveTo>
                <a:cubicBezTo>
                  <a:pt x="10390" y="12952"/>
                  <a:pt x="10196" y="13240"/>
                  <a:pt x="9938" y="13340"/>
                </a:cubicBezTo>
                <a:cubicBezTo>
                  <a:pt x="10292" y="13653"/>
                  <a:pt x="10472" y="14131"/>
                  <a:pt x="10300" y="14961"/>
                </a:cubicBezTo>
                <a:cubicBezTo>
                  <a:pt x="10088" y="15991"/>
                  <a:pt x="9582" y="16078"/>
                  <a:pt x="8910" y="15863"/>
                </a:cubicBezTo>
                <a:lnTo>
                  <a:pt x="8746" y="16971"/>
                </a:lnTo>
                <a:lnTo>
                  <a:pt x="8352" y="16805"/>
                </a:lnTo>
                <a:lnTo>
                  <a:pt x="8513" y="15711"/>
                </a:lnTo>
                <a:cubicBezTo>
                  <a:pt x="8411" y="15668"/>
                  <a:pt x="8306" y="15622"/>
                  <a:pt x="8199" y="15573"/>
                </a:cubicBezTo>
                <a:lnTo>
                  <a:pt x="8037" y="16672"/>
                </a:lnTo>
                <a:lnTo>
                  <a:pt x="7643" y="16505"/>
                </a:lnTo>
                <a:lnTo>
                  <a:pt x="7806" y="15395"/>
                </a:lnTo>
                <a:cubicBezTo>
                  <a:pt x="7714" y="15355"/>
                  <a:pt x="7621" y="15312"/>
                  <a:pt x="7525" y="15272"/>
                </a:cubicBezTo>
                <a:lnTo>
                  <a:pt x="7012" y="15055"/>
                </a:lnTo>
                <a:lnTo>
                  <a:pt x="7207" y="14290"/>
                </a:lnTo>
                <a:cubicBezTo>
                  <a:pt x="7207" y="14290"/>
                  <a:pt x="7498" y="14421"/>
                  <a:pt x="7495" y="14412"/>
                </a:cubicBezTo>
                <a:cubicBezTo>
                  <a:pt x="7606" y="14459"/>
                  <a:pt x="7656" y="14335"/>
                  <a:pt x="7675" y="14252"/>
                </a:cubicBezTo>
                <a:lnTo>
                  <a:pt x="7933" y="12501"/>
                </a:lnTo>
                <a:cubicBezTo>
                  <a:pt x="7948" y="12506"/>
                  <a:pt x="7961" y="12512"/>
                  <a:pt x="7974" y="12518"/>
                </a:cubicBezTo>
                <a:cubicBezTo>
                  <a:pt x="7959" y="12507"/>
                  <a:pt x="7945" y="12501"/>
                  <a:pt x="7934" y="12495"/>
                </a:cubicBezTo>
                <a:lnTo>
                  <a:pt x="8118" y="11245"/>
                </a:lnTo>
                <a:cubicBezTo>
                  <a:pt x="8122" y="11103"/>
                  <a:pt x="8093" y="10924"/>
                  <a:pt x="7934" y="10856"/>
                </a:cubicBezTo>
                <a:cubicBezTo>
                  <a:pt x="7940" y="10849"/>
                  <a:pt x="7647" y="10735"/>
                  <a:pt x="7647" y="10735"/>
                </a:cubicBezTo>
                <a:lnTo>
                  <a:pt x="7752" y="10022"/>
                </a:lnTo>
                <a:lnTo>
                  <a:pt x="8297" y="10252"/>
                </a:lnTo>
                <a:lnTo>
                  <a:pt x="8296" y="10255"/>
                </a:lnTo>
                <a:cubicBezTo>
                  <a:pt x="8378" y="10289"/>
                  <a:pt x="8462" y="10322"/>
                  <a:pt x="8548" y="10356"/>
                </a:cubicBezTo>
                <a:lnTo>
                  <a:pt x="8709" y="9258"/>
                </a:lnTo>
                <a:lnTo>
                  <a:pt x="9103" y="9424"/>
                </a:lnTo>
                <a:lnTo>
                  <a:pt x="8945" y="10500"/>
                </a:lnTo>
                <a:cubicBezTo>
                  <a:pt x="9051" y="10541"/>
                  <a:pt x="9158" y="10582"/>
                  <a:pt x="9261" y="10627"/>
                </a:cubicBezTo>
                <a:lnTo>
                  <a:pt x="9418" y="9557"/>
                </a:lnTo>
                <a:lnTo>
                  <a:pt x="9813" y="9724"/>
                </a:lnTo>
                <a:lnTo>
                  <a:pt x="9651" y="10822"/>
                </a:lnTo>
                <a:cubicBezTo>
                  <a:pt x="10149" y="11112"/>
                  <a:pt x="10513" y="11548"/>
                  <a:pt x="10442" y="123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7"/>
                  <a:pt x="6938" y="18514"/>
                  <a:pt x="8836" y="18514"/>
                </a:cubicBezTo>
                <a:cubicBezTo>
                  <a:pt x="10734" y="18514"/>
                  <a:pt x="12273" y="16097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13255" y="16971"/>
                </a:moveTo>
                <a:cubicBezTo>
                  <a:pt x="12983" y="16971"/>
                  <a:pt x="12764" y="17318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6" y="18514"/>
                  <a:pt x="13745" y="18169"/>
                  <a:pt x="13745" y="17743"/>
                </a:cubicBezTo>
                <a:cubicBezTo>
                  <a:pt x="13745" y="17318"/>
                  <a:pt x="13526" y="16971"/>
                  <a:pt x="13255" y="16971"/>
                </a:cubicBezTo>
                <a:moveTo>
                  <a:pt x="8839" y="11290"/>
                </a:moveTo>
                <a:lnTo>
                  <a:pt x="8643" y="12624"/>
                </a:lnTo>
                <a:cubicBezTo>
                  <a:pt x="8865" y="12718"/>
                  <a:pt x="9552" y="13102"/>
                  <a:pt x="9663" y="12347"/>
                </a:cubicBezTo>
                <a:cubicBezTo>
                  <a:pt x="9778" y="11559"/>
                  <a:pt x="9062" y="11384"/>
                  <a:pt x="8839" y="11290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1"/>
                  <a:pt x="3927" y="1543"/>
                </a:cubicBezTo>
                <a:lnTo>
                  <a:pt x="3927" y="2314"/>
                </a:lnTo>
                <a:cubicBezTo>
                  <a:pt x="3927" y="2741"/>
                  <a:pt x="4147" y="3086"/>
                  <a:pt x="4418" y="3086"/>
                </a:cubicBezTo>
                <a:cubicBezTo>
                  <a:pt x="4690" y="3086"/>
                  <a:pt x="4909" y="2741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1"/>
                  <a:pt x="21600" y="15429"/>
                </a:cubicBezTo>
                <a:lnTo>
                  <a:pt x="21600" y="1543"/>
                </a:lnTo>
                <a:cubicBezTo>
                  <a:pt x="21600" y="691"/>
                  <a:pt x="21160" y="0"/>
                  <a:pt x="20618" y="0"/>
                </a:cubicBezTo>
                <a:moveTo>
                  <a:pt x="16200" y="7714"/>
                </a:moveTo>
                <a:cubicBezTo>
                  <a:pt x="15929" y="7714"/>
                  <a:pt x="15709" y="7369"/>
                  <a:pt x="15709" y="6943"/>
                </a:cubicBezTo>
                <a:cubicBezTo>
                  <a:pt x="15709" y="6517"/>
                  <a:pt x="15929" y="6171"/>
                  <a:pt x="16200" y="6171"/>
                </a:cubicBezTo>
                <a:cubicBezTo>
                  <a:pt x="16471" y="6171"/>
                  <a:pt x="16691" y="6517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8"/>
                  <a:pt x="16373" y="16971"/>
                  <a:pt x="16200" y="16971"/>
                </a:cubicBezTo>
                <a:cubicBezTo>
                  <a:pt x="15387" y="16971"/>
                  <a:pt x="14727" y="18008"/>
                  <a:pt x="14727" y="19286"/>
                </a:cubicBezTo>
                <a:cubicBezTo>
                  <a:pt x="14727" y="19558"/>
                  <a:pt x="14763" y="19815"/>
                  <a:pt x="14817" y="20057"/>
                </a:cubicBezTo>
                <a:lnTo>
                  <a:pt x="2855" y="20057"/>
                </a:lnTo>
                <a:cubicBezTo>
                  <a:pt x="2910" y="19815"/>
                  <a:pt x="2945" y="19558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300" y="16971"/>
                  <a:pt x="1136" y="17028"/>
                  <a:pt x="982" y="17113"/>
                </a:cubicBezTo>
                <a:lnTo>
                  <a:pt x="982" y="9116"/>
                </a:lnTo>
                <a:cubicBezTo>
                  <a:pt x="1136" y="9202"/>
                  <a:pt x="1300" y="9257"/>
                  <a:pt x="1473" y="9257"/>
                </a:cubicBezTo>
                <a:cubicBezTo>
                  <a:pt x="2286" y="9257"/>
                  <a:pt x="2945" y="8222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3" y="6414"/>
                  <a:pt x="14727" y="6671"/>
                  <a:pt x="14727" y="6943"/>
                </a:cubicBezTo>
                <a:cubicBezTo>
                  <a:pt x="14727" y="8222"/>
                  <a:pt x="15387" y="9257"/>
                  <a:pt x="16200" y="9257"/>
                </a:cubicBezTo>
                <a:cubicBezTo>
                  <a:pt x="16373" y="9257"/>
                  <a:pt x="16537" y="9202"/>
                  <a:pt x="16691" y="9116"/>
                </a:cubicBezTo>
                <a:cubicBezTo>
                  <a:pt x="16691" y="9116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9" y="20057"/>
                  <a:pt x="15709" y="19712"/>
                  <a:pt x="15709" y="19286"/>
                </a:cubicBezTo>
                <a:cubicBezTo>
                  <a:pt x="15709" y="18860"/>
                  <a:pt x="15929" y="18514"/>
                  <a:pt x="16200" y="18514"/>
                </a:cubicBezTo>
                <a:cubicBezTo>
                  <a:pt x="16471" y="18514"/>
                  <a:pt x="16691" y="18860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60"/>
                  <a:pt x="1201" y="18514"/>
                  <a:pt x="1473" y="18514"/>
                </a:cubicBezTo>
                <a:cubicBezTo>
                  <a:pt x="1744" y="18514"/>
                  <a:pt x="1964" y="18860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7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7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40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543" y="13297"/>
                </a:moveTo>
                <a:lnTo>
                  <a:pt x="8327" y="14769"/>
                </a:lnTo>
                <a:cubicBezTo>
                  <a:pt x="8595" y="14882"/>
                  <a:pt x="9419" y="15330"/>
                  <a:pt x="9541" y="14500"/>
                </a:cubicBezTo>
                <a:cubicBezTo>
                  <a:pt x="9669" y="13634"/>
                  <a:pt x="8811" y="13410"/>
                  <a:pt x="8543" y="13297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90" y="9257"/>
                  <a:pt x="4909" y="8912"/>
                  <a:pt x="4909" y="8486"/>
                </a:cubicBezTo>
                <a:cubicBezTo>
                  <a:pt x="4909" y="8060"/>
                  <a:pt x="4690" y="7714"/>
                  <a:pt x="4418" y="771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2807">
            <a:extLst>
              <a:ext uri="{FF2B5EF4-FFF2-40B4-BE49-F238E27FC236}">
                <a16:creationId xmlns:a16="http://schemas.microsoft.com/office/drawing/2014/main" id="{F9B6EB58-2AA9-4868-A2A4-724B709CB146}"/>
              </a:ext>
            </a:extLst>
          </p:cNvPr>
          <p:cNvSpPr/>
          <p:nvPr/>
        </p:nvSpPr>
        <p:spPr bwMode="gray">
          <a:xfrm>
            <a:off x="4497722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2150"/>
                </a:moveTo>
                <a:lnTo>
                  <a:pt x="17294" y="9450"/>
                </a:lnTo>
                <a:lnTo>
                  <a:pt x="19843" y="9450"/>
                </a:lnTo>
                <a:lnTo>
                  <a:pt x="19406" y="12150"/>
                </a:lnTo>
                <a:cubicBezTo>
                  <a:pt x="19406" y="12150"/>
                  <a:pt x="17075" y="12150"/>
                  <a:pt x="17075" y="12150"/>
                </a:cubicBezTo>
                <a:close/>
                <a:moveTo>
                  <a:pt x="18752" y="16200"/>
                </a:moveTo>
                <a:lnTo>
                  <a:pt x="16748" y="16200"/>
                </a:lnTo>
                <a:lnTo>
                  <a:pt x="16967" y="13500"/>
                </a:lnTo>
                <a:lnTo>
                  <a:pt x="19188" y="13500"/>
                </a:lnTo>
                <a:cubicBezTo>
                  <a:pt x="19188" y="13500"/>
                  <a:pt x="18752" y="16200"/>
                  <a:pt x="18752" y="16200"/>
                </a:cubicBezTo>
                <a:close/>
                <a:moveTo>
                  <a:pt x="17673" y="20250"/>
                </a:moveTo>
                <a:cubicBezTo>
                  <a:pt x="17131" y="20250"/>
                  <a:pt x="16691" y="19645"/>
                  <a:pt x="16691" y="18900"/>
                </a:cubicBezTo>
                <a:cubicBezTo>
                  <a:pt x="16691" y="18155"/>
                  <a:pt x="17131" y="17550"/>
                  <a:pt x="17673" y="17550"/>
                </a:cubicBezTo>
                <a:cubicBezTo>
                  <a:pt x="18215" y="17550"/>
                  <a:pt x="18655" y="18155"/>
                  <a:pt x="18655" y="18900"/>
                </a:cubicBezTo>
                <a:cubicBezTo>
                  <a:pt x="18655" y="19645"/>
                  <a:pt x="18215" y="20250"/>
                  <a:pt x="17673" y="20250"/>
                </a:cubicBezTo>
                <a:moveTo>
                  <a:pt x="16415" y="8100"/>
                </a:moveTo>
                <a:lnTo>
                  <a:pt x="13745" y="8100"/>
                </a:lnTo>
                <a:lnTo>
                  <a:pt x="13745" y="5400"/>
                </a:lnTo>
                <a:lnTo>
                  <a:pt x="16633" y="5400"/>
                </a:lnTo>
                <a:cubicBezTo>
                  <a:pt x="16633" y="5400"/>
                  <a:pt x="16415" y="8100"/>
                  <a:pt x="16415" y="8100"/>
                </a:cubicBezTo>
                <a:close/>
                <a:moveTo>
                  <a:pt x="16088" y="12150"/>
                </a:moveTo>
                <a:lnTo>
                  <a:pt x="13745" y="12150"/>
                </a:lnTo>
                <a:lnTo>
                  <a:pt x="13745" y="9450"/>
                </a:lnTo>
                <a:lnTo>
                  <a:pt x="16306" y="9450"/>
                </a:lnTo>
                <a:cubicBezTo>
                  <a:pt x="16306" y="9450"/>
                  <a:pt x="16088" y="12150"/>
                  <a:pt x="16088" y="12150"/>
                </a:cubicBezTo>
                <a:close/>
                <a:moveTo>
                  <a:pt x="15761" y="16200"/>
                </a:moveTo>
                <a:lnTo>
                  <a:pt x="13745" y="16200"/>
                </a:lnTo>
                <a:lnTo>
                  <a:pt x="13745" y="13500"/>
                </a:lnTo>
                <a:lnTo>
                  <a:pt x="15979" y="13500"/>
                </a:lnTo>
                <a:cubicBezTo>
                  <a:pt x="15979" y="13500"/>
                  <a:pt x="15761" y="16200"/>
                  <a:pt x="15761" y="16200"/>
                </a:cubicBezTo>
                <a:close/>
                <a:moveTo>
                  <a:pt x="12764" y="8100"/>
                </a:moveTo>
                <a:lnTo>
                  <a:pt x="10094" y="8100"/>
                </a:lnTo>
                <a:lnTo>
                  <a:pt x="9876" y="5400"/>
                </a:lnTo>
                <a:lnTo>
                  <a:pt x="12764" y="5400"/>
                </a:lnTo>
                <a:cubicBezTo>
                  <a:pt x="12764" y="5400"/>
                  <a:pt x="12764" y="8100"/>
                  <a:pt x="12764" y="8100"/>
                </a:cubicBezTo>
                <a:close/>
                <a:moveTo>
                  <a:pt x="12764" y="12150"/>
                </a:moveTo>
                <a:lnTo>
                  <a:pt x="10421" y="12150"/>
                </a:lnTo>
                <a:lnTo>
                  <a:pt x="10203" y="9450"/>
                </a:lnTo>
                <a:lnTo>
                  <a:pt x="12764" y="9450"/>
                </a:lnTo>
                <a:cubicBezTo>
                  <a:pt x="12764" y="9450"/>
                  <a:pt x="12764" y="12150"/>
                  <a:pt x="12764" y="12150"/>
                </a:cubicBezTo>
                <a:close/>
                <a:moveTo>
                  <a:pt x="12764" y="16200"/>
                </a:moveTo>
                <a:lnTo>
                  <a:pt x="10748" y="16200"/>
                </a:lnTo>
                <a:lnTo>
                  <a:pt x="10531" y="13500"/>
                </a:lnTo>
                <a:lnTo>
                  <a:pt x="12764" y="13500"/>
                </a:lnTo>
                <a:cubicBezTo>
                  <a:pt x="12764" y="13500"/>
                  <a:pt x="12764" y="16200"/>
                  <a:pt x="12764" y="16200"/>
                </a:cubicBezTo>
                <a:close/>
                <a:moveTo>
                  <a:pt x="8836" y="20250"/>
                </a:moveTo>
                <a:cubicBezTo>
                  <a:pt x="8294" y="20250"/>
                  <a:pt x="7855" y="19645"/>
                  <a:pt x="7855" y="18900"/>
                </a:cubicBezTo>
                <a:cubicBezTo>
                  <a:pt x="7855" y="18155"/>
                  <a:pt x="8294" y="17550"/>
                  <a:pt x="8836" y="17550"/>
                </a:cubicBezTo>
                <a:cubicBezTo>
                  <a:pt x="9379" y="17550"/>
                  <a:pt x="9818" y="18155"/>
                  <a:pt x="9818" y="18900"/>
                </a:cubicBezTo>
                <a:cubicBezTo>
                  <a:pt x="9818" y="19645"/>
                  <a:pt x="9379" y="20250"/>
                  <a:pt x="8836" y="20250"/>
                </a:cubicBezTo>
                <a:moveTo>
                  <a:pt x="7213" y="13500"/>
                </a:moveTo>
                <a:lnTo>
                  <a:pt x="9543" y="13500"/>
                </a:lnTo>
                <a:lnTo>
                  <a:pt x="9761" y="16200"/>
                </a:lnTo>
                <a:lnTo>
                  <a:pt x="7740" y="16200"/>
                </a:lnTo>
                <a:cubicBezTo>
                  <a:pt x="7740" y="16200"/>
                  <a:pt x="7213" y="13500"/>
                  <a:pt x="7213" y="13500"/>
                </a:cubicBezTo>
                <a:close/>
                <a:moveTo>
                  <a:pt x="6950" y="12150"/>
                </a:moveTo>
                <a:lnTo>
                  <a:pt x="6423" y="9450"/>
                </a:lnTo>
                <a:lnTo>
                  <a:pt x="9215" y="9450"/>
                </a:lnTo>
                <a:lnTo>
                  <a:pt x="9434" y="12150"/>
                </a:lnTo>
                <a:cubicBezTo>
                  <a:pt x="9434" y="12150"/>
                  <a:pt x="6950" y="12150"/>
                  <a:pt x="6950" y="12150"/>
                </a:cubicBezTo>
                <a:close/>
                <a:moveTo>
                  <a:pt x="5633" y="5400"/>
                </a:moveTo>
                <a:lnTo>
                  <a:pt x="8888" y="5400"/>
                </a:lnTo>
                <a:lnTo>
                  <a:pt x="9106" y="8100"/>
                </a:lnTo>
                <a:lnTo>
                  <a:pt x="6160" y="8100"/>
                </a:lnTo>
                <a:cubicBezTo>
                  <a:pt x="6160" y="8100"/>
                  <a:pt x="5633" y="5400"/>
                  <a:pt x="5633" y="5400"/>
                </a:cubicBezTo>
                <a:close/>
                <a:moveTo>
                  <a:pt x="17621" y="5400"/>
                </a:moveTo>
                <a:lnTo>
                  <a:pt x="20497" y="5400"/>
                </a:lnTo>
                <a:lnTo>
                  <a:pt x="20061" y="8100"/>
                </a:lnTo>
                <a:lnTo>
                  <a:pt x="17403" y="8100"/>
                </a:lnTo>
                <a:cubicBezTo>
                  <a:pt x="17403" y="8100"/>
                  <a:pt x="17621" y="5400"/>
                  <a:pt x="17621" y="5400"/>
                </a:cubicBezTo>
                <a:close/>
                <a:moveTo>
                  <a:pt x="19619" y="17038"/>
                </a:moveTo>
                <a:lnTo>
                  <a:pt x="19622" y="17038"/>
                </a:lnTo>
                <a:lnTo>
                  <a:pt x="21586" y="4889"/>
                </a:lnTo>
                <a:lnTo>
                  <a:pt x="21577" y="4886"/>
                </a:lnTo>
                <a:cubicBezTo>
                  <a:pt x="21586" y="4833"/>
                  <a:pt x="21600" y="4782"/>
                  <a:pt x="21600" y="4725"/>
                </a:cubicBezTo>
                <a:cubicBezTo>
                  <a:pt x="21600" y="4352"/>
                  <a:pt x="21380" y="4050"/>
                  <a:pt x="21109" y="4050"/>
                </a:cubicBezTo>
                <a:lnTo>
                  <a:pt x="5370" y="4050"/>
                </a:lnTo>
                <a:lnTo>
                  <a:pt x="4674" y="481"/>
                </a:lnTo>
                <a:lnTo>
                  <a:pt x="4667" y="484"/>
                </a:lnTo>
                <a:cubicBezTo>
                  <a:pt x="4605" y="207"/>
                  <a:pt x="4425" y="0"/>
                  <a:pt x="4203" y="0"/>
                </a:cubicBezTo>
                <a:lnTo>
                  <a:pt x="491" y="0"/>
                </a:lnTo>
                <a:cubicBezTo>
                  <a:pt x="220" y="0"/>
                  <a:pt x="0" y="302"/>
                  <a:pt x="0" y="675"/>
                </a:cubicBezTo>
                <a:cubicBezTo>
                  <a:pt x="0" y="1048"/>
                  <a:pt x="220" y="1350"/>
                  <a:pt x="491" y="1350"/>
                </a:cubicBezTo>
                <a:lnTo>
                  <a:pt x="3827" y="1350"/>
                </a:lnTo>
                <a:lnTo>
                  <a:pt x="6893" y="17069"/>
                </a:lnTo>
                <a:lnTo>
                  <a:pt x="6894" y="17069"/>
                </a:lnTo>
                <a:cubicBezTo>
                  <a:pt x="6936" y="17259"/>
                  <a:pt x="7037" y="17414"/>
                  <a:pt x="7168" y="17493"/>
                </a:cubicBezTo>
                <a:cubicBezTo>
                  <a:pt x="6984" y="17903"/>
                  <a:pt x="6873" y="18383"/>
                  <a:pt x="6873" y="18900"/>
                </a:cubicBezTo>
                <a:cubicBezTo>
                  <a:pt x="6873" y="20391"/>
                  <a:pt x="7752" y="21600"/>
                  <a:pt x="8836" y="21600"/>
                </a:cubicBezTo>
                <a:cubicBezTo>
                  <a:pt x="9921" y="21600"/>
                  <a:pt x="10800" y="20391"/>
                  <a:pt x="10800" y="18900"/>
                </a:cubicBezTo>
                <a:cubicBezTo>
                  <a:pt x="10800" y="18406"/>
                  <a:pt x="10696" y="17949"/>
                  <a:pt x="10528" y="17550"/>
                </a:cubicBezTo>
                <a:lnTo>
                  <a:pt x="15981" y="17550"/>
                </a:lnTo>
                <a:cubicBezTo>
                  <a:pt x="15813" y="17949"/>
                  <a:pt x="15709" y="18406"/>
                  <a:pt x="15709" y="18900"/>
                </a:cubicBezTo>
                <a:cubicBezTo>
                  <a:pt x="15709" y="20391"/>
                  <a:pt x="16588" y="21600"/>
                  <a:pt x="17673" y="21600"/>
                </a:cubicBezTo>
                <a:cubicBezTo>
                  <a:pt x="18757" y="21600"/>
                  <a:pt x="19636" y="20391"/>
                  <a:pt x="19636" y="18900"/>
                </a:cubicBezTo>
                <a:cubicBezTo>
                  <a:pt x="19636" y="18383"/>
                  <a:pt x="19525" y="17903"/>
                  <a:pt x="19341" y="17493"/>
                </a:cubicBezTo>
                <a:cubicBezTo>
                  <a:pt x="19479" y="17410"/>
                  <a:pt x="19581" y="17242"/>
                  <a:pt x="19619" y="1703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2808">
            <a:extLst>
              <a:ext uri="{FF2B5EF4-FFF2-40B4-BE49-F238E27FC236}">
                <a16:creationId xmlns:a16="http://schemas.microsoft.com/office/drawing/2014/main" id="{C4BF49B5-7A01-4CD6-8769-40BCAB8AC4E1}"/>
              </a:ext>
            </a:extLst>
          </p:cNvPr>
          <p:cNvSpPr/>
          <p:nvPr/>
        </p:nvSpPr>
        <p:spPr bwMode="gray">
          <a:xfrm>
            <a:off x="5052034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5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5" y="14727"/>
                  <a:pt x="17075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6" y="9447"/>
                </a:lnTo>
                <a:lnTo>
                  <a:pt x="21577" y="9444"/>
                </a:lnTo>
                <a:cubicBezTo>
                  <a:pt x="21586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6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1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2907" y="7711"/>
                </a:moveTo>
                <a:cubicBezTo>
                  <a:pt x="12996" y="7800"/>
                  <a:pt x="13119" y="7855"/>
                  <a:pt x="13255" y="7855"/>
                </a:cubicBezTo>
                <a:cubicBezTo>
                  <a:pt x="13390" y="7855"/>
                  <a:pt x="13513" y="7800"/>
                  <a:pt x="13602" y="7711"/>
                </a:cubicBezTo>
                <a:lnTo>
                  <a:pt x="15565" y="5747"/>
                </a:lnTo>
                <a:cubicBezTo>
                  <a:pt x="15654" y="5658"/>
                  <a:pt x="15709" y="5536"/>
                  <a:pt x="15709" y="5400"/>
                </a:cubicBezTo>
                <a:cubicBezTo>
                  <a:pt x="15709" y="5129"/>
                  <a:pt x="15490" y="4910"/>
                  <a:pt x="15218" y="4910"/>
                </a:cubicBezTo>
                <a:cubicBezTo>
                  <a:pt x="15083" y="4910"/>
                  <a:pt x="14960" y="4964"/>
                  <a:pt x="14871" y="5053"/>
                </a:cubicBezTo>
                <a:lnTo>
                  <a:pt x="13745" y="6179"/>
                </a:lnTo>
                <a:lnTo>
                  <a:pt x="13745" y="491"/>
                </a:lnTo>
                <a:lnTo>
                  <a:pt x="13745" y="491"/>
                </a:lnTo>
                <a:cubicBezTo>
                  <a:pt x="13745" y="220"/>
                  <a:pt x="13526" y="0"/>
                  <a:pt x="13255" y="0"/>
                </a:cubicBezTo>
                <a:cubicBezTo>
                  <a:pt x="12983" y="0"/>
                  <a:pt x="12764" y="220"/>
                  <a:pt x="12764" y="491"/>
                </a:cubicBezTo>
                <a:lnTo>
                  <a:pt x="12764" y="6179"/>
                </a:lnTo>
                <a:lnTo>
                  <a:pt x="11638" y="5053"/>
                </a:lnTo>
                <a:cubicBezTo>
                  <a:pt x="11549" y="4964"/>
                  <a:pt x="11427" y="4910"/>
                  <a:pt x="11291" y="4910"/>
                </a:cubicBezTo>
                <a:cubicBezTo>
                  <a:pt x="11020" y="4910"/>
                  <a:pt x="10800" y="5129"/>
                  <a:pt x="10800" y="5400"/>
                </a:cubicBezTo>
                <a:cubicBezTo>
                  <a:pt x="10800" y="5536"/>
                  <a:pt x="10855" y="5658"/>
                  <a:pt x="10944" y="5747"/>
                </a:cubicBezTo>
                <a:cubicBezTo>
                  <a:pt x="10944" y="5747"/>
                  <a:pt x="12907" y="7711"/>
                  <a:pt x="12907" y="7711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2809">
            <a:extLst>
              <a:ext uri="{FF2B5EF4-FFF2-40B4-BE49-F238E27FC236}">
                <a16:creationId xmlns:a16="http://schemas.microsoft.com/office/drawing/2014/main" id="{33E25693-2A21-47F8-A357-42AEAEA00D79}"/>
              </a:ext>
            </a:extLst>
          </p:cNvPr>
          <p:cNvSpPr/>
          <p:nvPr/>
        </p:nvSpPr>
        <p:spPr bwMode="gray">
          <a:xfrm>
            <a:off x="5606346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727"/>
                </a:moveTo>
                <a:lnTo>
                  <a:pt x="17294" y="12764"/>
                </a:lnTo>
                <a:lnTo>
                  <a:pt x="19843" y="12764"/>
                </a:lnTo>
                <a:lnTo>
                  <a:pt x="19406" y="14727"/>
                </a:lnTo>
                <a:cubicBezTo>
                  <a:pt x="19406" y="14727"/>
                  <a:pt x="17076" y="14727"/>
                  <a:pt x="17076" y="14727"/>
                </a:cubicBezTo>
                <a:close/>
                <a:moveTo>
                  <a:pt x="18752" y="17673"/>
                </a:moveTo>
                <a:lnTo>
                  <a:pt x="16748" y="17673"/>
                </a:lnTo>
                <a:lnTo>
                  <a:pt x="16967" y="15709"/>
                </a:lnTo>
                <a:lnTo>
                  <a:pt x="19188" y="15709"/>
                </a:lnTo>
                <a:cubicBezTo>
                  <a:pt x="19188" y="15709"/>
                  <a:pt x="18752" y="17673"/>
                  <a:pt x="18752" y="17673"/>
                </a:cubicBezTo>
                <a:close/>
                <a:moveTo>
                  <a:pt x="17673" y="20618"/>
                </a:moveTo>
                <a:cubicBezTo>
                  <a:pt x="17131" y="20618"/>
                  <a:pt x="16691" y="20179"/>
                  <a:pt x="16691" y="19636"/>
                </a:cubicBezTo>
                <a:cubicBezTo>
                  <a:pt x="16691" y="19095"/>
                  <a:pt x="17131" y="18655"/>
                  <a:pt x="17673" y="18655"/>
                </a:cubicBezTo>
                <a:cubicBezTo>
                  <a:pt x="18215" y="18655"/>
                  <a:pt x="18655" y="19095"/>
                  <a:pt x="18655" y="19636"/>
                </a:cubicBezTo>
                <a:cubicBezTo>
                  <a:pt x="18655" y="20179"/>
                  <a:pt x="18215" y="20618"/>
                  <a:pt x="17673" y="20618"/>
                </a:cubicBezTo>
                <a:moveTo>
                  <a:pt x="16415" y="11782"/>
                </a:moveTo>
                <a:lnTo>
                  <a:pt x="13745" y="11782"/>
                </a:lnTo>
                <a:lnTo>
                  <a:pt x="13745" y="9818"/>
                </a:lnTo>
                <a:lnTo>
                  <a:pt x="16633" y="9818"/>
                </a:lnTo>
                <a:cubicBezTo>
                  <a:pt x="16633" y="9818"/>
                  <a:pt x="16415" y="11782"/>
                  <a:pt x="16415" y="11782"/>
                </a:cubicBezTo>
                <a:close/>
                <a:moveTo>
                  <a:pt x="16088" y="14727"/>
                </a:moveTo>
                <a:lnTo>
                  <a:pt x="13745" y="14727"/>
                </a:lnTo>
                <a:lnTo>
                  <a:pt x="13745" y="12764"/>
                </a:lnTo>
                <a:lnTo>
                  <a:pt x="16306" y="12764"/>
                </a:lnTo>
                <a:cubicBezTo>
                  <a:pt x="16306" y="12764"/>
                  <a:pt x="16088" y="14727"/>
                  <a:pt x="16088" y="14727"/>
                </a:cubicBezTo>
                <a:close/>
                <a:moveTo>
                  <a:pt x="15761" y="17673"/>
                </a:moveTo>
                <a:lnTo>
                  <a:pt x="13745" y="17673"/>
                </a:lnTo>
                <a:lnTo>
                  <a:pt x="13745" y="15709"/>
                </a:lnTo>
                <a:lnTo>
                  <a:pt x="15979" y="15709"/>
                </a:lnTo>
                <a:cubicBezTo>
                  <a:pt x="15979" y="15709"/>
                  <a:pt x="15761" y="17673"/>
                  <a:pt x="15761" y="17673"/>
                </a:cubicBezTo>
                <a:close/>
                <a:moveTo>
                  <a:pt x="12764" y="11782"/>
                </a:moveTo>
                <a:lnTo>
                  <a:pt x="10094" y="11782"/>
                </a:lnTo>
                <a:lnTo>
                  <a:pt x="9876" y="9818"/>
                </a:lnTo>
                <a:lnTo>
                  <a:pt x="12764" y="9818"/>
                </a:lnTo>
                <a:cubicBezTo>
                  <a:pt x="12764" y="9818"/>
                  <a:pt x="12764" y="11782"/>
                  <a:pt x="12764" y="11782"/>
                </a:cubicBezTo>
                <a:close/>
                <a:moveTo>
                  <a:pt x="12764" y="14727"/>
                </a:moveTo>
                <a:lnTo>
                  <a:pt x="10421" y="14727"/>
                </a:lnTo>
                <a:lnTo>
                  <a:pt x="10203" y="12764"/>
                </a:lnTo>
                <a:lnTo>
                  <a:pt x="12764" y="12764"/>
                </a:lnTo>
                <a:cubicBezTo>
                  <a:pt x="12764" y="12764"/>
                  <a:pt x="12764" y="14727"/>
                  <a:pt x="12764" y="14727"/>
                </a:cubicBezTo>
                <a:close/>
                <a:moveTo>
                  <a:pt x="12764" y="17673"/>
                </a:moveTo>
                <a:lnTo>
                  <a:pt x="10748" y="17673"/>
                </a:lnTo>
                <a:lnTo>
                  <a:pt x="10531" y="15709"/>
                </a:lnTo>
                <a:lnTo>
                  <a:pt x="12764" y="15709"/>
                </a:lnTo>
                <a:cubicBezTo>
                  <a:pt x="12764" y="15709"/>
                  <a:pt x="12764" y="17673"/>
                  <a:pt x="12764" y="17673"/>
                </a:cubicBezTo>
                <a:close/>
                <a:moveTo>
                  <a:pt x="8836" y="20618"/>
                </a:moveTo>
                <a:cubicBezTo>
                  <a:pt x="8294" y="20618"/>
                  <a:pt x="7855" y="20179"/>
                  <a:pt x="7855" y="19636"/>
                </a:cubicBezTo>
                <a:cubicBezTo>
                  <a:pt x="7855" y="19095"/>
                  <a:pt x="8294" y="18655"/>
                  <a:pt x="8836" y="18655"/>
                </a:cubicBezTo>
                <a:cubicBezTo>
                  <a:pt x="9379" y="18655"/>
                  <a:pt x="9818" y="19095"/>
                  <a:pt x="9818" y="19636"/>
                </a:cubicBezTo>
                <a:cubicBezTo>
                  <a:pt x="9818" y="20179"/>
                  <a:pt x="9379" y="20618"/>
                  <a:pt x="8836" y="20618"/>
                </a:cubicBezTo>
                <a:moveTo>
                  <a:pt x="7213" y="15709"/>
                </a:moveTo>
                <a:lnTo>
                  <a:pt x="9543" y="15709"/>
                </a:lnTo>
                <a:lnTo>
                  <a:pt x="9761" y="17673"/>
                </a:lnTo>
                <a:lnTo>
                  <a:pt x="7740" y="17673"/>
                </a:lnTo>
                <a:cubicBezTo>
                  <a:pt x="7740" y="17673"/>
                  <a:pt x="7213" y="15709"/>
                  <a:pt x="7213" y="15709"/>
                </a:cubicBezTo>
                <a:close/>
                <a:moveTo>
                  <a:pt x="6950" y="14727"/>
                </a:moveTo>
                <a:lnTo>
                  <a:pt x="6423" y="12764"/>
                </a:lnTo>
                <a:lnTo>
                  <a:pt x="9215" y="12764"/>
                </a:lnTo>
                <a:lnTo>
                  <a:pt x="9434" y="14727"/>
                </a:lnTo>
                <a:cubicBezTo>
                  <a:pt x="9434" y="14727"/>
                  <a:pt x="6950" y="14727"/>
                  <a:pt x="6950" y="14727"/>
                </a:cubicBezTo>
                <a:close/>
                <a:moveTo>
                  <a:pt x="5633" y="9818"/>
                </a:moveTo>
                <a:lnTo>
                  <a:pt x="8888" y="9818"/>
                </a:lnTo>
                <a:lnTo>
                  <a:pt x="9106" y="11782"/>
                </a:lnTo>
                <a:lnTo>
                  <a:pt x="6160" y="11782"/>
                </a:lnTo>
                <a:cubicBezTo>
                  <a:pt x="6160" y="11782"/>
                  <a:pt x="5633" y="9818"/>
                  <a:pt x="5633" y="9818"/>
                </a:cubicBezTo>
                <a:close/>
                <a:moveTo>
                  <a:pt x="17621" y="9818"/>
                </a:moveTo>
                <a:lnTo>
                  <a:pt x="20497" y="9818"/>
                </a:lnTo>
                <a:lnTo>
                  <a:pt x="20061" y="11782"/>
                </a:lnTo>
                <a:lnTo>
                  <a:pt x="17403" y="11782"/>
                </a:lnTo>
                <a:cubicBezTo>
                  <a:pt x="17403" y="11782"/>
                  <a:pt x="17621" y="9818"/>
                  <a:pt x="17621" y="9818"/>
                </a:cubicBezTo>
                <a:close/>
                <a:moveTo>
                  <a:pt x="19619" y="18282"/>
                </a:moveTo>
                <a:lnTo>
                  <a:pt x="19622" y="18283"/>
                </a:lnTo>
                <a:lnTo>
                  <a:pt x="21585" y="9447"/>
                </a:lnTo>
                <a:lnTo>
                  <a:pt x="21577" y="9444"/>
                </a:lnTo>
                <a:cubicBezTo>
                  <a:pt x="21587" y="9406"/>
                  <a:pt x="21600" y="9369"/>
                  <a:pt x="21600" y="9327"/>
                </a:cubicBezTo>
                <a:cubicBezTo>
                  <a:pt x="21600" y="9056"/>
                  <a:pt x="21380" y="8836"/>
                  <a:pt x="21109" y="8836"/>
                </a:cubicBezTo>
                <a:lnTo>
                  <a:pt x="5370" y="8836"/>
                </a:lnTo>
                <a:lnTo>
                  <a:pt x="4674" y="6241"/>
                </a:lnTo>
                <a:lnTo>
                  <a:pt x="4667" y="6243"/>
                </a:lnTo>
                <a:cubicBezTo>
                  <a:pt x="4605" y="6041"/>
                  <a:pt x="4425" y="5891"/>
                  <a:pt x="4203" y="5891"/>
                </a:cubicBezTo>
                <a:lnTo>
                  <a:pt x="491" y="5891"/>
                </a:lnTo>
                <a:cubicBezTo>
                  <a:pt x="220" y="5891"/>
                  <a:pt x="0" y="6110"/>
                  <a:pt x="0" y="6382"/>
                </a:cubicBezTo>
                <a:cubicBezTo>
                  <a:pt x="0" y="6653"/>
                  <a:pt x="220" y="6873"/>
                  <a:pt x="491" y="6873"/>
                </a:cubicBezTo>
                <a:lnTo>
                  <a:pt x="3827" y="6873"/>
                </a:lnTo>
                <a:lnTo>
                  <a:pt x="6893" y="18305"/>
                </a:lnTo>
                <a:lnTo>
                  <a:pt x="6894" y="18305"/>
                </a:lnTo>
                <a:cubicBezTo>
                  <a:pt x="6936" y="18443"/>
                  <a:pt x="7037" y="18555"/>
                  <a:pt x="7168" y="18613"/>
                </a:cubicBezTo>
                <a:cubicBezTo>
                  <a:pt x="6984" y="18912"/>
                  <a:pt x="6873" y="19260"/>
                  <a:pt x="6873" y="19636"/>
                </a:cubicBezTo>
                <a:cubicBezTo>
                  <a:pt x="6873" y="20721"/>
                  <a:pt x="7752" y="21600"/>
                  <a:pt x="8836" y="21600"/>
                </a:cubicBezTo>
                <a:cubicBezTo>
                  <a:pt x="9921" y="21600"/>
                  <a:pt x="10800" y="20721"/>
                  <a:pt x="10800" y="19636"/>
                </a:cubicBezTo>
                <a:cubicBezTo>
                  <a:pt x="10800" y="19277"/>
                  <a:pt x="10696" y="18945"/>
                  <a:pt x="10528" y="18655"/>
                </a:cubicBezTo>
                <a:lnTo>
                  <a:pt x="15981" y="18655"/>
                </a:lnTo>
                <a:cubicBezTo>
                  <a:pt x="15813" y="18945"/>
                  <a:pt x="15709" y="19277"/>
                  <a:pt x="15709" y="19636"/>
                </a:cubicBezTo>
                <a:cubicBezTo>
                  <a:pt x="15709" y="20721"/>
                  <a:pt x="16588" y="21600"/>
                  <a:pt x="17673" y="21600"/>
                </a:cubicBezTo>
                <a:cubicBezTo>
                  <a:pt x="18757" y="21600"/>
                  <a:pt x="19636" y="20721"/>
                  <a:pt x="19636" y="19636"/>
                </a:cubicBezTo>
                <a:cubicBezTo>
                  <a:pt x="19636" y="19260"/>
                  <a:pt x="19525" y="18912"/>
                  <a:pt x="19342" y="18613"/>
                </a:cubicBezTo>
                <a:cubicBezTo>
                  <a:pt x="19479" y="18552"/>
                  <a:pt x="19581" y="18430"/>
                  <a:pt x="19619" y="18282"/>
                </a:cubicBezTo>
                <a:moveTo>
                  <a:pt x="11291" y="2945"/>
                </a:moveTo>
                <a:cubicBezTo>
                  <a:pt x="11427" y="2945"/>
                  <a:pt x="11549" y="2891"/>
                  <a:pt x="11638" y="2802"/>
                </a:cubicBezTo>
                <a:lnTo>
                  <a:pt x="12764" y="1676"/>
                </a:lnTo>
                <a:lnTo>
                  <a:pt x="12764" y="7364"/>
                </a:lnTo>
                <a:cubicBezTo>
                  <a:pt x="12764" y="7634"/>
                  <a:pt x="12983" y="7855"/>
                  <a:pt x="13255" y="7855"/>
                </a:cubicBezTo>
                <a:cubicBezTo>
                  <a:pt x="13526" y="7855"/>
                  <a:pt x="13745" y="7634"/>
                  <a:pt x="13745" y="7364"/>
                </a:cubicBezTo>
                <a:lnTo>
                  <a:pt x="13745" y="1676"/>
                </a:lnTo>
                <a:lnTo>
                  <a:pt x="14871" y="2802"/>
                </a:lnTo>
                <a:cubicBezTo>
                  <a:pt x="14959" y="2891"/>
                  <a:pt x="15082" y="2945"/>
                  <a:pt x="15218" y="2945"/>
                </a:cubicBezTo>
                <a:cubicBezTo>
                  <a:pt x="15490" y="2945"/>
                  <a:pt x="15709" y="2726"/>
                  <a:pt x="15709" y="2455"/>
                </a:cubicBezTo>
                <a:cubicBezTo>
                  <a:pt x="15709" y="2319"/>
                  <a:pt x="15654" y="2196"/>
                  <a:pt x="15565" y="2107"/>
                </a:cubicBezTo>
                <a:lnTo>
                  <a:pt x="13602" y="144"/>
                </a:lnTo>
                <a:cubicBezTo>
                  <a:pt x="13513" y="55"/>
                  <a:pt x="13390" y="0"/>
                  <a:pt x="13255" y="0"/>
                </a:cubicBezTo>
                <a:cubicBezTo>
                  <a:pt x="13118" y="0"/>
                  <a:pt x="12996" y="55"/>
                  <a:pt x="12907" y="144"/>
                </a:cubicBezTo>
                <a:lnTo>
                  <a:pt x="10944" y="2107"/>
                </a:lnTo>
                <a:cubicBezTo>
                  <a:pt x="10855" y="2196"/>
                  <a:pt x="10800" y="2319"/>
                  <a:pt x="10800" y="2455"/>
                </a:cubicBezTo>
                <a:cubicBezTo>
                  <a:pt x="10800" y="2726"/>
                  <a:pt x="11020" y="2945"/>
                  <a:pt x="11291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2810">
            <a:extLst>
              <a:ext uri="{FF2B5EF4-FFF2-40B4-BE49-F238E27FC236}">
                <a16:creationId xmlns:a16="http://schemas.microsoft.com/office/drawing/2014/main" id="{62C06D69-D727-490E-8676-35FDD4F57EBF}"/>
              </a:ext>
            </a:extLst>
          </p:cNvPr>
          <p:cNvSpPr/>
          <p:nvPr/>
        </p:nvSpPr>
        <p:spPr bwMode="gray">
          <a:xfrm>
            <a:off x="6176924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5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9327" y="3240"/>
                </a:moveTo>
                <a:lnTo>
                  <a:pt x="15015" y="3240"/>
                </a:lnTo>
                <a:lnTo>
                  <a:pt x="13889" y="4478"/>
                </a:lnTo>
                <a:cubicBezTo>
                  <a:pt x="13801" y="4577"/>
                  <a:pt x="13745" y="4711"/>
                  <a:pt x="13745" y="4860"/>
                </a:cubicBezTo>
                <a:cubicBezTo>
                  <a:pt x="13745" y="5159"/>
                  <a:pt x="13966" y="5400"/>
                  <a:pt x="14236" y="5400"/>
                </a:cubicBezTo>
                <a:cubicBezTo>
                  <a:pt x="14373" y="5400"/>
                  <a:pt x="14495" y="5340"/>
                  <a:pt x="14583" y="5242"/>
                </a:cubicBezTo>
                <a:lnTo>
                  <a:pt x="16547" y="3082"/>
                </a:lnTo>
                <a:cubicBezTo>
                  <a:pt x="16636" y="2984"/>
                  <a:pt x="16691" y="2849"/>
                  <a:pt x="16691" y="2700"/>
                </a:cubicBezTo>
                <a:cubicBezTo>
                  <a:pt x="16691" y="2552"/>
                  <a:pt x="16636" y="2417"/>
                  <a:pt x="16547" y="2318"/>
                </a:cubicBezTo>
                <a:lnTo>
                  <a:pt x="14583" y="158"/>
                </a:lnTo>
                <a:cubicBezTo>
                  <a:pt x="14495" y="61"/>
                  <a:pt x="14373" y="0"/>
                  <a:pt x="14236" y="0"/>
                </a:cubicBezTo>
                <a:cubicBezTo>
                  <a:pt x="13966" y="0"/>
                  <a:pt x="13745" y="242"/>
                  <a:pt x="13745" y="540"/>
                </a:cubicBezTo>
                <a:cubicBezTo>
                  <a:pt x="13745" y="689"/>
                  <a:pt x="13801" y="824"/>
                  <a:pt x="13889" y="922"/>
                </a:cubicBezTo>
                <a:lnTo>
                  <a:pt x="15015" y="2160"/>
                </a:lnTo>
                <a:lnTo>
                  <a:pt x="9327" y="2160"/>
                </a:lnTo>
                <a:cubicBezTo>
                  <a:pt x="9056" y="2160"/>
                  <a:pt x="8836" y="2402"/>
                  <a:pt x="8836" y="2700"/>
                </a:cubicBezTo>
                <a:cubicBezTo>
                  <a:pt x="8836" y="2999"/>
                  <a:pt x="9056" y="3240"/>
                  <a:pt x="9327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811">
            <a:extLst>
              <a:ext uri="{FF2B5EF4-FFF2-40B4-BE49-F238E27FC236}">
                <a16:creationId xmlns:a16="http://schemas.microsoft.com/office/drawing/2014/main" id="{F4C9DD60-0EB5-49D2-AEC5-5F4FE7DB9898}"/>
              </a:ext>
            </a:extLst>
          </p:cNvPr>
          <p:cNvSpPr/>
          <p:nvPr/>
        </p:nvSpPr>
        <p:spPr bwMode="gray">
          <a:xfrm>
            <a:off x="6731235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6" y="18643"/>
                  <a:pt x="19342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944" y="5242"/>
                </a:moveTo>
                <a:cubicBezTo>
                  <a:pt x="11033" y="5340"/>
                  <a:pt x="11155" y="5400"/>
                  <a:pt x="11291" y="5400"/>
                </a:cubicBezTo>
                <a:cubicBezTo>
                  <a:pt x="11562" y="5400"/>
                  <a:pt x="11782" y="5159"/>
                  <a:pt x="11782" y="4860"/>
                </a:cubicBezTo>
                <a:cubicBezTo>
                  <a:pt x="11782" y="4711"/>
                  <a:pt x="11727" y="4577"/>
                  <a:pt x="11638" y="4478"/>
                </a:cubicBezTo>
                <a:lnTo>
                  <a:pt x="10512" y="3240"/>
                </a:lnTo>
                <a:lnTo>
                  <a:pt x="16200" y="3240"/>
                </a:lnTo>
                <a:cubicBezTo>
                  <a:pt x="16471" y="3240"/>
                  <a:pt x="16691" y="2999"/>
                  <a:pt x="16691" y="2700"/>
                </a:cubicBezTo>
                <a:cubicBezTo>
                  <a:pt x="16691" y="2402"/>
                  <a:pt x="16471" y="2160"/>
                  <a:pt x="16200" y="2160"/>
                </a:cubicBezTo>
                <a:lnTo>
                  <a:pt x="10512" y="2160"/>
                </a:lnTo>
                <a:lnTo>
                  <a:pt x="11638" y="922"/>
                </a:lnTo>
                <a:cubicBezTo>
                  <a:pt x="11727" y="824"/>
                  <a:pt x="11782" y="689"/>
                  <a:pt x="11782" y="540"/>
                </a:cubicBezTo>
                <a:cubicBezTo>
                  <a:pt x="11782" y="242"/>
                  <a:pt x="11562" y="0"/>
                  <a:pt x="11291" y="0"/>
                </a:cubicBezTo>
                <a:cubicBezTo>
                  <a:pt x="11155" y="0"/>
                  <a:pt x="11033" y="61"/>
                  <a:pt x="10944" y="158"/>
                </a:cubicBezTo>
                <a:lnTo>
                  <a:pt x="8980" y="2318"/>
                </a:lnTo>
                <a:cubicBezTo>
                  <a:pt x="8891" y="2417"/>
                  <a:pt x="8836" y="2552"/>
                  <a:pt x="8836" y="2700"/>
                </a:cubicBezTo>
                <a:cubicBezTo>
                  <a:pt x="8836" y="2849"/>
                  <a:pt x="8891" y="2984"/>
                  <a:pt x="8980" y="3082"/>
                </a:cubicBezTo>
                <a:cubicBezTo>
                  <a:pt x="8980" y="3082"/>
                  <a:pt x="10944" y="5242"/>
                  <a:pt x="10944" y="524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2812">
            <a:extLst>
              <a:ext uri="{FF2B5EF4-FFF2-40B4-BE49-F238E27FC236}">
                <a16:creationId xmlns:a16="http://schemas.microsoft.com/office/drawing/2014/main" id="{E7FB7B64-BDE4-4A8B-80EE-138E85E48BC7}"/>
              </a:ext>
            </a:extLst>
          </p:cNvPr>
          <p:cNvSpPr/>
          <p:nvPr/>
        </p:nvSpPr>
        <p:spPr bwMode="gray">
          <a:xfrm>
            <a:off x="7285547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4040"/>
                </a:moveTo>
                <a:lnTo>
                  <a:pt x="17294" y="11880"/>
                </a:lnTo>
                <a:lnTo>
                  <a:pt x="19843" y="11880"/>
                </a:lnTo>
                <a:lnTo>
                  <a:pt x="19407" y="14040"/>
                </a:lnTo>
                <a:cubicBezTo>
                  <a:pt x="19407" y="14040"/>
                  <a:pt x="17076" y="14040"/>
                  <a:pt x="17076" y="14040"/>
                </a:cubicBezTo>
                <a:close/>
                <a:moveTo>
                  <a:pt x="18752" y="17280"/>
                </a:moveTo>
                <a:lnTo>
                  <a:pt x="16748" y="17280"/>
                </a:lnTo>
                <a:lnTo>
                  <a:pt x="16967" y="15120"/>
                </a:lnTo>
                <a:lnTo>
                  <a:pt x="19188" y="15120"/>
                </a:lnTo>
                <a:cubicBezTo>
                  <a:pt x="19188" y="15120"/>
                  <a:pt x="18752" y="17280"/>
                  <a:pt x="18752" y="17280"/>
                </a:cubicBezTo>
                <a:close/>
                <a:moveTo>
                  <a:pt x="17673" y="20520"/>
                </a:moveTo>
                <a:cubicBezTo>
                  <a:pt x="17131" y="20520"/>
                  <a:pt x="16691" y="20036"/>
                  <a:pt x="16691" y="19440"/>
                </a:cubicBezTo>
                <a:cubicBezTo>
                  <a:pt x="16691" y="18844"/>
                  <a:pt x="17131" y="18360"/>
                  <a:pt x="17673" y="18360"/>
                </a:cubicBezTo>
                <a:cubicBezTo>
                  <a:pt x="18215" y="18360"/>
                  <a:pt x="18655" y="18844"/>
                  <a:pt x="18655" y="19440"/>
                </a:cubicBezTo>
                <a:cubicBezTo>
                  <a:pt x="18655" y="20036"/>
                  <a:pt x="18215" y="20520"/>
                  <a:pt x="17673" y="20520"/>
                </a:cubicBezTo>
                <a:moveTo>
                  <a:pt x="16415" y="10800"/>
                </a:moveTo>
                <a:lnTo>
                  <a:pt x="13745" y="10800"/>
                </a:lnTo>
                <a:lnTo>
                  <a:pt x="13745" y="8640"/>
                </a:lnTo>
                <a:lnTo>
                  <a:pt x="16634" y="8640"/>
                </a:lnTo>
                <a:cubicBezTo>
                  <a:pt x="16634" y="8640"/>
                  <a:pt x="16415" y="10800"/>
                  <a:pt x="16415" y="10800"/>
                </a:cubicBezTo>
                <a:close/>
                <a:moveTo>
                  <a:pt x="16088" y="14040"/>
                </a:moveTo>
                <a:lnTo>
                  <a:pt x="13745" y="14040"/>
                </a:lnTo>
                <a:lnTo>
                  <a:pt x="13745" y="11880"/>
                </a:lnTo>
                <a:lnTo>
                  <a:pt x="16307" y="11880"/>
                </a:lnTo>
                <a:cubicBezTo>
                  <a:pt x="16307" y="11880"/>
                  <a:pt x="16088" y="14040"/>
                  <a:pt x="16088" y="14040"/>
                </a:cubicBezTo>
                <a:close/>
                <a:moveTo>
                  <a:pt x="15761" y="17280"/>
                </a:moveTo>
                <a:lnTo>
                  <a:pt x="13745" y="17280"/>
                </a:lnTo>
                <a:lnTo>
                  <a:pt x="13745" y="15120"/>
                </a:lnTo>
                <a:lnTo>
                  <a:pt x="15979" y="15120"/>
                </a:lnTo>
                <a:cubicBezTo>
                  <a:pt x="15979" y="15120"/>
                  <a:pt x="15761" y="17280"/>
                  <a:pt x="15761" y="17280"/>
                </a:cubicBezTo>
                <a:close/>
                <a:moveTo>
                  <a:pt x="12764" y="10800"/>
                </a:moveTo>
                <a:lnTo>
                  <a:pt x="10094" y="10800"/>
                </a:lnTo>
                <a:lnTo>
                  <a:pt x="9876" y="8640"/>
                </a:lnTo>
                <a:lnTo>
                  <a:pt x="12764" y="8640"/>
                </a:lnTo>
                <a:cubicBezTo>
                  <a:pt x="12764" y="8640"/>
                  <a:pt x="12764" y="10800"/>
                  <a:pt x="12764" y="10800"/>
                </a:cubicBezTo>
                <a:close/>
                <a:moveTo>
                  <a:pt x="12764" y="14040"/>
                </a:moveTo>
                <a:lnTo>
                  <a:pt x="10422" y="14040"/>
                </a:lnTo>
                <a:lnTo>
                  <a:pt x="10203" y="11880"/>
                </a:lnTo>
                <a:lnTo>
                  <a:pt x="12764" y="11880"/>
                </a:lnTo>
                <a:cubicBezTo>
                  <a:pt x="12764" y="11880"/>
                  <a:pt x="12764" y="14040"/>
                  <a:pt x="12764" y="14040"/>
                </a:cubicBezTo>
                <a:close/>
                <a:moveTo>
                  <a:pt x="12764" y="17280"/>
                </a:moveTo>
                <a:lnTo>
                  <a:pt x="10748" y="17280"/>
                </a:lnTo>
                <a:lnTo>
                  <a:pt x="10531" y="15120"/>
                </a:lnTo>
                <a:lnTo>
                  <a:pt x="12764" y="15120"/>
                </a:lnTo>
                <a:cubicBezTo>
                  <a:pt x="12764" y="15120"/>
                  <a:pt x="12764" y="17280"/>
                  <a:pt x="12764" y="17280"/>
                </a:cubicBezTo>
                <a:close/>
                <a:moveTo>
                  <a:pt x="8836" y="20520"/>
                </a:moveTo>
                <a:cubicBezTo>
                  <a:pt x="8294" y="20520"/>
                  <a:pt x="7855" y="20036"/>
                  <a:pt x="7855" y="19440"/>
                </a:cubicBezTo>
                <a:cubicBezTo>
                  <a:pt x="7855" y="18844"/>
                  <a:pt x="8294" y="18360"/>
                  <a:pt x="8836" y="18360"/>
                </a:cubicBezTo>
                <a:cubicBezTo>
                  <a:pt x="9379" y="18360"/>
                  <a:pt x="9818" y="18844"/>
                  <a:pt x="9818" y="19440"/>
                </a:cubicBezTo>
                <a:cubicBezTo>
                  <a:pt x="9818" y="20036"/>
                  <a:pt x="9379" y="20520"/>
                  <a:pt x="8836" y="20520"/>
                </a:cubicBezTo>
                <a:moveTo>
                  <a:pt x="7214" y="15120"/>
                </a:moveTo>
                <a:lnTo>
                  <a:pt x="9543" y="15120"/>
                </a:lnTo>
                <a:lnTo>
                  <a:pt x="9761" y="17280"/>
                </a:lnTo>
                <a:lnTo>
                  <a:pt x="7740" y="17280"/>
                </a:lnTo>
                <a:cubicBezTo>
                  <a:pt x="7740" y="17280"/>
                  <a:pt x="7214" y="15120"/>
                  <a:pt x="7214" y="15120"/>
                </a:cubicBezTo>
                <a:close/>
                <a:moveTo>
                  <a:pt x="6950" y="14040"/>
                </a:moveTo>
                <a:lnTo>
                  <a:pt x="6424" y="11880"/>
                </a:lnTo>
                <a:lnTo>
                  <a:pt x="9215" y="11880"/>
                </a:lnTo>
                <a:lnTo>
                  <a:pt x="9434" y="14040"/>
                </a:lnTo>
                <a:cubicBezTo>
                  <a:pt x="9434" y="14040"/>
                  <a:pt x="6950" y="14040"/>
                  <a:pt x="6950" y="14040"/>
                </a:cubicBezTo>
                <a:close/>
                <a:moveTo>
                  <a:pt x="5633" y="8640"/>
                </a:moveTo>
                <a:lnTo>
                  <a:pt x="8888" y="8640"/>
                </a:lnTo>
                <a:lnTo>
                  <a:pt x="9107" y="10800"/>
                </a:lnTo>
                <a:lnTo>
                  <a:pt x="6160" y="10800"/>
                </a:lnTo>
                <a:cubicBezTo>
                  <a:pt x="6160" y="10800"/>
                  <a:pt x="5633" y="8640"/>
                  <a:pt x="5633" y="8640"/>
                </a:cubicBezTo>
                <a:close/>
                <a:moveTo>
                  <a:pt x="17621" y="8640"/>
                </a:moveTo>
                <a:lnTo>
                  <a:pt x="20498" y="8640"/>
                </a:lnTo>
                <a:lnTo>
                  <a:pt x="20061" y="10800"/>
                </a:lnTo>
                <a:lnTo>
                  <a:pt x="17403" y="10800"/>
                </a:lnTo>
                <a:cubicBezTo>
                  <a:pt x="17403" y="10800"/>
                  <a:pt x="17621" y="8640"/>
                  <a:pt x="17621" y="8640"/>
                </a:cubicBezTo>
                <a:close/>
                <a:moveTo>
                  <a:pt x="19619" y="17950"/>
                </a:moveTo>
                <a:lnTo>
                  <a:pt x="19622" y="17951"/>
                </a:lnTo>
                <a:lnTo>
                  <a:pt x="21586" y="8231"/>
                </a:lnTo>
                <a:lnTo>
                  <a:pt x="21577" y="8229"/>
                </a:lnTo>
                <a:cubicBezTo>
                  <a:pt x="21586" y="8186"/>
                  <a:pt x="21600" y="8145"/>
                  <a:pt x="21600" y="8100"/>
                </a:cubicBezTo>
                <a:cubicBezTo>
                  <a:pt x="21600" y="7802"/>
                  <a:pt x="21380" y="7560"/>
                  <a:pt x="21109" y="7560"/>
                </a:cubicBezTo>
                <a:lnTo>
                  <a:pt x="5370" y="7560"/>
                </a:lnTo>
                <a:lnTo>
                  <a:pt x="4674" y="4705"/>
                </a:lnTo>
                <a:lnTo>
                  <a:pt x="4667" y="4707"/>
                </a:lnTo>
                <a:cubicBezTo>
                  <a:pt x="4606" y="4485"/>
                  <a:pt x="4426" y="4320"/>
                  <a:pt x="4204" y="4320"/>
                </a:cubicBezTo>
                <a:lnTo>
                  <a:pt x="491" y="4320"/>
                </a:lnTo>
                <a:cubicBezTo>
                  <a:pt x="220" y="4320"/>
                  <a:pt x="0" y="4562"/>
                  <a:pt x="0" y="4860"/>
                </a:cubicBezTo>
                <a:cubicBezTo>
                  <a:pt x="0" y="5159"/>
                  <a:pt x="220" y="5400"/>
                  <a:pt x="491" y="5400"/>
                </a:cubicBezTo>
                <a:lnTo>
                  <a:pt x="3827" y="5400"/>
                </a:lnTo>
                <a:lnTo>
                  <a:pt x="6893" y="17975"/>
                </a:lnTo>
                <a:lnTo>
                  <a:pt x="6894" y="17975"/>
                </a:lnTo>
                <a:cubicBezTo>
                  <a:pt x="6936" y="18127"/>
                  <a:pt x="7037" y="18251"/>
                  <a:pt x="7168" y="18314"/>
                </a:cubicBezTo>
                <a:cubicBezTo>
                  <a:pt x="6984" y="18643"/>
                  <a:pt x="6873" y="19026"/>
                  <a:pt x="6873" y="19440"/>
                </a:cubicBezTo>
                <a:cubicBezTo>
                  <a:pt x="6873" y="20633"/>
                  <a:pt x="7752" y="21600"/>
                  <a:pt x="8836" y="21600"/>
                </a:cubicBezTo>
                <a:cubicBezTo>
                  <a:pt x="9921" y="21600"/>
                  <a:pt x="10800" y="20633"/>
                  <a:pt x="10800" y="19440"/>
                </a:cubicBezTo>
                <a:cubicBezTo>
                  <a:pt x="10800" y="19045"/>
                  <a:pt x="10696" y="18679"/>
                  <a:pt x="10528" y="18360"/>
                </a:cubicBezTo>
                <a:lnTo>
                  <a:pt x="15982" y="18360"/>
                </a:lnTo>
                <a:cubicBezTo>
                  <a:pt x="15813" y="18679"/>
                  <a:pt x="15709" y="19045"/>
                  <a:pt x="15709" y="19440"/>
                </a:cubicBezTo>
                <a:cubicBezTo>
                  <a:pt x="15709" y="20633"/>
                  <a:pt x="16588" y="21600"/>
                  <a:pt x="17673" y="21600"/>
                </a:cubicBezTo>
                <a:cubicBezTo>
                  <a:pt x="18757" y="21600"/>
                  <a:pt x="19636" y="20633"/>
                  <a:pt x="19636" y="19440"/>
                </a:cubicBezTo>
                <a:cubicBezTo>
                  <a:pt x="19636" y="19026"/>
                  <a:pt x="19525" y="18643"/>
                  <a:pt x="19341" y="18314"/>
                </a:cubicBezTo>
                <a:cubicBezTo>
                  <a:pt x="19479" y="18248"/>
                  <a:pt x="19581" y="18113"/>
                  <a:pt x="19619" y="17950"/>
                </a:cubicBezTo>
                <a:moveTo>
                  <a:pt x="10800" y="3780"/>
                </a:moveTo>
                <a:lnTo>
                  <a:pt x="12764" y="3780"/>
                </a:lnTo>
                <a:lnTo>
                  <a:pt x="12764" y="5940"/>
                </a:lnTo>
                <a:cubicBezTo>
                  <a:pt x="12764" y="6239"/>
                  <a:pt x="12984" y="6480"/>
                  <a:pt x="13255" y="6480"/>
                </a:cubicBezTo>
                <a:cubicBezTo>
                  <a:pt x="13526" y="6480"/>
                  <a:pt x="13745" y="6239"/>
                  <a:pt x="13745" y="5940"/>
                </a:cubicBezTo>
                <a:lnTo>
                  <a:pt x="13745" y="3780"/>
                </a:lnTo>
                <a:lnTo>
                  <a:pt x="15709" y="3780"/>
                </a:lnTo>
                <a:cubicBezTo>
                  <a:pt x="15980" y="3780"/>
                  <a:pt x="16200" y="3539"/>
                  <a:pt x="16200" y="3240"/>
                </a:cubicBezTo>
                <a:cubicBezTo>
                  <a:pt x="16200" y="2942"/>
                  <a:pt x="15980" y="2700"/>
                  <a:pt x="15709" y="2700"/>
                </a:cubicBezTo>
                <a:lnTo>
                  <a:pt x="13745" y="2700"/>
                </a:lnTo>
                <a:lnTo>
                  <a:pt x="13745" y="540"/>
                </a:lnTo>
                <a:cubicBezTo>
                  <a:pt x="13745" y="242"/>
                  <a:pt x="13526" y="0"/>
                  <a:pt x="13255" y="0"/>
                </a:cubicBezTo>
                <a:cubicBezTo>
                  <a:pt x="12984" y="0"/>
                  <a:pt x="12764" y="242"/>
                  <a:pt x="12764" y="540"/>
                </a:cubicBezTo>
                <a:lnTo>
                  <a:pt x="12764" y="2700"/>
                </a:lnTo>
                <a:lnTo>
                  <a:pt x="10800" y="2700"/>
                </a:lnTo>
                <a:cubicBezTo>
                  <a:pt x="10529" y="2700"/>
                  <a:pt x="10309" y="2942"/>
                  <a:pt x="10309" y="3240"/>
                </a:cubicBezTo>
                <a:cubicBezTo>
                  <a:pt x="10309" y="3539"/>
                  <a:pt x="10529" y="3780"/>
                  <a:pt x="10800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2813">
            <a:extLst>
              <a:ext uri="{FF2B5EF4-FFF2-40B4-BE49-F238E27FC236}">
                <a16:creationId xmlns:a16="http://schemas.microsoft.com/office/drawing/2014/main" id="{2E6CF74B-0A32-48DD-8246-78B1491B854B}"/>
              </a:ext>
            </a:extLst>
          </p:cNvPr>
          <p:cNvSpPr/>
          <p:nvPr/>
        </p:nvSpPr>
        <p:spPr bwMode="gray">
          <a:xfrm>
            <a:off x="7839859" y="1792040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76" y="12960"/>
                </a:moveTo>
                <a:lnTo>
                  <a:pt x="17294" y="10491"/>
                </a:lnTo>
                <a:lnTo>
                  <a:pt x="19843" y="10491"/>
                </a:lnTo>
                <a:lnTo>
                  <a:pt x="19407" y="12960"/>
                </a:lnTo>
                <a:cubicBezTo>
                  <a:pt x="19407" y="12960"/>
                  <a:pt x="17076" y="12960"/>
                  <a:pt x="17076" y="12960"/>
                </a:cubicBezTo>
                <a:close/>
                <a:moveTo>
                  <a:pt x="18752" y="16663"/>
                </a:moveTo>
                <a:lnTo>
                  <a:pt x="16748" y="16663"/>
                </a:lnTo>
                <a:lnTo>
                  <a:pt x="16967" y="14194"/>
                </a:lnTo>
                <a:lnTo>
                  <a:pt x="19188" y="14194"/>
                </a:lnTo>
                <a:cubicBezTo>
                  <a:pt x="19188" y="14194"/>
                  <a:pt x="18752" y="16663"/>
                  <a:pt x="18752" y="16663"/>
                </a:cubicBezTo>
                <a:close/>
                <a:moveTo>
                  <a:pt x="17673" y="20366"/>
                </a:moveTo>
                <a:cubicBezTo>
                  <a:pt x="17131" y="20366"/>
                  <a:pt x="16691" y="19813"/>
                  <a:pt x="16691" y="19131"/>
                </a:cubicBezTo>
                <a:cubicBezTo>
                  <a:pt x="16691" y="18450"/>
                  <a:pt x="17131" y="17897"/>
                  <a:pt x="17673" y="17897"/>
                </a:cubicBezTo>
                <a:cubicBezTo>
                  <a:pt x="18215" y="17897"/>
                  <a:pt x="18655" y="18450"/>
                  <a:pt x="18655" y="19131"/>
                </a:cubicBezTo>
                <a:cubicBezTo>
                  <a:pt x="18655" y="19813"/>
                  <a:pt x="18215" y="20366"/>
                  <a:pt x="17673" y="20366"/>
                </a:cubicBezTo>
                <a:moveTo>
                  <a:pt x="16415" y="9257"/>
                </a:moveTo>
                <a:lnTo>
                  <a:pt x="13745" y="9257"/>
                </a:lnTo>
                <a:lnTo>
                  <a:pt x="13745" y="6789"/>
                </a:lnTo>
                <a:lnTo>
                  <a:pt x="16634" y="6789"/>
                </a:lnTo>
                <a:cubicBezTo>
                  <a:pt x="16634" y="6789"/>
                  <a:pt x="16415" y="9257"/>
                  <a:pt x="16415" y="9257"/>
                </a:cubicBezTo>
                <a:close/>
                <a:moveTo>
                  <a:pt x="16088" y="12960"/>
                </a:moveTo>
                <a:lnTo>
                  <a:pt x="13745" y="12960"/>
                </a:lnTo>
                <a:lnTo>
                  <a:pt x="13745" y="10491"/>
                </a:lnTo>
                <a:lnTo>
                  <a:pt x="16307" y="10491"/>
                </a:lnTo>
                <a:cubicBezTo>
                  <a:pt x="16307" y="10491"/>
                  <a:pt x="16088" y="12960"/>
                  <a:pt x="16088" y="12960"/>
                </a:cubicBezTo>
                <a:close/>
                <a:moveTo>
                  <a:pt x="15761" y="16663"/>
                </a:moveTo>
                <a:lnTo>
                  <a:pt x="13745" y="16663"/>
                </a:lnTo>
                <a:lnTo>
                  <a:pt x="13745" y="14194"/>
                </a:lnTo>
                <a:lnTo>
                  <a:pt x="15979" y="14194"/>
                </a:lnTo>
                <a:cubicBezTo>
                  <a:pt x="15979" y="14194"/>
                  <a:pt x="15761" y="16663"/>
                  <a:pt x="15761" y="16663"/>
                </a:cubicBezTo>
                <a:close/>
                <a:moveTo>
                  <a:pt x="12764" y="9257"/>
                </a:moveTo>
                <a:lnTo>
                  <a:pt x="10094" y="9257"/>
                </a:lnTo>
                <a:lnTo>
                  <a:pt x="9876" y="6789"/>
                </a:lnTo>
                <a:lnTo>
                  <a:pt x="12764" y="6789"/>
                </a:lnTo>
                <a:cubicBezTo>
                  <a:pt x="12764" y="6789"/>
                  <a:pt x="12764" y="9257"/>
                  <a:pt x="12764" y="9257"/>
                </a:cubicBezTo>
                <a:close/>
                <a:moveTo>
                  <a:pt x="12764" y="12960"/>
                </a:moveTo>
                <a:lnTo>
                  <a:pt x="10422" y="12960"/>
                </a:lnTo>
                <a:lnTo>
                  <a:pt x="10203" y="10491"/>
                </a:lnTo>
                <a:lnTo>
                  <a:pt x="12764" y="10491"/>
                </a:lnTo>
                <a:cubicBezTo>
                  <a:pt x="12764" y="10491"/>
                  <a:pt x="12764" y="12960"/>
                  <a:pt x="12764" y="12960"/>
                </a:cubicBezTo>
                <a:close/>
                <a:moveTo>
                  <a:pt x="12764" y="16663"/>
                </a:moveTo>
                <a:lnTo>
                  <a:pt x="10748" y="16663"/>
                </a:lnTo>
                <a:lnTo>
                  <a:pt x="10531" y="14194"/>
                </a:lnTo>
                <a:lnTo>
                  <a:pt x="12764" y="14194"/>
                </a:lnTo>
                <a:cubicBezTo>
                  <a:pt x="12764" y="14194"/>
                  <a:pt x="12764" y="16663"/>
                  <a:pt x="12764" y="16663"/>
                </a:cubicBezTo>
                <a:close/>
                <a:moveTo>
                  <a:pt x="8836" y="20366"/>
                </a:moveTo>
                <a:cubicBezTo>
                  <a:pt x="8294" y="20366"/>
                  <a:pt x="7855" y="19813"/>
                  <a:pt x="7855" y="19131"/>
                </a:cubicBezTo>
                <a:cubicBezTo>
                  <a:pt x="7855" y="18450"/>
                  <a:pt x="8294" y="17897"/>
                  <a:pt x="8836" y="17897"/>
                </a:cubicBezTo>
                <a:cubicBezTo>
                  <a:pt x="9379" y="17897"/>
                  <a:pt x="9818" y="18450"/>
                  <a:pt x="9818" y="19131"/>
                </a:cubicBezTo>
                <a:cubicBezTo>
                  <a:pt x="9818" y="19813"/>
                  <a:pt x="9379" y="20366"/>
                  <a:pt x="8836" y="20366"/>
                </a:cubicBezTo>
                <a:moveTo>
                  <a:pt x="7214" y="14194"/>
                </a:moveTo>
                <a:lnTo>
                  <a:pt x="9543" y="14194"/>
                </a:lnTo>
                <a:lnTo>
                  <a:pt x="9761" y="16663"/>
                </a:lnTo>
                <a:lnTo>
                  <a:pt x="7740" y="16663"/>
                </a:lnTo>
                <a:cubicBezTo>
                  <a:pt x="7740" y="16663"/>
                  <a:pt x="7214" y="14194"/>
                  <a:pt x="7214" y="14194"/>
                </a:cubicBezTo>
                <a:close/>
                <a:moveTo>
                  <a:pt x="6950" y="12960"/>
                </a:moveTo>
                <a:lnTo>
                  <a:pt x="6424" y="10491"/>
                </a:lnTo>
                <a:lnTo>
                  <a:pt x="9215" y="10491"/>
                </a:lnTo>
                <a:lnTo>
                  <a:pt x="9434" y="12960"/>
                </a:lnTo>
                <a:cubicBezTo>
                  <a:pt x="9434" y="12960"/>
                  <a:pt x="6950" y="12960"/>
                  <a:pt x="6950" y="12960"/>
                </a:cubicBezTo>
                <a:close/>
                <a:moveTo>
                  <a:pt x="5633" y="6789"/>
                </a:moveTo>
                <a:lnTo>
                  <a:pt x="8888" y="6789"/>
                </a:lnTo>
                <a:lnTo>
                  <a:pt x="9107" y="9257"/>
                </a:lnTo>
                <a:lnTo>
                  <a:pt x="6160" y="9257"/>
                </a:lnTo>
                <a:cubicBezTo>
                  <a:pt x="6160" y="9257"/>
                  <a:pt x="5633" y="6789"/>
                  <a:pt x="5633" y="6789"/>
                </a:cubicBezTo>
                <a:close/>
                <a:moveTo>
                  <a:pt x="17621" y="6789"/>
                </a:moveTo>
                <a:lnTo>
                  <a:pt x="20498" y="6789"/>
                </a:lnTo>
                <a:lnTo>
                  <a:pt x="20061" y="9257"/>
                </a:lnTo>
                <a:lnTo>
                  <a:pt x="17403" y="9257"/>
                </a:lnTo>
                <a:cubicBezTo>
                  <a:pt x="17403" y="9257"/>
                  <a:pt x="17621" y="6789"/>
                  <a:pt x="17621" y="6789"/>
                </a:cubicBezTo>
                <a:close/>
                <a:moveTo>
                  <a:pt x="19619" y="17429"/>
                </a:moveTo>
                <a:lnTo>
                  <a:pt x="19622" y="17429"/>
                </a:lnTo>
                <a:lnTo>
                  <a:pt x="21585" y="6321"/>
                </a:lnTo>
                <a:lnTo>
                  <a:pt x="21577" y="6318"/>
                </a:lnTo>
                <a:cubicBezTo>
                  <a:pt x="21586" y="6270"/>
                  <a:pt x="21600" y="6224"/>
                  <a:pt x="21600" y="6171"/>
                </a:cubicBezTo>
                <a:cubicBezTo>
                  <a:pt x="21600" y="5830"/>
                  <a:pt x="21380" y="5554"/>
                  <a:pt x="21109" y="5554"/>
                </a:cubicBezTo>
                <a:lnTo>
                  <a:pt x="5370" y="5554"/>
                </a:lnTo>
                <a:lnTo>
                  <a:pt x="4674" y="2291"/>
                </a:lnTo>
                <a:lnTo>
                  <a:pt x="4667" y="2294"/>
                </a:lnTo>
                <a:cubicBezTo>
                  <a:pt x="4606" y="2040"/>
                  <a:pt x="4426" y="1851"/>
                  <a:pt x="4204" y="1851"/>
                </a:cubicBezTo>
                <a:lnTo>
                  <a:pt x="491" y="1851"/>
                </a:lnTo>
                <a:cubicBezTo>
                  <a:pt x="220" y="1851"/>
                  <a:pt x="0" y="2127"/>
                  <a:pt x="0" y="2469"/>
                </a:cubicBezTo>
                <a:cubicBezTo>
                  <a:pt x="0" y="2810"/>
                  <a:pt x="220" y="3086"/>
                  <a:pt x="491" y="3086"/>
                </a:cubicBezTo>
                <a:lnTo>
                  <a:pt x="3827" y="3086"/>
                </a:lnTo>
                <a:lnTo>
                  <a:pt x="6893" y="17457"/>
                </a:lnTo>
                <a:lnTo>
                  <a:pt x="6894" y="17457"/>
                </a:lnTo>
                <a:cubicBezTo>
                  <a:pt x="6936" y="17631"/>
                  <a:pt x="7037" y="17772"/>
                  <a:pt x="7168" y="17845"/>
                </a:cubicBezTo>
                <a:cubicBezTo>
                  <a:pt x="6984" y="18220"/>
                  <a:pt x="6873" y="18658"/>
                  <a:pt x="6873" y="19131"/>
                </a:cubicBezTo>
                <a:cubicBezTo>
                  <a:pt x="6873" y="20495"/>
                  <a:pt x="7752" y="21600"/>
                  <a:pt x="8836" y="21600"/>
                </a:cubicBezTo>
                <a:cubicBezTo>
                  <a:pt x="9921" y="21600"/>
                  <a:pt x="10800" y="20495"/>
                  <a:pt x="10800" y="19131"/>
                </a:cubicBezTo>
                <a:cubicBezTo>
                  <a:pt x="10800" y="18680"/>
                  <a:pt x="10696" y="18262"/>
                  <a:pt x="10528" y="17897"/>
                </a:cubicBezTo>
                <a:lnTo>
                  <a:pt x="15982" y="17897"/>
                </a:lnTo>
                <a:cubicBezTo>
                  <a:pt x="15813" y="18262"/>
                  <a:pt x="15709" y="18680"/>
                  <a:pt x="15709" y="19131"/>
                </a:cubicBezTo>
                <a:cubicBezTo>
                  <a:pt x="15709" y="20495"/>
                  <a:pt x="16588" y="21600"/>
                  <a:pt x="17673" y="21600"/>
                </a:cubicBezTo>
                <a:cubicBezTo>
                  <a:pt x="18757" y="21600"/>
                  <a:pt x="19636" y="20495"/>
                  <a:pt x="19636" y="19131"/>
                </a:cubicBezTo>
                <a:cubicBezTo>
                  <a:pt x="19636" y="18658"/>
                  <a:pt x="19525" y="18220"/>
                  <a:pt x="19341" y="17845"/>
                </a:cubicBezTo>
                <a:cubicBezTo>
                  <a:pt x="19479" y="17769"/>
                  <a:pt x="19581" y="17615"/>
                  <a:pt x="19619" y="17429"/>
                </a:cubicBezTo>
                <a:moveTo>
                  <a:pt x="10800" y="1234"/>
                </a:moveTo>
                <a:lnTo>
                  <a:pt x="15709" y="1234"/>
                </a:lnTo>
                <a:cubicBezTo>
                  <a:pt x="15980" y="1234"/>
                  <a:pt x="16200" y="959"/>
                  <a:pt x="16200" y="617"/>
                </a:cubicBezTo>
                <a:cubicBezTo>
                  <a:pt x="16200" y="276"/>
                  <a:pt x="15980" y="0"/>
                  <a:pt x="15709" y="0"/>
                </a:cubicBezTo>
                <a:lnTo>
                  <a:pt x="10800" y="0"/>
                </a:lnTo>
                <a:cubicBezTo>
                  <a:pt x="10529" y="0"/>
                  <a:pt x="10309" y="276"/>
                  <a:pt x="10309" y="617"/>
                </a:cubicBezTo>
                <a:cubicBezTo>
                  <a:pt x="10309" y="959"/>
                  <a:pt x="10529" y="1234"/>
                  <a:pt x="10800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2814">
            <a:extLst>
              <a:ext uri="{FF2B5EF4-FFF2-40B4-BE49-F238E27FC236}">
                <a16:creationId xmlns:a16="http://schemas.microsoft.com/office/drawing/2014/main" id="{B3F07DA0-1CC5-48BD-87F2-E50423DF4EC5}"/>
              </a:ext>
            </a:extLst>
          </p:cNvPr>
          <p:cNvSpPr/>
          <p:nvPr/>
        </p:nvSpPr>
        <p:spPr bwMode="gray">
          <a:xfrm>
            <a:off x="8420567" y="1759045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3200" y="10800"/>
                </a:lnTo>
                <a:lnTo>
                  <a:pt x="13200" y="11782"/>
                </a:lnTo>
                <a:lnTo>
                  <a:pt x="14400" y="11782"/>
                </a:lnTo>
                <a:cubicBezTo>
                  <a:pt x="14400" y="11782"/>
                  <a:pt x="14400" y="10800"/>
                  <a:pt x="14400" y="10800"/>
                </a:cubicBezTo>
                <a:close/>
                <a:moveTo>
                  <a:pt x="15600" y="11782"/>
                </a:moveTo>
                <a:lnTo>
                  <a:pt x="16800" y="11782"/>
                </a:lnTo>
                <a:lnTo>
                  <a:pt x="16800" y="10800"/>
                </a:lnTo>
                <a:lnTo>
                  <a:pt x="15600" y="10800"/>
                </a:lnTo>
                <a:cubicBezTo>
                  <a:pt x="15600" y="10800"/>
                  <a:pt x="15600" y="11782"/>
                  <a:pt x="15600" y="11782"/>
                </a:cubicBezTo>
                <a:close/>
                <a:moveTo>
                  <a:pt x="15600" y="15709"/>
                </a:moveTo>
                <a:lnTo>
                  <a:pt x="19200" y="15709"/>
                </a:lnTo>
                <a:lnTo>
                  <a:pt x="19200" y="14727"/>
                </a:lnTo>
                <a:lnTo>
                  <a:pt x="15600" y="14727"/>
                </a:lnTo>
                <a:cubicBezTo>
                  <a:pt x="15600" y="14727"/>
                  <a:pt x="15600" y="15709"/>
                  <a:pt x="15600" y="15709"/>
                </a:cubicBezTo>
                <a:close/>
                <a:moveTo>
                  <a:pt x="14400" y="8836"/>
                </a:moveTo>
                <a:lnTo>
                  <a:pt x="13200" y="8836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8836"/>
                  <a:pt x="14400" y="8836"/>
                </a:cubicBezTo>
                <a:close/>
                <a:moveTo>
                  <a:pt x="16800" y="8836"/>
                </a:moveTo>
                <a:lnTo>
                  <a:pt x="15600" y="8836"/>
                </a:lnTo>
                <a:lnTo>
                  <a:pt x="15600" y="9818"/>
                </a:lnTo>
                <a:lnTo>
                  <a:pt x="16800" y="9818"/>
                </a:lnTo>
                <a:cubicBezTo>
                  <a:pt x="16800" y="9818"/>
                  <a:pt x="16800" y="8836"/>
                  <a:pt x="16800" y="8836"/>
                </a:cubicBezTo>
                <a:close/>
                <a:moveTo>
                  <a:pt x="19200" y="6873"/>
                </a:moveTo>
                <a:lnTo>
                  <a:pt x="13200" y="6873"/>
                </a:lnTo>
                <a:lnTo>
                  <a:pt x="13200" y="7855"/>
                </a:lnTo>
                <a:lnTo>
                  <a:pt x="19200" y="7855"/>
                </a:lnTo>
                <a:cubicBezTo>
                  <a:pt x="19200" y="7855"/>
                  <a:pt x="19200" y="6873"/>
                  <a:pt x="19200" y="6873"/>
                </a:cubicBezTo>
                <a:close/>
                <a:moveTo>
                  <a:pt x="18000" y="9818"/>
                </a:moveTo>
                <a:lnTo>
                  <a:pt x="19200" y="9818"/>
                </a:lnTo>
                <a:lnTo>
                  <a:pt x="19200" y="8836"/>
                </a:lnTo>
                <a:lnTo>
                  <a:pt x="18000" y="8836"/>
                </a:lnTo>
                <a:cubicBezTo>
                  <a:pt x="18000" y="8836"/>
                  <a:pt x="18000" y="9818"/>
                  <a:pt x="18000" y="9818"/>
                </a:cubicBezTo>
                <a:close/>
                <a:moveTo>
                  <a:pt x="18000" y="11782"/>
                </a:moveTo>
                <a:lnTo>
                  <a:pt x="19200" y="11782"/>
                </a:lnTo>
                <a:lnTo>
                  <a:pt x="19200" y="10800"/>
                </a:lnTo>
                <a:lnTo>
                  <a:pt x="18000" y="10800"/>
                </a:lnTo>
                <a:cubicBezTo>
                  <a:pt x="18000" y="10800"/>
                  <a:pt x="18000" y="11782"/>
                  <a:pt x="18000" y="11782"/>
                </a:cubicBezTo>
                <a:close/>
                <a:moveTo>
                  <a:pt x="15600" y="13745"/>
                </a:moveTo>
                <a:lnTo>
                  <a:pt x="16800" y="13745"/>
                </a:lnTo>
                <a:lnTo>
                  <a:pt x="16800" y="12764"/>
                </a:lnTo>
                <a:lnTo>
                  <a:pt x="15600" y="12764"/>
                </a:lnTo>
                <a:cubicBezTo>
                  <a:pt x="15600" y="12764"/>
                  <a:pt x="15600" y="13745"/>
                  <a:pt x="15600" y="13745"/>
                </a:cubicBezTo>
                <a:close/>
                <a:moveTo>
                  <a:pt x="18000" y="13745"/>
                </a:moveTo>
                <a:lnTo>
                  <a:pt x="19200" y="13745"/>
                </a:lnTo>
                <a:lnTo>
                  <a:pt x="19200" y="12764"/>
                </a:lnTo>
                <a:lnTo>
                  <a:pt x="18000" y="12764"/>
                </a:lnTo>
                <a:cubicBezTo>
                  <a:pt x="18000" y="12764"/>
                  <a:pt x="18000" y="13745"/>
                  <a:pt x="18000" y="13745"/>
                </a:cubicBezTo>
                <a:close/>
                <a:moveTo>
                  <a:pt x="20400" y="16691"/>
                </a:moveTo>
                <a:lnTo>
                  <a:pt x="1200" y="16691"/>
                </a:lnTo>
                <a:lnTo>
                  <a:pt x="1200" y="5891"/>
                </a:lnTo>
                <a:lnTo>
                  <a:pt x="20400" y="5891"/>
                </a:lnTo>
                <a:cubicBezTo>
                  <a:pt x="20400" y="5891"/>
                  <a:pt x="20400" y="16691"/>
                  <a:pt x="20400" y="166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17673"/>
                </a:lnTo>
                <a:lnTo>
                  <a:pt x="20400" y="17673"/>
                </a:lnTo>
                <a:cubicBezTo>
                  <a:pt x="20400" y="17673"/>
                  <a:pt x="20400" y="20618"/>
                  <a:pt x="20400" y="20618"/>
                </a:cubicBezTo>
                <a:close/>
                <a:moveTo>
                  <a:pt x="15000" y="4909"/>
                </a:moveTo>
                <a:lnTo>
                  <a:pt x="13800" y="4909"/>
                </a:lnTo>
                <a:lnTo>
                  <a:pt x="13800" y="2945"/>
                </a:lnTo>
                <a:lnTo>
                  <a:pt x="15000" y="2945"/>
                </a:lnTo>
                <a:cubicBezTo>
                  <a:pt x="15000" y="2945"/>
                  <a:pt x="15000" y="4909"/>
                  <a:pt x="15000" y="4909"/>
                </a:cubicBezTo>
                <a:close/>
                <a:moveTo>
                  <a:pt x="13200" y="982"/>
                </a:moveTo>
                <a:lnTo>
                  <a:pt x="18000" y="982"/>
                </a:lnTo>
                <a:lnTo>
                  <a:pt x="18000" y="1964"/>
                </a:lnTo>
                <a:lnTo>
                  <a:pt x="13200" y="1964"/>
                </a:lnTo>
                <a:cubicBezTo>
                  <a:pt x="13200" y="1964"/>
                  <a:pt x="13200" y="982"/>
                  <a:pt x="13200" y="982"/>
                </a:cubicBezTo>
                <a:close/>
                <a:moveTo>
                  <a:pt x="12000" y="1964"/>
                </a:moveTo>
                <a:lnTo>
                  <a:pt x="10800" y="1964"/>
                </a:lnTo>
                <a:lnTo>
                  <a:pt x="10800" y="982"/>
                </a:lnTo>
                <a:lnTo>
                  <a:pt x="12000" y="982"/>
                </a:lnTo>
                <a:cubicBezTo>
                  <a:pt x="12000" y="982"/>
                  <a:pt x="12000" y="1964"/>
                  <a:pt x="12000" y="1964"/>
                </a:cubicBezTo>
                <a:close/>
                <a:moveTo>
                  <a:pt x="20400" y="4909"/>
                </a:moveTo>
                <a:lnTo>
                  <a:pt x="16200" y="4909"/>
                </a:lnTo>
                <a:lnTo>
                  <a:pt x="16200" y="2945"/>
                </a:lnTo>
                <a:lnTo>
                  <a:pt x="18000" y="2945"/>
                </a:lnTo>
                <a:cubicBezTo>
                  <a:pt x="18662" y="2945"/>
                  <a:pt x="19200" y="2506"/>
                  <a:pt x="19200" y="1964"/>
                </a:cubicBezTo>
                <a:lnTo>
                  <a:pt x="19200" y="982"/>
                </a:lnTo>
                <a:cubicBezTo>
                  <a:pt x="19200" y="440"/>
                  <a:pt x="18662" y="0"/>
                  <a:pt x="18000" y="0"/>
                </a:cubicBezTo>
                <a:lnTo>
                  <a:pt x="10800" y="0"/>
                </a:lnTo>
                <a:cubicBezTo>
                  <a:pt x="10138" y="0"/>
                  <a:pt x="9600" y="440"/>
                  <a:pt x="9600" y="982"/>
                </a:cubicBezTo>
                <a:lnTo>
                  <a:pt x="9600" y="1964"/>
                </a:lnTo>
                <a:cubicBezTo>
                  <a:pt x="9600" y="2506"/>
                  <a:pt x="10138" y="2945"/>
                  <a:pt x="10800" y="2945"/>
                </a:cubicBezTo>
                <a:lnTo>
                  <a:pt x="12600" y="2945"/>
                </a:lnTo>
                <a:lnTo>
                  <a:pt x="12600" y="4909"/>
                </a:lnTo>
                <a:lnTo>
                  <a:pt x="1200" y="4909"/>
                </a:lnTo>
                <a:cubicBezTo>
                  <a:pt x="538" y="4909"/>
                  <a:pt x="0" y="5349"/>
                  <a:pt x="0" y="5891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5891"/>
                </a:lnTo>
                <a:cubicBezTo>
                  <a:pt x="21600" y="5349"/>
                  <a:pt x="21062" y="4909"/>
                  <a:pt x="20400" y="4909"/>
                </a:cubicBezTo>
                <a:moveTo>
                  <a:pt x="3600" y="14727"/>
                </a:moveTo>
                <a:lnTo>
                  <a:pt x="2400" y="14727"/>
                </a:lnTo>
                <a:lnTo>
                  <a:pt x="2400" y="15709"/>
                </a:lnTo>
                <a:lnTo>
                  <a:pt x="3600" y="15709"/>
                </a:lnTo>
                <a:cubicBezTo>
                  <a:pt x="3600" y="15709"/>
                  <a:pt x="3600" y="14727"/>
                  <a:pt x="3600" y="14727"/>
                </a:cubicBezTo>
                <a:close/>
                <a:moveTo>
                  <a:pt x="4800" y="15709"/>
                </a:moveTo>
                <a:lnTo>
                  <a:pt x="6000" y="15709"/>
                </a:lnTo>
                <a:lnTo>
                  <a:pt x="6000" y="14727"/>
                </a:lnTo>
                <a:lnTo>
                  <a:pt x="4800" y="14727"/>
                </a:lnTo>
                <a:cubicBezTo>
                  <a:pt x="4800" y="14727"/>
                  <a:pt x="4800" y="15709"/>
                  <a:pt x="4800" y="15709"/>
                </a:cubicBezTo>
                <a:close/>
                <a:moveTo>
                  <a:pt x="9000" y="19636"/>
                </a:moveTo>
                <a:lnTo>
                  <a:pt x="12600" y="19636"/>
                </a:lnTo>
                <a:cubicBezTo>
                  <a:pt x="12931" y="19636"/>
                  <a:pt x="13200" y="19417"/>
                  <a:pt x="13200" y="19145"/>
                </a:cubicBezTo>
                <a:cubicBezTo>
                  <a:pt x="13200" y="18875"/>
                  <a:pt x="12931" y="18655"/>
                  <a:pt x="12600" y="18655"/>
                </a:cubicBezTo>
                <a:lnTo>
                  <a:pt x="9000" y="18655"/>
                </a:lnTo>
                <a:cubicBezTo>
                  <a:pt x="8669" y="18655"/>
                  <a:pt x="8400" y="18875"/>
                  <a:pt x="8400" y="19145"/>
                </a:cubicBezTo>
                <a:cubicBezTo>
                  <a:pt x="8400" y="19417"/>
                  <a:pt x="8669" y="19636"/>
                  <a:pt x="9000" y="19636"/>
                </a:cubicBezTo>
                <a:moveTo>
                  <a:pt x="7200" y="15709"/>
                </a:moveTo>
                <a:lnTo>
                  <a:pt x="8400" y="15709"/>
                </a:lnTo>
                <a:lnTo>
                  <a:pt x="8400" y="14727"/>
                </a:lnTo>
                <a:lnTo>
                  <a:pt x="7200" y="14727"/>
                </a:lnTo>
                <a:cubicBezTo>
                  <a:pt x="7200" y="14727"/>
                  <a:pt x="7200" y="15709"/>
                  <a:pt x="7200" y="15709"/>
                </a:cubicBezTo>
                <a:close/>
                <a:moveTo>
                  <a:pt x="14400" y="12764"/>
                </a:moveTo>
                <a:lnTo>
                  <a:pt x="13200" y="12764"/>
                </a:lnTo>
                <a:lnTo>
                  <a:pt x="13200" y="13745"/>
                </a:lnTo>
                <a:lnTo>
                  <a:pt x="14400" y="13745"/>
                </a:lnTo>
                <a:cubicBezTo>
                  <a:pt x="14400" y="13745"/>
                  <a:pt x="14400" y="12764"/>
                  <a:pt x="14400" y="12764"/>
                </a:cubicBezTo>
                <a:close/>
                <a:moveTo>
                  <a:pt x="10800" y="12764"/>
                </a:moveTo>
                <a:lnTo>
                  <a:pt x="3600" y="12764"/>
                </a:lnTo>
                <a:lnTo>
                  <a:pt x="3600" y="7855"/>
                </a:lnTo>
                <a:lnTo>
                  <a:pt x="10800" y="7855"/>
                </a:lnTo>
                <a:cubicBezTo>
                  <a:pt x="10800" y="7855"/>
                  <a:pt x="10800" y="12764"/>
                  <a:pt x="10800" y="12764"/>
                </a:cubicBezTo>
                <a:close/>
                <a:moveTo>
                  <a:pt x="12000" y="6873"/>
                </a:moveTo>
                <a:lnTo>
                  <a:pt x="2400" y="6873"/>
                </a:lnTo>
                <a:lnTo>
                  <a:pt x="2400" y="13745"/>
                </a:lnTo>
                <a:lnTo>
                  <a:pt x="12000" y="13745"/>
                </a:lnTo>
                <a:cubicBezTo>
                  <a:pt x="12000" y="13745"/>
                  <a:pt x="12000" y="6873"/>
                  <a:pt x="12000" y="6873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2815">
            <a:extLst>
              <a:ext uri="{FF2B5EF4-FFF2-40B4-BE49-F238E27FC236}">
                <a16:creationId xmlns:a16="http://schemas.microsoft.com/office/drawing/2014/main" id="{3676AF2B-0E40-466E-B633-76D0DF05F23E}"/>
              </a:ext>
            </a:extLst>
          </p:cNvPr>
          <p:cNvSpPr/>
          <p:nvPr/>
        </p:nvSpPr>
        <p:spPr bwMode="gray">
          <a:xfrm>
            <a:off x="8961681" y="1759045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7" y="20618"/>
                </a:moveTo>
                <a:lnTo>
                  <a:pt x="1300" y="19636"/>
                </a:lnTo>
                <a:lnTo>
                  <a:pt x="20300" y="19636"/>
                </a:lnTo>
                <a:lnTo>
                  <a:pt x="20443" y="20618"/>
                </a:lnTo>
                <a:cubicBezTo>
                  <a:pt x="20443" y="20618"/>
                  <a:pt x="1157" y="20618"/>
                  <a:pt x="1157" y="20618"/>
                </a:cubicBezTo>
                <a:close/>
                <a:moveTo>
                  <a:pt x="3172" y="6873"/>
                </a:moveTo>
                <a:lnTo>
                  <a:pt x="6480" y="6873"/>
                </a:lnTo>
                <a:lnTo>
                  <a:pt x="6480" y="8973"/>
                </a:lnTo>
                <a:cubicBezTo>
                  <a:pt x="6158" y="9143"/>
                  <a:pt x="5940" y="9456"/>
                  <a:pt x="5940" y="9818"/>
                </a:cubicBezTo>
                <a:cubicBezTo>
                  <a:pt x="5940" y="10360"/>
                  <a:pt x="6424" y="10800"/>
                  <a:pt x="7020" y="10800"/>
                </a:cubicBezTo>
                <a:cubicBezTo>
                  <a:pt x="7616" y="10800"/>
                  <a:pt x="8100" y="10360"/>
                  <a:pt x="8100" y="9818"/>
                </a:cubicBezTo>
                <a:cubicBezTo>
                  <a:pt x="8100" y="9456"/>
                  <a:pt x="7882" y="9143"/>
                  <a:pt x="7560" y="8973"/>
                </a:cubicBezTo>
                <a:lnTo>
                  <a:pt x="7560" y="6873"/>
                </a:lnTo>
                <a:lnTo>
                  <a:pt x="14040" y="6873"/>
                </a:lnTo>
                <a:lnTo>
                  <a:pt x="14040" y="8973"/>
                </a:lnTo>
                <a:cubicBezTo>
                  <a:pt x="13718" y="9143"/>
                  <a:pt x="13500" y="9456"/>
                  <a:pt x="13500" y="9818"/>
                </a:cubicBezTo>
                <a:cubicBezTo>
                  <a:pt x="13500" y="10360"/>
                  <a:pt x="13984" y="10800"/>
                  <a:pt x="14580" y="10800"/>
                </a:cubicBezTo>
                <a:cubicBezTo>
                  <a:pt x="15176" y="10800"/>
                  <a:pt x="15660" y="10360"/>
                  <a:pt x="15660" y="9818"/>
                </a:cubicBezTo>
                <a:cubicBezTo>
                  <a:pt x="15660" y="9456"/>
                  <a:pt x="15442" y="9143"/>
                  <a:pt x="15120" y="8973"/>
                </a:cubicBezTo>
                <a:lnTo>
                  <a:pt x="15120" y="6873"/>
                </a:lnTo>
                <a:lnTo>
                  <a:pt x="18428" y="6873"/>
                </a:lnTo>
                <a:lnTo>
                  <a:pt x="20155" y="18655"/>
                </a:lnTo>
                <a:lnTo>
                  <a:pt x="1445" y="18655"/>
                </a:lnTo>
                <a:cubicBezTo>
                  <a:pt x="1445" y="18655"/>
                  <a:pt x="3172" y="6873"/>
                  <a:pt x="3172" y="6873"/>
                </a:cubicBezTo>
                <a:close/>
                <a:moveTo>
                  <a:pt x="7560" y="3927"/>
                </a:moveTo>
                <a:cubicBezTo>
                  <a:pt x="7560" y="2301"/>
                  <a:pt x="9011" y="982"/>
                  <a:pt x="10800" y="982"/>
                </a:cubicBezTo>
                <a:cubicBezTo>
                  <a:pt x="12590" y="982"/>
                  <a:pt x="14040" y="2301"/>
                  <a:pt x="14040" y="3927"/>
                </a:cubicBezTo>
                <a:lnTo>
                  <a:pt x="14040" y="5891"/>
                </a:lnTo>
                <a:lnTo>
                  <a:pt x="7560" y="5891"/>
                </a:lnTo>
                <a:cubicBezTo>
                  <a:pt x="7560" y="5891"/>
                  <a:pt x="7560" y="3927"/>
                  <a:pt x="7560" y="3927"/>
                </a:cubicBezTo>
                <a:close/>
                <a:moveTo>
                  <a:pt x="21586" y="21045"/>
                </a:moveTo>
                <a:lnTo>
                  <a:pt x="21595" y="21044"/>
                </a:lnTo>
                <a:lnTo>
                  <a:pt x="19435" y="6317"/>
                </a:lnTo>
                <a:lnTo>
                  <a:pt x="19426" y="6318"/>
                </a:lnTo>
                <a:cubicBezTo>
                  <a:pt x="19390" y="6079"/>
                  <a:pt x="19173" y="5891"/>
                  <a:pt x="18900" y="5891"/>
                </a:cubicBezTo>
                <a:lnTo>
                  <a:pt x="15120" y="5891"/>
                </a:lnTo>
                <a:lnTo>
                  <a:pt x="15120" y="3927"/>
                </a:lnTo>
                <a:cubicBezTo>
                  <a:pt x="15120" y="1758"/>
                  <a:pt x="13186" y="0"/>
                  <a:pt x="10800" y="0"/>
                </a:cubicBezTo>
                <a:cubicBezTo>
                  <a:pt x="8414" y="0"/>
                  <a:pt x="6480" y="1758"/>
                  <a:pt x="6480" y="3927"/>
                </a:cubicBezTo>
                <a:lnTo>
                  <a:pt x="6480" y="5891"/>
                </a:lnTo>
                <a:lnTo>
                  <a:pt x="2700" y="5891"/>
                </a:lnTo>
                <a:cubicBezTo>
                  <a:pt x="2427" y="5891"/>
                  <a:pt x="2210" y="6079"/>
                  <a:pt x="2174" y="6318"/>
                </a:cubicBezTo>
                <a:lnTo>
                  <a:pt x="2165" y="6317"/>
                </a:lnTo>
                <a:lnTo>
                  <a:pt x="5" y="21044"/>
                </a:lnTo>
                <a:lnTo>
                  <a:pt x="14" y="21045"/>
                </a:lnTo>
                <a:cubicBezTo>
                  <a:pt x="11" y="21067"/>
                  <a:pt x="0" y="21087"/>
                  <a:pt x="0" y="21109"/>
                </a:cubicBezTo>
                <a:cubicBezTo>
                  <a:pt x="0" y="21381"/>
                  <a:pt x="242" y="21600"/>
                  <a:pt x="540" y="21600"/>
                </a:cubicBezTo>
                <a:lnTo>
                  <a:pt x="21060" y="21600"/>
                </a:lnTo>
                <a:cubicBezTo>
                  <a:pt x="21358" y="21600"/>
                  <a:pt x="21600" y="21381"/>
                  <a:pt x="21600" y="21109"/>
                </a:cubicBezTo>
                <a:cubicBezTo>
                  <a:pt x="21600" y="21087"/>
                  <a:pt x="21589" y="21067"/>
                  <a:pt x="21586" y="210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2816">
            <a:extLst>
              <a:ext uri="{FF2B5EF4-FFF2-40B4-BE49-F238E27FC236}">
                <a16:creationId xmlns:a16="http://schemas.microsoft.com/office/drawing/2014/main" id="{5D4E4197-33A6-436D-A1A2-D2F7993FD0FC}"/>
              </a:ext>
            </a:extLst>
          </p:cNvPr>
          <p:cNvSpPr/>
          <p:nvPr/>
        </p:nvSpPr>
        <p:spPr bwMode="gray">
          <a:xfrm>
            <a:off x="9496196" y="1759045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87" y="18100"/>
                </a:moveTo>
                <a:lnTo>
                  <a:pt x="21596" y="18099"/>
                </a:lnTo>
                <a:lnTo>
                  <a:pt x="20614" y="5335"/>
                </a:lnTo>
                <a:lnTo>
                  <a:pt x="20605" y="5337"/>
                </a:lnTo>
                <a:cubicBezTo>
                  <a:pt x="20573" y="5097"/>
                  <a:pt x="20376" y="4909"/>
                  <a:pt x="20127" y="4909"/>
                </a:cubicBezTo>
                <a:lnTo>
                  <a:pt x="16691" y="4909"/>
                </a:lnTo>
                <a:lnTo>
                  <a:pt x="16691" y="3927"/>
                </a:lnTo>
                <a:cubicBezTo>
                  <a:pt x="16691" y="1758"/>
                  <a:pt x="14932" y="0"/>
                  <a:pt x="12764" y="0"/>
                </a:cubicBezTo>
                <a:cubicBezTo>
                  <a:pt x="11300" y="0"/>
                  <a:pt x="10025" y="803"/>
                  <a:pt x="9350" y="1991"/>
                </a:cubicBezTo>
                <a:cubicBezTo>
                  <a:pt x="9705" y="2027"/>
                  <a:pt x="10048" y="2105"/>
                  <a:pt x="10377" y="2214"/>
                </a:cubicBezTo>
                <a:cubicBezTo>
                  <a:pt x="10911" y="1470"/>
                  <a:pt x="11778" y="982"/>
                  <a:pt x="12764" y="982"/>
                </a:cubicBezTo>
                <a:cubicBezTo>
                  <a:pt x="14390" y="982"/>
                  <a:pt x="15709" y="2301"/>
                  <a:pt x="15709" y="3927"/>
                </a:cubicBezTo>
                <a:lnTo>
                  <a:pt x="15709" y="4909"/>
                </a:lnTo>
                <a:lnTo>
                  <a:pt x="13337" y="4909"/>
                </a:lnTo>
                <a:cubicBezTo>
                  <a:pt x="13474" y="5221"/>
                  <a:pt x="13581" y="5549"/>
                  <a:pt x="13651" y="5891"/>
                </a:cubicBezTo>
                <a:lnTo>
                  <a:pt x="15709" y="5891"/>
                </a:lnTo>
                <a:lnTo>
                  <a:pt x="15709" y="6873"/>
                </a:lnTo>
                <a:lnTo>
                  <a:pt x="16204" y="6873"/>
                </a:lnTo>
                <a:cubicBezTo>
                  <a:pt x="16375" y="6873"/>
                  <a:pt x="16537" y="6905"/>
                  <a:pt x="16691" y="6961"/>
                </a:cubicBezTo>
                <a:lnTo>
                  <a:pt x="16691" y="5891"/>
                </a:lnTo>
                <a:lnTo>
                  <a:pt x="19674" y="5891"/>
                </a:lnTo>
                <a:lnTo>
                  <a:pt x="20429" y="15709"/>
                </a:lnTo>
                <a:lnTo>
                  <a:pt x="18247" y="15709"/>
                </a:lnTo>
                <a:lnTo>
                  <a:pt x="18323" y="16691"/>
                </a:lnTo>
                <a:lnTo>
                  <a:pt x="20504" y="16691"/>
                </a:lnTo>
                <a:lnTo>
                  <a:pt x="20580" y="17673"/>
                </a:lnTo>
                <a:lnTo>
                  <a:pt x="18398" y="17673"/>
                </a:lnTo>
                <a:lnTo>
                  <a:pt x="18474" y="18655"/>
                </a:lnTo>
                <a:lnTo>
                  <a:pt x="21109" y="18655"/>
                </a:lnTo>
                <a:cubicBezTo>
                  <a:pt x="21380" y="18655"/>
                  <a:pt x="21600" y="18435"/>
                  <a:pt x="21600" y="18164"/>
                </a:cubicBezTo>
                <a:cubicBezTo>
                  <a:pt x="21600" y="18141"/>
                  <a:pt x="21590" y="18122"/>
                  <a:pt x="21587" y="18100"/>
                </a:cubicBezTo>
                <a:moveTo>
                  <a:pt x="1020" y="20618"/>
                </a:moveTo>
                <a:lnTo>
                  <a:pt x="1096" y="19636"/>
                </a:lnTo>
                <a:lnTo>
                  <a:pt x="16577" y="19636"/>
                </a:lnTo>
                <a:lnTo>
                  <a:pt x="16653" y="20618"/>
                </a:lnTo>
                <a:cubicBezTo>
                  <a:pt x="16653" y="20618"/>
                  <a:pt x="1020" y="20618"/>
                  <a:pt x="1020" y="20618"/>
                </a:cubicBezTo>
                <a:close/>
                <a:moveTo>
                  <a:pt x="1926" y="8836"/>
                </a:moveTo>
                <a:lnTo>
                  <a:pt x="4909" y="8836"/>
                </a:lnTo>
                <a:lnTo>
                  <a:pt x="4909" y="10936"/>
                </a:lnTo>
                <a:cubicBezTo>
                  <a:pt x="4617" y="11106"/>
                  <a:pt x="4418" y="11420"/>
                  <a:pt x="4418" y="11782"/>
                </a:cubicBezTo>
                <a:cubicBezTo>
                  <a:pt x="4418" y="12324"/>
                  <a:pt x="4858" y="12764"/>
                  <a:pt x="5400" y="12764"/>
                </a:cubicBezTo>
                <a:cubicBezTo>
                  <a:pt x="5942" y="12764"/>
                  <a:pt x="6382" y="12324"/>
                  <a:pt x="6382" y="11782"/>
                </a:cubicBezTo>
                <a:cubicBezTo>
                  <a:pt x="6382" y="11420"/>
                  <a:pt x="6183" y="11106"/>
                  <a:pt x="5891" y="10936"/>
                </a:cubicBezTo>
                <a:lnTo>
                  <a:pt x="5891" y="8836"/>
                </a:lnTo>
                <a:lnTo>
                  <a:pt x="11782" y="8836"/>
                </a:lnTo>
                <a:lnTo>
                  <a:pt x="11782" y="10936"/>
                </a:lnTo>
                <a:cubicBezTo>
                  <a:pt x="11489" y="11106"/>
                  <a:pt x="11291" y="11420"/>
                  <a:pt x="11291" y="11782"/>
                </a:cubicBezTo>
                <a:cubicBezTo>
                  <a:pt x="11291" y="12324"/>
                  <a:pt x="11731" y="12764"/>
                  <a:pt x="12273" y="12764"/>
                </a:cubicBezTo>
                <a:cubicBezTo>
                  <a:pt x="12815" y="12764"/>
                  <a:pt x="13255" y="12324"/>
                  <a:pt x="13255" y="11782"/>
                </a:cubicBezTo>
                <a:cubicBezTo>
                  <a:pt x="13255" y="11420"/>
                  <a:pt x="13056" y="11106"/>
                  <a:pt x="12764" y="10936"/>
                </a:cubicBezTo>
                <a:lnTo>
                  <a:pt x="12764" y="8836"/>
                </a:lnTo>
                <a:lnTo>
                  <a:pt x="15746" y="8836"/>
                </a:lnTo>
                <a:lnTo>
                  <a:pt x="16502" y="18655"/>
                </a:lnTo>
                <a:lnTo>
                  <a:pt x="1172" y="18655"/>
                </a:lnTo>
                <a:cubicBezTo>
                  <a:pt x="1172" y="18655"/>
                  <a:pt x="1926" y="8836"/>
                  <a:pt x="1926" y="8836"/>
                </a:cubicBezTo>
                <a:close/>
                <a:moveTo>
                  <a:pt x="5891" y="6873"/>
                </a:moveTo>
                <a:cubicBezTo>
                  <a:pt x="5891" y="5246"/>
                  <a:pt x="7210" y="3927"/>
                  <a:pt x="8836" y="3927"/>
                </a:cubicBezTo>
                <a:cubicBezTo>
                  <a:pt x="10463" y="3927"/>
                  <a:pt x="11782" y="5246"/>
                  <a:pt x="11782" y="6873"/>
                </a:cubicBezTo>
                <a:lnTo>
                  <a:pt x="11782" y="7855"/>
                </a:lnTo>
                <a:lnTo>
                  <a:pt x="5891" y="7855"/>
                </a:lnTo>
                <a:cubicBezTo>
                  <a:pt x="5891" y="7855"/>
                  <a:pt x="5891" y="6873"/>
                  <a:pt x="5891" y="6873"/>
                </a:cubicBezTo>
                <a:close/>
                <a:moveTo>
                  <a:pt x="17668" y="21044"/>
                </a:moveTo>
                <a:lnTo>
                  <a:pt x="16687" y="8281"/>
                </a:lnTo>
                <a:lnTo>
                  <a:pt x="16678" y="8282"/>
                </a:lnTo>
                <a:cubicBezTo>
                  <a:pt x="16646" y="8043"/>
                  <a:pt x="16448" y="7855"/>
                  <a:pt x="16200" y="7855"/>
                </a:cubicBezTo>
                <a:lnTo>
                  <a:pt x="12764" y="7855"/>
                </a:lnTo>
                <a:lnTo>
                  <a:pt x="12764" y="6873"/>
                </a:lnTo>
                <a:cubicBezTo>
                  <a:pt x="12764" y="4704"/>
                  <a:pt x="11005" y="2945"/>
                  <a:pt x="8836" y="2945"/>
                </a:cubicBezTo>
                <a:cubicBezTo>
                  <a:pt x="6668" y="2945"/>
                  <a:pt x="4909" y="4704"/>
                  <a:pt x="4909" y="6873"/>
                </a:cubicBezTo>
                <a:lnTo>
                  <a:pt x="4909" y="7855"/>
                </a:lnTo>
                <a:lnTo>
                  <a:pt x="1473" y="7855"/>
                </a:lnTo>
                <a:cubicBezTo>
                  <a:pt x="1224" y="7855"/>
                  <a:pt x="1027" y="8043"/>
                  <a:pt x="995" y="8282"/>
                </a:cubicBezTo>
                <a:lnTo>
                  <a:pt x="986" y="8281"/>
                </a:lnTo>
                <a:lnTo>
                  <a:pt x="4" y="21044"/>
                </a:lnTo>
                <a:lnTo>
                  <a:pt x="13" y="21045"/>
                </a:lnTo>
                <a:cubicBezTo>
                  <a:pt x="10" y="21067"/>
                  <a:pt x="0" y="21087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1"/>
                  <a:pt x="17673" y="21109"/>
                </a:cubicBezTo>
                <a:cubicBezTo>
                  <a:pt x="17673" y="21087"/>
                  <a:pt x="17663" y="21067"/>
                  <a:pt x="17660" y="21045"/>
                </a:cubicBezTo>
                <a:cubicBezTo>
                  <a:pt x="17660" y="21045"/>
                  <a:pt x="17668" y="21044"/>
                  <a:pt x="17668" y="2104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Shape 2817">
            <a:extLst>
              <a:ext uri="{FF2B5EF4-FFF2-40B4-BE49-F238E27FC236}">
                <a16:creationId xmlns:a16="http://schemas.microsoft.com/office/drawing/2014/main" id="{25D1A2DD-4562-466B-A5C6-F9F4541B9953}"/>
              </a:ext>
            </a:extLst>
          </p:cNvPr>
          <p:cNvSpPr/>
          <p:nvPr/>
        </p:nvSpPr>
        <p:spPr bwMode="gray">
          <a:xfrm>
            <a:off x="10057107" y="178544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982" y="9600"/>
                </a:lnTo>
                <a:lnTo>
                  <a:pt x="982" y="8400"/>
                </a:lnTo>
                <a:lnTo>
                  <a:pt x="20618" y="8400"/>
                </a:lnTo>
                <a:cubicBezTo>
                  <a:pt x="20618" y="8400"/>
                  <a:pt x="20618" y="9600"/>
                  <a:pt x="20618" y="9600"/>
                </a:cubicBezTo>
                <a:close/>
                <a:moveTo>
                  <a:pt x="19006" y="13200"/>
                </a:moveTo>
                <a:lnTo>
                  <a:pt x="15735" y="13200"/>
                </a:lnTo>
                <a:lnTo>
                  <a:pt x="16045" y="10800"/>
                </a:lnTo>
                <a:lnTo>
                  <a:pt x="19419" y="10800"/>
                </a:lnTo>
                <a:cubicBezTo>
                  <a:pt x="19419" y="10800"/>
                  <a:pt x="19006" y="13200"/>
                  <a:pt x="19006" y="13200"/>
                </a:cubicBezTo>
                <a:close/>
                <a:moveTo>
                  <a:pt x="18386" y="16800"/>
                </a:moveTo>
                <a:lnTo>
                  <a:pt x="15270" y="16800"/>
                </a:lnTo>
                <a:lnTo>
                  <a:pt x="15580" y="14400"/>
                </a:lnTo>
                <a:lnTo>
                  <a:pt x="18799" y="14400"/>
                </a:lnTo>
                <a:cubicBezTo>
                  <a:pt x="18799" y="14400"/>
                  <a:pt x="18386" y="16800"/>
                  <a:pt x="18386" y="16800"/>
                </a:cubicBezTo>
                <a:close/>
                <a:moveTo>
                  <a:pt x="17766" y="20400"/>
                </a:moveTo>
                <a:lnTo>
                  <a:pt x="14805" y="20400"/>
                </a:lnTo>
                <a:lnTo>
                  <a:pt x="15115" y="18000"/>
                </a:lnTo>
                <a:lnTo>
                  <a:pt x="18179" y="18000"/>
                </a:lnTo>
                <a:cubicBezTo>
                  <a:pt x="18179" y="18000"/>
                  <a:pt x="17766" y="20400"/>
                  <a:pt x="17766" y="20400"/>
                </a:cubicBezTo>
                <a:close/>
                <a:moveTo>
                  <a:pt x="11291" y="13200"/>
                </a:moveTo>
                <a:lnTo>
                  <a:pt x="11291" y="10800"/>
                </a:lnTo>
                <a:lnTo>
                  <a:pt x="15063" y="10800"/>
                </a:lnTo>
                <a:lnTo>
                  <a:pt x="14753" y="13200"/>
                </a:lnTo>
                <a:cubicBezTo>
                  <a:pt x="14753" y="13200"/>
                  <a:pt x="11291" y="13200"/>
                  <a:pt x="11291" y="13200"/>
                </a:cubicBezTo>
                <a:close/>
                <a:moveTo>
                  <a:pt x="14289" y="16800"/>
                </a:moveTo>
                <a:lnTo>
                  <a:pt x="11291" y="16800"/>
                </a:lnTo>
                <a:lnTo>
                  <a:pt x="11291" y="14400"/>
                </a:lnTo>
                <a:lnTo>
                  <a:pt x="14598" y="14400"/>
                </a:lnTo>
                <a:cubicBezTo>
                  <a:pt x="14598" y="14400"/>
                  <a:pt x="14289" y="16800"/>
                  <a:pt x="14289" y="16800"/>
                </a:cubicBezTo>
                <a:close/>
                <a:moveTo>
                  <a:pt x="13823" y="20400"/>
                </a:moveTo>
                <a:lnTo>
                  <a:pt x="11291" y="20400"/>
                </a:lnTo>
                <a:lnTo>
                  <a:pt x="11291" y="18000"/>
                </a:lnTo>
                <a:lnTo>
                  <a:pt x="14133" y="18000"/>
                </a:lnTo>
                <a:cubicBezTo>
                  <a:pt x="14133" y="18000"/>
                  <a:pt x="13823" y="20400"/>
                  <a:pt x="13823" y="20400"/>
                </a:cubicBezTo>
                <a:close/>
                <a:moveTo>
                  <a:pt x="10309" y="13200"/>
                </a:moveTo>
                <a:lnTo>
                  <a:pt x="6847" y="13200"/>
                </a:lnTo>
                <a:lnTo>
                  <a:pt x="6537" y="10800"/>
                </a:lnTo>
                <a:lnTo>
                  <a:pt x="10309" y="10800"/>
                </a:lnTo>
                <a:cubicBezTo>
                  <a:pt x="10309" y="10800"/>
                  <a:pt x="10309" y="13200"/>
                  <a:pt x="10309" y="13200"/>
                </a:cubicBezTo>
                <a:close/>
                <a:moveTo>
                  <a:pt x="10309" y="16800"/>
                </a:moveTo>
                <a:lnTo>
                  <a:pt x="7311" y="16800"/>
                </a:lnTo>
                <a:lnTo>
                  <a:pt x="7002" y="14400"/>
                </a:lnTo>
                <a:lnTo>
                  <a:pt x="10309" y="14400"/>
                </a:lnTo>
                <a:cubicBezTo>
                  <a:pt x="10309" y="14400"/>
                  <a:pt x="10309" y="16800"/>
                  <a:pt x="10309" y="16800"/>
                </a:cubicBezTo>
                <a:close/>
                <a:moveTo>
                  <a:pt x="10309" y="20400"/>
                </a:moveTo>
                <a:lnTo>
                  <a:pt x="7777" y="20400"/>
                </a:lnTo>
                <a:lnTo>
                  <a:pt x="7467" y="18000"/>
                </a:lnTo>
                <a:lnTo>
                  <a:pt x="10309" y="18000"/>
                </a:lnTo>
                <a:cubicBezTo>
                  <a:pt x="10309" y="18000"/>
                  <a:pt x="10309" y="20400"/>
                  <a:pt x="10309" y="20400"/>
                </a:cubicBezTo>
                <a:close/>
                <a:moveTo>
                  <a:pt x="3834" y="20400"/>
                </a:moveTo>
                <a:lnTo>
                  <a:pt x="3421" y="18000"/>
                </a:lnTo>
                <a:lnTo>
                  <a:pt x="6485" y="18000"/>
                </a:lnTo>
                <a:lnTo>
                  <a:pt x="6795" y="20400"/>
                </a:lnTo>
                <a:cubicBezTo>
                  <a:pt x="6795" y="20400"/>
                  <a:pt x="3834" y="20400"/>
                  <a:pt x="3834" y="20400"/>
                </a:cubicBezTo>
                <a:close/>
                <a:moveTo>
                  <a:pt x="2801" y="14400"/>
                </a:moveTo>
                <a:lnTo>
                  <a:pt x="6020" y="14400"/>
                </a:lnTo>
                <a:lnTo>
                  <a:pt x="6330" y="16800"/>
                </a:lnTo>
                <a:lnTo>
                  <a:pt x="3214" y="16800"/>
                </a:lnTo>
                <a:cubicBezTo>
                  <a:pt x="3214" y="16800"/>
                  <a:pt x="2801" y="14400"/>
                  <a:pt x="2801" y="14400"/>
                </a:cubicBezTo>
                <a:close/>
                <a:moveTo>
                  <a:pt x="2181" y="10800"/>
                </a:moveTo>
                <a:lnTo>
                  <a:pt x="5555" y="10800"/>
                </a:lnTo>
                <a:lnTo>
                  <a:pt x="5865" y="13200"/>
                </a:lnTo>
                <a:lnTo>
                  <a:pt x="2594" y="13200"/>
                </a:lnTo>
                <a:cubicBezTo>
                  <a:pt x="2594" y="13200"/>
                  <a:pt x="2181" y="10800"/>
                  <a:pt x="2181" y="10800"/>
                </a:cubicBezTo>
                <a:close/>
                <a:moveTo>
                  <a:pt x="10800" y="1320"/>
                </a:moveTo>
                <a:lnTo>
                  <a:pt x="17616" y="7200"/>
                </a:lnTo>
                <a:lnTo>
                  <a:pt x="3984" y="7200"/>
                </a:lnTo>
                <a:cubicBezTo>
                  <a:pt x="3984" y="7200"/>
                  <a:pt x="10800" y="1320"/>
                  <a:pt x="10800" y="1320"/>
                </a:cubicBezTo>
                <a:close/>
                <a:moveTo>
                  <a:pt x="20618" y="7200"/>
                </a:moveTo>
                <a:lnTo>
                  <a:pt x="19284" y="7200"/>
                </a:lnTo>
                <a:lnTo>
                  <a:pt x="11157" y="188"/>
                </a:lnTo>
                <a:lnTo>
                  <a:pt x="11155" y="190"/>
                </a:lnTo>
                <a:cubicBezTo>
                  <a:pt x="11066" y="74"/>
                  <a:pt x="10941" y="0"/>
                  <a:pt x="10800" y="0"/>
                </a:cubicBezTo>
                <a:cubicBezTo>
                  <a:pt x="10659" y="0"/>
                  <a:pt x="10534" y="74"/>
                  <a:pt x="10445" y="190"/>
                </a:cubicBezTo>
                <a:lnTo>
                  <a:pt x="10443" y="188"/>
                </a:lnTo>
                <a:lnTo>
                  <a:pt x="2316" y="7200"/>
                </a:lnTo>
                <a:lnTo>
                  <a:pt x="982" y="7200"/>
                </a:lnTo>
                <a:cubicBezTo>
                  <a:pt x="439" y="7200"/>
                  <a:pt x="0" y="7738"/>
                  <a:pt x="0" y="8400"/>
                </a:cubicBezTo>
                <a:lnTo>
                  <a:pt x="0" y="9600"/>
                </a:lnTo>
                <a:cubicBezTo>
                  <a:pt x="0" y="10262"/>
                  <a:pt x="439" y="10800"/>
                  <a:pt x="982" y="10800"/>
                </a:cubicBezTo>
                <a:lnTo>
                  <a:pt x="1178" y="10800"/>
                </a:lnTo>
                <a:lnTo>
                  <a:pt x="2960" y="21145"/>
                </a:lnTo>
                <a:lnTo>
                  <a:pt x="2969" y="21143"/>
                </a:lnTo>
                <a:cubicBezTo>
                  <a:pt x="3023" y="2140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03"/>
                  <a:pt x="18631" y="21143"/>
                </a:cubicBezTo>
                <a:lnTo>
                  <a:pt x="18640" y="21145"/>
                </a:lnTo>
                <a:lnTo>
                  <a:pt x="20422" y="10800"/>
                </a:ln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8400"/>
                </a:lnTo>
                <a:cubicBezTo>
                  <a:pt x="21600" y="7738"/>
                  <a:pt x="21160" y="7200"/>
                  <a:pt x="20618" y="72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2818">
            <a:extLst>
              <a:ext uri="{FF2B5EF4-FFF2-40B4-BE49-F238E27FC236}">
                <a16:creationId xmlns:a16="http://schemas.microsoft.com/office/drawing/2014/main" id="{A245CAD1-B1CD-4FBD-AD89-F2DC70479D82}"/>
              </a:ext>
            </a:extLst>
          </p:cNvPr>
          <p:cNvSpPr/>
          <p:nvPr/>
        </p:nvSpPr>
        <p:spPr bwMode="gray">
          <a:xfrm>
            <a:off x="10611419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10453" y="7402"/>
                </a:moveTo>
                <a:cubicBezTo>
                  <a:pt x="10542" y="7500"/>
                  <a:pt x="10665" y="7560"/>
                  <a:pt x="10800" y="7560"/>
                </a:cubicBezTo>
                <a:cubicBezTo>
                  <a:pt x="10936" y="7560"/>
                  <a:pt x="11058" y="7500"/>
                  <a:pt x="11147" y="7402"/>
                </a:cubicBezTo>
                <a:lnTo>
                  <a:pt x="13111" y="5242"/>
                </a:lnTo>
                <a:cubicBezTo>
                  <a:pt x="13200" y="5144"/>
                  <a:pt x="13255" y="5009"/>
                  <a:pt x="13255" y="4860"/>
                </a:cubicBezTo>
                <a:cubicBezTo>
                  <a:pt x="13255" y="4562"/>
                  <a:pt x="13035" y="4320"/>
                  <a:pt x="12764" y="4320"/>
                </a:cubicBezTo>
                <a:cubicBezTo>
                  <a:pt x="12628" y="4320"/>
                  <a:pt x="12506" y="4381"/>
                  <a:pt x="12417" y="4478"/>
                </a:cubicBezTo>
                <a:lnTo>
                  <a:pt x="11291" y="57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5716"/>
                </a:lnTo>
                <a:lnTo>
                  <a:pt x="9183" y="4478"/>
                </a:lnTo>
                <a:cubicBezTo>
                  <a:pt x="9095" y="4381"/>
                  <a:pt x="8972" y="4320"/>
                  <a:pt x="8836" y="4320"/>
                </a:cubicBezTo>
                <a:cubicBezTo>
                  <a:pt x="8565" y="4320"/>
                  <a:pt x="8345" y="4562"/>
                  <a:pt x="8345" y="4860"/>
                </a:cubicBezTo>
                <a:cubicBezTo>
                  <a:pt x="8345" y="5009"/>
                  <a:pt x="8400" y="5144"/>
                  <a:pt x="8489" y="5242"/>
                </a:cubicBezTo>
                <a:cubicBezTo>
                  <a:pt x="8489" y="5242"/>
                  <a:pt x="10453" y="7402"/>
                  <a:pt x="10453" y="7402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2819">
            <a:extLst>
              <a:ext uri="{FF2B5EF4-FFF2-40B4-BE49-F238E27FC236}">
                <a16:creationId xmlns:a16="http://schemas.microsoft.com/office/drawing/2014/main" id="{87E165BD-1D09-4A7D-A1C3-29CE959B3FD5}"/>
              </a:ext>
            </a:extLst>
          </p:cNvPr>
          <p:cNvSpPr/>
          <p:nvPr/>
        </p:nvSpPr>
        <p:spPr bwMode="gray">
          <a:xfrm>
            <a:off x="11165731" y="1772243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7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7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836" y="3240"/>
                </a:moveTo>
                <a:cubicBezTo>
                  <a:pt x="8972" y="3240"/>
                  <a:pt x="9095" y="3179"/>
                  <a:pt x="9183" y="3082"/>
                </a:cubicBezTo>
                <a:lnTo>
                  <a:pt x="10309" y="1844"/>
                </a:lnTo>
                <a:lnTo>
                  <a:pt x="10309" y="7020"/>
                </a:lnTo>
                <a:cubicBezTo>
                  <a:pt x="10309" y="7318"/>
                  <a:pt x="10529" y="7560"/>
                  <a:pt x="10800" y="7560"/>
                </a:cubicBezTo>
                <a:cubicBezTo>
                  <a:pt x="11071" y="7560"/>
                  <a:pt x="11291" y="7318"/>
                  <a:pt x="11291" y="7020"/>
                </a:cubicBezTo>
                <a:lnTo>
                  <a:pt x="11291" y="1844"/>
                </a:lnTo>
                <a:lnTo>
                  <a:pt x="12417" y="3082"/>
                </a:lnTo>
                <a:cubicBezTo>
                  <a:pt x="12505" y="3179"/>
                  <a:pt x="12628" y="3240"/>
                  <a:pt x="12764" y="3240"/>
                </a:cubicBezTo>
                <a:cubicBezTo>
                  <a:pt x="13035" y="3240"/>
                  <a:pt x="13255" y="2998"/>
                  <a:pt x="13255" y="2700"/>
                </a:cubicBezTo>
                <a:cubicBezTo>
                  <a:pt x="13255" y="2551"/>
                  <a:pt x="13199" y="2416"/>
                  <a:pt x="13111" y="231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0"/>
                  <a:pt x="10453" y="158"/>
                </a:cubicBezTo>
                <a:lnTo>
                  <a:pt x="8489" y="2318"/>
                </a:lnTo>
                <a:cubicBezTo>
                  <a:pt x="8400" y="2416"/>
                  <a:pt x="8345" y="2551"/>
                  <a:pt x="8345" y="2700"/>
                </a:cubicBezTo>
                <a:cubicBezTo>
                  <a:pt x="8345" y="2998"/>
                  <a:pt x="8565" y="3240"/>
                  <a:pt x="8836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2820">
            <a:extLst>
              <a:ext uri="{FF2B5EF4-FFF2-40B4-BE49-F238E27FC236}">
                <a16:creationId xmlns:a16="http://schemas.microsoft.com/office/drawing/2014/main" id="{D66EFE9E-4DFC-471D-9BA6-47D90A4DCE4A}"/>
              </a:ext>
            </a:extLst>
          </p:cNvPr>
          <p:cNvSpPr/>
          <p:nvPr/>
        </p:nvSpPr>
        <p:spPr bwMode="gray">
          <a:xfrm>
            <a:off x="6176924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507" y="3082"/>
                </a:moveTo>
                <a:lnTo>
                  <a:pt x="7507" y="3082"/>
                </a:lnTo>
                <a:lnTo>
                  <a:pt x="9471" y="5242"/>
                </a:lnTo>
                <a:cubicBezTo>
                  <a:pt x="9560" y="5340"/>
                  <a:pt x="9683" y="5400"/>
                  <a:pt x="9818" y="5400"/>
                </a:cubicBezTo>
                <a:cubicBezTo>
                  <a:pt x="10089" y="5400"/>
                  <a:pt x="10309" y="5158"/>
                  <a:pt x="10309" y="4860"/>
                </a:cubicBezTo>
                <a:cubicBezTo>
                  <a:pt x="10309" y="4712"/>
                  <a:pt x="10254" y="4577"/>
                  <a:pt x="10165" y="4478"/>
                </a:cubicBezTo>
                <a:lnTo>
                  <a:pt x="9040" y="3240"/>
                </a:lnTo>
                <a:lnTo>
                  <a:pt x="13745" y="3240"/>
                </a:lnTo>
                <a:lnTo>
                  <a:pt x="13745" y="3240"/>
                </a:lnTo>
                <a:cubicBezTo>
                  <a:pt x="14016" y="3240"/>
                  <a:pt x="14236" y="2998"/>
                  <a:pt x="14236" y="2700"/>
                </a:cubicBezTo>
                <a:cubicBezTo>
                  <a:pt x="14236" y="2402"/>
                  <a:pt x="14016" y="2160"/>
                  <a:pt x="13745" y="2160"/>
                </a:cubicBezTo>
                <a:lnTo>
                  <a:pt x="9040" y="2160"/>
                </a:lnTo>
                <a:lnTo>
                  <a:pt x="10165" y="922"/>
                </a:lnTo>
                <a:cubicBezTo>
                  <a:pt x="10254" y="824"/>
                  <a:pt x="10309" y="689"/>
                  <a:pt x="10309" y="540"/>
                </a:cubicBezTo>
                <a:cubicBezTo>
                  <a:pt x="10309" y="242"/>
                  <a:pt x="10089" y="0"/>
                  <a:pt x="9818" y="0"/>
                </a:cubicBezTo>
                <a:cubicBezTo>
                  <a:pt x="9683" y="0"/>
                  <a:pt x="9560" y="61"/>
                  <a:pt x="9471" y="158"/>
                </a:cubicBezTo>
                <a:lnTo>
                  <a:pt x="7507" y="2318"/>
                </a:lnTo>
                <a:lnTo>
                  <a:pt x="7507" y="2318"/>
                </a:lnTo>
                <a:cubicBezTo>
                  <a:pt x="7419" y="2417"/>
                  <a:pt x="7364" y="2552"/>
                  <a:pt x="7364" y="2700"/>
                </a:cubicBezTo>
                <a:cubicBezTo>
                  <a:pt x="7364" y="2849"/>
                  <a:pt x="7419" y="2984"/>
                  <a:pt x="7507" y="30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 2821">
            <a:extLst>
              <a:ext uri="{FF2B5EF4-FFF2-40B4-BE49-F238E27FC236}">
                <a16:creationId xmlns:a16="http://schemas.microsoft.com/office/drawing/2014/main" id="{8BA28D26-B50C-432C-88F4-74F487BE4224}"/>
              </a:ext>
            </a:extLst>
          </p:cNvPr>
          <p:cNvSpPr/>
          <p:nvPr/>
        </p:nvSpPr>
        <p:spPr bwMode="gray">
          <a:xfrm>
            <a:off x="6731235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7855" y="3240"/>
                </a:moveTo>
                <a:lnTo>
                  <a:pt x="7855" y="3240"/>
                </a:lnTo>
                <a:lnTo>
                  <a:pt x="12560" y="3240"/>
                </a:lnTo>
                <a:lnTo>
                  <a:pt x="11435" y="4478"/>
                </a:lnTo>
                <a:cubicBezTo>
                  <a:pt x="11346" y="4577"/>
                  <a:pt x="11291" y="4712"/>
                  <a:pt x="11291" y="4860"/>
                </a:cubicBezTo>
                <a:cubicBezTo>
                  <a:pt x="11291" y="5158"/>
                  <a:pt x="11511" y="5400"/>
                  <a:pt x="11782" y="5400"/>
                </a:cubicBezTo>
                <a:cubicBezTo>
                  <a:pt x="11917" y="5400"/>
                  <a:pt x="12040" y="5340"/>
                  <a:pt x="12129" y="5242"/>
                </a:cubicBezTo>
                <a:lnTo>
                  <a:pt x="14093" y="3082"/>
                </a:lnTo>
                <a:cubicBezTo>
                  <a:pt x="14181" y="2984"/>
                  <a:pt x="14236" y="2849"/>
                  <a:pt x="14236" y="2700"/>
                </a:cubicBezTo>
                <a:cubicBezTo>
                  <a:pt x="14236" y="2552"/>
                  <a:pt x="14181" y="2417"/>
                  <a:pt x="14093" y="2318"/>
                </a:cubicBezTo>
                <a:lnTo>
                  <a:pt x="12129" y="158"/>
                </a:lnTo>
                <a:cubicBezTo>
                  <a:pt x="12040" y="61"/>
                  <a:pt x="11917" y="0"/>
                  <a:pt x="11782" y="0"/>
                </a:cubicBezTo>
                <a:cubicBezTo>
                  <a:pt x="11511" y="0"/>
                  <a:pt x="11291" y="242"/>
                  <a:pt x="11291" y="540"/>
                </a:cubicBezTo>
                <a:cubicBezTo>
                  <a:pt x="11291" y="689"/>
                  <a:pt x="11346" y="824"/>
                  <a:pt x="11435" y="922"/>
                </a:cubicBezTo>
                <a:lnTo>
                  <a:pt x="12560" y="2160"/>
                </a:lnTo>
                <a:lnTo>
                  <a:pt x="7855" y="2160"/>
                </a:lnTo>
                <a:cubicBezTo>
                  <a:pt x="7584" y="2160"/>
                  <a:pt x="7364" y="2402"/>
                  <a:pt x="7364" y="2700"/>
                </a:cubicBezTo>
                <a:cubicBezTo>
                  <a:pt x="7364" y="2998"/>
                  <a:pt x="7584" y="3240"/>
                  <a:pt x="7855" y="32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2822">
            <a:extLst>
              <a:ext uri="{FF2B5EF4-FFF2-40B4-BE49-F238E27FC236}">
                <a16:creationId xmlns:a16="http://schemas.microsoft.com/office/drawing/2014/main" id="{8A64C5F4-E9EC-41CB-96FF-C5DF866CD659}"/>
              </a:ext>
            </a:extLst>
          </p:cNvPr>
          <p:cNvSpPr/>
          <p:nvPr/>
        </p:nvSpPr>
        <p:spPr bwMode="gray">
          <a:xfrm>
            <a:off x="7285547" y="2326555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0800"/>
                </a:moveTo>
                <a:lnTo>
                  <a:pt x="982" y="10800"/>
                </a:lnTo>
                <a:lnTo>
                  <a:pt x="982" y="9720"/>
                </a:lnTo>
                <a:lnTo>
                  <a:pt x="20618" y="9720"/>
                </a:lnTo>
                <a:cubicBezTo>
                  <a:pt x="20618" y="9720"/>
                  <a:pt x="20618" y="10800"/>
                  <a:pt x="20618" y="10800"/>
                </a:cubicBezTo>
                <a:close/>
                <a:moveTo>
                  <a:pt x="19006" y="14040"/>
                </a:moveTo>
                <a:lnTo>
                  <a:pt x="15735" y="14040"/>
                </a:lnTo>
                <a:lnTo>
                  <a:pt x="16045" y="11880"/>
                </a:lnTo>
                <a:lnTo>
                  <a:pt x="19419" y="11880"/>
                </a:lnTo>
                <a:cubicBezTo>
                  <a:pt x="19419" y="11880"/>
                  <a:pt x="19006" y="14040"/>
                  <a:pt x="19006" y="14040"/>
                </a:cubicBezTo>
                <a:close/>
                <a:moveTo>
                  <a:pt x="18386" y="17280"/>
                </a:moveTo>
                <a:lnTo>
                  <a:pt x="15270" y="17280"/>
                </a:lnTo>
                <a:lnTo>
                  <a:pt x="15580" y="15120"/>
                </a:lnTo>
                <a:lnTo>
                  <a:pt x="18799" y="15120"/>
                </a:lnTo>
                <a:cubicBezTo>
                  <a:pt x="18799" y="15120"/>
                  <a:pt x="18386" y="17280"/>
                  <a:pt x="18386" y="17280"/>
                </a:cubicBezTo>
                <a:close/>
                <a:moveTo>
                  <a:pt x="17766" y="20520"/>
                </a:moveTo>
                <a:lnTo>
                  <a:pt x="14805" y="20520"/>
                </a:lnTo>
                <a:lnTo>
                  <a:pt x="15115" y="18360"/>
                </a:lnTo>
                <a:lnTo>
                  <a:pt x="18179" y="18360"/>
                </a:lnTo>
                <a:cubicBezTo>
                  <a:pt x="18179" y="18360"/>
                  <a:pt x="17766" y="20520"/>
                  <a:pt x="17766" y="20520"/>
                </a:cubicBezTo>
                <a:close/>
                <a:moveTo>
                  <a:pt x="11291" y="14040"/>
                </a:moveTo>
                <a:lnTo>
                  <a:pt x="11291" y="11880"/>
                </a:lnTo>
                <a:lnTo>
                  <a:pt x="15063" y="11880"/>
                </a:lnTo>
                <a:lnTo>
                  <a:pt x="14753" y="14040"/>
                </a:lnTo>
                <a:cubicBezTo>
                  <a:pt x="14753" y="14040"/>
                  <a:pt x="11291" y="14040"/>
                  <a:pt x="11291" y="14040"/>
                </a:cubicBezTo>
                <a:close/>
                <a:moveTo>
                  <a:pt x="14288" y="17280"/>
                </a:moveTo>
                <a:lnTo>
                  <a:pt x="11291" y="17280"/>
                </a:lnTo>
                <a:lnTo>
                  <a:pt x="11291" y="15120"/>
                </a:lnTo>
                <a:lnTo>
                  <a:pt x="14598" y="15120"/>
                </a:lnTo>
                <a:cubicBezTo>
                  <a:pt x="14598" y="15120"/>
                  <a:pt x="14288" y="17280"/>
                  <a:pt x="14288" y="17280"/>
                </a:cubicBezTo>
                <a:close/>
                <a:moveTo>
                  <a:pt x="13823" y="20520"/>
                </a:moveTo>
                <a:lnTo>
                  <a:pt x="11291" y="20520"/>
                </a:lnTo>
                <a:lnTo>
                  <a:pt x="11291" y="18360"/>
                </a:lnTo>
                <a:lnTo>
                  <a:pt x="14133" y="18360"/>
                </a:lnTo>
                <a:cubicBezTo>
                  <a:pt x="14133" y="18360"/>
                  <a:pt x="13823" y="20520"/>
                  <a:pt x="13823" y="20520"/>
                </a:cubicBezTo>
                <a:close/>
                <a:moveTo>
                  <a:pt x="10309" y="14040"/>
                </a:moveTo>
                <a:lnTo>
                  <a:pt x="6847" y="14040"/>
                </a:lnTo>
                <a:lnTo>
                  <a:pt x="6537" y="11880"/>
                </a:lnTo>
                <a:lnTo>
                  <a:pt x="10309" y="11880"/>
                </a:lnTo>
                <a:cubicBezTo>
                  <a:pt x="10309" y="11880"/>
                  <a:pt x="10309" y="14040"/>
                  <a:pt x="10309" y="14040"/>
                </a:cubicBezTo>
                <a:close/>
                <a:moveTo>
                  <a:pt x="10309" y="17280"/>
                </a:moveTo>
                <a:lnTo>
                  <a:pt x="7312" y="17280"/>
                </a:lnTo>
                <a:lnTo>
                  <a:pt x="7002" y="15120"/>
                </a:lnTo>
                <a:lnTo>
                  <a:pt x="10309" y="15120"/>
                </a:lnTo>
                <a:cubicBezTo>
                  <a:pt x="10309" y="15120"/>
                  <a:pt x="10309" y="17280"/>
                  <a:pt x="10309" y="17280"/>
                </a:cubicBezTo>
                <a:close/>
                <a:moveTo>
                  <a:pt x="10309" y="20520"/>
                </a:moveTo>
                <a:lnTo>
                  <a:pt x="7777" y="20520"/>
                </a:lnTo>
                <a:lnTo>
                  <a:pt x="7467" y="18360"/>
                </a:lnTo>
                <a:lnTo>
                  <a:pt x="10309" y="18360"/>
                </a:lnTo>
                <a:cubicBezTo>
                  <a:pt x="10309" y="18360"/>
                  <a:pt x="10309" y="20520"/>
                  <a:pt x="10309" y="20520"/>
                </a:cubicBezTo>
                <a:close/>
                <a:moveTo>
                  <a:pt x="3834" y="20520"/>
                </a:moveTo>
                <a:lnTo>
                  <a:pt x="3421" y="18360"/>
                </a:lnTo>
                <a:lnTo>
                  <a:pt x="6485" y="18360"/>
                </a:lnTo>
                <a:lnTo>
                  <a:pt x="6795" y="20520"/>
                </a:lnTo>
                <a:cubicBezTo>
                  <a:pt x="6795" y="20520"/>
                  <a:pt x="3834" y="20520"/>
                  <a:pt x="3834" y="20520"/>
                </a:cubicBezTo>
                <a:close/>
                <a:moveTo>
                  <a:pt x="2801" y="15120"/>
                </a:moveTo>
                <a:lnTo>
                  <a:pt x="6020" y="15120"/>
                </a:lnTo>
                <a:lnTo>
                  <a:pt x="6330" y="17280"/>
                </a:lnTo>
                <a:lnTo>
                  <a:pt x="3214" y="17280"/>
                </a:lnTo>
                <a:cubicBezTo>
                  <a:pt x="3214" y="17280"/>
                  <a:pt x="2801" y="15120"/>
                  <a:pt x="2801" y="15120"/>
                </a:cubicBezTo>
                <a:close/>
                <a:moveTo>
                  <a:pt x="2181" y="11880"/>
                </a:moveTo>
                <a:lnTo>
                  <a:pt x="5555" y="11880"/>
                </a:lnTo>
                <a:lnTo>
                  <a:pt x="5865" y="14040"/>
                </a:lnTo>
                <a:lnTo>
                  <a:pt x="2594" y="14040"/>
                </a:lnTo>
                <a:cubicBezTo>
                  <a:pt x="2594" y="14040"/>
                  <a:pt x="2181" y="11880"/>
                  <a:pt x="2181" y="11880"/>
                </a:cubicBezTo>
                <a:close/>
                <a:moveTo>
                  <a:pt x="20618" y="8640"/>
                </a:moveTo>
                <a:lnTo>
                  <a:pt x="982" y="8640"/>
                </a:lnTo>
                <a:cubicBezTo>
                  <a:pt x="440" y="8640"/>
                  <a:pt x="0" y="9124"/>
                  <a:pt x="0" y="9720"/>
                </a:cubicBezTo>
                <a:lnTo>
                  <a:pt x="0" y="10800"/>
                </a:lnTo>
                <a:cubicBezTo>
                  <a:pt x="0" y="11396"/>
                  <a:pt x="440" y="11880"/>
                  <a:pt x="982" y="11880"/>
                </a:cubicBezTo>
                <a:lnTo>
                  <a:pt x="1178" y="11880"/>
                </a:lnTo>
                <a:lnTo>
                  <a:pt x="2960" y="21191"/>
                </a:lnTo>
                <a:lnTo>
                  <a:pt x="2969" y="21189"/>
                </a:lnTo>
                <a:cubicBezTo>
                  <a:pt x="3023" y="21423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423"/>
                  <a:pt x="18631" y="21189"/>
                </a:cubicBezTo>
                <a:lnTo>
                  <a:pt x="18640" y="21191"/>
                </a:lnTo>
                <a:lnTo>
                  <a:pt x="20422" y="11880"/>
                </a:lnTo>
                <a:lnTo>
                  <a:pt x="20618" y="11880"/>
                </a:lnTo>
                <a:cubicBezTo>
                  <a:pt x="21160" y="11880"/>
                  <a:pt x="21600" y="11396"/>
                  <a:pt x="21600" y="10800"/>
                </a:cubicBezTo>
                <a:lnTo>
                  <a:pt x="21600" y="9720"/>
                </a:lnTo>
                <a:cubicBezTo>
                  <a:pt x="21600" y="9124"/>
                  <a:pt x="21160" y="8640"/>
                  <a:pt x="20618" y="8640"/>
                </a:cubicBezTo>
                <a:moveTo>
                  <a:pt x="8345" y="3780"/>
                </a:moveTo>
                <a:lnTo>
                  <a:pt x="10309" y="3780"/>
                </a:lnTo>
                <a:lnTo>
                  <a:pt x="10309" y="5940"/>
                </a:lnTo>
                <a:cubicBezTo>
                  <a:pt x="10309" y="6238"/>
                  <a:pt x="10529" y="6480"/>
                  <a:pt x="10800" y="6480"/>
                </a:cubicBezTo>
                <a:cubicBezTo>
                  <a:pt x="11071" y="6480"/>
                  <a:pt x="11291" y="6238"/>
                  <a:pt x="11291" y="5940"/>
                </a:cubicBezTo>
                <a:lnTo>
                  <a:pt x="11291" y="3780"/>
                </a:lnTo>
                <a:lnTo>
                  <a:pt x="13255" y="3780"/>
                </a:lnTo>
                <a:cubicBezTo>
                  <a:pt x="13525" y="3780"/>
                  <a:pt x="13745" y="3538"/>
                  <a:pt x="13745" y="3240"/>
                </a:cubicBezTo>
                <a:cubicBezTo>
                  <a:pt x="13745" y="2942"/>
                  <a:pt x="13525" y="2700"/>
                  <a:pt x="13255" y="2700"/>
                </a:cubicBezTo>
                <a:lnTo>
                  <a:pt x="11291" y="2700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2700"/>
                </a:lnTo>
                <a:lnTo>
                  <a:pt x="8345" y="2700"/>
                </a:lnTo>
                <a:cubicBezTo>
                  <a:pt x="8075" y="2700"/>
                  <a:pt x="7855" y="2942"/>
                  <a:pt x="7855" y="3240"/>
                </a:cubicBezTo>
                <a:cubicBezTo>
                  <a:pt x="7855" y="3538"/>
                  <a:pt x="8075" y="3780"/>
                  <a:pt x="8345" y="378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hape 2823">
            <a:extLst>
              <a:ext uri="{FF2B5EF4-FFF2-40B4-BE49-F238E27FC236}">
                <a16:creationId xmlns:a16="http://schemas.microsoft.com/office/drawing/2014/main" id="{97DC2606-BD26-4069-8F9D-A29CBE01AC6D}"/>
              </a:ext>
            </a:extLst>
          </p:cNvPr>
          <p:cNvSpPr/>
          <p:nvPr/>
        </p:nvSpPr>
        <p:spPr bwMode="gray">
          <a:xfrm>
            <a:off x="7839859" y="2346352"/>
            <a:ext cx="290354" cy="2309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257"/>
                </a:moveTo>
                <a:lnTo>
                  <a:pt x="982" y="9257"/>
                </a:lnTo>
                <a:lnTo>
                  <a:pt x="982" y="8023"/>
                </a:lnTo>
                <a:lnTo>
                  <a:pt x="20618" y="8023"/>
                </a:lnTo>
                <a:cubicBezTo>
                  <a:pt x="20618" y="8023"/>
                  <a:pt x="20618" y="9257"/>
                  <a:pt x="20618" y="9257"/>
                </a:cubicBezTo>
                <a:close/>
                <a:moveTo>
                  <a:pt x="19006" y="12960"/>
                </a:moveTo>
                <a:lnTo>
                  <a:pt x="15735" y="12960"/>
                </a:lnTo>
                <a:lnTo>
                  <a:pt x="16045" y="10491"/>
                </a:lnTo>
                <a:lnTo>
                  <a:pt x="19419" y="10491"/>
                </a:lnTo>
                <a:cubicBezTo>
                  <a:pt x="19419" y="10491"/>
                  <a:pt x="19006" y="12960"/>
                  <a:pt x="19006" y="12960"/>
                </a:cubicBezTo>
                <a:close/>
                <a:moveTo>
                  <a:pt x="18386" y="16663"/>
                </a:moveTo>
                <a:lnTo>
                  <a:pt x="15270" y="16663"/>
                </a:lnTo>
                <a:lnTo>
                  <a:pt x="15580" y="14194"/>
                </a:lnTo>
                <a:lnTo>
                  <a:pt x="18799" y="14194"/>
                </a:lnTo>
                <a:cubicBezTo>
                  <a:pt x="18799" y="14194"/>
                  <a:pt x="18386" y="16663"/>
                  <a:pt x="18386" y="16663"/>
                </a:cubicBezTo>
                <a:close/>
                <a:moveTo>
                  <a:pt x="17765" y="20366"/>
                </a:moveTo>
                <a:lnTo>
                  <a:pt x="14805" y="20366"/>
                </a:lnTo>
                <a:lnTo>
                  <a:pt x="15115" y="17897"/>
                </a:lnTo>
                <a:lnTo>
                  <a:pt x="18179" y="17897"/>
                </a:lnTo>
                <a:cubicBezTo>
                  <a:pt x="18179" y="17897"/>
                  <a:pt x="17765" y="20366"/>
                  <a:pt x="17765" y="20366"/>
                </a:cubicBezTo>
                <a:close/>
                <a:moveTo>
                  <a:pt x="11291" y="12960"/>
                </a:moveTo>
                <a:lnTo>
                  <a:pt x="11291" y="10491"/>
                </a:lnTo>
                <a:lnTo>
                  <a:pt x="15063" y="10491"/>
                </a:lnTo>
                <a:lnTo>
                  <a:pt x="14753" y="12960"/>
                </a:lnTo>
                <a:cubicBezTo>
                  <a:pt x="14753" y="12960"/>
                  <a:pt x="11291" y="12960"/>
                  <a:pt x="11291" y="12960"/>
                </a:cubicBezTo>
                <a:close/>
                <a:moveTo>
                  <a:pt x="14288" y="16663"/>
                </a:moveTo>
                <a:lnTo>
                  <a:pt x="11291" y="16663"/>
                </a:lnTo>
                <a:lnTo>
                  <a:pt x="11291" y="14194"/>
                </a:lnTo>
                <a:lnTo>
                  <a:pt x="14598" y="14194"/>
                </a:lnTo>
                <a:cubicBezTo>
                  <a:pt x="14598" y="14194"/>
                  <a:pt x="14288" y="16663"/>
                  <a:pt x="14288" y="16663"/>
                </a:cubicBezTo>
                <a:close/>
                <a:moveTo>
                  <a:pt x="13823" y="20366"/>
                </a:moveTo>
                <a:lnTo>
                  <a:pt x="11291" y="20366"/>
                </a:lnTo>
                <a:lnTo>
                  <a:pt x="11291" y="17897"/>
                </a:lnTo>
                <a:lnTo>
                  <a:pt x="14133" y="17897"/>
                </a:lnTo>
                <a:cubicBezTo>
                  <a:pt x="14133" y="17897"/>
                  <a:pt x="13823" y="20366"/>
                  <a:pt x="13823" y="20366"/>
                </a:cubicBezTo>
                <a:close/>
                <a:moveTo>
                  <a:pt x="10309" y="12960"/>
                </a:moveTo>
                <a:lnTo>
                  <a:pt x="6847" y="12960"/>
                </a:lnTo>
                <a:lnTo>
                  <a:pt x="6537" y="10491"/>
                </a:lnTo>
                <a:lnTo>
                  <a:pt x="10309" y="10491"/>
                </a:lnTo>
                <a:cubicBezTo>
                  <a:pt x="10309" y="10491"/>
                  <a:pt x="10309" y="12960"/>
                  <a:pt x="10309" y="12960"/>
                </a:cubicBezTo>
                <a:close/>
                <a:moveTo>
                  <a:pt x="10309" y="16663"/>
                </a:moveTo>
                <a:lnTo>
                  <a:pt x="7312" y="16663"/>
                </a:lnTo>
                <a:lnTo>
                  <a:pt x="7002" y="14194"/>
                </a:lnTo>
                <a:lnTo>
                  <a:pt x="10309" y="14194"/>
                </a:lnTo>
                <a:cubicBezTo>
                  <a:pt x="10309" y="14194"/>
                  <a:pt x="10309" y="16663"/>
                  <a:pt x="10309" y="16663"/>
                </a:cubicBezTo>
                <a:close/>
                <a:moveTo>
                  <a:pt x="10309" y="20366"/>
                </a:moveTo>
                <a:lnTo>
                  <a:pt x="7777" y="20366"/>
                </a:lnTo>
                <a:lnTo>
                  <a:pt x="7467" y="17897"/>
                </a:lnTo>
                <a:lnTo>
                  <a:pt x="10309" y="17897"/>
                </a:lnTo>
                <a:cubicBezTo>
                  <a:pt x="10309" y="17897"/>
                  <a:pt x="10309" y="20366"/>
                  <a:pt x="10309" y="20366"/>
                </a:cubicBezTo>
                <a:close/>
                <a:moveTo>
                  <a:pt x="3834" y="20366"/>
                </a:moveTo>
                <a:lnTo>
                  <a:pt x="3421" y="17897"/>
                </a:lnTo>
                <a:lnTo>
                  <a:pt x="6485" y="17897"/>
                </a:lnTo>
                <a:lnTo>
                  <a:pt x="6795" y="20366"/>
                </a:lnTo>
                <a:cubicBezTo>
                  <a:pt x="6795" y="20366"/>
                  <a:pt x="3834" y="20366"/>
                  <a:pt x="3834" y="20366"/>
                </a:cubicBezTo>
                <a:close/>
                <a:moveTo>
                  <a:pt x="2801" y="14194"/>
                </a:moveTo>
                <a:lnTo>
                  <a:pt x="6020" y="14194"/>
                </a:lnTo>
                <a:lnTo>
                  <a:pt x="6330" y="16663"/>
                </a:lnTo>
                <a:lnTo>
                  <a:pt x="3214" y="16663"/>
                </a:lnTo>
                <a:cubicBezTo>
                  <a:pt x="3214" y="16663"/>
                  <a:pt x="2801" y="14194"/>
                  <a:pt x="2801" y="14194"/>
                </a:cubicBezTo>
                <a:close/>
                <a:moveTo>
                  <a:pt x="2181" y="10491"/>
                </a:moveTo>
                <a:lnTo>
                  <a:pt x="5555" y="10491"/>
                </a:lnTo>
                <a:lnTo>
                  <a:pt x="5865" y="12960"/>
                </a:lnTo>
                <a:lnTo>
                  <a:pt x="2594" y="12960"/>
                </a:lnTo>
                <a:cubicBezTo>
                  <a:pt x="2594" y="12960"/>
                  <a:pt x="2181" y="10491"/>
                  <a:pt x="2181" y="10491"/>
                </a:cubicBezTo>
                <a:close/>
                <a:moveTo>
                  <a:pt x="20618" y="6789"/>
                </a:moveTo>
                <a:lnTo>
                  <a:pt x="982" y="6789"/>
                </a:lnTo>
                <a:cubicBezTo>
                  <a:pt x="440" y="6789"/>
                  <a:pt x="0" y="7342"/>
                  <a:pt x="0" y="8023"/>
                </a:cubicBezTo>
                <a:lnTo>
                  <a:pt x="0" y="9257"/>
                </a:lnTo>
                <a:cubicBezTo>
                  <a:pt x="0" y="9939"/>
                  <a:pt x="440" y="10491"/>
                  <a:pt x="982" y="10491"/>
                </a:cubicBezTo>
                <a:lnTo>
                  <a:pt x="1178" y="10491"/>
                </a:lnTo>
                <a:lnTo>
                  <a:pt x="2960" y="21133"/>
                </a:lnTo>
                <a:lnTo>
                  <a:pt x="2969" y="21130"/>
                </a:lnTo>
                <a:cubicBezTo>
                  <a:pt x="3023" y="21398"/>
                  <a:pt x="3207" y="21600"/>
                  <a:pt x="3436" y="21600"/>
                </a:cubicBezTo>
                <a:lnTo>
                  <a:pt x="18164" y="21600"/>
                </a:lnTo>
                <a:cubicBezTo>
                  <a:pt x="18393" y="21600"/>
                  <a:pt x="18577" y="21398"/>
                  <a:pt x="18631" y="21130"/>
                </a:cubicBezTo>
                <a:lnTo>
                  <a:pt x="18640" y="21133"/>
                </a:lnTo>
                <a:lnTo>
                  <a:pt x="20422" y="10491"/>
                </a:lnTo>
                <a:lnTo>
                  <a:pt x="20618" y="10491"/>
                </a:lnTo>
                <a:cubicBezTo>
                  <a:pt x="21160" y="10491"/>
                  <a:pt x="21600" y="9939"/>
                  <a:pt x="21600" y="9257"/>
                </a:cubicBezTo>
                <a:lnTo>
                  <a:pt x="21600" y="8023"/>
                </a:lnTo>
                <a:cubicBezTo>
                  <a:pt x="21600" y="7342"/>
                  <a:pt x="21160" y="6789"/>
                  <a:pt x="20618" y="6789"/>
                </a:cubicBezTo>
                <a:moveTo>
                  <a:pt x="8345" y="1234"/>
                </a:moveTo>
                <a:lnTo>
                  <a:pt x="13255" y="1234"/>
                </a:lnTo>
                <a:cubicBezTo>
                  <a:pt x="13525" y="1234"/>
                  <a:pt x="13745" y="958"/>
                  <a:pt x="13745" y="617"/>
                </a:cubicBezTo>
                <a:cubicBezTo>
                  <a:pt x="13745" y="276"/>
                  <a:pt x="13525" y="0"/>
                  <a:pt x="13255" y="0"/>
                </a:cubicBezTo>
                <a:lnTo>
                  <a:pt x="8345" y="0"/>
                </a:lnTo>
                <a:cubicBezTo>
                  <a:pt x="8075" y="0"/>
                  <a:pt x="7855" y="276"/>
                  <a:pt x="7855" y="617"/>
                </a:cubicBezTo>
                <a:cubicBezTo>
                  <a:pt x="7855" y="958"/>
                  <a:pt x="8075" y="1234"/>
                  <a:pt x="8345" y="123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hape 2824">
            <a:extLst>
              <a:ext uri="{FF2B5EF4-FFF2-40B4-BE49-F238E27FC236}">
                <a16:creationId xmlns:a16="http://schemas.microsoft.com/office/drawing/2014/main" id="{D0BF485F-5894-421D-88B2-82B6FE42E658}"/>
              </a:ext>
            </a:extLst>
          </p:cNvPr>
          <p:cNvSpPr/>
          <p:nvPr/>
        </p:nvSpPr>
        <p:spPr bwMode="gray">
          <a:xfrm>
            <a:off x="8394171" y="2313357"/>
            <a:ext cx="290354" cy="2903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2825">
            <a:extLst>
              <a:ext uri="{FF2B5EF4-FFF2-40B4-BE49-F238E27FC236}">
                <a16:creationId xmlns:a16="http://schemas.microsoft.com/office/drawing/2014/main" id="{2CE23B03-9B08-4A4C-BD76-254A0C91CB7B}"/>
              </a:ext>
            </a:extLst>
          </p:cNvPr>
          <p:cNvSpPr/>
          <p:nvPr/>
        </p:nvSpPr>
        <p:spPr bwMode="gray">
          <a:xfrm>
            <a:off x="8948483" y="2352951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55" y="17550"/>
                </a:moveTo>
                <a:lnTo>
                  <a:pt x="12273" y="17550"/>
                </a:lnTo>
                <a:cubicBezTo>
                  <a:pt x="12001" y="17550"/>
                  <a:pt x="11782" y="17853"/>
                  <a:pt x="11782" y="18225"/>
                </a:cubicBezTo>
                <a:cubicBezTo>
                  <a:pt x="11782" y="18598"/>
                  <a:pt x="12001" y="18900"/>
                  <a:pt x="12273" y="18900"/>
                </a:cubicBezTo>
                <a:lnTo>
                  <a:pt x="13255" y="18900"/>
                </a:lnTo>
                <a:cubicBezTo>
                  <a:pt x="13526" y="18900"/>
                  <a:pt x="13745" y="18598"/>
                  <a:pt x="13745" y="18225"/>
                </a:cubicBezTo>
                <a:cubicBezTo>
                  <a:pt x="13745" y="17853"/>
                  <a:pt x="13526" y="17550"/>
                  <a:pt x="13255" y="17550"/>
                </a:cubicBezTo>
                <a:moveTo>
                  <a:pt x="10309" y="5400"/>
                </a:moveTo>
                <a:lnTo>
                  <a:pt x="9327" y="5400"/>
                </a:lnTo>
                <a:cubicBezTo>
                  <a:pt x="9056" y="5400"/>
                  <a:pt x="8836" y="5702"/>
                  <a:pt x="8836" y="6075"/>
                </a:cubicBezTo>
                <a:cubicBezTo>
                  <a:pt x="8836" y="6448"/>
                  <a:pt x="9056" y="6750"/>
                  <a:pt x="9327" y="6750"/>
                </a:cubicBezTo>
                <a:lnTo>
                  <a:pt x="10309" y="6750"/>
                </a:lnTo>
                <a:cubicBezTo>
                  <a:pt x="10580" y="6750"/>
                  <a:pt x="10800" y="6448"/>
                  <a:pt x="10800" y="6075"/>
                </a:cubicBezTo>
                <a:cubicBezTo>
                  <a:pt x="10800" y="5702"/>
                  <a:pt x="10580" y="5400"/>
                  <a:pt x="10309" y="5400"/>
                </a:cubicBezTo>
                <a:moveTo>
                  <a:pt x="16200" y="17550"/>
                </a:moveTo>
                <a:lnTo>
                  <a:pt x="15218" y="17550"/>
                </a:lnTo>
                <a:cubicBezTo>
                  <a:pt x="14947" y="17550"/>
                  <a:pt x="14727" y="17853"/>
                  <a:pt x="14727" y="18225"/>
                </a:cubicBezTo>
                <a:cubicBezTo>
                  <a:pt x="14727" y="18598"/>
                  <a:pt x="14947" y="18900"/>
                  <a:pt x="15218" y="18900"/>
                </a:cubicBezTo>
                <a:lnTo>
                  <a:pt x="16200" y="18900"/>
                </a:lnTo>
                <a:cubicBezTo>
                  <a:pt x="16471" y="18900"/>
                  <a:pt x="16691" y="18598"/>
                  <a:pt x="16691" y="18225"/>
                </a:cubicBezTo>
                <a:cubicBezTo>
                  <a:pt x="16691" y="17853"/>
                  <a:pt x="16471" y="17550"/>
                  <a:pt x="16200" y="17550"/>
                </a:cubicBezTo>
                <a:moveTo>
                  <a:pt x="13255" y="5400"/>
                </a:moveTo>
                <a:lnTo>
                  <a:pt x="12273" y="5400"/>
                </a:lnTo>
                <a:cubicBezTo>
                  <a:pt x="12001" y="5400"/>
                  <a:pt x="11782" y="5702"/>
                  <a:pt x="11782" y="6075"/>
                </a:cubicBezTo>
                <a:cubicBezTo>
                  <a:pt x="11782" y="6448"/>
                  <a:pt x="12001" y="6750"/>
                  <a:pt x="12273" y="6750"/>
                </a:cubicBezTo>
                <a:lnTo>
                  <a:pt x="13255" y="6750"/>
                </a:lnTo>
                <a:cubicBezTo>
                  <a:pt x="13526" y="6750"/>
                  <a:pt x="13745" y="6448"/>
                  <a:pt x="13745" y="6075"/>
                </a:cubicBezTo>
                <a:cubicBezTo>
                  <a:pt x="13745" y="5702"/>
                  <a:pt x="13526" y="5400"/>
                  <a:pt x="13255" y="5400"/>
                </a:cubicBezTo>
                <a:moveTo>
                  <a:pt x="10309" y="17550"/>
                </a:moveTo>
                <a:lnTo>
                  <a:pt x="9327" y="17550"/>
                </a:lnTo>
                <a:cubicBezTo>
                  <a:pt x="9056" y="17550"/>
                  <a:pt x="8836" y="17853"/>
                  <a:pt x="8836" y="18225"/>
                </a:cubicBezTo>
                <a:cubicBezTo>
                  <a:pt x="8836" y="18598"/>
                  <a:pt x="9056" y="18900"/>
                  <a:pt x="9327" y="18900"/>
                </a:cubicBezTo>
                <a:lnTo>
                  <a:pt x="10309" y="18900"/>
                </a:lnTo>
                <a:cubicBezTo>
                  <a:pt x="10580" y="18900"/>
                  <a:pt x="10800" y="18598"/>
                  <a:pt x="10800" y="18225"/>
                </a:cubicBezTo>
                <a:cubicBezTo>
                  <a:pt x="10800" y="17853"/>
                  <a:pt x="10580" y="17550"/>
                  <a:pt x="10309" y="17550"/>
                </a:cubicBezTo>
                <a:moveTo>
                  <a:pt x="4418" y="17550"/>
                </a:moveTo>
                <a:lnTo>
                  <a:pt x="3436" y="17550"/>
                </a:lnTo>
                <a:cubicBezTo>
                  <a:pt x="3165" y="17550"/>
                  <a:pt x="2945" y="17853"/>
                  <a:pt x="2945" y="18225"/>
                </a:cubicBezTo>
                <a:cubicBezTo>
                  <a:pt x="2945" y="18598"/>
                  <a:pt x="3165" y="18900"/>
                  <a:pt x="3436" y="18900"/>
                </a:cubicBezTo>
                <a:lnTo>
                  <a:pt x="4418" y="18900"/>
                </a:lnTo>
                <a:cubicBezTo>
                  <a:pt x="4690" y="18900"/>
                  <a:pt x="4909" y="18598"/>
                  <a:pt x="4909" y="18225"/>
                </a:cubicBezTo>
                <a:cubicBezTo>
                  <a:pt x="4909" y="17853"/>
                  <a:pt x="4690" y="17550"/>
                  <a:pt x="4418" y="17550"/>
                </a:cubicBezTo>
                <a:moveTo>
                  <a:pt x="15218" y="6750"/>
                </a:moveTo>
                <a:lnTo>
                  <a:pt x="16200" y="6750"/>
                </a:lnTo>
                <a:cubicBezTo>
                  <a:pt x="16471" y="6750"/>
                  <a:pt x="16691" y="6448"/>
                  <a:pt x="16691" y="6075"/>
                </a:cubicBezTo>
                <a:cubicBezTo>
                  <a:pt x="16691" y="5702"/>
                  <a:pt x="16471" y="5400"/>
                  <a:pt x="16200" y="5400"/>
                </a:cubicBezTo>
                <a:lnTo>
                  <a:pt x="15218" y="5400"/>
                </a:lnTo>
                <a:cubicBezTo>
                  <a:pt x="14947" y="5400"/>
                  <a:pt x="14727" y="5702"/>
                  <a:pt x="14727" y="6075"/>
                </a:cubicBezTo>
                <a:cubicBezTo>
                  <a:pt x="14727" y="6448"/>
                  <a:pt x="14947" y="6750"/>
                  <a:pt x="15218" y="6750"/>
                </a:cubicBezTo>
                <a:moveTo>
                  <a:pt x="20618" y="13500"/>
                </a:moveTo>
                <a:cubicBezTo>
                  <a:pt x="20618" y="14245"/>
                  <a:pt x="20178" y="14850"/>
                  <a:pt x="19636" y="14850"/>
                </a:cubicBezTo>
                <a:lnTo>
                  <a:pt x="16691" y="14850"/>
                </a:lnTo>
                <a:cubicBezTo>
                  <a:pt x="16149" y="14850"/>
                  <a:pt x="15709" y="14245"/>
                  <a:pt x="15709" y="13500"/>
                </a:cubicBezTo>
                <a:lnTo>
                  <a:pt x="15709" y="10800"/>
                </a:lnTo>
                <a:cubicBezTo>
                  <a:pt x="15709" y="10055"/>
                  <a:pt x="16149" y="9450"/>
                  <a:pt x="16691" y="9450"/>
                </a:cubicBezTo>
                <a:lnTo>
                  <a:pt x="19636" y="9450"/>
                </a:lnTo>
                <a:cubicBezTo>
                  <a:pt x="20178" y="9450"/>
                  <a:pt x="20618" y="10055"/>
                  <a:pt x="20618" y="10800"/>
                </a:cubicBezTo>
                <a:cubicBezTo>
                  <a:pt x="20618" y="10800"/>
                  <a:pt x="20618" y="13500"/>
                  <a:pt x="20618" y="13500"/>
                </a:cubicBezTo>
                <a:close/>
                <a:moveTo>
                  <a:pt x="18655" y="18900"/>
                </a:moveTo>
                <a:cubicBezTo>
                  <a:pt x="18655" y="19645"/>
                  <a:pt x="18214" y="20250"/>
                  <a:pt x="17673" y="20250"/>
                </a:cubicBezTo>
                <a:lnTo>
                  <a:pt x="1964" y="20250"/>
                </a:lnTo>
                <a:cubicBezTo>
                  <a:pt x="1422" y="20250"/>
                  <a:pt x="982" y="19645"/>
                  <a:pt x="982" y="18900"/>
                </a:cubicBezTo>
                <a:lnTo>
                  <a:pt x="982" y="5400"/>
                </a:lnTo>
                <a:cubicBezTo>
                  <a:pt x="982" y="4655"/>
                  <a:pt x="1422" y="4050"/>
                  <a:pt x="1964" y="4050"/>
                </a:cubicBezTo>
                <a:lnTo>
                  <a:pt x="17673" y="4050"/>
                </a:lnTo>
                <a:cubicBezTo>
                  <a:pt x="18214" y="4050"/>
                  <a:pt x="18655" y="4655"/>
                  <a:pt x="18655" y="5400"/>
                </a:cubicBezTo>
                <a:lnTo>
                  <a:pt x="18655" y="8100"/>
                </a:lnTo>
                <a:lnTo>
                  <a:pt x="16691" y="8100"/>
                </a:lnTo>
                <a:cubicBezTo>
                  <a:pt x="15606" y="8100"/>
                  <a:pt x="14727" y="9309"/>
                  <a:pt x="14727" y="10800"/>
                </a:cubicBezTo>
                <a:lnTo>
                  <a:pt x="14727" y="13500"/>
                </a:lnTo>
                <a:cubicBezTo>
                  <a:pt x="14727" y="14991"/>
                  <a:pt x="15606" y="16200"/>
                  <a:pt x="16691" y="16200"/>
                </a:cubicBezTo>
                <a:lnTo>
                  <a:pt x="18655" y="16200"/>
                </a:lnTo>
                <a:cubicBezTo>
                  <a:pt x="18655" y="16200"/>
                  <a:pt x="18655" y="18900"/>
                  <a:pt x="18655" y="18900"/>
                </a:cubicBezTo>
                <a:close/>
                <a:moveTo>
                  <a:pt x="982" y="2700"/>
                </a:moveTo>
                <a:cubicBezTo>
                  <a:pt x="982" y="1955"/>
                  <a:pt x="1422" y="1350"/>
                  <a:pt x="1964" y="1350"/>
                </a:cubicBezTo>
                <a:lnTo>
                  <a:pt x="17673" y="1350"/>
                </a:lnTo>
                <a:cubicBezTo>
                  <a:pt x="18214" y="1350"/>
                  <a:pt x="18655" y="1955"/>
                  <a:pt x="18655" y="2700"/>
                </a:cubicBezTo>
                <a:lnTo>
                  <a:pt x="18655" y="3075"/>
                </a:lnTo>
                <a:cubicBezTo>
                  <a:pt x="18365" y="2842"/>
                  <a:pt x="18032" y="2700"/>
                  <a:pt x="17673" y="2700"/>
                </a:cubicBezTo>
                <a:lnTo>
                  <a:pt x="1964" y="2700"/>
                </a:lnTo>
                <a:cubicBezTo>
                  <a:pt x="1604" y="2700"/>
                  <a:pt x="1271" y="2842"/>
                  <a:pt x="982" y="3075"/>
                </a:cubicBezTo>
                <a:cubicBezTo>
                  <a:pt x="982" y="3075"/>
                  <a:pt x="982" y="2700"/>
                  <a:pt x="982" y="2700"/>
                </a:cubicBezTo>
                <a:close/>
                <a:moveTo>
                  <a:pt x="19636" y="8100"/>
                </a:moveTo>
                <a:lnTo>
                  <a:pt x="19636" y="2700"/>
                </a:lnTo>
                <a:cubicBezTo>
                  <a:pt x="19636" y="1209"/>
                  <a:pt x="18757" y="0"/>
                  <a:pt x="17673" y="0"/>
                </a:cubicBez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391"/>
                  <a:pt x="19636" y="18900"/>
                </a:cubicBezTo>
                <a:lnTo>
                  <a:pt x="19636" y="16200"/>
                </a:lnTo>
                <a:cubicBezTo>
                  <a:pt x="20721" y="16200"/>
                  <a:pt x="21600" y="14991"/>
                  <a:pt x="21600" y="13500"/>
                </a:cubicBezTo>
                <a:lnTo>
                  <a:pt x="21600" y="10800"/>
                </a:lnTo>
                <a:cubicBezTo>
                  <a:pt x="21600" y="9309"/>
                  <a:pt x="20721" y="8100"/>
                  <a:pt x="19636" y="8100"/>
                </a:cubicBezTo>
                <a:moveTo>
                  <a:pt x="17182" y="11475"/>
                </a:moveTo>
                <a:cubicBezTo>
                  <a:pt x="16910" y="11475"/>
                  <a:pt x="16691" y="11777"/>
                  <a:pt x="16691" y="12150"/>
                </a:cubicBezTo>
                <a:cubicBezTo>
                  <a:pt x="16691" y="12523"/>
                  <a:pt x="16910" y="12825"/>
                  <a:pt x="17182" y="12825"/>
                </a:cubicBezTo>
                <a:cubicBezTo>
                  <a:pt x="17453" y="12825"/>
                  <a:pt x="17673" y="12523"/>
                  <a:pt x="17673" y="12150"/>
                </a:cubicBezTo>
                <a:cubicBezTo>
                  <a:pt x="17673" y="11777"/>
                  <a:pt x="17453" y="11475"/>
                  <a:pt x="17182" y="11475"/>
                </a:cubicBezTo>
                <a:moveTo>
                  <a:pt x="7364" y="17550"/>
                </a:moveTo>
                <a:lnTo>
                  <a:pt x="6382" y="17550"/>
                </a:lnTo>
                <a:cubicBezTo>
                  <a:pt x="6110" y="17550"/>
                  <a:pt x="5891" y="17853"/>
                  <a:pt x="5891" y="18225"/>
                </a:cubicBezTo>
                <a:cubicBezTo>
                  <a:pt x="5891" y="18598"/>
                  <a:pt x="6110" y="18900"/>
                  <a:pt x="6382" y="18900"/>
                </a:cubicBezTo>
                <a:lnTo>
                  <a:pt x="7364" y="18900"/>
                </a:lnTo>
                <a:cubicBezTo>
                  <a:pt x="7635" y="18900"/>
                  <a:pt x="7855" y="18598"/>
                  <a:pt x="7855" y="18225"/>
                </a:cubicBezTo>
                <a:cubicBezTo>
                  <a:pt x="7855" y="17853"/>
                  <a:pt x="7635" y="17550"/>
                  <a:pt x="7364" y="17550"/>
                </a:cubicBezTo>
                <a:moveTo>
                  <a:pt x="7364" y="5400"/>
                </a:moveTo>
                <a:lnTo>
                  <a:pt x="6382" y="5400"/>
                </a:lnTo>
                <a:cubicBezTo>
                  <a:pt x="6110" y="5400"/>
                  <a:pt x="5891" y="5702"/>
                  <a:pt x="5891" y="6075"/>
                </a:cubicBezTo>
                <a:cubicBezTo>
                  <a:pt x="5891" y="6448"/>
                  <a:pt x="6110" y="6750"/>
                  <a:pt x="6382" y="6750"/>
                </a:cubicBezTo>
                <a:lnTo>
                  <a:pt x="7364" y="6750"/>
                </a:lnTo>
                <a:cubicBezTo>
                  <a:pt x="7635" y="6750"/>
                  <a:pt x="7855" y="6448"/>
                  <a:pt x="7855" y="6075"/>
                </a:cubicBezTo>
                <a:cubicBezTo>
                  <a:pt x="7855" y="5702"/>
                  <a:pt x="7635" y="5400"/>
                  <a:pt x="7364" y="5400"/>
                </a:cubicBezTo>
                <a:moveTo>
                  <a:pt x="4418" y="5400"/>
                </a:moveTo>
                <a:lnTo>
                  <a:pt x="3436" y="5400"/>
                </a:lnTo>
                <a:cubicBezTo>
                  <a:pt x="3165" y="5400"/>
                  <a:pt x="2945" y="5702"/>
                  <a:pt x="2945" y="6075"/>
                </a:cubicBezTo>
                <a:cubicBezTo>
                  <a:pt x="2945" y="6448"/>
                  <a:pt x="3165" y="6750"/>
                  <a:pt x="3436" y="6750"/>
                </a:cubicBezTo>
                <a:lnTo>
                  <a:pt x="4418" y="6750"/>
                </a:lnTo>
                <a:cubicBezTo>
                  <a:pt x="4690" y="6750"/>
                  <a:pt x="4909" y="6448"/>
                  <a:pt x="4909" y="6075"/>
                </a:cubicBezTo>
                <a:cubicBezTo>
                  <a:pt x="4909" y="5702"/>
                  <a:pt x="4690" y="5400"/>
                  <a:pt x="4418" y="54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826">
            <a:extLst>
              <a:ext uri="{FF2B5EF4-FFF2-40B4-BE49-F238E27FC236}">
                <a16:creationId xmlns:a16="http://schemas.microsoft.com/office/drawing/2014/main" id="{717C6C51-66B2-40C0-8D6A-CE6F9CF99AF2}"/>
              </a:ext>
            </a:extLst>
          </p:cNvPr>
          <p:cNvSpPr/>
          <p:nvPr/>
        </p:nvSpPr>
        <p:spPr bwMode="gray">
          <a:xfrm>
            <a:off x="9502795" y="2339753"/>
            <a:ext cx="290354" cy="23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7214"/>
                </a:moveTo>
                <a:lnTo>
                  <a:pt x="9327" y="7214"/>
                </a:lnTo>
                <a:cubicBezTo>
                  <a:pt x="9056" y="7214"/>
                  <a:pt x="8836" y="7482"/>
                  <a:pt x="8836" y="7813"/>
                </a:cubicBezTo>
                <a:cubicBezTo>
                  <a:pt x="8836" y="8145"/>
                  <a:pt x="9056" y="8413"/>
                  <a:pt x="9327" y="8413"/>
                </a:cubicBezTo>
                <a:lnTo>
                  <a:pt x="10309" y="8413"/>
                </a:lnTo>
                <a:cubicBezTo>
                  <a:pt x="10580" y="8413"/>
                  <a:pt x="10800" y="8145"/>
                  <a:pt x="10800" y="7813"/>
                </a:cubicBezTo>
                <a:cubicBezTo>
                  <a:pt x="10800" y="7482"/>
                  <a:pt x="10580" y="7214"/>
                  <a:pt x="10309" y="7214"/>
                </a:cubicBezTo>
                <a:moveTo>
                  <a:pt x="7364" y="7214"/>
                </a:moveTo>
                <a:lnTo>
                  <a:pt x="6382" y="7214"/>
                </a:lnTo>
                <a:cubicBezTo>
                  <a:pt x="6110" y="7214"/>
                  <a:pt x="5891" y="7482"/>
                  <a:pt x="5891" y="7813"/>
                </a:cubicBezTo>
                <a:cubicBezTo>
                  <a:pt x="5891" y="8145"/>
                  <a:pt x="6110" y="8413"/>
                  <a:pt x="6382" y="8413"/>
                </a:cubicBezTo>
                <a:lnTo>
                  <a:pt x="7364" y="8413"/>
                </a:lnTo>
                <a:cubicBezTo>
                  <a:pt x="7635" y="8413"/>
                  <a:pt x="7855" y="8145"/>
                  <a:pt x="7855" y="7813"/>
                </a:cubicBezTo>
                <a:cubicBezTo>
                  <a:pt x="7855" y="7482"/>
                  <a:pt x="7635" y="7214"/>
                  <a:pt x="7364" y="7214"/>
                </a:cubicBezTo>
                <a:moveTo>
                  <a:pt x="10309" y="18004"/>
                </a:moveTo>
                <a:lnTo>
                  <a:pt x="9327" y="18004"/>
                </a:lnTo>
                <a:cubicBezTo>
                  <a:pt x="9056" y="18004"/>
                  <a:pt x="8836" y="18272"/>
                  <a:pt x="8836" y="18603"/>
                </a:cubicBezTo>
                <a:cubicBezTo>
                  <a:pt x="8836" y="18935"/>
                  <a:pt x="9056" y="19202"/>
                  <a:pt x="9327" y="19202"/>
                </a:cubicBezTo>
                <a:lnTo>
                  <a:pt x="10309" y="19202"/>
                </a:lnTo>
                <a:cubicBezTo>
                  <a:pt x="10580" y="19202"/>
                  <a:pt x="10800" y="18935"/>
                  <a:pt x="10800" y="18603"/>
                </a:cubicBezTo>
                <a:cubicBezTo>
                  <a:pt x="10800" y="18272"/>
                  <a:pt x="10580" y="18004"/>
                  <a:pt x="10309" y="18004"/>
                </a:cubicBezTo>
                <a:moveTo>
                  <a:pt x="13255" y="18004"/>
                </a:moveTo>
                <a:lnTo>
                  <a:pt x="12273" y="18004"/>
                </a:lnTo>
                <a:cubicBezTo>
                  <a:pt x="12001" y="18004"/>
                  <a:pt x="11782" y="18272"/>
                  <a:pt x="11782" y="18603"/>
                </a:cubicBezTo>
                <a:cubicBezTo>
                  <a:pt x="11782" y="18935"/>
                  <a:pt x="12001" y="19202"/>
                  <a:pt x="12273" y="19202"/>
                </a:cubicBezTo>
                <a:lnTo>
                  <a:pt x="13255" y="19202"/>
                </a:lnTo>
                <a:cubicBezTo>
                  <a:pt x="13526" y="19202"/>
                  <a:pt x="13745" y="18935"/>
                  <a:pt x="13745" y="18603"/>
                </a:cubicBezTo>
                <a:cubicBezTo>
                  <a:pt x="13745" y="18272"/>
                  <a:pt x="13526" y="18004"/>
                  <a:pt x="13255" y="18004"/>
                </a:cubicBezTo>
                <a:moveTo>
                  <a:pt x="20618" y="14407"/>
                </a:moveTo>
                <a:cubicBezTo>
                  <a:pt x="20618" y="15069"/>
                  <a:pt x="20178" y="15606"/>
                  <a:pt x="19636" y="15606"/>
                </a:cubicBezTo>
                <a:lnTo>
                  <a:pt x="16691" y="15606"/>
                </a:lnTo>
                <a:cubicBezTo>
                  <a:pt x="16148" y="15606"/>
                  <a:pt x="15709" y="15069"/>
                  <a:pt x="15709" y="14407"/>
                </a:cubicBezTo>
                <a:lnTo>
                  <a:pt x="15709" y="12009"/>
                </a:lnTo>
                <a:cubicBezTo>
                  <a:pt x="15709" y="11348"/>
                  <a:pt x="16148" y="10811"/>
                  <a:pt x="16691" y="10811"/>
                </a:cubicBezTo>
                <a:lnTo>
                  <a:pt x="19636" y="10811"/>
                </a:lnTo>
                <a:cubicBezTo>
                  <a:pt x="20178" y="10811"/>
                  <a:pt x="20618" y="11348"/>
                  <a:pt x="20618" y="12009"/>
                </a:cubicBezTo>
                <a:cubicBezTo>
                  <a:pt x="20618" y="12009"/>
                  <a:pt x="20618" y="14407"/>
                  <a:pt x="20618" y="14407"/>
                </a:cubicBezTo>
                <a:close/>
                <a:moveTo>
                  <a:pt x="18655" y="19202"/>
                </a:moveTo>
                <a:cubicBezTo>
                  <a:pt x="18655" y="19864"/>
                  <a:pt x="18214" y="20401"/>
                  <a:pt x="17673" y="20401"/>
                </a:cubicBezTo>
                <a:lnTo>
                  <a:pt x="1964" y="20401"/>
                </a:lnTo>
                <a:cubicBezTo>
                  <a:pt x="1421" y="20401"/>
                  <a:pt x="982" y="19864"/>
                  <a:pt x="982" y="19202"/>
                </a:cubicBezTo>
                <a:lnTo>
                  <a:pt x="982" y="7214"/>
                </a:lnTo>
                <a:cubicBezTo>
                  <a:pt x="982" y="6553"/>
                  <a:pt x="1421" y="6015"/>
                  <a:pt x="1964" y="6015"/>
                </a:cubicBezTo>
                <a:lnTo>
                  <a:pt x="17673" y="6015"/>
                </a:lnTo>
                <a:cubicBezTo>
                  <a:pt x="18214" y="6015"/>
                  <a:pt x="18655" y="6553"/>
                  <a:pt x="18655" y="7214"/>
                </a:cubicBezTo>
                <a:lnTo>
                  <a:pt x="18655" y="9612"/>
                </a:lnTo>
                <a:lnTo>
                  <a:pt x="16691" y="9612"/>
                </a:lnTo>
                <a:cubicBezTo>
                  <a:pt x="15606" y="9612"/>
                  <a:pt x="14727" y="10685"/>
                  <a:pt x="14727" y="12009"/>
                </a:cubicBezTo>
                <a:lnTo>
                  <a:pt x="14727" y="14407"/>
                </a:lnTo>
                <a:cubicBezTo>
                  <a:pt x="14727" y="15731"/>
                  <a:pt x="15606" y="16805"/>
                  <a:pt x="16691" y="16805"/>
                </a:cubicBezTo>
                <a:lnTo>
                  <a:pt x="18655" y="16805"/>
                </a:lnTo>
                <a:cubicBezTo>
                  <a:pt x="18655" y="16805"/>
                  <a:pt x="18655" y="19202"/>
                  <a:pt x="18655" y="19202"/>
                </a:cubicBezTo>
                <a:close/>
                <a:moveTo>
                  <a:pt x="982" y="4816"/>
                </a:moveTo>
                <a:cubicBezTo>
                  <a:pt x="982" y="4155"/>
                  <a:pt x="1420" y="3618"/>
                  <a:pt x="1963" y="3618"/>
                </a:cubicBezTo>
                <a:lnTo>
                  <a:pt x="1692" y="4850"/>
                </a:lnTo>
                <a:cubicBezTo>
                  <a:pt x="1436" y="4894"/>
                  <a:pt x="1197" y="4996"/>
                  <a:pt x="982" y="5149"/>
                </a:cubicBezTo>
                <a:cubicBezTo>
                  <a:pt x="982" y="5149"/>
                  <a:pt x="982" y="4816"/>
                  <a:pt x="982" y="4816"/>
                </a:cubicBezTo>
                <a:close/>
                <a:moveTo>
                  <a:pt x="3451" y="1468"/>
                </a:moveTo>
                <a:lnTo>
                  <a:pt x="13684" y="4816"/>
                </a:lnTo>
                <a:lnTo>
                  <a:pt x="2716" y="4816"/>
                </a:lnTo>
                <a:cubicBezTo>
                  <a:pt x="2716" y="4816"/>
                  <a:pt x="3451" y="1468"/>
                  <a:pt x="3451" y="1468"/>
                </a:cubicBezTo>
                <a:close/>
                <a:moveTo>
                  <a:pt x="16776" y="2582"/>
                </a:moveTo>
                <a:lnTo>
                  <a:pt x="16982" y="4654"/>
                </a:lnTo>
                <a:lnTo>
                  <a:pt x="12560" y="3208"/>
                </a:lnTo>
                <a:cubicBezTo>
                  <a:pt x="12560" y="3208"/>
                  <a:pt x="16776" y="2582"/>
                  <a:pt x="16776" y="2582"/>
                </a:cubicBezTo>
                <a:close/>
                <a:moveTo>
                  <a:pt x="18655" y="4816"/>
                </a:moveTo>
                <a:lnTo>
                  <a:pt x="18655" y="5149"/>
                </a:lnTo>
                <a:cubicBezTo>
                  <a:pt x="18453" y="5005"/>
                  <a:pt x="18231" y="4904"/>
                  <a:pt x="17992" y="4856"/>
                </a:cubicBezTo>
                <a:lnTo>
                  <a:pt x="17871" y="3642"/>
                </a:lnTo>
                <a:cubicBezTo>
                  <a:pt x="18318" y="3754"/>
                  <a:pt x="18655" y="4237"/>
                  <a:pt x="18655" y="4816"/>
                </a:cubicBezTo>
                <a:moveTo>
                  <a:pt x="19636" y="9612"/>
                </a:moveTo>
                <a:lnTo>
                  <a:pt x="19636" y="4816"/>
                </a:lnTo>
                <a:cubicBezTo>
                  <a:pt x="19636" y="3525"/>
                  <a:pt x="18798" y="2479"/>
                  <a:pt x="17750" y="2428"/>
                </a:cubicBezTo>
                <a:lnTo>
                  <a:pt x="17633" y="1247"/>
                </a:lnTo>
                <a:lnTo>
                  <a:pt x="10020" y="2377"/>
                </a:lnTo>
                <a:lnTo>
                  <a:pt x="2757" y="0"/>
                </a:lnTo>
                <a:lnTo>
                  <a:pt x="2226" y="2419"/>
                </a:lnTo>
                <a:lnTo>
                  <a:pt x="1964" y="2419"/>
                </a:lnTo>
                <a:cubicBezTo>
                  <a:pt x="879" y="2419"/>
                  <a:pt x="0" y="3492"/>
                  <a:pt x="0" y="4816"/>
                </a:cubicBezTo>
                <a:lnTo>
                  <a:pt x="0" y="19202"/>
                </a:lnTo>
                <a:cubicBezTo>
                  <a:pt x="0" y="20526"/>
                  <a:pt x="879" y="21600"/>
                  <a:pt x="1964" y="21600"/>
                </a:cubicBezTo>
                <a:lnTo>
                  <a:pt x="17673" y="21600"/>
                </a:lnTo>
                <a:cubicBezTo>
                  <a:pt x="18757" y="21600"/>
                  <a:pt x="19636" y="20526"/>
                  <a:pt x="19636" y="19202"/>
                </a:cubicBezTo>
                <a:lnTo>
                  <a:pt x="19636" y="16805"/>
                </a:lnTo>
                <a:cubicBezTo>
                  <a:pt x="20721" y="16805"/>
                  <a:pt x="21600" y="15731"/>
                  <a:pt x="21600" y="14407"/>
                </a:cubicBezTo>
                <a:lnTo>
                  <a:pt x="21600" y="12009"/>
                </a:lnTo>
                <a:cubicBezTo>
                  <a:pt x="21600" y="10685"/>
                  <a:pt x="20721" y="9612"/>
                  <a:pt x="19636" y="9612"/>
                </a:cubicBezTo>
                <a:moveTo>
                  <a:pt x="13255" y="7214"/>
                </a:moveTo>
                <a:lnTo>
                  <a:pt x="12273" y="7214"/>
                </a:lnTo>
                <a:cubicBezTo>
                  <a:pt x="12001" y="7214"/>
                  <a:pt x="11782" y="7482"/>
                  <a:pt x="11782" y="7813"/>
                </a:cubicBezTo>
                <a:cubicBezTo>
                  <a:pt x="11782" y="8145"/>
                  <a:pt x="12001" y="8413"/>
                  <a:pt x="12273" y="8413"/>
                </a:cubicBezTo>
                <a:lnTo>
                  <a:pt x="13255" y="8413"/>
                </a:lnTo>
                <a:cubicBezTo>
                  <a:pt x="13526" y="8413"/>
                  <a:pt x="13745" y="8145"/>
                  <a:pt x="13745" y="7813"/>
                </a:cubicBezTo>
                <a:cubicBezTo>
                  <a:pt x="13745" y="7482"/>
                  <a:pt x="13526" y="7214"/>
                  <a:pt x="13255" y="7214"/>
                </a:cubicBezTo>
                <a:moveTo>
                  <a:pt x="16200" y="18004"/>
                </a:moveTo>
                <a:lnTo>
                  <a:pt x="15218" y="18004"/>
                </a:lnTo>
                <a:cubicBezTo>
                  <a:pt x="14947" y="18004"/>
                  <a:pt x="14727" y="18272"/>
                  <a:pt x="14727" y="18603"/>
                </a:cubicBezTo>
                <a:cubicBezTo>
                  <a:pt x="14727" y="18935"/>
                  <a:pt x="14947" y="19202"/>
                  <a:pt x="15218" y="19202"/>
                </a:cubicBezTo>
                <a:lnTo>
                  <a:pt x="16200" y="19202"/>
                </a:lnTo>
                <a:cubicBezTo>
                  <a:pt x="16471" y="19202"/>
                  <a:pt x="16691" y="18935"/>
                  <a:pt x="16691" y="18603"/>
                </a:cubicBezTo>
                <a:cubicBezTo>
                  <a:pt x="16691" y="18272"/>
                  <a:pt x="16471" y="18004"/>
                  <a:pt x="16200" y="18004"/>
                </a:cubicBezTo>
                <a:moveTo>
                  <a:pt x="17182" y="12609"/>
                </a:moveTo>
                <a:cubicBezTo>
                  <a:pt x="16910" y="12609"/>
                  <a:pt x="16691" y="12877"/>
                  <a:pt x="16691" y="13208"/>
                </a:cubicBezTo>
                <a:cubicBezTo>
                  <a:pt x="16691" y="13540"/>
                  <a:pt x="16910" y="13808"/>
                  <a:pt x="17182" y="13808"/>
                </a:cubicBezTo>
                <a:cubicBezTo>
                  <a:pt x="17453" y="13808"/>
                  <a:pt x="17673" y="13540"/>
                  <a:pt x="17673" y="13208"/>
                </a:cubicBezTo>
                <a:cubicBezTo>
                  <a:pt x="17673" y="12877"/>
                  <a:pt x="17453" y="12609"/>
                  <a:pt x="17182" y="12609"/>
                </a:cubicBezTo>
                <a:moveTo>
                  <a:pt x="4418" y="7214"/>
                </a:moveTo>
                <a:lnTo>
                  <a:pt x="3436" y="7214"/>
                </a:lnTo>
                <a:cubicBezTo>
                  <a:pt x="3165" y="7214"/>
                  <a:pt x="2945" y="7482"/>
                  <a:pt x="2945" y="7813"/>
                </a:cubicBezTo>
                <a:cubicBezTo>
                  <a:pt x="2945" y="8145"/>
                  <a:pt x="3165" y="8413"/>
                  <a:pt x="3436" y="8413"/>
                </a:cubicBezTo>
                <a:lnTo>
                  <a:pt x="4418" y="8413"/>
                </a:lnTo>
                <a:cubicBezTo>
                  <a:pt x="4690" y="8413"/>
                  <a:pt x="4909" y="8145"/>
                  <a:pt x="4909" y="7813"/>
                </a:cubicBezTo>
                <a:cubicBezTo>
                  <a:pt x="4909" y="7482"/>
                  <a:pt x="4690" y="7214"/>
                  <a:pt x="4418" y="7214"/>
                </a:cubicBezTo>
                <a:moveTo>
                  <a:pt x="15218" y="8413"/>
                </a:moveTo>
                <a:lnTo>
                  <a:pt x="16200" y="8413"/>
                </a:lnTo>
                <a:cubicBezTo>
                  <a:pt x="16471" y="8413"/>
                  <a:pt x="16691" y="8145"/>
                  <a:pt x="16691" y="7813"/>
                </a:cubicBezTo>
                <a:cubicBezTo>
                  <a:pt x="16691" y="7482"/>
                  <a:pt x="16471" y="7214"/>
                  <a:pt x="16200" y="7214"/>
                </a:cubicBezTo>
                <a:lnTo>
                  <a:pt x="15218" y="7214"/>
                </a:lnTo>
                <a:cubicBezTo>
                  <a:pt x="14947" y="7214"/>
                  <a:pt x="14727" y="7482"/>
                  <a:pt x="14727" y="7813"/>
                </a:cubicBezTo>
                <a:cubicBezTo>
                  <a:pt x="14727" y="8145"/>
                  <a:pt x="14947" y="8413"/>
                  <a:pt x="15218" y="8413"/>
                </a:cubicBezTo>
                <a:moveTo>
                  <a:pt x="7364" y="18004"/>
                </a:moveTo>
                <a:lnTo>
                  <a:pt x="6382" y="18004"/>
                </a:lnTo>
                <a:cubicBezTo>
                  <a:pt x="6110" y="18004"/>
                  <a:pt x="5891" y="18272"/>
                  <a:pt x="5891" y="18603"/>
                </a:cubicBezTo>
                <a:cubicBezTo>
                  <a:pt x="5891" y="18935"/>
                  <a:pt x="6110" y="19202"/>
                  <a:pt x="6382" y="19202"/>
                </a:cubicBezTo>
                <a:lnTo>
                  <a:pt x="7364" y="19202"/>
                </a:lnTo>
                <a:cubicBezTo>
                  <a:pt x="7635" y="19202"/>
                  <a:pt x="7855" y="18935"/>
                  <a:pt x="7855" y="18603"/>
                </a:cubicBezTo>
                <a:cubicBezTo>
                  <a:pt x="7855" y="18272"/>
                  <a:pt x="7635" y="18004"/>
                  <a:pt x="7364" y="18004"/>
                </a:cubicBezTo>
                <a:moveTo>
                  <a:pt x="4418" y="18004"/>
                </a:moveTo>
                <a:lnTo>
                  <a:pt x="3436" y="18004"/>
                </a:lnTo>
                <a:cubicBezTo>
                  <a:pt x="3165" y="18004"/>
                  <a:pt x="2945" y="18272"/>
                  <a:pt x="2945" y="18603"/>
                </a:cubicBezTo>
                <a:cubicBezTo>
                  <a:pt x="2945" y="18935"/>
                  <a:pt x="3165" y="19202"/>
                  <a:pt x="3436" y="19202"/>
                </a:cubicBezTo>
                <a:lnTo>
                  <a:pt x="4418" y="19202"/>
                </a:lnTo>
                <a:cubicBezTo>
                  <a:pt x="4690" y="19202"/>
                  <a:pt x="4909" y="18935"/>
                  <a:pt x="4909" y="18603"/>
                </a:cubicBezTo>
                <a:cubicBezTo>
                  <a:pt x="4909" y="18272"/>
                  <a:pt x="4690" y="18004"/>
                  <a:pt x="4418" y="1800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 2827">
            <a:extLst>
              <a:ext uri="{FF2B5EF4-FFF2-40B4-BE49-F238E27FC236}">
                <a16:creationId xmlns:a16="http://schemas.microsoft.com/office/drawing/2014/main" id="{505647C8-A098-4773-B580-7D78888B050C}"/>
              </a:ext>
            </a:extLst>
          </p:cNvPr>
          <p:cNvSpPr/>
          <p:nvPr/>
        </p:nvSpPr>
        <p:spPr bwMode="gray">
          <a:xfrm>
            <a:off x="10096700" y="2313357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00" y="9818"/>
                </a:moveTo>
                <a:lnTo>
                  <a:pt x="2700" y="9818"/>
                </a:lnTo>
                <a:lnTo>
                  <a:pt x="2700" y="10800"/>
                </a:lnTo>
                <a:lnTo>
                  <a:pt x="13500" y="10800"/>
                </a:lnTo>
                <a:cubicBezTo>
                  <a:pt x="13500" y="10800"/>
                  <a:pt x="13500" y="9818"/>
                  <a:pt x="13500" y="9818"/>
                </a:cubicBezTo>
                <a:close/>
                <a:moveTo>
                  <a:pt x="18900" y="11782"/>
                </a:moveTo>
                <a:lnTo>
                  <a:pt x="2700" y="11782"/>
                </a:lnTo>
                <a:lnTo>
                  <a:pt x="2700" y="12764"/>
                </a:lnTo>
                <a:lnTo>
                  <a:pt x="18900" y="12764"/>
                </a:lnTo>
                <a:cubicBezTo>
                  <a:pt x="18900" y="12764"/>
                  <a:pt x="18900" y="11782"/>
                  <a:pt x="18900" y="11782"/>
                </a:cubicBezTo>
                <a:close/>
                <a:moveTo>
                  <a:pt x="4050" y="1964"/>
                </a:moveTo>
                <a:lnTo>
                  <a:pt x="2700" y="1964"/>
                </a:lnTo>
                <a:lnTo>
                  <a:pt x="2700" y="7855"/>
                </a:lnTo>
                <a:lnTo>
                  <a:pt x="4050" y="7855"/>
                </a:lnTo>
                <a:cubicBezTo>
                  <a:pt x="4050" y="7855"/>
                  <a:pt x="4050" y="1964"/>
                  <a:pt x="4050" y="1964"/>
                </a:cubicBezTo>
                <a:close/>
                <a:moveTo>
                  <a:pt x="18900" y="13745"/>
                </a:moveTo>
                <a:lnTo>
                  <a:pt x="2700" y="13745"/>
                </a:lnTo>
                <a:lnTo>
                  <a:pt x="2700" y="14727"/>
                </a:lnTo>
                <a:lnTo>
                  <a:pt x="18900" y="14727"/>
                </a:lnTo>
                <a:cubicBezTo>
                  <a:pt x="18900" y="14727"/>
                  <a:pt x="18900" y="13745"/>
                  <a:pt x="18900" y="13745"/>
                </a:cubicBezTo>
                <a:close/>
                <a:moveTo>
                  <a:pt x="16200" y="15709"/>
                </a:moveTo>
                <a:lnTo>
                  <a:pt x="2700" y="15709"/>
                </a:lnTo>
                <a:lnTo>
                  <a:pt x="2700" y="16691"/>
                </a:lnTo>
                <a:lnTo>
                  <a:pt x="16200" y="16691"/>
                </a:lnTo>
                <a:cubicBezTo>
                  <a:pt x="16200" y="16691"/>
                  <a:pt x="16200" y="15709"/>
                  <a:pt x="16200" y="15709"/>
                </a:cubicBezTo>
                <a:close/>
                <a:moveTo>
                  <a:pt x="20250" y="19924"/>
                </a:moveTo>
                <a:lnTo>
                  <a:pt x="18702" y="18798"/>
                </a:lnTo>
                <a:cubicBezTo>
                  <a:pt x="18580" y="18710"/>
                  <a:pt x="18412" y="18655"/>
                  <a:pt x="18225" y="18655"/>
                </a:cubicBezTo>
                <a:cubicBezTo>
                  <a:pt x="18039" y="18655"/>
                  <a:pt x="17870" y="18710"/>
                  <a:pt x="17748" y="18798"/>
                </a:cubicBezTo>
                <a:lnTo>
                  <a:pt x="15525" y="20415"/>
                </a:lnTo>
                <a:lnTo>
                  <a:pt x="13302" y="18798"/>
                </a:lnTo>
                <a:cubicBezTo>
                  <a:pt x="13180" y="18710"/>
                  <a:pt x="13012" y="18655"/>
                  <a:pt x="12825" y="18655"/>
                </a:cubicBezTo>
                <a:cubicBezTo>
                  <a:pt x="12604" y="18655"/>
                  <a:pt x="12418" y="18737"/>
                  <a:pt x="12294" y="18856"/>
                </a:cubicBezTo>
                <a:lnTo>
                  <a:pt x="12285" y="18851"/>
                </a:lnTo>
                <a:lnTo>
                  <a:pt x="10800" y="20291"/>
                </a:lnTo>
                <a:lnTo>
                  <a:pt x="9315" y="18851"/>
                </a:lnTo>
                <a:lnTo>
                  <a:pt x="9306" y="18856"/>
                </a:lnTo>
                <a:cubicBezTo>
                  <a:pt x="9182" y="18737"/>
                  <a:pt x="8996" y="18655"/>
                  <a:pt x="8775" y="18655"/>
                </a:cubicBezTo>
                <a:cubicBezTo>
                  <a:pt x="8589" y="18655"/>
                  <a:pt x="8420" y="18710"/>
                  <a:pt x="8298" y="18798"/>
                </a:cubicBezTo>
                <a:lnTo>
                  <a:pt x="6075" y="20415"/>
                </a:lnTo>
                <a:lnTo>
                  <a:pt x="3852" y="18798"/>
                </a:lnTo>
                <a:cubicBezTo>
                  <a:pt x="3730" y="18710"/>
                  <a:pt x="3562" y="18655"/>
                  <a:pt x="3375" y="18655"/>
                </a:cubicBezTo>
                <a:cubicBezTo>
                  <a:pt x="3188" y="18655"/>
                  <a:pt x="3020" y="18710"/>
                  <a:pt x="2898" y="18798"/>
                </a:cubicBezTo>
                <a:lnTo>
                  <a:pt x="1350" y="19924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19924"/>
                  <a:pt x="20250" y="19924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62" y="21600"/>
                  <a:pt x="1031" y="21545"/>
                  <a:pt x="1152" y="21456"/>
                </a:cubicBezTo>
                <a:lnTo>
                  <a:pt x="3375" y="19840"/>
                </a:lnTo>
                <a:lnTo>
                  <a:pt x="5598" y="21456"/>
                </a:lnTo>
                <a:cubicBezTo>
                  <a:pt x="5720" y="21545"/>
                  <a:pt x="5888" y="21600"/>
                  <a:pt x="6075" y="21600"/>
                </a:cubicBezTo>
                <a:cubicBezTo>
                  <a:pt x="6262" y="21600"/>
                  <a:pt x="6431" y="21545"/>
                  <a:pt x="6552" y="21456"/>
                </a:cubicBezTo>
                <a:lnTo>
                  <a:pt x="8702" y="19893"/>
                </a:lnTo>
                <a:lnTo>
                  <a:pt x="10260" y="21404"/>
                </a:lnTo>
                <a:lnTo>
                  <a:pt x="10269" y="21399"/>
                </a:lnTo>
                <a:cubicBezTo>
                  <a:pt x="10393" y="21518"/>
                  <a:pt x="10579" y="21600"/>
                  <a:pt x="10800" y="21600"/>
                </a:cubicBezTo>
                <a:cubicBezTo>
                  <a:pt x="11021" y="21600"/>
                  <a:pt x="11207" y="21518"/>
                  <a:pt x="11331" y="21399"/>
                </a:cubicBezTo>
                <a:lnTo>
                  <a:pt x="11340" y="21404"/>
                </a:lnTo>
                <a:lnTo>
                  <a:pt x="12898" y="19893"/>
                </a:lnTo>
                <a:lnTo>
                  <a:pt x="15048" y="21456"/>
                </a:lnTo>
                <a:cubicBezTo>
                  <a:pt x="15170" y="21545"/>
                  <a:pt x="15338" y="21600"/>
                  <a:pt x="15525" y="21600"/>
                </a:cubicBezTo>
                <a:cubicBezTo>
                  <a:pt x="15712" y="21600"/>
                  <a:pt x="15881" y="21545"/>
                  <a:pt x="16002" y="21456"/>
                </a:cubicBezTo>
                <a:lnTo>
                  <a:pt x="18225" y="19840"/>
                </a:lnTo>
                <a:lnTo>
                  <a:pt x="20448" y="21456"/>
                </a:lnTo>
                <a:cubicBezTo>
                  <a:pt x="20570" y="21545"/>
                  <a:pt x="2073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16200" y="1964"/>
                </a:moveTo>
                <a:lnTo>
                  <a:pt x="14850" y="1964"/>
                </a:lnTo>
                <a:lnTo>
                  <a:pt x="14850" y="7855"/>
                </a:lnTo>
                <a:lnTo>
                  <a:pt x="16200" y="7855"/>
                </a:lnTo>
                <a:cubicBezTo>
                  <a:pt x="16200" y="7855"/>
                  <a:pt x="16200" y="1964"/>
                  <a:pt x="16200" y="1964"/>
                </a:cubicBezTo>
                <a:close/>
                <a:moveTo>
                  <a:pt x="18900" y="1964"/>
                </a:moveTo>
                <a:lnTo>
                  <a:pt x="17550" y="1964"/>
                </a:lnTo>
                <a:lnTo>
                  <a:pt x="17550" y="7855"/>
                </a:lnTo>
                <a:lnTo>
                  <a:pt x="18900" y="7855"/>
                </a:lnTo>
                <a:cubicBezTo>
                  <a:pt x="18900" y="7855"/>
                  <a:pt x="18900" y="1964"/>
                  <a:pt x="18900" y="1964"/>
                </a:cubicBezTo>
                <a:close/>
                <a:moveTo>
                  <a:pt x="10800" y="1964"/>
                </a:moveTo>
                <a:lnTo>
                  <a:pt x="9450" y="1964"/>
                </a:lnTo>
                <a:lnTo>
                  <a:pt x="9450" y="7855"/>
                </a:lnTo>
                <a:lnTo>
                  <a:pt x="10800" y="7855"/>
                </a:lnTo>
                <a:cubicBezTo>
                  <a:pt x="10800" y="7855"/>
                  <a:pt x="10800" y="1964"/>
                  <a:pt x="10800" y="1964"/>
                </a:cubicBezTo>
                <a:close/>
                <a:moveTo>
                  <a:pt x="8100" y="1964"/>
                </a:moveTo>
                <a:lnTo>
                  <a:pt x="5400" y="1964"/>
                </a:lnTo>
                <a:lnTo>
                  <a:pt x="5400" y="7855"/>
                </a:lnTo>
                <a:lnTo>
                  <a:pt x="8100" y="7855"/>
                </a:lnTo>
                <a:cubicBezTo>
                  <a:pt x="8100" y="7855"/>
                  <a:pt x="8100" y="1964"/>
                  <a:pt x="8100" y="1964"/>
                </a:cubicBezTo>
                <a:close/>
                <a:moveTo>
                  <a:pt x="13500" y="1964"/>
                </a:moveTo>
                <a:lnTo>
                  <a:pt x="12150" y="1964"/>
                </a:lnTo>
                <a:lnTo>
                  <a:pt x="12150" y="7855"/>
                </a:lnTo>
                <a:lnTo>
                  <a:pt x="13500" y="7855"/>
                </a:lnTo>
                <a:cubicBezTo>
                  <a:pt x="13500" y="7855"/>
                  <a:pt x="13500" y="1964"/>
                  <a:pt x="13500" y="196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28">
            <a:extLst>
              <a:ext uri="{FF2B5EF4-FFF2-40B4-BE49-F238E27FC236}">
                <a16:creationId xmlns:a16="http://schemas.microsoft.com/office/drawing/2014/main" id="{08419664-047D-4467-885F-D2650C1C7938}"/>
              </a:ext>
            </a:extLst>
          </p:cNvPr>
          <p:cNvSpPr/>
          <p:nvPr/>
        </p:nvSpPr>
        <p:spPr bwMode="gray">
          <a:xfrm>
            <a:off x="10637814" y="2313357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 2829">
            <a:extLst>
              <a:ext uri="{FF2B5EF4-FFF2-40B4-BE49-F238E27FC236}">
                <a16:creationId xmlns:a16="http://schemas.microsoft.com/office/drawing/2014/main" id="{8197861F-8975-4035-828C-15E9FA880577}"/>
              </a:ext>
            </a:extLst>
          </p:cNvPr>
          <p:cNvSpPr/>
          <p:nvPr/>
        </p:nvSpPr>
        <p:spPr bwMode="gray">
          <a:xfrm>
            <a:off x="11165731" y="2313357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764"/>
                </a:moveTo>
                <a:cubicBezTo>
                  <a:pt x="10529" y="12764"/>
                  <a:pt x="10309" y="12544"/>
                  <a:pt x="10309" y="12273"/>
                </a:cubicBezTo>
                <a:cubicBezTo>
                  <a:pt x="10309" y="12001"/>
                  <a:pt x="10529" y="11782"/>
                  <a:pt x="10800" y="11782"/>
                </a:cubicBezTo>
                <a:cubicBezTo>
                  <a:pt x="11071" y="11782"/>
                  <a:pt x="11291" y="12001"/>
                  <a:pt x="11291" y="12273"/>
                </a:cubicBezTo>
                <a:cubicBezTo>
                  <a:pt x="11291" y="12544"/>
                  <a:pt x="11071" y="12764"/>
                  <a:pt x="10800" y="12764"/>
                </a:cubicBezTo>
                <a:moveTo>
                  <a:pt x="10800" y="10800"/>
                </a:moveTo>
                <a:cubicBezTo>
                  <a:pt x="9987" y="10800"/>
                  <a:pt x="9327" y="11460"/>
                  <a:pt x="9327" y="12273"/>
                </a:cubicBezTo>
                <a:cubicBezTo>
                  <a:pt x="9327" y="13086"/>
                  <a:pt x="9987" y="13745"/>
                  <a:pt x="10800" y="13745"/>
                </a:cubicBezTo>
                <a:cubicBezTo>
                  <a:pt x="11613" y="13745"/>
                  <a:pt x="12273" y="13086"/>
                  <a:pt x="12273" y="12273"/>
                </a:cubicBezTo>
                <a:cubicBezTo>
                  <a:pt x="12273" y="11460"/>
                  <a:pt x="11613" y="10800"/>
                  <a:pt x="10800" y="10800"/>
                </a:cubicBezTo>
                <a:moveTo>
                  <a:pt x="20469" y="11563"/>
                </a:moveTo>
                <a:lnTo>
                  <a:pt x="19745" y="13686"/>
                </a:lnTo>
                <a:cubicBezTo>
                  <a:pt x="17492" y="14931"/>
                  <a:pt x="14436" y="15709"/>
                  <a:pt x="11045" y="15709"/>
                </a:cubicBezTo>
                <a:cubicBezTo>
                  <a:pt x="7337" y="15709"/>
                  <a:pt x="4024" y="14783"/>
                  <a:pt x="1732" y="13326"/>
                </a:cubicBezTo>
                <a:lnTo>
                  <a:pt x="1132" y="11568"/>
                </a:lnTo>
                <a:cubicBezTo>
                  <a:pt x="1132" y="11568"/>
                  <a:pt x="982" y="11171"/>
                  <a:pt x="982" y="10800"/>
                </a:cubicBezTo>
                <a:cubicBezTo>
                  <a:pt x="982" y="9718"/>
                  <a:pt x="1863" y="8836"/>
                  <a:pt x="2945" y="8836"/>
                </a:cubicBezTo>
                <a:lnTo>
                  <a:pt x="18655" y="8836"/>
                </a:lnTo>
                <a:cubicBezTo>
                  <a:pt x="19738" y="8836"/>
                  <a:pt x="20618" y="9718"/>
                  <a:pt x="20618" y="10800"/>
                </a:cubicBezTo>
                <a:cubicBezTo>
                  <a:pt x="20618" y="11173"/>
                  <a:pt x="20469" y="11563"/>
                  <a:pt x="20469" y="11563"/>
                </a:cubicBezTo>
                <a:moveTo>
                  <a:pt x="17640" y="19860"/>
                </a:moveTo>
                <a:cubicBezTo>
                  <a:pt x="17636" y="19861"/>
                  <a:pt x="17438" y="20618"/>
                  <a:pt x="16691" y="20618"/>
                </a:cubicBezTo>
                <a:lnTo>
                  <a:pt x="4909" y="20618"/>
                </a:lnTo>
                <a:cubicBezTo>
                  <a:pt x="4169" y="20618"/>
                  <a:pt x="3960" y="19860"/>
                  <a:pt x="3960" y="19860"/>
                </a:cubicBezTo>
                <a:lnTo>
                  <a:pt x="2196" y="14687"/>
                </a:lnTo>
                <a:cubicBezTo>
                  <a:pt x="4567" y="15928"/>
                  <a:pt x="7651" y="16691"/>
                  <a:pt x="11045" y="16691"/>
                </a:cubicBezTo>
                <a:cubicBezTo>
                  <a:pt x="14163" y="16691"/>
                  <a:pt x="17019" y="16046"/>
                  <a:pt x="19304" y="14981"/>
                </a:cubicBezTo>
                <a:cubicBezTo>
                  <a:pt x="19304" y="14981"/>
                  <a:pt x="17640" y="19860"/>
                  <a:pt x="17640" y="19860"/>
                </a:cubicBezTo>
                <a:close/>
                <a:moveTo>
                  <a:pt x="10800" y="982"/>
                </a:moveTo>
                <a:cubicBezTo>
                  <a:pt x="13436" y="982"/>
                  <a:pt x="15657" y="3875"/>
                  <a:pt x="16409" y="7855"/>
                </a:cubicBezTo>
                <a:lnTo>
                  <a:pt x="5191" y="7855"/>
                </a:lnTo>
                <a:cubicBezTo>
                  <a:pt x="5943" y="3875"/>
                  <a:pt x="8164" y="982"/>
                  <a:pt x="10800" y="982"/>
                </a:cubicBezTo>
                <a:moveTo>
                  <a:pt x="18655" y="7855"/>
                </a:moveTo>
                <a:lnTo>
                  <a:pt x="17401" y="7855"/>
                </a:lnTo>
                <a:cubicBezTo>
                  <a:pt x="16584" y="3325"/>
                  <a:pt x="13944" y="0"/>
                  <a:pt x="10800" y="0"/>
                </a:cubicBezTo>
                <a:cubicBezTo>
                  <a:pt x="7656" y="0"/>
                  <a:pt x="5016" y="3325"/>
                  <a:pt x="4200" y="7855"/>
                </a:cubicBezTo>
                <a:lnTo>
                  <a:pt x="2945" y="7855"/>
                </a:lnTo>
                <a:cubicBezTo>
                  <a:pt x="1319" y="7855"/>
                  <a:pt x="0" y="9174"/>
                  <a:pt x="0" y="10800"/>
                </a:cubicBezTo>
                <a:cubicBezTo>
                  <a:pt x="0" y="11348"/>
                  <a:pt x="151" y="11732"/>
                  <a:pt x="151" y="11732"/>
                </a:cubicBezTo>
                <a:lnTo>
                  <a:pt x="3118" y="20435"/>
                </a:lnTo>
                <a:cubicBezTo>
                  <a:pt x="3118" y="20435"/>
                  <a:pt x="3452" y="21600"/>
                  <a:pt x="4909" y="21600"/>
                </a:cubicBezTo>
                <a:lnTo>
                  <a:pt x="16691" y="21600"/>
                </a:lnTo>
                <a:cubicBezTo>
                  <a:pt x="18153" y="21600"/>
                  <a:pt x="18565" y="20194"/>
                  <a:pt x="18570" y="20177"/>
                </a:cubicBezTo>
                <a:lnTo>
                  <a:pt x="21437" y="11727"/>
                </a:lnTo>
                <a:cubicBezTo>
                  <a:pt x="21534" y="11434"/>
                  <a:pt x="21600" y="11126"/>
                  <a:pt x="21600" y="10800"/>
                </a:cubicBezTo>
                <a:cubicBezTo>
                  <a:pt x="21600" y="9174"/>
                  <a:pt x="20281" y="7855"/>
                  <a:pt x="18655" y="785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 2831">
            <a:extLst>
              <a:ext uri="{FF2B5EF4-FFF2-40B4-BE49-F238E27FC236}">
                <a16:creationId xmlns:a16="http://schemas.microsoft.com/office/drawing/2014/main" id="{27F7E894-C2E6-45BC-BB03-A9490315AC31}"/>
              </a:ext>
            </a:extLst>
          </p:cNvPr>
          <p:cNvSpPr/>
          <p:nvPr/>
        </p:nvSpPr>
        <p:spPr bwMode="gray">
          <a:xfrm>
            <a:off x="657133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  <a:moveTo>
                  <a:pt x="5400" y="12764"/>
                </a:moveTo>
                <a:cubicBezTo>
                  <a:pt x="5028" y="12764"/>
                  <a:pt x="4725" y="12983"/>
                  <a:pt x="4725" y="13255"/>
                </a:cubicBezTo>
                <a:cubicBezTo>
                  <a:pt x="4725" y="13390"/>
                  <a:pt x="4800" y="13513"/>
                  <a:pt x="4923" y="13602"/>
                </a:cubicBezTo>
                <a:lnTo>
                  <a:pt x="10323" y="17529"/>
                </a:lnTo>
                <a:cubicBezTo>
                  <a:pt x="10445" y="17618"/>
                  <a:pt x="10614" y="17673"/>
                  <a:pt x="10800" y="17673"/>
                </a:cubicBezTo>
                <a:cubicBezTo>
                  <a:pt x="10986" y="17673"/>
                  <a:pt x="11155" y="17618"/>
                  <a:pt x="11277" y="17529"/>
                </a:cubicBezTo>
                <a:lnTo>
                  <a:pt x="16677" y="13602"/>
                </a:lnTo>
                <a:cubicBezTo>
                  <a:pt x="16800" y="13513"/>
                  <a:pt x="16875" y="13390"/>
                  <a:pt x="16875" y="13255"/>
                </a:cubicBezTo>
                <a:cubicBezTo>
                  <a:pt x="16875" y="12983"/>
                  <a:pt x="16572" y="12764"/>
                  <a:pt x="16200" y="12764"/>
                </a:cubicBezTo>
                <a:cubicBezTo>
                  <a:pt x="16014" y="12764"/>
                  <a:pt x="15845" y="12819"/>
                  <a:pt x="15723" y="12907"/>
                </a:cubicBezTo>
                <a:lnTo>
                  <a:pt x="11475" y="15997"/>
                </a:lnTo>
                <a:lnTo>
                  <a:pt x="11475" y="491"/>
                </a:lnTo>
                <a:cubicBezTo>
                  <a:pt x="11475" y="220"/>
                  <a:pt x="11172" y="0"/>
                  <a:pt x="10800" y="0"/>
                </a:cubicBezTo>
                <a:cubicBezTo>
                  <a:pt x="10428" y="0"/>
                  <a:pt x="10125" y="220"/>
                  <a:pt x="10125" y="491"/>
                </a:cubicBezTo>
                <a:lnTo>
                  <a:pt x="10125" y="15997"/>
                </a:lnTo>
                <a:lnTo>
                  <a:pt x="5877" y="12907"/>
                </a:lnTo>
                <a:cubicBezTo>
                  <a:pt x="5755" y="12819"/>
                  <a:pt x="5586" y="12764"/>
                  <a:pt x="5400" y="127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 2832">
            <a:extLst>
              <a:ext uri="{FF2B5EF4-FFF2-40B4-BE49-F238E27FC236}">
                <a16:creationId xmlns:a16="http://schemas.microsoft.com/office/drawing/2014/main" id="{3350AB22-0BF3-45B2-99DD-2EA5D77FF608}"/>
              </a:ext>
            </a:extLst>
          </p:cNvPr>
          <p:cNvSpPr/>
          <p:nvPr/>
        </p:nvSpPr>
        <p:spPr bwMode="gray">
          <a:xfrm>
            <a:off x="1211445" y="2843364"/>
            <a:ext cx="211167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00" y="4909"/>
                </a:moveTo>
                <a:cubicBezTo>
                  <a:pt x="5586" y="4909"/>
                  <a:pt x="5755" y="4855"/>
                  <a:pt x="5877" y="4765"/>
                </a:cubicBezTo>
                <a:lnTo>
                  <a:pt x="10125" y="1676"/>
                </a:lnTo>
                <a:lnTo>
                  <a:pt x="10125" y="17182"/>
                </a:lnTo>
                <a:cubicBezTo>
                  <a:pt x="10125" y="17453"/>
                  <a:pt x="10428" y="17673"/>
                  <a:pt x="10800" y="17673"/>
                </a:cubicBezTo>
                <a:cubicBezTo>
                  <a:pt x="11172" y="17673"/>
                  <a:pt x="11475" y="17453"/>
                  <a:pt x="11475" y="17182"/>
                </a:cubicBezTo>
                <a:lnTo>
                  <a:pt x="11475" y="1676"/>
                </a:lnTo>
                <a:lnTo>
                  <a:pt x="15723" y="4765"/>
                </a:lnTo>
                <a:cubicBezTo>
                  <a:pt x="15845" y="4855"/>
                  <a:pt x="16014" y="4909"/>
                  <a:pt x="16200" y="4909"/>
                </a:cubicBezTo>
                <a:cubicBezTo>
                  <a:pt x="16572" y="4909"/>
                  <a:pt x="16875" y="4690"/>
                  <a:pt x="16875" y="4418"/>
                </a:cubicBezTo>
                <a:cubicBezTo>
                  <a:pt x="16875" y="4283"/>
                  <a:pt x="16800" y="4161"/>
                  <a:pt x="16677" y="4071"/>
                </a:cubicBezTo>
                <a:lnTo>
                  <a:pt x="11277" y="144"/>
                </a:lnTo>
                <a:cubicBezTo>
                  <a:pt x="11155" y="55"/>
                  <a:pt x="10986" y="0"/>
                  <a:pt x="10800" y="0"/>
                </a:cubicBezTo>
                <a:cubicBezTo>
                  <a:pt x="10614" y="0"/>
                  <a:pt x="10445" y="55"/>
                  <a:pt x="10323" y="144"/>
                </a:cubicBezTo>
                <a:lnTo>
                  <a:pt x="4923" y="4071"/>
                </a:lnTo>
                <a:cubicBezTo>
                  <a:pt x="4800" y="4161"/>
                  <a:pt x="4725" y="4283"/>
                  <a:pt x="4725" y="4418"/>
                </a:cubicBezTo>
                <a:cubicBezTo>
                  <a:pt x="4725" y="4690"/>
                  <a:pt x="5028" y="4909"/>
                  <a:pt x="5400" y="4909"/>
                </a:cubicBezTo>
                <a:moveTo>
                  <a:pt x="20925" y="6873"/>
                </a:moveTo>
                <a:lnTo>
                  <a:pt x="13500" y="6873"/>
                </a:lnTo>
                <a:cubicBezTo>
                  <a:pt x="13128" y="6873"/>
                  <a:pt x="12825" y="7093"/>
                  <a:pt x="12825" y="7364"/>
                </a:cubicBezTo>
                <a:cubicBezTo>
                  <a:pt x="12825" y="7635"/>
                  <a:pt x="13128" y="7855"/>
                  <a:pt x="13500" y="7855"/>
                </a:cubicBezTo>
                <a:lnTo>
                  <a:pt x="20250" y="7855"/>
                </a:lnTo>
                <a:lnTo>
                  <a:pt x="20250" y="20618"/>
                </a:lnTo>
                <a:lnTo>
                  <a:pt x="1350" y="20618"/>
                </a:lnTo>
                <a:lnTo>
                  <a:pt x="1350" y="7855"/>
                </a:lnTo>
                <a:lnTo>
                  <a:pt x="8100" y="7855"/>
                </a:lnTo>
                <a:cubicBezTo>
                  <a:pt x="8472" y="7855"/>
                  <a:pt x="8775" y="7635"/>
                  <a:pt x="8775" y="7364"/>
                </a:cubicBezTo>
                <a:cubicBezTo>
                  <a:pt x="8775" y="7093"/>
                  <a:pt x="8472" y="6873"/>
                  <a:pt x="8100" y="6873"/>
                </a:cubicBezTo>
                <a:lnTo>
                  <a:pt x="675" y="6873"/>
                </a:lnTo>
                <a:cubicBezTo>
                  <a:pt x="303" y="6873"/>
                  <a:pt x="0" y="7093"/>
                  <a:pt x="0" y="7364"/>
                </a:cubicBezTo>
                <a:lnTo>
                  <a:pt x="0" y="21109"/>
                </a:lnTo>
                <a:cubicBezTo>
                  <a:pt x="0" y="21381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1381"/>
                  <a:pt x="21600" y="21109"/>
                </a:cubicBezTo>
                <a:lnTo>
                  <a:pt x="21600" y="7364"/>
                </a:lnTo>
                <a:cubicBezTo>
                  <a:pt x="21600" y="7093"/>
                  <a:pt x="21297" y="6873"/>
                  <a:pt x="20925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2833">
            <a:extLst>
              <a:ext uri="{FF2B5EF4-FFF2-40B4-BE49-F238E27FC236}">
                <a16:creationId xmlns:a16="http://schemas.microsoft.com/office/drawing/2014/main" id="{DF458113-5B1B-4E0C-9793-32FDCEBDBA83}"/>
              </a:ext>
            </a:extLst>
          </p:cNvPr>
          <p:cNvSpPr/>
          <p:nvPr/>
        </p:nvSpPr>
        <p:spPr bwMode="gray">
          <a:xfrm>
            <a:off x="172616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  <a:moveTo>
                  <a:pt x="7140" y="14181"/>
                </a:moveTo>
                <a:cubicBezTo>
                  <a:pt x="6970" y="13741"/>
                  <a:pt x="6873" y="13264"/>
                  <a:pt x="6873" y="12764"/>
                </a:cubicBezTo>
                <a:cubicBezTo>
                  <a:pt x="6873" y="10595"/>
                  <a:pt x="8631" y="8836"/>
                  <a:pt x="10800" y="8836"/>
                </a:cubicBezTo>
                <a:cubicBezTo>
                  <a:pt x="11300" y="8836"/>
                  <a:pt x="11777" y="8934"/>
                  <a:pt x="12217" y="9104"/>
                </a:cubicBezTo>
                <a:lnTo>
                  <a:pt x="13217" y="8494"/>
                </a:lnTo>
                <a:cubicBezTo>
                  <a:pt x="12503" y="8089"/>
                  <a:pt x="11680" y="7855"/>
                  <a:pt x="10800" y="7855"/>
                </a:cubicBezTo>
                <a:cubicBezTo>
                  <a:pt x="8089" y="7855"/>
                  <a:pt x="5891" y="10053"/>
                  <a:pt x="5891" y="12764"/>
                </a:cubicBezTo>
                <a:cubicBezTo>
                  <a:pt x="5891" y="13643"/>
                  <a:pt x="6125" y="14467"/>
                  <a:pt x="6530" y="15181"/>
                </a:cubicBezTo>
                <a:cubicBezTo>
                  <a:pt x="6530" y="15181"/>
                  <a:pt x="7140" y="14181"/>
                  <a:pt x="7140" y="14181"/>
                </a:cubicBezTo>
                <a:close/>
                <a:moveTo>
                  <a:pt x="14460" y="11347"/>
                </a:moveTo>
                <a:cubicBezTo>
                  <a:pt x="14630" y="11787"/>
                  <a:pt x="14727" y="12263"/>
                  <a:pt x="14727" y="12764"/>
                </a:cubicBezTo>
                <a:cubicBezTo>
                  <a:pt x="14727" y="14932"/>
                  <a:pt x="12969" y="16691"/>
                  <a:pt x="10800" y="16691"/>
                </a:cubicBezTo>
                <a:cubicBezTo>
                  <a:pt x="10300" y="16691"/>
                  <a:pt x="9823" y="16594"/>
                  <a:pt x="9383" y="16423"/>
                </a:cubicBezTo>
                <a:lnTo>
                  <a:pt x="8383" y="17034"/>
                </a:lnTo>
                <a:cubicBezTo>
                  <a:pt x="9097" y="17439"/>
                  <a:pt x="9920" y="17673"/>
                  <a:pt x="10800" y="17673"/>
                </a:cubicBezTo>
                <a:cubicBezTo>
                  <a:pt x="13511" y="17673"/>
                  <a:pt x="15709" y="15475"/>
                  <a:pt x="15709" y="12764"/>
                </a:cubicBezTo>
                <a:cubicBezTo>
                  <a:pt x="15709" y="11884"/>
                  <a:pt x="15475" y="11061"/>
                  <a:pt x="15070" y="10346"/>
                </a:cubicBezTo>
                <a:cubicBezTo>
                  <a:pt x="15070" y="10346"/>
                  <a:pt x="14460" y="11347"/>
                  <a:pt x="14460" y="11347"/>
                </a:cubicBezTo>
                <a:close/>
                <a:moveTo>
                  <a:pt x="10453" y="12417"/>
                </a:moveTo>
                <a:cubicBezTo>
                  <a:pt x="10645" y="12225"/>
                  <a:pt x="10955" y="12225"/>
                  <a:pt x="11147" y="12417"/>
                </a:cubicBezTo>
                <a:cubicBezTo>
                  <a:pt x="11339" y="12609"/>
                  <a:pt x="11339" y="12919"/>
                  <a:pt x="11147" y="13111"/>
                </a:cubicBezTo>
                <a:cubicBezTo>
                  <a:pt x="10955" y="13303"/>
                  <a:pt x="10645" y="13303"/>
                  <a:pt x="10453" y="13111"/>
                </a:cubicBezTo>
                <a:cubicBezTo>
                  <a:pt x="10261" y="12919"/>
                  <a:pt x="10261" y="12609"/>
                  <a:pt x="10453" y="12417"/>
                </a:cubicBezTo>
                <a:moveTo>
                  <a:pt x="6144" y="17420"/>
                </a:moveTo>
                <a:lnTo>
                  <a:pt x="11842" y="13805"/>
                </a:lnTo>
                <a:lnTo>
                  <a:pt x="15456" y="8107"/>
                </a:lnTo>
                <a:lnTo>
                  <a:pt x="9759" y="11722"/>
                </a:lnTo>
                <a:cubicBezTo>
                  <a:pt x="9759" y="11722"/>
                  <a:pt x="6144" y="17420"/>
                  <a:pt x="6144" y="17420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 2834">
            <a:extLst>
              <a:ext uri="{FF2B5EF4-FFF2-40B4-BE49-F238E27FC236}">
                <a16:creationId xmlns:a16="http://schemas.microsoft.com/office/drawing/2014/main" id="{53A46125-BCD1-4FAC-BFB6-C1DB208F6E9C}"/>
              </a:ext>
            </a:extLst>
          </p:cNvPr>
          <p:cNvSpPr/>
          <p:nvPr/>
        </p:nvSpPr>
        <p:spPr bwMode="gray">
          <a:xfrm>
            <a:off x="22804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45" y="1964"/>
                </a:moveTo>
                <a:lnTo>
                  <a:pt x="8345" y="1964"/>
                </a:lnTo>
                <a:cubicBezTo>
                  <a:pt x="8075" y="1964"/>
                  <a:pt x="7855" y="2184"/>
                  <a:pt x="7855" y="2455"/>
                </a:cubicBezTo>
                <a:cubicBezTo>
                  <a:pt x="7855" y="2726"/>
                  <a:pt x="8075" y="2945"/>
                  <a:pt x="8345" y="2945"/>
                </a:cubicBezTo>
                <a:lnTo>
                  <a:pt x="19145" y="2945"/>
                </a:lnTo>
                <a:cubicBezTo>
                  <a:pt x="19416" y="2945"/>
                  <a:pt x="19636" y="2726"/>
                  <a:pt x="19636" y="2455"/>
                </a:cubicBezTo>
                <a:cubicBezTo>
                  <a:pt x="19636" y="2184"/>
                  <a:pt x="19416" y="1964"/>
                  <a:pt x="19145" y="1964"/>
                </a:cubicBezTo>
                <a:moveTo>
                  <a:pt x="20618" y="3927"/>
                </a:moveTo>
                <a:lnTo>
                  <a:pt x="982" y="39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3927"/>
                  <a:pt x="20618" y="3927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4909"/>
                </a:lnTo>
                <a:lnTo>
                  <a:pt x="20618" y="4909"/>
                </a:lnTo>
                <a:cubicBezTo>
                  <a:pt x="20618" y="4909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6382" y="1964"/>
                </a:moveTo>
                <a:cubicBezTo>
                  <a:pt x="6111" y="1964"/>
                  <a:pt x="5891" y="2184"/>
                  <a:pt x="5891" y="2455"/>
                </a:cubicBezTo>
                <a:cubicBezTo>
                  <a:pt x="5891" y="2726"/>
                  <a:pt x="6111" y="2945"/>
                  <a:pt x="6382" y="2945"/>
                </a:cubicBezTo>
                <a:cubicBezTo>
                  <a:pt x="6653" y="2945"/>
                  <a:pt x="6873" y="2726"/>
                  <a:pt x="6873" y="2455"/>
                </a:cubicBezTo>
                <a:cubicBezTo>
                  <a:pt x="6873" y="2184"/>
                  <a:pt x="6653" y="1964"/>
                  <a:pt x="6382" y="1964"/>
                </a:cubicBezTo>
                <a:moveTo>
                  <a:pt x="4418" y="1964"/>
                </a:moveTo>
                <a:cubicBezTo>
                  <a:pt x="4147" y="1964"/>
                  <a:pt x="3927" y="2184"/>
                  <a:pt x="3927" y="2455"/>
                </a:cubicBez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cubicBezTo>
                  <a:pt x="4909" y="2184"/>
                  <a:pt x="4689" y="1964"/>
                  <a:pt x="4418" y="1964"/>
                </a:cubicBezTo>
                <a:moveTo>
                  <a:pt x="2455" y="1964"/>
                </a:moveTo>
                <a:cubicBezTo>
                  <a:pt x="2184" y="1964"/>
                  <a:pt x="1964" y="2184"/>
                  <a:pt x="1964" y="2455"/>
                </a:cubicBezTo>
                <a:cubicBezTo>
                  <a:pt x="1964" y="2726"/>
                  <a:pt x="2184" y="2945"/>
                  <a:pt x="2455" y="2945"/>
                </a:cubicBezTo>
                <a:cubicBezTo>
                  <a:pt x="2725" y="2945"/>
                  <a:pt x="2945" y="2726"/>
                  <a:pt x="2945" y="2455"/>
                </a:cubicBezTo>
                <a:cubicBezTo>
                  <a:pt x="2945" y="2184"/>
                  <a:pt x="2725" y="1964"/>
                  <a:pt x="2455" y="196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Shape 2835">
            <a:extLst>
              <a:ext uri="{FF2B5EF4-FFF2-40B4-BE49-F238E27FC236}">
                <a16:creationId xmlns:a16="http://schemas.microsoft.com/office/drawing/2014/main" id="{97B35B54-630C-4266-BA80-6B8F83939FBC}"/>
              </a:ext>
            </a:extLst>
          </p:cNvPr>
          <p:cNvSpPr/>
          <p:nvPr/>
        </p:nvSpPr>
        <p:spPr bwMode="gray">
          <a:xfrm>
            <a:off x="28347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218" y="5891"/>
                </a:moveTo>
                <a:lnTo>
                  <a:pt x="8345" y="5891"/>
                </a:lnTo>
                <a:cubicBezTo>
                  <a:pt x="8075" y="5891"/>
                  <a:pt x="7855" y="6111"/>
                  <a:pt x="7855" y="6382"/>
                </a:cubicBezTo>
                <a:cubicBezTo>
                  <a:pt x="7855" y="6653"/>
                  <a:pt x="8075" y="6873"/>
                  <a:pt x="8345" y="6873"/>
                </a:cubicBez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moveTo>
                  <a:pt x="6382" y="5891"/>
                </a:moveTo>
                <a:cubicBezTo>
                  <a:pt x="6111" y="5891"/>
                  <a:pt x="5891" y="6111"/>
                  <a:pt x="5891" y="6382"/>
                </a:cubicBezTo>
                <a:cubicBezTo>
                  <a:pt x="5891" y="6653"/>
                  <a:pt x="6111" y="6873"/>
                  <a:pt x="6382" y="6873"/>
                </a:cubicBezTo>
                <a:cubicBezTo>
                  <a:pt x="6653" y="6873"/>
                  <a:pt x="6873" y="6653"/>
                  <a:pt x="6873" y="6382"/>
                </a:cubicBezTo>
                <a:cubicBezTo>
                  <a:pt x="6873" y="6111"/>
                  <a:pt x="6653" y="5891"/>
                  <a:pt x="6382" y="5891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879"/>
                  <a:pt x="3927" y="1964"/>
                </a:cubicBezTo>
                <a:lnTo>
                  <a:pt x="3927" y="2455"/>
                </a:lnTo>
                <a:cubicBezTo>
                  <a:pt x="3927" y="2726"/>
                  <a:pt x="4147" y="2945"/>
                  <a:pt x="4418" y="2945"/>
                </a:cubicBezTo>
                <a:cubicBezTo>
                  <a:pt x="4689" y="2945"/>
                  <a:pt x="4909" y="2726"/>
                  <a:pt x="4909" y="2455"/>
                </a:cubicBezTo>
                <a:lnTo>
                  <a:pt x="4909" y="1964"/>
                </a:lnTo>
                <a:cubicBezTo>
                  <a:pt x="4909" y="1422"/>
                  <a:pt x="5349" y="982"/>
                  <a:pt x="5891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lnTo>
                  <a:pt x="20618" y="15709"/>
                </a:lnTo>
                <a:cubicBezTo>
                  <a:pt x="20618" y="16252"/>
                  <a:pt x="20178" y="16691"/>
                  <a:pt x="19636" y="16691"/>
                </a:cubicBezTo>
                <a:lnTo>
                  <a:pt x="19145" y="16691"/>
                </a:lnTo>
                <a:cubicBezTo>
                  <a:pt x="18875" y="16691"/>
                  <a:pt x="18655" y="16910"/>
                  <a:pt x="18655" y="17182"/>
                </a:cubicBezTo>
                <a:cubicBezTo>
                  <a:pt x="18655" y="17453"/>
                  <a:pt x="18875" y="17673"/>
                  <a:pt x="19145" y="17673"/>
                </a:cubicBezTo>
                <a:lnTo>
                  <a:pt x="19636" y="17673"/>
                </a:lnTo>
                <a:cubicBezTo>
                  <a:pt x="20721" y="17673"/>
                  <a:pt x="21600" y="16794"/>
                  <a:pt x="21600" y="15709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2455" y="5891"/>
                </a:moveTo>
                <a:cubicBezTo>
                  <a:pt x="2184" y="5891"/>
                  <a:pt x="1964" y="6111"/>
                  <a:pt x="1964" y="6382"/>
                </a:cubicBezTo>
                <a:cubicBezTo>
                  <a:pt x="1964" y="6653"/>
                  <a:pt x="2184" y="6873"/>
                  <a:pt x="2455" y="6873"/>
                </a:cubicBezTo>
                <a:cubicBezTo>
                  <a:pt x="2725" y="6873"/>
                  <a:pt x="2945" y="6653"/>
                  <a:pt x="2945" y="6382"/>
                </a:cubicBezTo>
                <a:cubicBezTo>
                  <a:pt x="2945" y="6111"/>
                  <a:pt x="2725" y="5891"/>
                  <a:pt x="2455" y="5891"/>
                </a:cubicBezTo>
                <a:moveTo>
                  <a:pt x="4418" y="5891"/>
                </a:moveTo>
                <a:cubicBezTo>
                  <a:pt x="4147" y="5891"/>
                  <a:pt x="3927" y="6111"/>
                  <a:pt x="3927" y="6382"/>
                </a:cubicBezTo>
                <a:cubicBezTo>
                  <a:pt x="3927" y="6653"/>
                  <a:pt x="4147" y="6873"/>
                  <a:pt x="4418" y="6873"/>
                </a:cubicBezTo>
                <a:cubicBezTo>
                  <a:pt x="4689" y="6873"/>
                  <a:pt x="4909" y="6653"/>
                  <a:pt x="4909" y="6382"/>
                </a:cubicBezTo>
                <a:cubicBezTo>
                  <a:pt x="4909" y="6111"/>
                  <a:pt x="4689" y="5891"/>
                  <a:pt x="4418" y="5891"/>
                </a:cubicBezTo>
                <a:moveTo>
                  <a:pt x="16691" y="7855"/>
                </a:moveTo>
                <a:lnTo>
                  <a:pt x="982" y="7855"/>
                </a:lnTo>
                <a:lnTo>
                  <a:pt x="982" y="5891"/>
                </a:lnTo>
                <a:cubicBezTo>
                  <a:pt x="982" y="5349"/>
                  <a:pt x="1422" y="4909"/>
                  <a:pt x="1964" y="4909"/>
                </a:cubicBezTo>
                <a:lnTo>
                  <a:pt x="15709" y="4909"/>
                </a:lnTo>
                <a:cubicBezTo>
                  <a:pt x="16251" y="4909"/>
                  <a:pt x="16691" y="5349"/>
                  <a:pt x="16691" y="5891"/>
                </a:cubicBezTo>
                <a:cubicBezTo>
                  <a:pt x="16691" y="5891"/>
                  <a:pt x="16691" y="7855"/>
                  <a:pt x="16691" y="7855"/>
                </a:cubicBezTo>
                <a:close/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9636"/>
                  <a:pt x="16691" y="19636"/>
                </a:cubicBezTo>
                <a:close/>
                <a:moveTo>
                  <a:pt x="15709" y="3927"/>
                </a:moveTo>
                <a:lnTo>
                  <a:pt x="1964" y="3927"/>
                </a:lnTo>
                <a:cubicBezTo>
                  <a:pt x="879" y="3927"/>
                  <a:pt x="0" y="4806"/>
                  <a:pt x="0" y="5891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5891"/>
                </a:lnTo>
                <a:cubicBezTo>
                  <a:pt x="17673" y="4806"/>
                  <a:pt x="16794" y="3927"/>
                  <a:pt x="15709" y="392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Shape 2836">
            <a:extLst>
              <a:ext uri="{FF2B5EF4-FFF2-40B4-BE49-F238E27FC236}">
                <a16:creationId xmlns:a16="http://schemas.microsoft.com/office/drawing/2014/main" id="{EECF8935-091E-49F6-A508-1580B4E3A88E}"/>
              </a:ext>
            </a:extLst>
          </p:cNvPr>
          <p:cNvSpPr/>
          <p:nvPr/>
        </p:nvSpPr>
        <p:spPr bwMode="gray">
          <a:xfrm>
            <a:off x="3389098" y="2882957"/>
            <a:ext cx="290354" cy="2111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2837">
            <a:extLst>
              <a:ext uri="{FF2B5EF4-FFF2-40B4-BE49-F238E27FC236}">
                <a16:creationId xmlns:a16="http://schemas.microsoft.com/office/drawing/2014/main" id="{EDFD0A8D-DBCC-4F7F-AC5C-E977467C34DF}"/>
              </a:ext>
            </a:extLst>
          </p:cNvPr>
          <p:cNvSpPr/>
          <p:nvPr/>
        </p:nvSpPr>
        <p:spPr bwMode="gray">
          <a:xfrm>
            <a:off x="3943410" y="2876358"/>
            <a:ext cx="290354" cy="224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18667"/>
                </a:moveTo>
                <a:lnTo>
                  <a:pt x="12576" y="13341"/>
                </a:lnTo>
                <a:lnTo>
                  <a:pt x="16691" y="8016"/>
                </a:lnTo>
                <a:cubicBezTo>
                  <a:pt x="16691" y="8016"/>
                  <a:pt x="16691" y="18667"/>
                  <a:pt x="16691" y="18667"/>
                </a:cubicBezTo>
                <a:close/>
                <a:moveTo>
                  <a:pt x="15709" y="20329"/>
                </a:moveTo>
                <a:lnTo>
                  <a:pt x="1964" y="20329"/>
                </a:lnTo>
                <a:cubicBezTo>
                  <a:pt x="1719" y="20329"/>
                  <a:pt x="1498" y="20210"/>
                  <a:pt x="1326" y="20018"/>
                </a:cubicBezTo>
                <a:lnTo>
                  <a:pt x="5791" y="14240"/>
                </a:lnTo>
                <a:lnTo>
                  <a:pt x="7477" y="16421"/>
                </a:lnTo>
                <a:cubicBezTo>
                  <a:pt x="7853" y="16907"/>
                  <a:pt x="8344" y="17150"/>
                  <a:pt x="8836" y="17150"/>
                </a:cubicBezTo>
                <a:cubicBezTo>
                  <a:pt x="9329" y="17150"/>
                  <a:pt x="9821" y="16907"/>
                  <a:pt x="10195" y="16421"/>
                </a:cubicBezTo>
                <a:lnTo>
                  <a:pt x="11882" y="14240"/>
                </a:lnTo>
                <a:lnTo>
                  <a:pt x="16347" y="20018"/>
                </a:lnTo>
                <a:cubicBezTo>
                  <a:pt x="16175" y="20210"/>
                  <a:pt x="15954" y="20329"/>
                  <a:pt x="15709" y="20329"/>
                </a:cubicBezTo>
                <a:moveTo>
                  <a:pt x="982" y="8016"/>
                </a:moveTo>
                <a:lnTo>
                  <a:pt x="5097" y="13341"/>
                </a:lnTo>
                <a:lnTo>
                  <a:pt x="982" y="18667"/>
                </a:lnTo>
                <a:cubicBezTo>
                  <a:pt x="982" y="18667"/>
                  <a:pt x="982" y="8016"/>
                  <a:pt x="982" y="8016"/>
                </a:cubicBezTo>
                <a:close/>
                <a:moveTo>
                  <a:pt x="1964" y="6353"/>
                </a:moveTo>
                <a:lnTo>
                  <a:pt x="15709" y="6353"/>
                </a:lnTo>
                <a:cubicBezTo>
                  <a:pt x="15954" y="6353"/>
                  <a:pt x="16175" y="6474"/>
                  <a:pt x="16347" y="6665"/>
                </a:cubicBezTo>
                <a:lnTo>
                  <a:pt x="9502" y="15523"/>
                </a:lnTo>
                <a:cubicBezTo>
                  <a:pt x="9324" y="15752"/>
                  <a:pt x="9088" y="15880"/>
                  <a:pt x="8836" y="15880"/>
                </a:cubicBezTo>
                <a:cubicBezTo>
                  <a:pt x="8585" y="15880"/>
                  <a:pt x="8349" y="15752"/>
                  <a:pt x="8170" y="15523"/>
                </a:cubicBezTo>
                <a:lnTo>
                  <a:pt x="1326" y="6664"/>
                </a:lnTo>
                <a:cubicBezTo>
                  <a:pt x="1498" y="6474"/>
                  <a:pt x="1719" y="6353"/>
                  <a:pt x="1964" y="6353"/>
                </a:cubicBezTo>
                <a:moveTo>
                  <a:pt x="15709" y="5082"/>
                </a:moveTo>
                <a:lnTo>
                  <a:pt x="1964" y="5082"/>
                </a:lnTo>
                <a:cubicBezTo>
                  <a:pt x="879" y="5082"/>
                  <a:pt x="0" y="6220"/>
                  <a:pt x="0" y="7624"/>
                </a:cubicBezTo>
                <a:lnTo>
                  <a:pt x="0" y="19059"/>
                </a:lnTo>
                <a:cubicBezTo>
                  <a:pt x="0" y="20462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462"/>
                  <a:pt x="17673" y="19059"/>
                </a:cubicBezTo>
                <a:lnTo>
                  <a:pt x="17673" y="7624"/>
                </a:lnTo>
                <a:cubicBezTo>
                  <a:pt x="17673" y="6220"/>
                  <a:pt x="16794" y="5082"/>
                  <a:pt x="15709" y="5082"/>
                </a:cubicBezTo>
                <a:moveTo>
                  <a:pt x="19636" y="0"/>
                </a:moveTo>
                <a:lnTo>
                  <a:pt x="5891" y="0"/>
                </a:lnTo>
                <a:cubicBezTo>
                  <a:pt x="4806" y="0"/>
                  <a:pt x="3927" y="1138"/>
                  <a:pt x="3927" y="2541"/>
                </a:cubicBezTo>
                <a:lnTo>
                  <a:pt x="3927" y="3176"/>
                </a:lnTo>
                <a:cubicBezTo>
                  <a:pt x="3927" y="3528"/>
                  <a:pt x="4147" y="3812"/>
                  <a:pt x="4418" y="3812"/>
                </a:cubicBezTo>
                <a:cubicBezTo>
                  <a:pt x="4690" y="3812"/>
                  <a:pt x="4909" y="3528"/>
                  <a:pt x="4909" y="3176"/>
                </a:cubicBezTo>
                <a:lnTo>
                  <a:pt x="4909" y="2541"/>
                </a:lnTo>
                <a:cubicBezTo>
                  <a:pt x="4909" y="1840"/>
                  <a:pt x="5348" y="1271"/>
                  <a:pt x="5891" y="1271"/>
                </a:cubicBezTo>
                <a:lnTo>
                  <a:pt x="19636" y="1271"/>
                </a:lnTo>
                <a:cubicBezTo>
                  <a:pt x="20178" y="1271"/>
                  <a:pt x="20618" y="1840"/>
                  <a:pt x="20618" y="2541"/>
                </a:cubicBezTo>
                <a:lnTo>
                  <a:pt x="20618" y="13976"/>
                </a:lnTo>
                <a:cubicBezTo>
                  <a:pt x="20618" y="14678"/>
                  <a:pt x="20178" y="15247"/>
                  <a:pt x="19636" y="15247"/>
                </a:cubicBezTo>
                <a:lnTo>
                  <a:pt x="19145" y="15247"/>
                </a:lnTo>
                <a:cubicBezTo>
                  <a:pt x="18874" y="15247"/>
                  <a:pt x="18655" y="15532"/>
                  <a:pt x="18655" y="15882"/>
                </a:cubicBezTo>
                <a:cubicBezTo>
                  <a:pt x="18655" y="16234"/>
                  <a:pt x="18874" y="16518"/>
                  <a:pt x="19145" y="16518"/>
                </a:cubicBezTo>
                <a:lnTo>
                  <a:pt x="19636" y="16518"/>
                </a:lnTo>
                <a:cubicBezTo>
                  <a:pt x="20721" y="16518"/>
                  <a:pt x="21600" y="15380"/>
                  <a:pt x="21600" y="13976"/>
                </a:cubicBezTo>
                <a:lnTo>
                  <a:pt x="21600" y="2541"/>
                </a:lnTo>
                <a:cubicBezTo>
                  <a:pt x="21600" y="1138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838">
            <a:extLst>
              <a:ext uri="{FF2B5EF4-FFF2-40B4-BE49-F238E27FC236}">
                <a16:creationId xmlns:a16="http://schemas.microsoft.com/office/drawing/2014/main" id="{9399601E-E4C1-4217-A88C-85976DB53737}"/>
              </a:ext>
            </a:extLst>
          </p:cNvPr>
          <p:cNvSpPr/>
          <p:nvPr/>
        </p:nvSpPr>
        <p:spPr bwMode="gray">
          <a:xfrm>
            <a:off x="4497722" y="2869759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4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5" y="12000"/>
                  <a:pt x="13745" y="12269"/>
                  <a:pt x="13745" y="12600"/>
                </a:cubicBezTo>
                <a:cubicBezTo>
                  <a:pt x="13745" y="14589"/>
                  <a:pt x="12426" y="16200"/>
                  <a:pt x="10800" y="16200"/>
                </a:cubicBezTo>
                <a:cubicBezTo>
                  <a:pt x="9173" y="16200"/>
                  <a:pt x="7855" y="14589"/>
                  <a:pt x="7855" y="12600"/>
                </a:cubicBezTo>
                <a:cubicBezTo>
                  <a:pt x="7855" y="12269"/>
                  <a:pt x="7635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5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5"/>
                </a:lnTo>
                <a:cubicBezTo>
                  <a:pt x="23" y="12415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5"/>
                  <a:pt x="21543" y="1233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Shape 2839">
            <a:extLst>
              <a:ext uri="{FF2B5EF4-FFF2-40B4-BE49-F238E27FC236}">
                <a16:creationId xmlns:a16="http://schemas.microsoft.com/office/drawing/2014/main" id="{9FC2C76A-27E1-4585-9102-745A1B5677CC}"/>
              </a:ext>
            </a:extLst>
          </p:cNvPr>
          <p:cNvSpPr/>
          <p:nvPr/>
        </p:nvSpPr>
        <p:spPr bwMode="gray">
          <a:xfrm>
            <a:off x="5052034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4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3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4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2764" y="2160"/>
                </a:lnTo>
                <a:cubicBezTo>
                  <a:pt x="12492" y="2160"/>
                  <a:pt x="12273" y="2402"/>
                  <a:pt x="12273" y="2700"/>
                </a:cubicBezTo>
                <a:cubicBezTo>
                  <a:pt x="12273" y="2999"/>
                  <a:pt x="12492" y="3240"/>
                  <a:pt x="12764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8836" y="3240"/>
                </a:lnTo>
                <a:cubicBezTo>
                  <a:pt x="9108" y="3240"/>
                  <a:pt x="9327" y="2999"/>
                  <a:pt x="9327" y="2700"/>
                </a:cubicBezTo>
                <a:cubicBezTo>
                  <a:pt x="9327" y="2402"/>
                  <a:pt x="9108" y="2160"/>
                  <a:pt x="8836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3" y="13261"/>
                </a:cubicBezTo>
                <a:moveTo>
                  <a:pt x="7855" y="8640"/>
                </a:moveTo>
                <a:cubicBezTo>
                  <a:pt x="7583" y="8640"/>
                  <a:pt x="7364" y="8882"/>
                  <a:pt x="7364" y="9180"/>
                </a:cubicBezTo>
                <a:cubicBezTo>
                  <a:pt x="7364" y="9329"/>
                  <a:pt x="7418" y="9464"/>
                  <a:pt x="7507" y="9562"/>
                </a:cubicBezTo>
                <a:lnTo>
                  <a:pt x="10453" y="12802"/>
                </a:lnTo>
                <a:cubicBezTo>
                  <a:pt x="10542" y="12900"/>
                  <a:pt x="10665" y="12960"/>
                  <a:pt x="10800" y="12960"/>
                </a:cubicBezTo>
                <a:cubicBezTo>
                  <a:pt x="10936" y="12960"/>
                  <a:pt x="11058" y="12900"/>
                  <a:pt x="11147" y="12802"/>
                </a:cubicBezTo>
                <a:lnTo>
                  <a:pt x="14093" y="9562"/>
                </a:lnTo>
                <a:cubicBezTo>
                  <a:pt x="14182" y="9464"/>
                  <a:pt x="14236" y="9329"/>
                  <a:pt x="14236" y="9180"/>
                </a:cubicBezTo>
                <a:cubicBezTo>
                  <a:pt x="14236" y="8882"/>
                  <a:pt x="14017" y="8640"/>
                  <a:pt x="13745" y="8640"/>
                </a:cubicBezTo>
                <a:cubicBezTo>
                  <a:pt x="13610" y="8640"/>
                  <a:pt x="13487" y="8701"/>
                  <a:pt x="13398" y="8798"/>
                </a:cubicBezTo>
                <a:lnTo>
                  <a:pt x="11291" y="11116"/>
                </a:lnTo>
                <a:lnTo>
                  <a:pt x="11291" y="540"/>
                </a:lnTo>
                <a:cubicBezTo>
                  <a:pt x="11291" y="242"/>
                  <a:pt x="11071" y="0"/>
                  <a:pt x="10800" y="0"/>
                </a:cubicBezTo>
                <a:cubicBezTo>
                  <a:pt x="10529" y="0"/>
                  <a:pt x="10309" y="242"/>
                  <a:pt x="10309" y="540"/>
                </a:cubicBezTo>
                <a:lnTo>
                  <a:pt x="10309" y="11116"/>
                </a:lnTo>
                <a:lnTo>
                  <a:pt x="8202" y="8798"/>
                </a:lnTo>
                <a:cubicBezTo>
                  <a:pt x="8113" y="8701"/>
                  <a:pt x="7990" y="8640"/>
                  <a:pt x="7855" y="864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hape 2840">
            <a:extLst>
              <a:ext uri="{FF2B5EF4-FFF2-40B4-BE49-F238E27FC236}">
                <a16:creationId xmlns:a16="http://schemas.microsoft.com/office/drawing/2014/main" id="{D127AE3E-F11F-4AEF-A6E7-6CACDDDBFA7D}"/>
              </a:ext>
            </a:extLst>
          </p:cNvPr>
          <p:cNvSpPr/>
          <p:nvPr/>
        </p:nvSpPr>
        <p:spPr bwMode="gray">
          <a:xfrm>
            <a:off x="5606346" y="2856561"/>
            <a:ext cx="290354" cy="263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520"/>
                </a:moveTo>
                <a:lnTo>
                  <a:pt x="982" y="20520"/>
                </a:lnTo>
                <a:lnTo>
                  <a:pt x="982" y="14040"/>
                </a:lnTo>
                <a:lnTo>
                  <a:pt x="6907" y="14040"/>
                </a:lnTo>
                <a:cubicBezTo>
                  <a:pt x="7149" y="16170"/>
                  <a:pt x="8798" y="17820"/>
                  <a:pt x="10800" y="17820"/>
                </a:cubicBezTo>
                <a:cubicBezTo>
                  <a:pt x="12802" y="17820"/>
                  <a:pt x="14451" y="16170"/>
                  <a:pt x="14693" y="14040"/>
                </a:cubicBezTo>
                <a:lnTo>
                  <a:pt x="20618" y="14040"/>
                </a:lnTo>
                <a:cubicBezTo>
                  <a:pt x="20618" y="14040"/>
                  <a:pt x="20618" y="20520"/>
                  <a:pt x="20618" y="20520"/>
                </a:cubicBezTo>
                <a:close/>
                <a:moveTo>
                  <a:pt x="21544" y="13261"/>
                </a:moveTo>
                <a:lnTo>
                  <a:pt x="21548" y="13259"/>
                </a:lnTo>
                <a:lnTo>
                  <a:pt x="16639" y="2459"/>
                </a:lnTo>
                <a:lnTo>
                  <a:pt x="16635" y="2461"/>
                </a:lnTo>
                <a:cubicBezTo>
                  <a:pt x="16554" y="2284"/>
                  <a:pt x="16392" y="2160"/>
                  <a:pt x="16200" y="2160"/>
                </a:cubicBezTo>
                <a:lnTo>
                  <a:pt x="15709" y="2160"/>
                </a:lnTo>
                <a:cubicBezTo>
                  <a:pt x="15438" y="2160"/>
                  <a:pt x="15218" y="2402"/>
                  <a:pt x="15218" y="2700"/>
                </a:cubicBezTo>
                <a:cubicBezTo>
                  <a:pt x="15218" y="2999"/>
                  <a:pt x="15438" y="3240"/>
                  <a:pt x="15709" y="3240"/>
                </a:cubicBezTo>
                <a:lnTo>
                  <a:pt x="15897" y="3240"/>
                </a:lnTo>
                <a:lnTo>
                  <a:pt x="20315" y="12960"/>
                </a:lnTo>
                <a:lnTo>
                  <a:pt x="14236" y="12960"/>
                </a:lnTo>
                <a:cubicBezTo>
                  <a:pt x="13965" y="12960"/>
                  <a:pt x="13745" y="13202"/>
                  <a:pt x="13745" y="13500"/>
                </a:cubicBezTo>
                <a:cubicBezTo>
                  <a:pt x="13745" y="15290"/>
                  <a:pt x="12426" y="16740"/>
                  <a:pt x="10800" y="16740"/>
                </a:cubicBezTo>
                <a:cubicBezTo>
                  <a:pt x="9173" y="16740"/>
                  <a:pt x="7855" y="15290"/>
                  <a:pt x="7855" y="13500"/>
                </a:cubicBezTo>
                <a:cubicBezTo>
                  <a:pt x="7855" y="13202"/>
                  <a:pt x="7635" y="12960"/>
                  <a:pt x="7364" y="12960"/>
                </a:cubicBezTo>
                <a:lnTo>
                  <a:pt x="1285" y="12960"/>
                </a:lnTo>
                <a:lnTo>
                  <a:pt x="5703" y="3240"/>
                </a:lnTo>
                <a:lnTo>
                  <a:pt x="5891" y="3240"/>
                </a:lnTo>
                <a:cubicBezTo>
                  <a:pt x="6162" y="3240"/>
                  <a:pt x="6382" y="2999"/>
                  <a:pt x="6382" y="2700"/>
                </a:cubicBezTo>
                <a:cubicBezTo>
                  <a:pt x="6382" y="2402"/>
                  <a:pt x="6162" y="2160"/>
                  <a:pt x="5891" y="2160"/>
                </a:cubicBezTo>
                <a:lnTo>
                  <a:pt x="5400" y="2160"/>
                </a:lnTo>
                <a:cubicBezTo>
                  <a:pt x="5208" y="2160"/>
                  <a:pt x="5046" y="2284"/>
                  <a:pt x="4966" y="2461"/>
                </a:cubicBezTo>
                <a:lnTo>
                  <a:pt x="4961" y="2459"/>
                </a:lnTo>
                <a:lnTo>
                  <a:pt x="52" y="13259"/>
                </a:lnTo>
                <a:lnTo>
                  <a:pt x="57" y="13261"/>
                </a:lnTo>
                <a:cubicBezTo>
                  <a:pt x="23" y="13334"/>
                  <a:pt x="0" y="13413"/>
                  <a:pt x="0" y="13500"/>
                </a:cubicBezTo>
                <a:lnTo>
                  <a:pt x="0" y="21060"/>
                </a:lnTo>
                <a:cubicBezTo>
                  <a:pt x="0" y="21359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59"/>
                  <a:pt x="21600" y="21060"/>
                </a:cubicBezTo>
                <a:lnTo>
                  <a:pt x="21600" y="13500"/>
                </a:lnTo>
                <a:cubicBezTo>
                  <a:pt x="21600" y="13413"/>
                  <a:pt x="21577" y="13334"/>
                  <a:pt x="21544" y="13261"/>
                </a:cubicBezTo>
                <a:moveTo>
                  <a:pt x="7855" y="4320"/>
                </a:moveTo>
                <a:cubicBezTo>
                  <a:pt x="7990" y="4320"/>
                  <a:pt x="8113" y="4260"/>
                  <a:pt x="8202" y="4162"/>
                </a:cubicBezTo>
                <a:lnTo>
                  <a:pt x="10309" y="1844"/>
                </a:lnTo>
                <a:lnTo>
                  <a:pt x="10309" y="12420"/>
                </a:lnTo>
                <a:cubicBezTo>
                  <a:pt x="10309" y="12719"/>
                  <a:pt x="10529" y="12960"/>
                  <a:pt x="10800" y="12960"/>
                </a:cubicBezTo>
                <a:cubicBezTo>
                  <a:pt x="11071" y="12960"/>
                  <a:pt x="11291" y="12719"/>
                  <a:pt x="11291" y="12420"/>
                </a:cubicBezTo>
                <a:lnTo>
                  <a:pt x="11291" y="1844"/>
                </a:lnTo>
                <a:lnTo>
                  <a:pt x="13398" y="4162"/>
                </a:lnTo>
                <a:cubicBezTo>
                  <a:pt x="13487" y="4260"/>
                  <a:pt x="13610" y="4320"/>
                  <a:pt x="13745" y="4320"/>
                </a:cubicBezTo>
                <a:cubicBezTo>
                  <a:pt x="14017" y="4320"/>
                  <a:pt x="14236" y="4079"/>
                  <a:pt x="14236" y="3780"/>
                </a:cubicBezTo>
                <a:cubicBezTo>
                  <a:pt x="14236" y="3631"/>
                  <a:pt x="14181" y="3497"/>
                  <a:pt x="14093" y="3398"/>
                </a:cubicBezTo>
                <a:lnTo>
                  <a:pt x="11147" y="158"/>
                </a:lnTo>
                <a:cubicBezTo>
                  <a:pt x="11058" y="61"/>
                  <a:pt x="10936" y="0"/>
                  <a:pt x="10800" y="0"/>
                </a:cubicBezTo>
                <a:cubicBezTo>
                  <a:pt x="10664" y="0"/>
                  <a:pt x="10542" y="61"/>
                  <a:pt x="10453" y="158"/>
                </a:cubicBezTo>
                <a:lnTo>
                  <a:pt x="7507" y="3398"/>
                </a:lnTo>
                <a:cubicBezTo>
                  <a:pt x="7419" y="3497"/>
                  <a:pt x="7364" y="3631"/>
                  <a:pt x="7364" y="3780"/>
                </a:cubicBezTo>
                <a:cubicBezTo>
                  <a:pt x="7364" y="4079"/>
                  <a:pt x="7583" y="4320"/>
                  <a:pt x="7855" y="432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2841">
            <a:extLst>
              <a:ext uri="{FF2B5EF4-FFF2-40B4-BE49-F238E27FC236}">
                <a16:creationId xmlns:a16="http://schemas.microsoft.com/office/drawing/2014/main" id="{2B21EF4A-C9BB-409E-AE75-5E2444E11543}"/>
              </a:ext>
            </a:extLst>
          </p:cNvPr>
          <p:cNvSpPr/>
          <p:nvPr/>
        </p:nvSpPr>
        <p:spPr bwMode="gray">
          <a:xfrm>
            <a:off x="617539" y="3424071"/>
            <a:ext cx="290354" cy="2375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982" y="20400"/>
                </a:lnTo>
                <a:lnTo>
                  <a:pt x="982" y="13200"/>
                </a:lnTo>
                <a:lnTo>
                  <a:pt x="6907" y="13200"/>
                </a:lnTo>
                <a:cubicBezTo>
                  <a:pt x="7149" y="15567"/>
                  <a:pt x="8798" y="17400"/>
                  <a:pt x="10800" y="17400"/>
                </a:cubicBezTo>
                <a:cubicBezTo>
                  <a:pt x="12802" y="17400"/>
                  <a:pt x="14451" y="15567"/>
                  <a:pt x="14693" y="13200"/>
                </a:cubicBezTo>
                <a:lnTo>
                  <a:pt x="20618" y="13200"/>
                </a:lnTo>
                <a:cubicBezTo>
                  <a:pt x="20618" y="13200"/>
                  <a:pt x="20618" y="20400"/>
                  <a:pt x="20618" y="20400"/>
                </a:cubicBezTo>
                <a:close/>
                <a:moveTo>
                  <a:pt x="5703" y="1200"/>
                </a:moveTo>
                <a:lnTo>
                  <a:pt x="15897" y="1200"/>
                </a:lnTo>
                <a:lnTo>
                  <a:pt x="20315" y="12000"/>
                </a:lnTo>
                <a:lnTo>
                  <a:pt x="14236" y="12000"/>
                </a:lnTo>
                <a:cubicBezTo>
                  <a:pt x="13966" y="12000"/>
                  <a:pt x="13745" y="12269"/>
                  <a:pt x="13745" y="12600"/>
                </a:cubicBezTo>
                <a:cubicBezTo>
                  <a:pt x="13745" y="14588"/>
                  <a:pt x="12427" y="16200"/>
                  <a:pt x="10800" y="16200"/>
                </a:cubicBezTo>
                <a:cubicBezTo>
                  <a:pt x="9173" y="16200"/>
                  <a:pt x="7855" y="14588"/>
                  <a:pt x="7855" y="12600"/>
                </a:cubicBezTo>
                <a:cubicBezTo>
                  <a:pt x="7855" y="12269"/>
                  <a:pt x="7634" y="12000"/>
                  <a:pt x="7364" y="12000"/>
                </a:cubicBezTo>
                <a:lnTo>
                  <a:pt x="1285" y="12000"/>
                </a:lnTo>
                <a:cubicBezTo>
                  <a:pt x="1285" y="12000"/>
                  <a:pt x="5703" y="1200"/>
                  <a:pt x="5703" y="1200"/>
                </a:cubicBezTo>
                <a:close/>
                <a:moveTo>
                  <a:pt x="21543" y="12334"/>
                </a:moveTo>
                <a:lnTo>
                  <a:pt x="21548" y="12332"/>
                </a:lnTo>
                <a:lnTo>
                  <a:pt x="16639" y="332"/>
                </a:lnTo>
                <a:lnTo>
                  <a:pt x="16634" y="335"/>
                </a:lnTo>
                <a:cubicBezTo>
                  <a:pt x="16554" y="138"/>
                  <a:pt x="16392" y="0"/>
                  <a:pt x="16200" y="0"/>
                </a:cubicBezTo>
                <a:lnTo>
                  <a:pt x="5400" y="0"/>
                </a:lnTo>
                <a:cubicBezTo>
                  <a:pt x="5208" y="0"/>
                  <a:pt x="5046" y="138"/>
                  <a:pt x="4966" y="335"/>
                </a:cubicBezTo>
                <a:lnTo>
                  <a:pt x="4961" y="332"/>
                </a:lnTo>
                <a:lnTo>
                  <a:pt x="52" y="12332"/>
                </a:lnTo>
                <a:lnTo>
                  <a:pt x="57" y="12334"/>
                </a:lnTo>
                <a:cubicBezTo>
                  <a:pt x="23" y="12416"/>
                  <a:pt x="0" y="12503"/>
                  <a:pt x="0" y="126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12600"/>
                </a:lnTo>
                <a:cubicBezTo>
                  <a:pt x="21600" y="12503"/>
                  <a:pt x="21577" y="12416"/>
                  <a:pt x="21543" y="12334"/>
                </a:cubicBezTo>
                <a:moveTo>
                  <a:pt x="16691" y="9000"/>
                </a:moveTo>
                <a:cubicBezTo>
                  <a:pt x="16691" y="8669"/>
                  <a:pt x="16471" y="8400"/>
                  <a:pt x="16200" y="8400"/>
                </a:cubicBezTo>
                <a:lnTo>
                  <a:pt x="5400" y="8400"/>
                </a:lnTo>
                <a:cubicBezTo>
                  <a:pt x="5129" y="8400"/>
                  <a:pt x="4909" y="8669"/>
                  <a:pt x="4909" y="9000"/>
                </a:cubicBezTo>
                <a:cubicBezTo>
                  <a:pt x="4909" y="9332"/>
                  <a:pt x="5129" y="9600"/>
                  <a:pt x="5400" y="9600"/>
                </a:cubicBezTo>
                <a:lnTo>
                  <a:pt x="16200" y="9600"/>
                </a:lnTo>
                <a:cubicBezTo>
                  <a:pt x="16471" y="9600"/>
                  <a:pt x="16691" y="9332"/>
                  <a:pt x="16691" y="9000"/>
                </a:cubicBezTo>
                <a:moveTo>
                  <a:pt x="6382" y="7200"/>
                </a:moveTo>
                <a:lnTo>
                  <a:pt x="15218" y="7200"/>
                </a:lnTo>
                <a:cubicBezTo>
                  <a:pt x="15489" y="7200"/>
                  <a:pt x="15709" y="6932"/>
                  <a:pt x="15709" y="6600"/>
                </a:cubicBezTo>
                <a:cubicBezTo>
                  <a:pt x="15709" y="6269"/>
                  <a:pt x="15489" y="6000"/>
                  <a:pt x="15218" y="6000"/>
                </a:cubicBezTo>
                <a:lnTo>
                  <a:pt x="6382" y="6000"/>
                </a:lnTo>
                <a:cubicBezTo>
                  <a:pt x="6111" y="6000"/>
                  <a:pt x="5891" y="6269"/>
                  <a:pt x="5891" y="6600"/>
                </a:cubicBezTo>
                <a:cubicBezTo>
                  <a:pt x="5891" y="6932"/>
                  <a:pt x="6111" y="7200"/>
                  <a:pt x="6382" y="7200"/>
                </a:cubicBezTo>
                <a:moveTo>
                  <a:pt x="7364" y="4800"/>
                </a:moveTo>
                <a:lnTo>
                  <a:pt x="14236" y="4800"/>
                </a:lnTo>
                <a:cubicBezTo>
                  <a:pt x="14507" y="4800"/>
                  <a:pt x="14727" y="4532"/>
                  <a:pt x="14727" y="4200"/>
                </a:cubicBezTo>
                <a:cubicBezTo>
                  <a:pt x="14727" y="3869"/>
                  <a:pt x="14507" y="3600"/>
                  <a:pt x="14236" y="3600"/>
                </a:cubicBezTo>
                <a:lnTo>
                  <a:pt x="7364" y="3600"/>
                </a:lnTo>
                <a:cubicBezTo>
                  <a:pt x="7093" y="3600"/>
                  <a:pt x="6873" y="3869"/>
                  <a:pt x="6873" y="4200"/>
                </a:cubicBezTo>
                <a:cubicBezTo>
                  <a:pt x="6873" y="4532"/>
                  <a:pt x="7093" y="4800"/>
                  <a:pt x="7364" y="480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hape 2842">
            <a:extLst>
              <a:ext uri="{FF2B5EF4-FFF2-40B4-BE49-F238E27FC236}">
                <a16:creationId xmlns:a16="http://schemas.microsoft.com/office/drawing/2014/main" id="{0B3EAD25-E9D8-4796-BA0A-E32A59D157D2}"/>
              </a:ext>
            </a:extLst>
          </p:cNvPr>
          <p:cNvSpPr/>
          <p:nvPr/>
        </p:nvSpPr>
        <p:spPr bwMode="gray">
          <a:xfrm>
            <a:off x="117185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1782"/>
                </a:moveTo>
                <a:lnTo>
                  <a:pt x="982" y="11782"/>
                </a:lnTo>
                <a:lnTo>
                  <a:pt x="982" y="6873"/>
                </a:lnTo>
                <a:lnTo>
                  <a:pt x="6907" y="6873"/>
                </a:lnTo>
                <a:cubicBezTo>
                  <a:pt x="7149" y="8810"/>
                  <a:pt x="8798" y="10309"/>
                  <a:pt x="10800" y="10309"/>
                </a:cubicBezTo>
                <a:cubicBezTo>
                  <a:pt x="12802" y="10309"/>
                  <a:pt x="14451" y="8810"/>
                  <a:pt x="14693" y="6873"/>
                </a:cubicBezTo>
                <a:lnTo>
                  <a:pt x="20618" y="6873"/>
                </a:lnTo>
                <a:cubicBezTo>
                  <a:pt x="20618" y="6873"/>
                  <a:pt x="20618" y="11782"/>
                  <a:pt x="20618" y="11782"/>
                </a:cubicBezTo>
                <a:close/>
                <a:moveTo>
                  <a:pt x="20264" y="14727"/>
                </a:moveTo>
                <a:lnTo>
                  <a:pt x="14236" y="14727"/>
                </a:lnTo>
                <a:cubicBezTo>
                  <a:pt x="13966" y="14727"/>
                  <a:pt x="13745" y="14947"/>
                  <a:pt x="13745" y="15218"/>
                </a:cubicBezTo>
                <a:cubicBezTo>
                  <a:pt x="13745" y="16845"/>
                  <a:pt x="12427" y="18164"/>
                  <a:pt x="10800" y="18164"/>
                </a:cubicBezTo>
                <a:cubicBezTo>
                  <a:pt x="9173" y="18164"/>
                  <a:pt x="7855" y="16845"/>
                  <a:pt x="7855" y="15218"/>
                </a:cubicBezTo>
                <a:cubicBezTo>
                  <a:pt x="7855" y="14947"/>
                  <a:pt x="7634" y="14727"/>
                  <a:pt x="7364" y="14727"/>
                </a:cubicBezTo>
                <a:lnTo>
                  <a:pt x="1336" y="14727"/>
                </a:lnTo>
                <a:lnTo>
                  <a:pt x="2682" y="12764"/>
                </a:lnTo>
                <a:lnTo>
                  <a:pt x="18918" y="12764"/>
                </a:lnTo>
                <a:cubicBezTo>
                  <a:pt x="18918" y="12764"/>
                  <a:pt x="20264" y="14727"/>
                  <a:pt x="20264" y="14727"/>
                </a:cubicBezTo>
                <a:close/>
                <a:moveTo>
                  <a:pt x="20618" y="20618"/>
                </a:moveTo>
                <a:lnTo>
                  <a:pt x="982" y="20618"/>
                </a:lnTo>
                <a:lnTo>
                  <a:pt x="982" y="15709"/>
                </a:lnTo>
                <a:lnTo>
                  <a:pt x="6907" y="15709"/>
                </a:lnTo>
                <a:cubicBezTo>
                  <a:pt x="7149" y="17646"/>
                  <a:pt x="8798" y="19145"/>
                  <a:pt x="10800" y="19145"/>
                </a:cubicBezTo>
                <a:cubicBezTo>
                  <a:pt x="12802" y="19145"/>
                  <a:pt x="14451" y="17646"/>
                  <a:pt x="14693" y="15709"/>
                </a:cubicBezTo>
                <a:lnTo>
                  <a:pt x="20618" y="15709"/>
                </a:lnTo>
                <a:cubicBezTo>
                  <a:pt x="20618" y="15709"/>
                  <a:pt x="20618" y="20618"/>
                  <a:pt x="20618" y="20618"/>
                </a:cubicBezTo>
                <a:close/>
                <a:moveTo>
                  <a:pt x="4702" y="982"/>
                </a:moveTo>
                <a:lnTo>
                  <a:pt x="16898" y="982"/>
                </a:lnTo>
                <a:lnTo>
                  <a:pt x="20264" y="5891"/>
                </a:lnTo>
                <a:lnTo>
                  <a:pt x="14236" y="5891"/>
                </a:lnTo>
                <a:cubicBezTo>
                  <a:pt x="13966" y="5891"/>
                  <a:pt x="13745" y="6111"/>
                  <a:pt x="13745" y="6382"/>
                </a:cubicBezTo>
                <a:cubicBezTo>
                  <a:pt x="13745" y="8009"/>
                  <a:pt x="12427" y="9327"/>
                  <a:pt x="10800" y="9327"/>
                </a:cubicBezTo>
                <a:cubicBezTo>
                  <a:pt x="9173" y="9327"/>
                  <a:pt x="7855" y="8009"/>
                  <a:pt x="7855" y="6382"/>
                </a:cubicBezTo>
                <a:cubicBezTo>
                  <a:pt x="7855" y="6111"/>
                  <a:pt x="7634" y="5891"/>
                  <a:pt x="7364" y="5891"/>
                </a:cubicBezTo>
                <a:lnTo>
                  <a:pt x="1336" y="5891"/>
                </a:lnTo>
                <a:cubicBezTo>
                  <a:pt x="1336" y="5891"/>
                  <a:pt x="4702" y="982"/>
                  <a:pt x="4702" y="982"/>
                </a:cubicBezTo>
                <a:close/>
                <a:moveTo>
                  <a:pt x="21600" y="12273"/>
                </a:moveTo>
                <a:lnTo>
                  <a:pt x="21600" y="6382"/>
                </a:lnTo>
                <a:cubicBezTo>
                  <a:pt x="21600" y="6303"/>
                  <a:pt x="21577" y="6231"/>
                  <a:pt x="21543" y="6165"/>
                </a:cubicBezTo>
                <a:lnTo>
                  <a:pt x="21548" y="6162"/>
                </a:lnTo>
                <a:lnTo>
                  <a:pt x="17621" y="272"/>
                </a:lnTo>
                <a:lnTo>
                  <a:pt x="17616" y="274"/>
                </a:lnTo>
                <a:cubicBezTo>
                  <a:pt x="17536" y="113"/>
                  <a:pt x="17374" y="0"/>
                  <a:pt x="17182" y="0"/>
                </a:cubicBezTo>
                <a:lnTo>
                  <a:pt x="4418" y="0"/>
                </a:lnTo>
                <a:cubicBezTo>
                  <a:pt x="4226" y="0"/>
                  <a:pt x="4064" y="113"/>
                  <a:pt x="3984" y="274"/>
                </a:cubicBezTo>
                <a:lnTo>
                  <a:pt x="3979" y="272"/>
                </a:lnTo>
                <a:lnTo>
                  <a:pt x="52" y="6162"/>
                </a:lnTo>
                <a:lnTo>
                  <a:pt x="57" y="6165"/>
                </a:lnTo>
                <a:cubicBezTo>
                  <a:pt x="23" y="6231"/>
                  <a:pt x="0" y="6303"/>
                  <a:pt x="0" y="6382"/>
                </a:cubicBezTo>
                <a:lnTo>
                  <a:pt x="0" y="12273"/>
                </a:lnTo>
                <a:cubicBezTo>
                  <a:pt x="0" y="12544"/>
                  <a:pt x="220" y="12764"/>
                  <a:pt x="491" y="12764"/>
                </a:cubicBezTo>
                <a:lnTo>
                  <a:pt x="1542" y="12764"/>
                </a:lnTo>
                <a:lnTo>
                  <a:pt x="52" y="14999"/>
                </a:lnTo>
                <a:lnTo>
                  <a:pt x="57" y="15001"/>
                </a:lnTo>
                <a:cubicBezTo>
                  <a:pt x="23" y="15067"/>
                  <a:pt x="0" y="15139"/>
                  <a:pt x="0" y="15218"/>
                </a:cubicBezTo>
                <a:lnTo>
                  <a:pt x="0" y="21109"/>
                </a:lnTo>
                <a:cubicBezTo>
                  <a:pt x="0" y="21380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15218"/>
                </a:lnTo>
                <a:cubicBezTo>
                  <a:pt x="21600" y="15139"/>
                  <a:pt x="21577" y="15067"/>
                  <a:pt x="21543" y="15001"/>
                </a:cubicBezTo>
                <a:lnTo>
                  <a:pt x="21548" y="14999"/>
                </a:lnTo>
                <a:lnTo>
                  <a:pt x="20058" y="12764"/>
                </a:lnTo>
                <a:lnTo>
                  <a:pt x="21109" y="12764"/>
                </a:lnTo>
                <a:cubicBezTo>
                  <a:pt x="21380" y="12764"/>
                  <a:pt x="21600" y="12544"/>
                  <a:pt x="216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Shape 2843">
            <a:extLst>
              <a:ext uri="{FF2B5EF4-FFF2-40B4-BE49-F238E27FC236}">
                <a16:creationId xmlns:a16="http://schemas.microsoft.com/office/drawing/2014/main" id="{E29FDE2D-5A54-4D22-9D57-3DF138ACACE6}"/>
              </a:ext>
            </a:extLst>
          </p:cNvPr>
          <p:cNvSpPr/>
          <p:nvPr/>
        </p:nvSpPr>
        <p:spPr bwMode="gray">
          <a:xfrm>
            <a:off x="172616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hape 2844">
            <a:extLst>
              <a:ext uri="{FF2B5EF4-FFF2-40B4-BE49-F238E27FC236}">
                <a16:creationId xmlns:a16="http://schemas.microsoft.com/office/drawing/2014/main" id="{2180800A-2173-40AE-B04E-7E71E23E1E31}"/>
              </a:ext>
            </a:extLst>
          </p:cNvPr>
          <p:cNvSpPr/>
          <p:nvPr/>
        </p:nvSpPr>
        <p:spPr bwMode="gray">
          <a:xfrm>
            <a:off x="22804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982"/>
                </a:moveTo>
                <a:cubicBezTo>
                  <a:pt x="14012" y="982"/>
                  <a:pt x="16860" y="2526"/>
                  <a:pt x="18652" y="4909"/>
                </a:cubicBezTo>
                <a:lnTo>
                  <a:pt x="14727" y="4909"/>
                </a:lnTo>
                <a:cubicBezTo>
                  <a:pt x="14456" y="4909"/>
                  <a:pt x="14236" y="5129"/>
                  <a:pt x="14236" y="5400"/>
                </a:cubicBezTo>
                <a:cubicBezTo>
                  <a:pt x="14236" y="5672"/>
                  <a:pt x="14456" y="5891"/>
                  <a:pt x="14727" y="5891"/>
                </a:cubicBezTo>
                <a:lnTo>
                  <a:pt x="19636" y="5891"/>
                </a:lnTo>
                <a:cubicBezTo>
                  <a:pt x="19907" y="5891"/>
                  <a:pt x="20127" y="5672"/>
                  <a:pt x="20127" y="5400"/>
                </a:cubicBezTo>
                <a:lnTo>
                  <a:pt x="20127" y="491"/>
                </a:lnTo>
                <a:cubicBezTo>
                  <a:pt x="20127" y="220"/>
                  <a:pt x="19907" y="0"/>
                  <a:pt x="19636" y="0"/>
                </a:cubicBezTo>
                <a:cubicBezTo>
                  <a:pt x="19366" y="0"/>
                  <a:pt x="19145" y="220"/>
                  <a:pt x="19145" y="491"/>
                </a:cubicBezTo>
                <a:lnTo>
                  <a:pt x="19145" y="3962"/>
                </a:lnTo>
                <a:cubicBezTo>
                  <a:pt x="17166" y="1546"/>
                  <a:pt x="14167" y="0"/>
                  <a:pt x="10800" y="0"/>
                </a:cubicBezTo>
                <a:cubicBezTo>
                  <a:pt x="4836" y="0"/>
                  <a:pt x="0" y="4836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cubicBezTo>
                  <a:pt x="762" y="11291"/>
                  <a:pt x="982" y="11071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moveTo>
                  <a:pt x="21109" y="10309"/>
                </a:moveTo>
                <a:cubicBezTo>
                  <a:pt x="20838" y="10309"/>
                  <a:pt x="20618" y="10529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7588" y="20618"/>
                  <a:pt x="4740" y="19075"/>
                  <a:pt x="2948" y="16691"/>
                </a:cubicBezTo>
                <a:lnTo>
                  <a:pt x="6873" y="16691"/>
                </a:lnTo>
                <a:cubicBezTo>
                  <a:pt x="7144" y="16691"/>
                  <a:pt x="7364" y="16471"/>
                  <a:pt x="7364" y="16200"/>
                </a:cubicBezTo>
                <a:cubicBezTo>
                  <a:pt x="7364" y="15929"/>
                  <a:pt x="7144" y="15709"/>
                  <a:pt x="6873" y="15709"/>
                </a:cubicBezTo>
                <a:lnTo>
                  <a:pt x="1964" y="15709"/>
                </a:lnTo>
                <a:cubicBezTo>
                  <a:pt x="1693" y="15709"/>
                  <a:pt x="1473" y="15929"/>
                  <a:pt x="1473" y="16200"/>
                </a:cubicBezTo>
                <a:lnTo>
                  <a:pt x="1473" y="21109"/>
                </a:lnTo>
                <a:cubicBezTo>
                  <a:pt x="1473" y="21380"/>
                  <a:pt x="1693" y="21600"/>
                  <a:pt x="1964" y="21600"/>
                </a:cubicBezTo>
                <a:cubicBezTo>
                  <a:pt x="2234" y="21600"/>
                  <a:pt x="2455" y="21380"/>
                  <a:pt x="2455" y="21109"/>
                </a:cubicBezTo>
                <a:lnTo>
                  <a:pt x="2455" y="17639"/>
                </a:lnTo>
                <a:cubicBezTo>
                  <a:pt x="4434" y="20054"/>
                  <a:pt x="7433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10529"/>
                  <a:pt x="21380" y="10309"/>
                  <a:pt x="21109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Shape 2845">
            <a:extLst>
              <a:ext uri="{FF2B5EF4-FFF2-40B4-BE49-F238E27FC236}">
                <a16:creationId xmlns:a16="http://schemas.microsoft.com/office/drawing/2014/main" id="{F37B57B3-CB72-433E-BBB2-78794F0B2C44}"/>
              </a:ext>
            </a:extLst>
          </p:cNvPr>
          <p:cNvSpPr/>
          <p:nvPr/>
        </p:nvSpPr>
        <p:spPr bwMode="gray">
          <a:xfrm>
            <a:off x="2861182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000" y="1408"/>
                </a:moveTo>
                <a:lnTo>
                  <a:pt x="17518" y="4418"/>
                </a:lnTo>
                <a:lnTo>
                  <a:pt x="12000" y="7429"/>
                </a:lnTo>
                <a:cubicBezTo>
                  <a:pt x="12000" y="7429"/>
                  <a:pt x="12000" y="1408"/>
                  <a:pt x="12000" y="1408"/>
                </a:cubicBezTo>
                <a:close/>
                <a:moveTo>
                  <a:pt x="21000" y="12273"/>
                </a:moveTo>
                <a:cubicBezTo>
                  <a:pt x="20669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0800" y="8345"/>
                </a:lnTo>
                <a:cubicBezTo>
                  <a:pt x="10800" y="8617"/>
                  <a:pt x="11069" y="8836"/>
                  <a:pt x="11400" y="8836"/>
                </a:cubicBezTo>
                <a:cubicBezTo>
                  <a:pt x="11524" y="8836"/>
                  <a:pt x="11631" y="8799"/>
                  <a:pt x="11726" y="8747"/>
                </a:cubicBezTo>
                <a:lnTo>
                  <a:pt x="11733" y="8754"/>
                </a:lnTo>
                <a:lnTo>
                  <a:pt x="18933" y="4827"/>
                </a:lnTo>
                <a:lnTo>
                  <a:pt x="18926" y="4819"/>
                </a:lnTo>
                <a:cubicBezTo>
                  <a:pt x="19087" y="4731"/>
                  <a:pt x="19200" y="4589"/>
                  <a:pt x="19200" y="4418"/>
                </a:cubicBezTo>
                <a:cubicBezTo>
                  <a:pt x="19200" y="4248"/>
                  <a:pt x="19087" y="4106"/>
                  <a:pt x="18926" y="4017"/>
                </a:cubicBezTo>
                <a:lnTo>
                  <a:pt x="18933" y="4010"/>
                </a:lnTo>
                <a:lnTo>
                  <a:pt x="11733" y="82"/>
                </a:lnTo>
                <a:lnTo>
                  <a:pt x="11726" y="90"/>
                </a:lnTo>
                <a:cubicBezTo>
                  <a:pt x="11631" y="38"/>
                  <a:pt x="11524" y="0"/>
                  <a:pt x="11400" y="0"/>
                </a:cubicBezTo>
                <a:cubicBezTo>
                  <a:pt x="11069" y="0"/>
                  <a:pt x="10800" y="220"/>
                  <a:pt x="10800" y="491"/>
                </a:cubicBezTo>
                <a:lnTo>
                  <a:pt x="10800" y="3927"/>
                </a:lnTo>
                <a:cubicBezTo>
                  <a:pt x="4835" y="3927"/>
                  <a:pt x="0" y="7883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1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2846">
            <a:extLst>
              <a:ext uri="{FF2B5EF4-FFF2-40B4-BE49-F238E27FC236}">
                <a16:creationId xmlns:a16="http://schemas.microsoft.com/office/drawing/2014/main" id="{E5A989D8-3C57-40B7-BC73-173CAFBE4D40}"/>
              </a:ext>
            </a:extLst>
          </p:cNvPr>
          <p:cNvSpPr/>
          <p:nvPr/>
        </p:nvSpPr>
        <p:spPr bwMode="gray">
          <a:xfrm>
            <a:off x="3415494" y="3397676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00" y="12273"/>
                </a:moveTo>
                <a:cubicBezTo>
                  <a:pt x="20668" y="12273"/>
                  <a:pt x="20400" y="12492"/>
                  <a:pt x="20400" y="12764"/>
                </a:cubicBezTo>
                <a:cubicBezTo>
                  <a:pt x="20400" y="17102"/>
                  <a:pt x="16102" y="20618"/>
                  <a:pt x="10800" y="20618"/>
                </a:cubicBezTo>
                <a:cubicBezTo>
                  <a:pt x="5498" y="20618"/>
                  <a:pt x="1200" y="17102"/>
                  <a:pt x="1200" y="12764"/>
                </a:cubicBezTo>
                <a:cubicBezTo>
                  <a:pt x="1200" y="8426"/>
                  <a:pt x="5498" y="4909"/>
                  <a:pt x="10800" y="4909"/>
                </a:cubicBezTo>
                <a:lnTo>
                  <a:pt x="14768" y="4909"/>
                </a:lnTo>
                <a:lnTo>
                  <a:pt x="11067" y="7937"/>
                </a:lnTo>
                <a:lnTo>
                  <a:pt x="11073" y="7945"/>
                </a:lnTo>
                <a:cubicBezTo>
                  <a:pt x="10912" y="8033"/>
                  <a:pt x="10800" y="8175"/>
                  <a:pt x="10800" y="8345"/>
                </a:cubicBezTo>
                <a:cubicBezTo>
                  <a:pt x="10800" y="8617"/>
                  <a:pt x="11068" y="8836"/>
                  <a:pt x="11400" y="8836"/>
                </a:cubicBezTo>
                <a:cubicBezTo>
                  <a:pt x="11523" y="8836"/>
                  <a:pt x="11631" y="8798"/>
                  <a:pt x="11727" y="8747"/>
                </a:cubicBezTo>
                <a:lnTo>
                  <a:pt x="11733" y="8754"/>
                </a:lnTo>
                <a:lnTo>
                  <a:pt x="11774" y="8721"/>
                </a:lnTo>
                <a:cubicBezTo>
                  <a:pt x="11805" y="8700"/>
                  <a:pt x="11832" y="8677"/>
                  <a:pt x="11858" y="8651"/>
                </a:cubicBezTo>
                <a:lnTo>
                  <a:pt x="16533" y="4827"/>
                </a:lnTo>
                <a:lnTo>
                  <a:pt x="16527" y="4819"/>
                </a:lnTo>
                <a:cubicBezTo>
                  <a:pt x="16688" y="4731"/>
                  <a:pt x="16800" y="4589"/>
                  <a:pt x="16800" y="4418"/>
                </a:cubicBezTo>
                <a:cubicBezTo>
                  <a:pt x="16800" y="4248"/>
                  <a:pt x="16688" y="4106"/>
                  <a:pt x="16527" y="4018"/>
                </a:cubicBezTo>
                <a:lnTo>
                  <a:pt x="16533" y="4010"/>
                </a:lnTo>
                <a:lnTo>
                  <a:pt x="11858" y="185"/>
                </a:lnTo>
                <a:cubicBezTo>
                  <a:pt x="11832" y="159"/>
                  <a:pt x="11805" y="137"/>
                  <a:pt x="11774" y="116"/>
                </a:cubicBezTo>
                <a:lnTo>
                  <a:pt x="11733" y="82"/>
                </a:lnTo>
                <a:lnTo>
                  <a:pt x="11727" y="90"/>
                </a:lnTo>
                <a:cubicBezTo>
                  <a:pt x="11631" y="38"/>
                  <a:pt x="11523" y="0"/>
                  <a:pt x="11400" y="0"/>
                </a:cubicBezTo>
                <a:cubicBezTo>
                  <a:pt x="11068" y="0"/>
                  <a:pt x="10800" y="220"/>
                  <a:pt x="10800" y="491"/>
                </a:cubicBezTo>
                <a:cubicBezTo>
                  <a:pt x="10800" y="662"/>
                  <a:pt x="10912" y="804"/>
                  <a:pt x="11073" y="892"/>
                </a:cubicBezTo>
                <a:lnTo>
                  <a:pt x="11067" y="899"/>
                </a:lnTo>
                <a:lnTo>
                  <a:pt x="14768" y="3927"/>
                </a:lnTo>
                <a:lnTo>
                  <a:pt x="10800" y="3927"/>
                </a:lnTo>
                <a:cubicBezTo>
                  <a:pt x="4835" y="3927"/>
                  <a:pt x="0" y="7884"/>
                  <a:pt x="0" y="12764"/>
                </a:cubicBezTo>
                <a:cubicBezTo>
                  <a:pt x="0" y="17644"/>
                  <a:pt x="4835" y="21600"/>
                  <a:pt x="10800" y="21600"/>
                </a:cubicBezTo>
                <a:cubicBezTo>
                  <a:pt x="16765" y="21600"/>
                  <a:pt x="21600" y="17644"/>
                  <a:pt x="21600" y="12764"/>
                </a:cubicBezTo>
                <a:cubicBezTo>
                  <a:pt x="21600" y="12492"/>
                  <a:pt x="21332" y="12273"/>
                  <a:pt x="210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Shape 2847">
            <a:extLst>
              <a:ext uri="{FF2B5EF4-FFF2-40B4-BE49-F238E27FC236}">
                <a16:creationId xmlns:a16="http://schemas.microsoft.com/office/drawing/2014/main" id="{C39EE578-201A-4BA1-9F93-7DF74F7C840A}"/>
              </a:ext>
            </a:extLst>
          </p:cNvPr>
          <p:cNvSpPr/>
          <p:nvPr/>
        </p:nvSpPr>
        <p:spPr bwMode="gray">
          <a:xfrm>
            <a:off x="3943410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6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7673"/>
                </a:moveTo>
                <a:cubicBezTo>
                  <a:pt x="13610" y="17673"/>
                  <a:pt x="13488" y="17728"/>
                  <a:pt x="13398" y="17817"/>
                </a:cubicBezTo>
                <a:lnTo>
                  <a:pt x="11291" y="19924"/>
                </a:lnTo>
                <a:lnTo>
                  <a:pt x="11291" y="8346"/>
                </a:lnTo>
                <a:cubicBezTo>
                  <a:pt x="11291" y="8074"/>
                  <a:pt x="11071" y="7855"/>
                  <a:pt x="10800" y="7855"/>
                </a:cubicBezTo>
                <a:cubicBezTo>
                  <a:pt x="10529" y="7855"/>
                  <a:pt x="10309" y="8074"/>
                  <a:pt x="10309" y="8346"/>
                </a:cubicBez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9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4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hape 2848">
            <a:extLst>
              <a:ext uri="{FF2B5EF4-FFF2-40B4-BE49-F238E27FC236}">
                <a16:creationId xmlns:a16="http://schemas.microsoft.com/office/drawing/2014/main" id="{5287BE6E-E977-476E-8B25-13D98EF57347}"/>
              </a:ext>
            </a:extLst>
          </p:cNvPr>
          <p:cNvSpPr/>
          <p:nvPr/>
        </p:nvSpPr>
        <p:spPr bwMode="gray">
          <a:xfrm>
            <a:off x="4497722" y="3397676"/>
            <a:ext cx="290354" cy="290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34" y="6292"/>
                </a:moveTo>
                <a:cubicBezTo>
                  <a:pt x="18643" y="6159"/>
                  <a:pt x="18655" y="6026"/>
                  <a:pt x="18655" y="5891"/>
                </a:cubicBezTo>
                <a:cubicBezTo>
                  <a:pt x="18655" y="2638"/>
                  <a:pt x="16017" y="0"/>
                  <a:pt x="12764" y="0"/>
                </a:cubicBezTo>
                <a:cubicBezTo>
                  <a:pt x="10499" y="0"/>
                  <a:pt x="8536" y="1279"/>
                  <a:pt x="7550" y="3153"/>
                </a:cubicBezTo>
                <a:cubicBezTo>
                  <a:pt x="7185" y="3021"/>
                  <a:pt x="6793" y="2945"/>
                  <a:pt x="6382" y="2945"/>
                </a:cubicBezTo>
                <a:cubicBezTo>
                  <a:pt x="4484" y="2945"/>
                  <a:pt x="2945" y="4484"/>
                  <a:pt x="2945" y="6382"/>
                </a:cubicBezTo>
                <a:cubicBezTo>
                  <a:pt x="2945" y="6629"/>
                  <a:pt x="2973" y="6869"/>
                  <a:pt x="3022" y="7101"/>
                </a:cubicBezTo>
                <a:cubicBezTo>
                  <a:pt x="1267" y="7686"/>
                  <a:pt x="0" y="9339"/>
                  <a:pt x="0" y="11291"/>
                </a:cubicBezTo>
                <a:cubicBezTo>
                  <a:pt x="0" y="13731"/>
                  <a:pt x="1978" y="15709"/>
                  <a:pt x="4418" y="15709"/>
                </a:cubicBezTo>
                <a:lnTo>
                  <a:pt x="8836" y="15709"/>
                </a:lnTo>
                <a:cubicBezTo>
                  <a:pt x="9108" y="15709"/>
                  <a:pt x="9327" y="15489"/>
                  <a:pt x="9327" y="15218"/>
                </a:cubicBezTo>
                <a:cubicBezTo>
                  <a:pt x="9327" y="14947"/>
                  <a:pt x="9108" y="14727"/>
                  <a:pt x="8836" y="14727"/>
                </a:cubicBezTo>
                <a:lnTo>
                  <a:pt x="4418" y="14727"/>
                </a:lnTo>
                <a:cubicBezTo>
                  <a:pt x="2524" y="14727"/>
                  <a:pt x="982" y="13185"/>
                  <a:pt x="982" y="11291"/>
                </a:cubicBezTo>
                <a:cubicBezTo>
                  <a:pt x="982" y="9810"/>
                  <a:pt x="1926" y="8502"/>
                  <a:pt x="3333" y="8033"/>
                </a:cubicBezTo>
                <a:lnTo>
                  <a:pt x="4165" y="7756"/>
                </a:lnTo>
                <a:lnTo>
                  <a:pt x="3982" y="6897"/>
                </a:lnTo>
                <a:cubicBezTo>
                  <a:pt x="3946" y="6725"/>
                  <a:pt x="3927" y="6551"/>
                  <a:pt x="3927" y="6382"/>
                </a:cubicBezTo>
                <a:cubicBezTo>
                  <a:pt x="3927" y="5028"/>
                  <a:pt x="5028" y="3927"/>
                  <a:pt x="6382" y="3927"/>
                </a:cubicBezTo>
                <a:cubicBezTo>
                  <a:pt x="6662" y="3927"/>
                  <a:pt x="6942" y="3977"/>
                  <a:pt x="7215" y="4077"/>
                </a:cubicBezTo>
                <a:lnTo>
                  <a:pt x="8019" y="4368"/>
                </a:lnTo>
                <a:lnTo>
                  <a:pt x="8418" y="3611"/>
                </a:lnTo>
                <a:cubicBezTo>
                  <a:pt x="9272" y="1989"/>
                  <a:pt x="10937" y="982"/>
                  <a:pt x="12764" y="982"/>
                </a:cubicBezTo>
                <a:cubicBezTo>
                  <a:pt x="15470" y="982"/>
                  <a:pt x="17673" y="3184"/>
                  <a:pt x="17673" y="5891"/>
                </a:cubicBezTo>
                <a:cubicBezTo>
                  <a:pt x="17673" y="5977"/>
                  <a:pt x="17666" y="6060"/>
                  <a:pt x="17660" y="6145"/>
                </a:cubicBezTo>
                <a:lnTo>
                  <a:pt x="17655" y="6229"/>
                </a:lnTo>
                <a:lnTo>
                  <a:pt x="17610" y="6920"/>
                </a:lnTo>
                <a:lnTo>
                  <a:pt x="18245" y="7194"/>
                </a:lnTo>
                <a:cubicBezTo>
                  <a:pt x="19687" y="7816"/>
                  <a:pt x="20618" y="9232"/>
                  <a:pt x="20618" y="10800"/>
                </a:cubicBezTo>
                <a:cubicBezTo>
                  <a:pt x="20618" y="12965"/>
                  <a:pt x="18856" y="14727"/>
                  <a:pt x="16691" y="14727"/>
                </a:cubicBezTo>
                <a:lnTo>
                  <a:pt x="12764" y="14727"/>
                </a:lnTo>
                <a:cubicBezTo>
                  <a:pt x="12492" y="14727"/>
                  <a:pt x="12273" y="14947"/>
                  <a:pt x="12273" y="15218"/>
                </a:cubicBezTo>
                <a:cubicBezTo>
                  <a:pt x="12273" y="15489"/>
                  <a:pt x="12492" y="15709"/>
                  <a:pt x="12764" y="15709"/>
                </a:cubicBezTo>
                <a:lnTo>
                  <a:pt x="16691" y="15709"/>
                </a:lnTo>
                <a:cubicBezTo>
                  <a:pt x="19401" y="15709"/>
                  <a:pt x="21600" y="13511"/>
                  <a:pt x="21600" y="10800"/>
                </a:cubicBezTo>
                <a:cubicBezTo>
                  <a:pt x="21600" y="8780"/>
                  <a:pt x="20378" y="7045"/>
                  <a:pt x="18634" y="6292"/>
                </a:cubicBezTo>
                <a:moveTo>
                  <a:pt x="13745" y="11782"/>
                </a:moveTo>
                <a:cubicBezTo>
                  <a:pt x="14017" y="11782"/>
                  <a:pt x="14236" y="11562"/>
                  <a:pt x="14236" y="11291"/>
                </a:cubicBezTo>
                <a:cubicBezTo>
                  <a:pt x="14236" y="11156"/>
                  <a:pt x="14182" y="11033"/>
                  <a:pt x="14093" y="10944"/>
                </a:cubicBezTo>
                <a:lnTo>
                  <a:pt x="11147" y="7998"/>
                </a:lnTo>
                <a:cubicBezTo>
                  <a:pt x="11058" y="7910"/>
                  <a:pt x="10936" y="7855"/>
                  <a:pt x="10800" y="7855"/>
                </a:cubicBezTo>
                <a:cubicBezTo>
                  <a:pt x="10665" y="7855"/>
                  <a:pt x="10542" y="7910"/>
                  <a:pt x="10453" y="7998"/>
                </a:cubicBezTo>
                <a:lnTo>
                  <a:pt x="7507" y="10944"/>
                </a:lnTo>
                <a:cubicBezTo>
                  <a:pt x="7419" y="11033"/>
                  <a:pt x="7364" y="11156"/>
                  <a:pt x="7364" y="11291"/>
                </a:cubicBezTo>
                <a:cubicBezTo>
                  <a:pt x="7364" y="11562"/>
                  <a:pt x="7583" y="11782"/>
                  <a:pt x="7855" y="11782"/>
                </a:cubicBezTo>
                <a:cubicBezTo>
                  <a:pt x="7990" y="11782"/>
                  <a:pt x="8113" y="11727"/>
                  <a:pt x="8202" y="11638"/>
                </a:cubicBezTo>
                <a:lnTo>
                  <a:pt x="10309" y="9531"/>
                </a:lnTo>
                <a:lnTo>
                  <a:pt x="10309" y="21109"/>
                </a:lnTo>
                <a:cubicBezTo>
                  <a:pt x="10309" y="21380"/>
                  <a:pt x="10529" y="21600"/>
                  <a:pt x="10800" y="21600"/>
                </a:cubicBezTo>
                <a:cubicBezTo>
                  <a:pt x="11071" y="21600"/>
                  <a:pt x="11291" y="21380"/>
                  <a:pt x="11291" y="21109"/>
                </a:cubicBezTo>
                <a:lnTo>
                  <a:pt x="11291" y="9531"/>
                </a:lnTo>
                <a:lnTo>
                  <a:pt x="13398" y="11638"/>
                </a:lnTo>
                <a:cubicBezTo>
                  <a:pt x="13488" y="11727"/>
                  <a:pt x="13610" y="11782"/>
                  <a:pt x="13745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Shape 2849">
            <a:extLst>
              <a:ext uri="{FF2B5EF4-FFF2-40B4-BE49-F238E27FC236}">
                <a16:creationId xmlns:a16="http://schemas.microsoft.com/office/drawing/2014/main" id="{D16034C6-B002-4A3E-9908-6387815DAED5}"/>
              </a:ext>
            </a:extLst>
          </p:cNvPr>
          <p:cNvSpPr/>
          <p:nvPr/>
        </p:nvSpPr>
        <p:spPr bwMode="gray">
          <a:xfrm>
            <a:off x="5052034" y="3417472"/>
            <a:ext cx="290354" cy="2509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2" extrusionOk="0">
                <a:moveTo>
                  <a:pt x="13421" y="20466"/>
                </a:moveTo>
                <a:lnTo>
                  <a:pt x="12630" y="20221"/>
                </a:lnTo>
                <a:cubicBezTo>
                  <a:pt x="13305" y="19604"/>
                  <a:pt x="13745" y="18664"/>
                  <a:pt x="13745" y="17589"/>
                </a:cubicBezTo>
                <a:cubicBezTo>
                  <a:pt x="13745" y="16189"/>
                  <a:pt x="13013" y="14988"/>
                  <a:pt x="11967" y="14465"/>
                </a:cubicBezTo>
                <a:lnTo>
                  <a:pt x="11702" y="15585"/>
                </a:lnTo>
                <a:cubicBezTo>
                  <a:pt x="12330" y="15964"/>
                  <a:pt x="12764" y="16715"/>
                  <a:pt x="12764" y="17589"/>
                </a:cubicBezTo>
                <a:cubicBezTo>
                  <a:pt x="12764" y="18299"/>
                  <a:pt x="12477" y="18923"/>
                  <a:pt x="12035" y="19336"/>
                </a:cubicBezTo>
                <a:lnTo>
                  <a:pt x="12296" y="18213"/>
                </a:lnTo>
                <a:cubicBezTo>
                  <a:pt x="12327" y="18073"/>
                  <a:pt x="12314" y="17918"/>
                  <a:pt x="12246" y="17782"/>
                </a:cubicBezTo>
                <a:cubicBezTo>
                  <a:pt x="12111" y="17511"/>
                  <a:pt x="11811" y="17418"/>
                  <a:pt x="11576" y="17574"/>
                </a:cubicBezTo>
                <a:cubicBezTo>
                  <a:pt x="11459" y="17653"/>
                  <a:pt x="11380" y="17779"/>
                  <a:pt x="11347" y="17920"/>
                </a:cubicBezTo>
                <a:lnTo>
                  <a:pt x="10808" y="20244"/>
                </a:lnTo>
                <a:cubicBezTo>
                  <a:pt x="10776" y="20384"/>
                  <a:pt x="10789" y="20539"/>
                  <a:pt x="10857" y="20675"/>
                </a:cubicBezTo>
                <a:cubicBezTo>
                  <a:pt x="10920" y="20802"/>
                  <a:pt x="11021" y="20885"/>
                  <a:pt x="11133" y="20927"/>
                </a:cubicBezTo>
                <a:lnTo>
                  <a:pt x="11126" y="20956"/>
                </a:lnTo>
                <a:cubicBezTo>
                  <a:pt x="11142" y="20954"/>
                  <a:pt x="11158" y="20948"/>
                  <a:pt x="11173" y="20945"/>
                </a:cubicBezTo>
                <a:lnTo>
                  <a:pt x="13166" y="21562"/>
                </a:lnTo>
                <a:cubicBezTo>
                  <a:pt x="13288" y="21600"/>
                  <a:pt x="13422" y="21584"/>
                  <a:pt x="13539" y="21506"/>
                </a:cubicBezTo>
                <a:cubicBezTo>
                  <a:pt x="13774" y="21350"/>
                  <a:pt x="13855" y="21002"/>
                  <a:pt x="13719" y="20730"/>
                </a:cubicBezTo>
                <a:cubicBezTo>
                  <a:pt x="13651" y="20595"/>
                  <a:pt x="13542" y="20503"/>
                  <a:pt x="13421" y="20466"/>
                </a:cubicBezTo>
                <a:moveTo>
                  <a:pt x="18634" y="7273"/>
                </a:moveTo>
                <a:cubicBezTo>
                  <a:pt x="18643" y="7119"/>
                  <a:pt x="18655" y="6966"/>
                  <a:pt x="18655" y="6809"/>
                </a:cubicBezTo>
                <a:cubicBezTo>
                  <a:pt x="18655" y="3049"/>
                  <a:pt x="16017" y="0"/>
                  <a:pt x="12764" y="0"/>
                </a:cubicBezTo>
                <a:cubicBezTo>
                  <a:pt x="10499" y="0"/>
                  <a:pt x="8536" y="1479"/>
                  <a:pt x="7550" y="3645"/>
                </a:cubicBezTo>
                <a:cubicBezTo>
                  <a:pt x="7185" y="3492"/>
                  <a:pt x="6793" y="3404"/>
                  <a:pt x="6382" y="3404"/>
                </a:cubicBezTo>
                <a:cubicBezTo>
                  <a:pt x="4484" y="3404"/>
                  <a:pt x="2945" y="5183"/>
                  <a:pt x="2945" y="7376"/>
                </a:cubicBezTo>
                <a:cubicBezTo>
                  <a:pt x="2945" y="7662"/>
                  <a:pt x="2973" y="7940"/>
                  <a:pt x="3022" y="8208"/>
                </a:cubicBezTo>
                <a:cubicBezTo>
                  <a:pt x="1267" y="8884"/>
                  <a:pt x="0" y="10794"/>
                  <a:pt x="0" y="13050"/>
                </a:cubicBezTo>
                <a:cubicBezTo>
                  <a:pt x="0" y="15871"/>
                  <a:pt x="1978" y="18157"/>
                  <a:pt x="4418" y="18157"/>
                </a:cubicBezTo>
                <a:lnTo>
                  <a:pt x="6382" y="18157"/>
                </a:lnTo>
                <a:cubicBezTo>
                  <a:pt x="6653" y="18157"/>
                  <a:pt x="6873" y="17903"/>
                  <a:pt x="6873" y="17589"/>
                </a:cubicBezTo>
                <a:cubicBezTo>
                  <a:pt x="6873" y="17276"/>
                  <a:pt x="6653" y="17022"/>
                  <a:pt x="6382" y="17022"/>
                </a:cubicBezTo>
                <a:lnTo>
                  <a:pt x="4418" y="17022"/>
                </a:lnTo>
                <a:cubicBezTo>
                  <a:pt x="2524" y="17022"/>
                  <a:pt x="982" y="15240"/>
                  <a:pt x="982" y="13050"/>
                </a:cubicBezTo>
                <a:cubicBezTo>
                  <a:pt x="982" y="11339"/>
                  <a:pt x="1926" y="9826"/>
                  <a:pt x="3333" y="9284"/>
                </a:cubicBezTo>
                <a:lnTo>
                  <a:pt x="4165" y="8964"/>
                </a:lnTo>
                <a:lnTo>
                  <a:pt x="3982" y="7971"/>
                </a:lnTo>
                <a:cubicBezTo>
                  <a:pt x="3946" y="7773"/>
                  <a:pt x="3927" y="7572"/>
                  <a:pt x="3927" y="7376"/>
                </a:cubicBezTo>
                <a:cubicBezTo>
                  <a:pt x="3927" y="5812"/>
                  <a:pt x="5028" y="4539"/>
                  <a:pt x="6382" y="4539"/>
                </a:cubicBezTo>
                <a:cubicBezTo>
                  <a:pt x="6661" y="4539"/>
                  <a:pt x="6942" y="4597"/>
                  <a:pt x="7215" y="4712"/>
                </a:cubicBezTo>
                <a:lnTo>
                  <a:pt x="8019" y="5049"/>
                </a:lnTo>
                <a:lnTo>
                  <a:pt x="8418" y="4173"/>
                </a:lnTo>
                <a:cubicBezTo>
                  <a:pt x="9272" y="2299"/>
                  <a:pt x="10937" y="1135"/>
                  <a:pt x="12764" y="1135"/>
                </a:cubicBezTo>
                <a:cubicBezTo>
                  <a:pt x="15470" y="1135"/>
                  <a:pt x="17673" y="3680"/>
                  <a:pt x="17673" y="6809"/>
                </a:cubicBezTo>
                <a:cubicBezTo>
                  <a:pt x="17673" y="6908"/>
                  <a:pt x="17666" y="7005"/>
                  <a:pt x="17660" y="7102"/>
                </a:cubicBezTo>
                <a:lnTo>
                  <a:pt x="17655" y="7199"/>
                </a:lnTo>
                <a:lnTo>
                  <a:pt x="17610" y="7998"/>
                </a:lnTo>
                <a:lnTo>
                  <a:pt x="18245" y="8315"/>
                </a:lnTo>
                <a:cubicBezTo>
                  <a:pt x="19687" y="9034"/>
                  <a:pt x="20618" y="10670"/>
                  <a:pt x="20618" y="12483"/>
                </a:cubicBezTo>
                <a:cubicBezTo>
                  <a:pt x="20618" y="14986"/>
                  <a:pt x="18856" y="17022"/>
                  <a:pt x="16691" y="17022"/>
                </a:cubicBezTo>
                <a:lnTo>
                  <a:pt x="15218" y="17022"/>
                </a:lnTo>
                <a:cubicBezTo>
                  <a:pt x="14947" y="17022"/>
                  <a:pt x="14727" y="17276"/>
                  <a:pt x="14727" y="17589"/>
                </a:cubicBezTo>
                <a:cubicBezTo>
                  <a:pt x="14727" y="17903"/>
                  <a:pt x="14947" y="18157"/>
                  <a:pt x="15218" y="18157"/>
                </a:cubicBezTo>
                <a:lnTo>
                  <a:pt x="16691" y="18157"/>
                </a:lnTo>
                <a:cubicBezTo>
                  <a:pt x="19402" y="18157"/>
                  <a:pt x="21600" y="15617"/>
                  <a:pt x="21600" y="12483"/>
                </a:cubicBezTo>
                <a:cubicBezTo>
                  <a:pt x="21600" y="10147"/>
                  <a:pt x="20378" y="8143"/>
                  <a:pt x="18634" y="7273"/>
                </a:cubicBezTo>
                <a:moveTo>
                  <a:pt x="10773" y="14522"/>
                </a:moveTo>
                <a:cubicBezTo>
                  <a:pt x="10711" y="14398"/>
                  <a:pt x="10613" y="14316"/>
                  <a:pt x="10504" y="14274"/>
                </a:cubicBezTo>
                <a:lnTo>
                  <a:pt x="10517" y="14218"/>
                </a:lnTo>
                <a:cubicBezTo>
                  <a:pt x="10484" y="14221"/>
                  <a:pt x="10451" y="14231"/>
                  <a:pt x="10418" y="14240"/>
                </a:cubicBezTo>
                <a:lnTo>
                  <a:pt x="8463" y="13634"/>
                </a:lnTo>
                <a:lnTo>
                  <a:pt x="8463" y="13635"/>
                </a:lnTo>
                <a:cubicBezTo>
                  <a:pt x="8343" y="13598"/>
                  <a:pt x="8209" y="13613"/>
                  <a:pt x="8091" y="13692"/>
                </a:cubicBezTo>
                <a:cubicBezTo>
                  <a:pt x="7856" y="13848"/>
                  <a:pt x="7776" y="14195"/>
                  <a:pt x="7911" y="14466"/>
                </a:cubicBezTo>
                <a:cubicBezTo>
                  <a:pt x="7979" y="14602"/>
                  <a:pt x="8088" y="14693"/>
                  <a:pt x="8210" y="14731"/>
                </a:cubicBezTo>
                <a:lnTo>
                  <a:pt x="8965" y="14964"/>
                </a:lnTo>
                <a:cubicBezTo>
                  <a:pt x="8292" y="15580"/>
                  <a:pt x="7855" y="16518"/>
                  <a:pt x="7855" y="17589"/>
                </a:cubicBezTo>
                <a:cubicBezTo>
                  <a:pt x="7855" y="19007"/>
                  <a:pt x="8604" y="20220"/>
                  <a:pt x="9671" y="20732"/>
                </a:cubicBezTo>
                <a:lnTo>
                  <a:pt x="9934" y="19617"/>
                </a:lnTo>
                <a:cubicBezTo>
                  <a:pt x="9286" y="19246"/>
                  <a:pt x="8836" y="18482"/>
                  <a:pt x="8836" y="17589"/>
                </a:cubicBezTo>
                <a:cubicBezTo>
                  <a:pt x="8836" y="16857"/>
                  <a:pt x="9142" y="16215"/>
                  <a:pt x="9609" y="15802"/>
                </a:cubicBezTo>
                <a:lnTo>
                  <a:pt x="9335" y="16984"/>
                </a:lnTo>
                <a:cubicBezTo>
                  <a:pt x="9303" y="17124"/>
                  <a:pt x="9317" y="17279"/>
                  <a:pt x="9384" y="17415"/>
                </a:cubicBezTo>
                <a:cubicBezTo>
                  <a:pt x="9520" y="17686"/>
                  <a:pt x="9820" y="17779"/>
                  <a:pt x="10055" y="17623"/>
                </a:cubicBezTo>
                <a:cubicBezTo>
                  <a:pt x="10172" y="17544"/>
                  <a:pt x="10251" y="17418"/>
                  <a:pt x="10283" y="17278"/>
                </a:cubicBezTo>
                <a:lnTo>
                  <a:pt x="10823" y="14952"/>
                </a:lnTo>
                <a:cubicBezTo>
                  <a:pt x="10855" y="14812"/>
                  <a:pt x="10841" y="14658"/>
                  <a:pt x="10773" y="1452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Shape 2850">
            <a:extLst>
              <a:ext uri="{FF2B5EF4-FFF2-40B4-BE49-F238E27FC236}">
                <a16:creationId xmlns:a16="http://schemas.microsoft.com/office/drawing/2014/main" id="{420781B7-857C-41B5-B4DC-123D7B44B2E5}"/>
              </a:ext>
            </a:extLst>
          </p:cNvPr>
          <p:cNvSpPr/>
          <p:nvPr/>
        </p:nvSpPr>
        <p:spPr bwMode="gray">
          <a:xfrm>
            <a:off x="5606346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1" y="0"/>
                </a:moveTo>
                <a:cubicBezTo>
                  <a:pt x="220" y="0"/>
                  <a:pt x="0" y="220"/>
                  <a:pt x="0" y="491"/>
                </a:cubicBezTo>
                <a:cubicBezTo>
                  <a:pt x="0" y="762"/>
                  <a:pt x="220" y="982"/>
                  <a:pt x="491" y="982"/>
                </a:cubicBezTo>
                <a:cubicBezTo>
                  <a:pt x="11607" y="982"/>
                  <a:pt x="20618" y="9993"/>
                  <a:pt x="20618" y="21109"/>
                </a:cubicBezTo>
                <a:cubicBezTo>
                  <a:pt x="20618" y="21380"/>
                  <a:pt x="20838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9451"/>
                  <a:pt x="12149" y="0"/>
                  <a:pt x="491" y="0"/>
                </a:cubicBezTo>
                <a:moveTo>
                  <a:pt x="491" y="9818"/>
                </a:moveTo>
                <a:cubicBezTo>
                  <a:pt x="220" y="9818"/>
                  <a:pt x="0" y="10038"/>
                  <a:pt x="0" y="10309"/>
                </a:cubicBezTo>
                <a:cubicBezTo>
                  <a:pt x="0" y="10581"/>
                  <a:pt x="220" y="10800"/>
                  <a:pt x="491" y="10800"/>
                </a:cubicBezTo>
                <a:cubicBezTo>
                  <a:pt x="6184" y="10800"/>
                  <a:pt x="10800" y="15416"/>
                  <a:pt x="10800" y="21109"/>
                </a:cubicBezTo>
                <a:cubicBezTo>
                  <a:pt x="10800" y="21380"/>
                  <a:pt x="11020" y="21600"/>
                  <a:pt x="11291" y="21600"/>
                </a:cubicBezTo>
                <a:cubicBezTo>
                  <a:pt x="11562" y="21600"/>
                  <a:pt x="11782" y="21380"/>
                  <a:pt x="11782" y="21109"/>
                </a:cubicBezTo>
                <a:cubicBezTo>
                  <a:pt x="11782" y="14873"/>
                  <a:pt x="6727" y="9818"/>
                  <a:pt x="491" y="9818"/>
                </a:cubicBezTo>
                <a:moveTo>
                  <a:pt x="491" y="4909"/>
                </a:moveTo>
                <a:cubicBezTo>
                  <a:pt x="220" y="4909"/>
                  <a:pt x="0" y="5129"/>
                  <a:pt x="0" y="5400"/>
                </a:cubicBezTo>
                <a:cubicBezTo>
                  <a:pt x="0" y="5672"/>
                  <a:pt x="220" y="5891"/>
                  <a:pt x="491" y="5891"/>
                </a:cubicBezTo>
                <a:cubicBezTo>
                  <a:pt x="8896" y="5891"/>
                  <a:pt x="15709" y="12705"/>
                  <a:pt x="15709" y="21109"/>
                </a:cubicBezTo>
                <a:cubicBezTo>
                  <a:pt x="15709" y="21380"/>
                  <a:pt x="15929" y="21600"/>
                  <a:pt x="16200" y="21600"/>
                </a:cubicBezTo>
                <a:cubicBezTo>
                  <a:pt x="16471" y="21600"/>
                  <a:pt x="16691" y="21380"/>
                  <a:pt x="16691" y="21109"/>
                </a:cubicBezTo>
                <a:cubicBezTo>
                  <a:pt x="16691" y="12162"/>
                  <a:pt x="9438" y="4909"/>
                  <a:pt x="491" y="4909"/>
                </a:cubicBezTo>
                <a:moveTo>
                  <a:pt x="2945" y="20618"/>
                </a:moveTo>
                <a:cubicBezTo>
                  <a:pt x="1861" y="20618"/>
                  <a:pt x="982" y="19739"/>
                  <a:pt x="982" y="18655"/>
                </a:cubicBezTo>
                <a:cubicBezTo>
                  <a:pt x="982" y="17570"/>
                  <a:pt x="1861" y="16691"/>
                  <a:pt x="2945" y="16691"/>
                </a:cubicBezTo>
                <a:cubicBezTo>
                  <a:pt x="4030" y="16691"/>
                  <a:pt x="4909" y="17570"/>
                  <a:pt x="4909" y="18655"/>
                </a:cubicBezTo>
                <a:cubicBezTo>
                  <a:pt x="4909" y="19739"/>
                  <a:pt x="4030" y="20618"/>
                  <a:pt x="2945" y="20618"/>
                </a:cubicBezTo>
                <a:moveTo>
                  <a:pt x="2945" y="15709"/>
                </a:moveTo>
                <a:cubicBezTo>
                  <a:pt x="1319" y="15709"/>
                  <a:pt x="0" y="17028"/>
                  <a:pt x="0" y="18655"/>
                </a:cubicBezTo>
                <a:cubicBezTo>
                  <a:pt x="0" y="20281"/>
                  <a:pt x="1319" y="21600"/>
                  <a:pt x="2945" y="21600"/>
                </a:cubicBezTo>
                <a:cubicBezTo>
                  <a:pt x="4573" y="21600"/>
                  <a:pt x="5891" y="20281"/>
                  <a:pt x="5891" y="18655"/>
                </a:cubicBezTo>
                <a:cubicBezTo>
                  <a:pt x="5891" y="17028"/>
                  <a:pt x="4573" y="15709"/>
                  <a:pt x="2945" y="157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Shape 2851">
            <a:extLst>
              <a:ext uri="{FF2B5EF4-FFF2-40B4-BE49-F238E27FC236}">
                <a16:creationId xmlns:a16="http://schemas.microsoft.com/office/drawing/2014/main" id="{535EC991-2949-4CF1-B9AD-A7B48529DF2E}"/>
              </a:ext>
            </a:extLst>
          </p:cNvPr>
          <p:cNvSpPr/>
          <p:nvPr/>
        </p:nvSpPr>
        <p:spPr bwMode="gray">
          <a:xfrm>
            <a:off x="617539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10309"/>
                </a:moveTo>
                <a:lnTo>
                  <a:pt x="4909" y="10309"/>
                </a:lnTo>
                <a:cubicBezTo>
                  <a:pt x="4638" y="10309"/>
                  <a:pt x="4418" y="10529"/>
                  <a:pt x="4418" y="10800"/>
                </a:cubicBezTo>
                <a:cubicBezTo>
                  <a:pt x="4418" y="11071"/>
                  <a:pt x="4638" y="11291"/>
                  <a:pt x="4909" y="11291"/>
                </a:cubicBezTo>
                <a:lnTo>
                  <a:pt x="5891" y="11291"/>
                </a:lnTo>
                <a:cubicBezTo>
                  <a:pt x="8331" y="11291"/>
                  <a:pt x="10309" y="13269"/>
                  <a:pt x="10309" y="15709"/>
                </a:cubicBezTo>
                <a:lnTo>
                  <a:pt x="10309" y="16691"/>
                </a:lnTo>
                <a:cubicBezTo>
                  <a:pt x="10309" y="16962"/>
                  <a:pt x="10529" y="17182"/>
                  <a:pt x="10800" y="17182"/>
                </a:cubicBezTo>
                <a:cubicBezTo>
                  <a:pt x="11071" y="17182"/>
                  <a:pt x="11291" y="16962"/>
                  <a:pt x="11291" y="16691"/>
                </a:cubicBezTo>
                <a:lnTo>
                  <a:pt x="11291" y="15709"/>
                </a:lnTo>
                <a:cubicBezTo>
                  <a:pt x="11291" y="12727"/>
                  <a:pt x="8873" y="10309"/>
                  <a:pt x="5891" y="10309"/>
                </a:cubicBezTo>
                <a:moveTo>
                  <a:pt x="5891" y="7364"/>
                </a:moveTo>
                <a:lnTo>
                  <a:pt x="4909" y="7364"/>
                </a:lnTo>
                <a:cubicBezTo>
                  <a:pt x="4638" y="7364"/>
                  <a:pt x="4418" y="7583"/>
                  <a:pt x="4418" y="7855"/>
                </a:cubicBezTo>
                <a:cubicBezTo>
                  <a:pt x="4418" y="8126"/>
                  <a:pt x="4638" y="8345"/>
                  <a:pt x="4909" y="8345"/>
                </a:cubicBezTo>
                <a:lnTo>
                  <a:pt x="5891" y="8345"/>
                </a:lnTo>
                <a:cubicBezTo>
                  <a:pt x="9958" y="8345"/>
                  <a:pt x="13255" y="11642"/>
                  <a:pt x="13255" y="15709"/>
                </a:cubicBezTo>
                <a:lnTo>
                  <a:pt x="13255" y="16691"/>
                </a:lnTo>
                <a:cubicBezTo>
                  <a:pt x="13255" y="16962"/>
                  <a:pt x="13475" y="17182"/>
                  <a:pt x="13745" y="17182"/>
                </a:cubicBezTo>
                <a:cubicBezTo>
                  <a:pt x="14016" y="17182"/>
                  <a:pt x="14236" y="16962"/>
                  <a:pt x="14236" y="16691"/>
                </a:cubicBezTo>
                <a:lnTo>
                  <a:pt x="14236" y="15709"/>
                </a:lnTo>
                <a:cubicBezTo>
                  <a:pt x="14236" y="11100"/>
                  <a:pt x="10500" y="7364"/>
                  <a:pt x="5891" y="7364"/>
                </a:cubicBezTo>
                <a:moveTo>
                  <a:pt x="6382" y="16200"/>
                </a:moveTo>
                <a:cubicBezTo>
                  <a:pt x="5840" y="16200"/>
                  <a:pt x="5400" y="15761"/>
                  <a:pt x="5400" y="15218"/>
                </a:cubicBezTo>
                <a:cubicBezTo>
                  <a:pt x="5400" y="14676"/>
                  <a:pt x="5840" y="14236"/>
                  <a:pt x="6382" y="14236"/>
                </a:cubicBezTo>
                <a:cubicBezTo>
                  <a:pt x="6924" y="14236"/>
                  <a:pt x="7364" y="14676"/>
                  <a:pt x="7364" y="15218"/>
                </a:cubicBezTo>
                <a:cubicBezTo>
                  <a:pt x="7364" y="15761"/>
                  <a:pt x="6924" y="16200"/>
                  <a:pt x="6382" y="16200"/>
                </a:cubicBezTo>
                <a:moveTo>
                  <a:pt x="6382" y="13255"/>
                </a:moveTo>
                <a:cubicBezTo>
                  <a:pt x="5297" y="13255"/>
                  <a:pt x="4418" y="14134"/>
                  <a:pt x="4418" y="15218"/>
                </a:cubicBezTo>
                <a:cubicBezTo>
                  <a:pt x="4418" y="16303"/>
                  <a:pt x="5297" y="17182"/>
                  <a:pt x="6382" y="17182"/>
                </a:cubicBezTo>
                <a:cubicBezTo>
                  <a:pt x="7466" y="17182"/>
                  <a:pt x="8345" y="16303"/>
                  <a:pt x="8345" y="15218"/>
                </a:cubicBezTo>
                <a:cubicBezTo>
                  <a:pt x="8345" y="14134"/>
                  <a:pt x="7466" y="13255"/>
                  <a:pt x="6382" y="13255"/>
                </a:cubicBezTo>
                <a:moveTo>
                  <a:pt x="5891" y="4418"/>
                </a:moveTo>
                <a:lnTo>
                  <a:pt x="4909" y="4418"/>
                </a:lnTo>
                <a:cubicBezTo>
                  <a:pt x="4638" y="4418"/>
                  <a:pt x="4418" y="4638"/>
                  <a:pt x="4418" y="4909"/>
                </a:cubicBezTo>
                <a:cubicBezTo>
                  <a:pt x="4418" y="5180"/>
                  <a:pt x="4638" y="5400"/>
                  <a:pt x="4909" y="5400"/>
                </a:cubicBezTo>
                <a:lnTo>
                  <a:pt x="5891" y="5400"/>
                </a:lnTo>
                <a:cubicBezTo>
                  <a:pt x="11585" y="5400"/>
                  <a:pt x="16200" y="10016"/>
                  <a:pt x="16200" y="15709"/>
                </a:cubicBezTo>
                <a:lnTo>
                  <a:pt x="16200" y="16691"/>
                </a:lnTo>
                <a:cubicBezTo>
                  <a:pt x="16200" y="16962"/>
                  <a:pt x="16420" y="17182"/>
                  <a:pt x="16691" y="17182"/>
                </a:cubicBezTo>
                <a:cubicBezTo>
                  <a:pt x="16962" y="17182"/>
                  <a:pt x="17182" y="16962"/>
                  <a:pt x="17182" y="16691"/>
                </a:cubicBezTo>
                <a:lnTo>
                  <a:pt x="17182" y="15709"/>
                </a:lnTo>
                <a:cubicBezTo>
                  <a:pt x="17182" y="9473"/>
                  <a:pt x="12127" y="4418"/>
                  <a:pt x="5891" y="4418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Shape 2852">
            <a:extLst>
              <a:ext uri="{FF2B5EF4-FFF2-40B4-BE49-F238E27FC236}">
                <a16:creationId xmlns:a16="http://schemas.microsoft.com/office/drawing/2014/main" id="{71E8AADB-6DFB-4A54-A742-C4767585EAC0}"/>
              </a:ext>
            </a:extLst>
          </p:cNvPr>
          <p:cNvSpPr/>
          <p:nvPr/>
        </p:nvSpPr>
        <p:spPr bwMode="gray">
          <a:xfrm>
            <a:off x="1185049" y="3951988"/>
            <a:ext cx="263959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44" y="12617"/>
                </a:moveTo>
                <a:cubicBezTo>
                  <a:pt x="14459" y="12872"/>
                  <a:pt x="14634" y="13163"/>
                  <a:pt x="14771" y="13485"/>
                </a:cubicBezTo>
                <a:cubicBezTo>
                  <a:pt x="16295" y="12407"/>
                  <a:pt x="17280" y="10728"/>
                  <a:pt x="17280" y="8836"/>
                </a:cubicBezTo>
                <a:cubicBezTo>
                  <a:pt x="17280" y="5583"/>
                  <a:pt x="14379" y="2945"/>
                  <a:pt x="10800" y="2945"/>
                </a:cubicBezTo>
                <a:cubicBezTo>
                  <a:pt x="7221" y="2945"/>
                  <a:pt x="4320" y="5583"/>
                  <a:pt x="4320" y="8836"/>
                </a:cubicBezTo>
                <a:cubicBezTo>
                  <a:pt x="4320" y="10714"/>
                  <a:pt x="5289" y="12382"/>
                  <a:pt x="6794" y="13461"/>
                </a:cubicBezTo>
                <a:cubicBezTo>
                  <a:pt x="6928" y="13135"/>
                  <a:pt x="7106" y="12845"/>
                  <a:pt x="7323" y="12590"/>
                </a:cubicBezTo>
                <a:cubicBezTo>
                  <a:pt x="6148" y="11689"/>
                  <a:pt x="5400" y="10343"/>
                  <a:pt x="5400" y="8836"/>
                </a:cubicBezTo>
                <a:cubicBezTo>
                  <a:pt x="5400" y="6125"/>
                  <a:pt x="7818" y="3927"/>
                  <a:pt x="10800" y="3927"/>
                </a:cubicBezTo>
                <a:cubicBezTo>
                  <a:pt x="13782" y="3927"/>
                  <a:pt x="16200" y="6125"/>
                  <a:pt x="16200" y="8836"/>
                </a:cubicBezTo>
                <a:cubicBezTo>
                  <a:pt x="16200" y="10358"/>
                  <a:pt x="15439" y="11717"/>
                  <a:pt x="14244" y="12617"/>
                </a:cubicBezTo>
                <a:moveTo>
                  <a:pt x="10800" y="0"/>
                </a:moveTo>
                <a:cubicBezTo>
                  <a:pt x="4836" y="0"/>
                  <a:pt x="0" y="4396"/>
                  <a:pt x="0" y="9818"/>
                </a:cubicBezTo>
                <a:cubicBezTo>
                  <a:pt x="0" y="14007"/>
                  <a:pt x="2891" y="17573"/>
                  <a:pt x="6953" y="18983"/>
                </a:cubicBezTo>
                <a:cubicBezTo>
                  <a:pt x="6874" y="18609"/>
                  <a:pt x="6803" y="18223"/>
                  <a:pt x="6741" y="17840"/>
                </a:cubicBezTo>
                <a:cubicBezTo>
                  <a:pt x="3402" y="16441"/>
                  <a:pt x="1080" y="13379"/>
                  <a:pt x="1080" y="9818"/>
                </a:cubicBezTo>
                <a:cubicBezTo>
                  <a:pt x="1080" y="4938"/>
                  <a:pt x="5432" y="982"/>
                  <a:pt x="10800" y="982"/>
                </a:cubicBezTo>
                <a:cubicBezTo>
                  <a:pt x="16168" y="982"/>
                  <a:pt x="20520" y="4938"/>
                  <a:pt x="20520" y="9818"/>
                </a:cubicBezTo>
                <a:cubicBezTo>
                  <a:pt x="20520" y="13374"/>
                  <a:pt x="18204" y="16431"/>
                  <a:pt x="14874" y="17833"/>
                </a:cubicBezTo>
                <a:cubicBezTo>
                  <a:pt x="14812" y="18216"/>
                  <a:pt x="14740" y="18603"/>
                  <a:pt x="14660" y="18979"/>
                </a:cubicBezTo>
                <a:cubicBezTo>
                  <a:pt x="18716" y="17565"/>
                  <a:pt x="21600" y="14002"/>
                  <a:pt x="21600" y="9818"/>
                </a:cubicBezTo>
                <a:cubicBezTo>
                  <a:pt x="21600" y="4396"/>
                  <a:pt x="16765" y="0"/>
                  <a:pt x="10800" y="0"/>
                </a:cubicBezTo>
                <a:moveTo>
                  <a:pt x="10800" y="7364"/>
                </a:moveTo>
                <a:cubicBezTo>
                  <a:pt x="11695" y="7364"/>
                  <a:pt x="12420" y="8023"/>
                  <a:pt x="12420" y="8836"/>
                </a:cubicBezTo>
                <a:cubicBezTo>
                  <a:pt x="12420" y="9649"/>
                  <a:pt x="11695" y="10309"/>
                  <a:pt x="10800" y="10309"/>
                </a:cubicBezTo>
                <a:cubicBezTo>
                  <a:pt x="9905" y="10309"/>
                  <a:pt x="9180" y="9649"/>
                  <a:pt x="9180" y="8836"/>
                </a:cubicBezTo>
                <a:cubicBezTo>
                  <a:pt x="9180" y="8023"/>
                  <a:pt x="9905" y="7364"/>
                  <a:pt x="10800" y="7364"/>
                </a:cubicBezTo>
                <a:moveTo>
                  <a:pt x="10800" y="11291"/>
                </a:moveTo>
                <a:cubicBezTo>
                  <a:pt x="12292" y="11291"/>
                  <a:pt x="13500" y="10192"/>
                  <a:pt x="13500" y="8836"/>
                </a:cubicBezTo>
                <a:cubicBezTo>
                  <a:pt x="13500" y="7481"/>
                  <a:pt x="12292" y="6382"/>
                  <a:pt x="10800" y="6382"/>
                </a:cubicBezTo>
                <a:cubicBezTo>
                  <a:pt x="9309" y="6382"/>
                  <a:pt x="8100" y="7481"/>
                  <a:pt x="8100" y="8836"/>
                </a:cubicBezTo>
                <a:cubicBezTo>
                  <a:pt x="8100" y="10192"/>
                  <a:pt x="9309" y="11291"/>
                  <a:pt x="10800" y="11291"/>
                </a:cubicBezTo>
                <a:moveTo>
                  <a:pt x="11994" y="20179"/>
                </a:moveTo>
                <a:cubicBezTo>
                  <a:pt x="11855" y="20433"/>
                  <a:pt x="11737" y="20560"/>
                  <a:pt x="11673" y="20618"/>
                </a:cubicBezTo>
                <a:lnTo>
                  <a:pt x="9927" y="20618"/>
                </a:lnTo>
                <a:cubicBezTo>
                  <a:pt x="9862" y="20560"/>
                  <a:pt x="9745" y="20433"/>
                  <a:pt x="9606" y="20179"/>
                </a:cubicBezTo>
                <a:cubicBezTo>
                  <a:pt x="9182" y="19408"/>
                  <a:pt x="8640" y="16626"/>
                  <a:pt x="8640" y="15218"/>
                </a:cubicBezTo>
                <a:cubicBezTo>
                  <a:pt x="8640" y="13768"/>
                  <a:pt x="9205" y="13255"/>
                  <a:pt x="10800" y="13255"/>
                </a:cubicBezTo>
                <a:cubicBezTo>
                  <a:pt x="12395" y="13255"/>
                  <a:pt x="12960" y="13768"/>
                  <a:pt x="12960" y="15218"/>
                </a:cubicBezTo>
                <a:cubicBezTo>
                  <a:pt x="12960" y="16626"/>
                  <a:pt x="12418" y="19408"/>
                  <a:pt x="11994" y="20179"/>
                </a:cubicBezTo>
                <a:moveTo>
                  <a:pt x="10800" y="12273"/>
                </a:moveTo>
                <a:cubicBezTo>
                  <a:pt x="8100" y="12273"/>
                  <a:pt x="7560" y="13745"/>
                  <a:pt x="7560" y="15218"/>
                </a:cubicBezTo>
                <a:cubicBezTo>
                  <a:pt x="7560" y="16691"/>
                  <a:pt x="8100" y="19636"/>
                  <a:pt x="8640" y="20618"/>
                </a:cubicBezTo>
                <a:cubicBezTo>
                  <a:pt x="9180" y="21600"/>
                  <a:pt x="9720" y="21600"/>
                  <a:pt x="9720" y="21600"/>
                </a:cubicBezTo>
                <a:lnTo>
                  <a:pt x="11880" y="21600"/>
                </a:lnTo>
                <a:cubicBezTo>
                  <a:pt x="11880" y="21600"/>
                  <a:pt x="12420" y="21600"/>
                  <a:pt x="12960" y="20618"/>
                </a:cubicBezTo>
                <a:cubicBezTo>
                  <a:pt x="13500" y="19636"/>
                  <a:pt x="14040" y="16691"/>
                  <a:pt x="14040" y="15218"/>
                </a:cubicBezTo>
                <a:cubicBezTo>
                  <a:pt x="14040" y="13745"/>
                  <a:pt x="13500" y="12273"/>
                  <a:pt x="10800" y="122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2853">
            <a:extLst>
              <a:ext uri="{FF2B5EF4-FFF2-40B4-BE49-F238E27FC236}">
                <a16:creationId xmlns:a16="http://schemas.microsoft.com/office/drawing/2014/main" id="{496A17EE-1381-48A4-9432-04F24237C6BD}"/>
              </a:ext>
            </a:extLst>
          </p:cNvPr>
          <p:cNvSpPr/>
          <p:nvPr/>
        </p:nvSpPr>
        <p:spPr bwMode="gray">
          <a:xfrm>
            <a:off x="175255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00" y="8836"/>
                </a:moveTo>
                <a:cubicBezTo>
                  <a:pt x="9600" y="8295"/>
                  <a:pt x="10138" y="7855"/>
                  <a:pt x="10800" y="7855"/>
                </a:cubicBezTo>
                <a:cubicBezTo>
                  <a:pt x="11462" y="7855"/>
                  <a:pt x="12000" y="8295"/>
                  <a:pt x="12000" y="8836"/>
                </a:cubicBezTo>
                <a:cubicBezTo>
                  <a:pt x="12000" y="9378"/>
                  <a:pt x="11462" y="9818"/>
                  <a:pt x="10800" y="9818"/>
                </a:cubicBezTo>
                <a:cubicBezTo>
                  <a:pt x="10138" y="9818"/>
                  <a:pt x="9600" y="9378"/>
                  <a:pt x="9600" y="8836"/>
                </a:cubicBezTo>
                <a:moveTo>
                  <a:pt x="13200" y="8836"/>
                </a:moveTo>
                <a:cubicBezTo>
                  <a:pt x="13200" y="7752"/>
                  <a:pt x="12125" y="6873"/>
                  <a:pt x="10800" y="6873"/>
                </a:cubicBezTo>
                <a:cubicBezTo>
                  <a:pt x="9475" y="6873"/>
                  <a:pt x="8400" y="7752"/>
                  <a:pt x="8400" y="8836"/>
                </a:cubicBezTo>
                <a:cubicBezTo>
                  <a:pt x="8400" y="9921"/>
                  <a:pt x="9475" y="10800"/>
                  <a:pt x="10800" y="10800"/>
                </a:cubicBezTo>
                <a:cubicBezTo>
                  <a:pt x="12125" y="10800"/>
                  <a:pt x="13200" y="9921"/>
                  <a:pt x="13200" y="8836"/>
                </a:cubicBezTo>
                <a:moveTo>
                  <a:pt x="17400" y="8836"/>
                </a:moveTo>
                <a:cubicBezTo>
                  <a:pt x="17400" y="5854"/>
                  <a:pt x="14445" y="3436"/>
                  <a:pt x="10800" y="3436"/>
                </a:cubicBezTo>
                <a:cubicBezTo>
                  <a:pt x="7155" y="3436"/>
                  <a:pt x="4200" y="5854"/>
                  <a:pt x="4200" y="8836"/>
                </a:cubicBezTo>
                <a:cubicBezTo>
                  <a:pt x="4200" y="10437"/>
                  <a:pt x="5056" y="11870"/>
                  <a:pt x="6408" y="12860"/>
                </a:cubicBezTo>
                <a:cubicBezTo>
                  <a:pt x="6570" y="12537"/>
                  <a:pt x="6778" y="12249"/>
                  <a:pt x="7035" y="12000"/>
                </a:cubicBezTo>
                <a:cubicBezTo>
                  <a:pt x="6028" y="11198"/>
                  <a:pt x="5400" y="10078"/>
                  <a:pt x="5400" y="8836"/>
                </a:cubicBezTo>
                <a:cubicBezTo>
                  <a:pt x="5400" y="6396"/>
                  <a:pt x="7818" y="4418"/>
                  <a:pt x="10800" y="4418"/>
                </a:cubicBezTo>
                <a:cubicBezTo>
                  <a:pt x="13783" y="4418"/>
                  <a:pt x="16200" y="6396"/>
                  <a:pt x="16200" y="8836"/>
                </a:cubicBezTo>
                <a:cubicBezTo>
                  <a:pt x="16200" y="10094"/>
                  <a:pt x="15555" y="11226"/>
                  <a:pt x="14524" y="12030"/>
                </a:cubicBezTo>
                <a:cubicBezTo>
                  <a:pt x="14780" y="12280"/>
                  <a:pt x="14989" y="12568"/>
                  <a:pt x="15154" y="12887"/>
                </a:cubicBezTo>
                <a:cubicBezTo>
                  <a:pt x="16528" y="11898"/>
                  <a:pt x="17400" y="10452"/>
                  <a:pt x="17400" y="8836"/>
                </a:cubicBezTo>
                <a:moveTo>
                  <a:pt x="10800" y="0"/>
                </a:moveTo>
                <a:cubicBezTo>
                  <a:pt x="4835" y="0"/>
                  <a:pt x="0" y="3957"/>
                  <a:pt x="0" y="8836"/>
                </a:cubicBezTo>
                <a:cubicBezTo>
                  <a:pt x="0" y="12363"/>
                  <a:pt x="2531" y="15397"/>
                  <a:pt x="6181" y="16815"/>
                </a:cubicBezTo>
                <a:cubicBezTo>
                  <a:pt x="6125" y="16401"/>
                  <a:pt x="6080" y="16009"/>
                  <a:pt x="6049" y="15656"/>
                </a:cubicBezTo>
                <a:cubicBezTo>
                  <a:pt x="3155" y="14303"/>
                  <a:pt x="1200" y="11759"/>
                  <a:pt x="1200" y="8836"/>
                </a:cubicBezTo>
                <a:cubicBezTo>
                  <a:pt x="1200" y="4499"/>
                  <a:pt x="5498" y="982"/>
                  <a:pt x="10800" y="982"/>
                </a:cubicBezTo>
                <a:cubicBezTo>
                  <a:pt x="16102" y="982"/>
                  <a:pt x="20400" y="4499"/>
                  <a:pt x="20400" y="8836"/>
                </a:cubicBezTo>
                <a:cubicBezTo>
                  <a:pt x="20400" y="11756"/>
                  <a:pt x="18449" y="14298"/>
                  <a:pt x="15560" y="15652"/>
                </a:cubicBezTo>
                <a:cubicBezTo>
                  <a:pt x="15532" y="16000"/>
                  <a:pt x="15490" y="16392"/>
                  <a:pt x="15433" y="16809"/>
                </a:cubicBezTo>
                <a:cubicBezTo>
                  <a:pt x="19076" y="15390"/>
                  <a:pt x="21600" y="12358"/>
                  <a:pt x="21600" y="8836"/>
                </a:cubicBezTo>
                <a:cubicBezTo>
                  <a:pt x="21600" y="3957"/>
                  <a:pt x="16765" y="0"/>
                  <a:pt x="10800" y="0"/>
                </a:cubicBezTo>
                <a:moveTo>
                  <a:pt x="12127" y="20179"/>
                </a:moveTo>
                <a:cubicBezTo>
                  <a:pt x="11972" y="20432"/>
                  <a:pt x="11842" y="20560"/>
                  <a:pt x="11770" y="20618"/>
                </a:cubicBezTo>
                <a:lnTo>
                  <a:pt x="9830" y="20618"/>
                </a:lnTo>
                <a:cubicBezTo>
                  <a:pt x="9758" y="20560"/>
                  <a:pt x="9628" y="20432"/>
                  <a:pt x="9473" y="20179"/>
                </a:cubicBezTo>
                <a:cubicBezTo>
                  <a:pt x="9032" y="19457"/>
                  <a:pt x="8400" y="16247"/>
                  <a:pt x="8400" y="14727"/>
                </a:cubicBezTo>
                <a:cubicBezTo>
                  <a:pt x="8400" y="13278"/>
                  <a:pt x="9028" y="12764"/>
                  <a:pt x="10800" y="12764"/>
                </a:cubicBezTo>
                <a:cubicBezTo>
                  <a:pt x="12572" y="12764"/>
                  <a:pt x="13200" y="13278"/>
                  <a:pt x="13200" y="14727"/>
                </a:cubicBezTo>
                <a:cubicBezTo>
                  <a:pt x="13200" y="16247"/>
                  <a:pt x="12568" y="19457"/>
                  <a:pt x="12127" y="20179"/>
                </a:cubicBezTo>
                <a:moveTo>
                  <a:pt x="10800" y="11782"/>
                </a:moveTo>
                <a:cubicBezTo>
                  <a:pt x="7800" y="11782"/>
                  <a:pt x="7200" y="13255"/>
                  <a:pt x="7200" y="14727"/>
                </a:cubicBezTo>
                <a:cubicBezTo>
                  <a:pt x="7200" y="16200"/>
                  <a:pt x="7800" y="19636"/>
                  <a:pt x="8400" y="20618"/>
                </a:cubicBezTo>
                <a:cubicBezTo>
                  <a:pt x="9000" y="21600"/>
                  <a:pt x="9600" y="21600"/>
                  <a:pt x="9600" y="21600"/>
                </a:cubicBezTo>
                <a:lnTo>
                  <a:pt x="12000" y="21600"/>
                </a:lnTo>
                <a:cubicBezTo>
                  <a:pt x="12000" y="21600"/>
                  <a:pt x="12600" y="21600"/>
                  <a:pt x="13200" y="20618"/>
                </a:cubicBezTo>
                <a:cubicBezTo>
                  <a:pt x="13800" y="19636"/>
                  <a:pt x="14400" y="16200"/>
                  <a:pt x="14400" y="14727"/>
                </a:cubicBezTo>
                <a:cubicBezTo>
                  <a:pt x="14400" y="13255"/>
                  <a:pt x="13800" y="11782"/>
                  <a:pt x="10800" y="117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Shape 2854">
            <a:extLst>
              <a:ext uri="{FF2B5EF4-FFF2-40B4-BE49-F238E27FC236}">
                <a16:creationId xmlns:a16="http://schemas.microsoft.com/office/drawing/2014/main" id="{97EFFD96-DCCF-4779-BC4C-B76D279A1817}"/>
              </a:ext>
            </a:extLst>
          </p:cNvPr>
          <p:cNvSpPr/>
          <p:nvPr/>
        </p:nvSpPr>
        <p:spPr bwMode="gray">
          <a:xfrm>
            <a:off x="2280475" y="3951988"/>
            <a:ext cx="290286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52" y="3921"/>
                </a:moveTo>
                <a:cubicBezTo>
                  <a:pt x="18338" y="3921"/>
                  <a:pt x="17679" y="3262"/>
                  <a:pt x="17679" y="2448"/>
                </a:cubicBezTo>
                <a:cubicBezTo>
                  <a:pt x="17679" y="1634"/>
                  <a:pt x="18338" y="975"/>
                  <a:pt x="19152" y="975"/>
                </a:cubicBezTo>
                <a:cubicBezTo>
                  <a:pt x="19966" y="975"/>
                  <a:pt x="20625" y="1634"/>
                  <a:pt x="20625" y="2448"/>
                </a:cubicBezTo>
                <a:cubicBezTo>
                  <a:pt x="20625" y="3262"/>
                  <a:pt x="19966" y="3921"/>
                  <a:pt x="19152" y="3921"/>
                </a:cubicBezTo>
                <a:moveTo>
                  <a:pt x="10804" y="12269"/>
                </a:moveTo>
                <a:cubicBezTo>
                  <a:pt x="9991" y="12269"/>
                  <a:pt x="9331" y="11609"/>
                  <a:pt x="9331" y="10795"/>
                </a:cubicBezTo>
                <a:cubicBezTo>
                  <a:pt x="9331" y="9981"/>
                  <a:pt x="9991" y="9322"/>
                  <a:pt x="10804" y="9322"/>
                </a:cubicBezTo>
                <a:cubicBezTo>
                  <a:pt x="11618" y="9322"/>
                  <a:pt x="12278" y="9981"/>
                  <a:pt x="12278" y="10795"/>
                </a:cubicBezTo>
                <a:cubicBezTo>
                  <a:pt x="12278" y="11609"/>
                  <a:pt x="11618" y="12269"/>
                  <a:pt x="10804" y="12269"/>
                </a:cubicBezTo>
                <a:moveTo>
                  <a:pt x="3930" y="19143"/>
                </a:moveTo>
                <a:cubicBezTo>
                  <a:pt x="3930" y="19956"/>
                  <a:pt x="3271" y="20616"/>
                  <a:pt x="2457" y="20616"/>
                </a:cubicBezTo>
                <a:cubicBezTo>
                  <a:pt x="1643" y="20616"/>
                  <a:pt x="984" y="19956"/>
                  <a:pt x="984" y="19143"/>
                </a:cubicBezTo>
                <a:cubicBezTo>
                  <a:pt x="984" y="18329"/>
                  <a:pt x="1643" y="17669"/>
                  <a:pt x="2457" y="17669"/>
                </a:cubicBezTo>
                <a:cubicBezTo>
                  <a:pt x="3271" y="17669"/>
                  <a:pt x="3930" y="18329"/>
                  <a:pt x="3930" y="19143"/>
                </a:cubicBezTo>
                <a:moveTo>
                  <a:pt x="19148" y="0"/>
                </a:moveTo>
                <a:cubicBezTo>
                  <a:pt x="17793" y="0"/>
                  <a:pt x="16695" y="1098"/>
                  <a:pt x="16695" y="2452"/>
                </a:cubicBezTo>
                <a:cubicBezTo>
                  <a:pt x="16695" y="3640"/>
                  <a:pt x="17539" y="4630"/>
                  <a:pt x="18660" y="4856"/>
                </a:cubicBezTo>
                <a:lnTo>
                  <a:pt x="18660" y="10306"/>
                </a:lnTo>
                <a:lnTo>
                  <a:pt x="13203" y="10306"/>
                </a:lnTo>
                <a:cubicBezTo>
                  <a:pt x="12974" y="9187"/>
                  <a:pt x="11985" y="8347"/>
                  <a:pt x="10800" y="8347"/>
                </a:cubicBezTo>
                <a:cubicBezTo>
                  <a:pt x="9615" y="8347"/>
                  <a:pt x="8626" y="9187"/>
                  <a:pt x="8398" y="10306"/>
                </a:cubicBezTo>
                <a:lnTo>
                  <a:pt x="2456" y="10306"/>
                </a:lnTo>
                <a:cubicBezTo>
                  <a:pt x="2184" y="10306"/>
                  <a:pt x="1965" y="10525"/>
                  <a:pt x="1965" y="10796"/>
                </a:cubicBezTo>
                <a:lnTo>
                  <a:pt x="1965" y="16744"/>
                </a:lnTo>
                <a:cubicBezTo>
                  <a:pt x="844" y="16970"/>
                  <a:pt x="0" y="17960"/>
                  <a:pt x="0" y="19147"/>
                </a:cubicBezTo>
                <a:cubicBezTo>
                  <a:pt x="0" y="20502"/>
                  <a:pt x="1098" y="21600"/>
                  <a:pt x="2453" y="21600"/>
                </a:cubicBezTo>
                <a:cubicBezTo>
                  <a:pt x="3807" y="21600"/>
                  <a:pt x="4905" y="20502"/>
                  <a:pt x="4905" y="19147"/>
                </a:cubicBezTo>
                <a:cubicBezTo>
                  <a:pt x="4905" y="17961"/>
                  <a:pt x="4065" y="16973"/>
                  <a:pt x="2947" y="16744"/>
                </a:cubicBezTo>
                <a:lnTo>
                  <a:pt x="2947" y="11287"/>
                </a:lnTo>
                <a:lnTo>
                  <a:pt x="8397" y="11287"/>
                </a:lnTo>
                <a:cubicBezTo>
                  <a:pt x="8623" y="12408"/>
                  <a:pt x="9613" y="13253"/>
                  <a:pt x="10800" y="13253"/>
                </a:cubicBezTo>
                <a:cubicBezTo>
                  <a:pt x="11988" y="13253"/>
                  <a:pt x="12978" y="12408"/>
                  <a:pt x="13203" y="11287"/>
                </a:cubicBezTo>
                <a:lnTo>
                  <a:pt x="19151" y="11287"/>
                </a:lnTo>
                <a:cubicBezTo>
                  <a:pt x="19422" y="11287"/>
                  <a:pt x="19642" y="11068"/>
                  <a:pt x="19642" y="10796"/>
                </a:cubicBezTo>
                <a:lnTo>
                  <a:pt x="19642" y="4855"/>
                </a:lnTo>
                <a:cubicBezTo>
                  <a:pt x="20759" y="4626"/>
                  <a:pt x="21600" y="3638"/>
                  <a:pt x="21600" y="2452"/>
                </a:cubicBezTo>
                <a:cubicBezTo>
                  <a:pt x="21600" y="1098"/>
                  <a:pt x="20502" y="0"/>
                  <a:pt x="19148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hape 2855">
            <a:extLst>
              <a:ext uri="{FF2B5EF4-FFF2-40B4-BE49-F238E27FC236}">
                <a16:creationId xmlns:a16="http://schemas.microsoft.com/office/drawing/2014/main" id="{7EA69C19-E11B-4E39-8B32-AA9278B40764}"/>
              </a:ext>
            </a:extLst>
          </p:cNvPr>
          <p:cNvSpPr/>
          <p:nvPr/>
        </p:nvSpPr>
        <p:spPr bwMode="gray">
          <a:xfrm>
            <a:off x="2847984" y="3951988"/>
            <a:ext cx="263890" cy="290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7" y="20616"/>
                </a:moveTo>
                <a:cubicBezTo>
                  <a:pt x="18012" y="20616"/>
                  <a:pt x="17287" y="19956"/>
                  <a:pt x="17287" y="19143"/>
                </a:cubicBezTo>
                <a:cubicBezTo>
                  <a:pt x="17287" y="18329"/>
                  <a:pt x="18012" y="17669"/>
                  <a:pt x="18907" y="17669"/>
                </a:cubicBezTo>
                <a:cubicBezTo>
                  <a:pt x="19802" y="17669"/>
                  <a:pt x="20527" y="18329"/>
                  <a:pt x="20527" y="19143"/>
                </a:cubicBezTo>
                <a:cubicBezTo>
                  <a:pt x="20527" y="19956"/>
                  <a:pt x="19802" y="20616"/>
                  <a:pt x="18907" y="20616"/>
                </a:cubicBezTo>
                <a:moveTo>
                  <a:pt x="2703" y="12269"/>
                </a:moveTo>
                <a:cubicBezTo>
                  <a:pt x="1808" y="12269"/>
                  <a:pt x="1082" y="11609"/>
                  <a:pt x="1082" y="10795"/>
                </a:cubicBezTo>
                <a:cubicBezTo>
                  <a:pt x="1082" y="9981"/>
                  <a:pt x="1808" y="9322"/>
                  <a:pt x="2703" y="9322"/>
                </a:cubicBezTo>
                <a:cubicBezTo>
                  <a:pt x="3598" y="9322"/>
                  <a:pt x="4323" y="9981"/>
                  <a:pt x="4323" y="10795"/>
                </a:cubicBezTo>
                <a:cubicBezTo>
                  <a:pt x="4323" y="11609"/>
                  <a:pt x="3598" y="12269"/>
                  <a:pt x="2703" y="12269"/>
                </a:cubicBezTo>
                <a:moveTo>
                  <a:pt x="18907" y="975"/>
                </a:moveTo>
                <a:cubicBezTo>
                  <a:pt x="19802" y="975"/>
                  <a:pt x="20527" y="1634"/>
                  <a:pt x="20527" y="2448"/>
                </a:cubicBezTo>
                <a:cubicBezTo>
                  <a:pt x="20527" y="3262"/>
                  <a:pt x="19802" y="3921"/>
                  <a:pt x="18907" y="3921"/>
                </a:cubicBezTo>
                <a:cubicBezTo>
                  <a:pt x="18012" y="3921"/>
                  <a:pt x="17287" y="3262"/>
                  <a:pt x="17287" y="2448"/>
                </a:cubicBezTo>
                <a:cubicBezTo>
                  <a:pt x="17287" y="1634"/>
                  <a:pt x="18012" y="975"/>
                  <a:pt x="18907" y="975"/>
                </a:cubicBezTo>
                <a:moveTo>
                  <a:pt x="18902" y="16695"/>
                </a:moveTo>
                <a:cubicBezTo>
                  <a:pt x="18092" y="16695"/>
                  <a:pt x="17374" y="17026"/>
                  <a:pt x="16879" y="17540"/>
                </a:cubicBezTo>
                <a:lnTo>
                  <a:pt x="5253" y="11551"/>
                </a:lnTo>
                <a:cubicBezTo>
                  <a:pt x="5338" y="11314"/>
                  <a:pt x="5396" y="11064"/>
                  <a:pt x="5396" y="10800"/>
                </a:cubicBezTo>
                <a:cubicBezTo>
                  <a:pt x="5396" y="10536"/>
                  <a:pt x="5338" y="10286"/>
                  <a:pt x="5253" y="10048"/>
                </a:cubicBezTo>
                <a:lnTo>
                  <a:pt x="16879" y="4059"/>
                </a:lnTo>
                <a:cubicBezTo>
                  <a:pt x="17373" y="4574"/>
                  <a:pt x="18092" y="4905"/>
                  <a:pt x="18902" y="4905"/>
                </a:cubicBezTo>
                <a:cubicBezTo>
                  <a:pt x="20392" y="4905"/>
                  <a:pt x="21600" y="3807"/>
                  <a:pt x="21600" y="2452"/>
                </a:cubicBezTo>
                <a:cubicBezTo>
                  <a:pt x="21600" y="1098"/>
                  <a:pt x="20392" y="0"/>
                  <a:pt x="18902" y="0"/>
                </a:cubicBezTo>
                <a:cubicBezTo>
                  <a:pt x="17412" y="0"/>
                  <a:pt x="16204" y="1098"/>
                  <a:pt x="16204" y="2452"/>
                </a:cubicBezTo>
                <a:cubicBezTo>
                  <a:pt x="16204" y="2716"/>
                  <a:pt x="16262" y="2966"/>
                  <a:pt x="16347" y="3204"/>
                </a:cubicBezTo>
                <a:lnTo>
                  <a:pt x="4722" y="9193"/>
                </a:lnTo>
                <a:cubicBezTo>
                  <a:pt x="4227" y="8679"/>
                  <a:pt x="3509" y="8347"/>
                  <a:pt x="2698" y="8347"/>
                </a:cubicBezTo>
                <a:cubicBezTo>
                  <a:pt x="1208" y="8347"/>
                  <a:pt x="0" y="9445"/>
                  <a:pt x="0" y="10800"/>
                </a:cubicBezTo>
                <a:cubicBezTo>
                  <a:pt x="0" y="12155"/>
                  <a:pt x="1208" y="13253"/>
                  <a:pt x="2698" y="13253"/>
                </a:cubicBezTo>
                <a:cubicBezTo>
                  <a:pt x="3509" y="13253"/>
                  <a:pt x="4227" y="12921"/>
                  <a:pt x="4722" y="12406"/>
                </a:cubicBezTo>
                <a:lnTo>
                  <a:pt x="16347" y="18395"/>
                </a:lnTo>
                <a:cubicBezTo>
                  <a:pt x="16262" y="18633"/>
                  <a:pt x="16204" y="18883"/>
                  <a:pt x="16204" y="19147"/>
                </a:cubicBezTo>
                <a:cubicBezTo>
                  <a:pt x="16204" y="20502"/>
                  <a:pt x="17412" y="21600"/>
                  <a:pt x="18902" y="21600"/>
                </a:cubicBezTo>
                <a:cubicBezTo>
                  <a:pt x="20392" y="21600"/>
                  <a:pt x="21600" y="20502"/>
                  <a:pt x="21600" y="19147"/>
                </a:cubicBezTo>
                <a:cubicBezTo>
                  <a:pt x="21600" y="17792"/>
                  <a:pt x="20392" y="16695"/>
                  <a:pt x="18902" y="1669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Shape 2856">
            <a:extLst>
              <a:ext uri="{FF2B5EF4-FFF2-40B4-BE49-F238E27FC236}">
                <a16:creationId xmlns:a16="http://schemas.microsoft.com/office/drawing/2014/main" id="{E1510A8E-5207-4C89-AE66-029D2FBE9162}"/>
              </a:ext>
            </a:extLst>
          </p:cNvPr>
          <p:cNvSpPr/>
          <p:nvPr/>
        </p:nvSpPr>
        <p:spPr bwMode="gray">
          <a:xfrm>
            <a:off x="3389098" y="3951988"/>
            <a:ext cx="290496" cy="2903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5"/>
                  <a:pt x="10421" y="16209"/>
                  <a:pt x="10002" y="16302"/>
                </a:cubicBezTo>
                <a:cubicBezTo>
                  <a:pt x="9027" y="16517"/>
                  <a:pt x="8105" y="16493"/>
                  <a:pt x="7342" y="16179"/>
                </a:cubicBezTo>
                <a:cubicBezTo>
                  <a:pt x="6912" y="16003"/>
                  <a:pt x="6537" y="15755"/>
                  <a:pt x="6227" y="15442"/>
                </a:cubicBezTo>
                <a:cubicBezTo>
                  <a:pt x="5915" y="15129"/>
                  <a:pt x="5669" y="14758"/>
                  <a:pt x="5493" y="14340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3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8"/>
                  <a:pt x="15389" y="7238"/>
                  <a:pt x="15526" y="7692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0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7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3"/>
                  <a:pt x="6002" y="2230"/>
                  <a:pt x="7264" y="1722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1"/>
                  <a:pt x="5132" y="9032"/>
                  <a:pt x="4777" y="10034"/>
                </a:cubicBezTo>
                <a:cubicBezTo>
                  <a:pt x="4420" y="11037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89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5"/>
                  <a:pt x="6354" y="16815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3"/>
                </a:cubicBezTo>
                <a:cubicBezTo>
                  <a:pt x="17934" y="16294"/>
                  <a:pt x="18680" y="15687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4"/>
                  <a:pt x="21600" y="10178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8"/>
                  <a:pt x="19518" y="3199"/>
                  <a:pt x="18594" y="2422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7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2857">
            <a:extLst>
              <a:ext uri="{FF2B5EF4-FFF2-40B4-BE49-F238E27FC236}">
                <a16:creationId xmlns:a16="http://schemas.microsoft.com/office/drawing/2014/main" id="{225D1254-6642-41BB-90A2-BC9C66F8B07A}"/>
              </a:ext>
            </a:extLst>
          </p:cNvPr>
          <p:cNvSpPr/>
          <p:nvPr/>
        </p:nvSpPr>
        <p:spPr bwMode="gray">
          <a:xfrm>
            <a:off x="3943410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858">
            <a:extLst>
              <a:ext uri="{FF2B5EF4-FFF2-40B4-BE49-F238E27FC236}">
                <a16:creationId xmlns:a16="http://schemas.microsoft.com/office/drawing/2014/main" id="{F54CC534-0529-4516-B008-E0B193438685}"/>
              </a:ext>
            </a:extLst>
          </p:cNvPr>
          <p:cNvSpPr/>
          <p:nvPr/>
        </p:nvSpPr>
        <p:spPr bwMode="gray">
          <a:xfrm>
            <a:off x="4524118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2859">
            <a:extLst>
              <a:ext uri="{FF2B5EF4-FFF2-40B4-BE49-F238E27FC236}">
                <a16:creationId xmlns:a16="http://schemas.microsoft.com/office/drawing/2014/main" id="{784F16DE-A8E6-40BF-A47F-3D69B7CFCE82}"/>
              </a:ext>
            </a:extLst>
          </p:cNvPr>
          <p:cNvSpPr/>
          <p:nvPr/>
        </p:nvSpPr>
        <p:spPr bwMode="gray">
          <a:xfrm>
            <a:off x="505203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2860">
            <a:extLst>
              <a:ext uri="{FF2B5EF4-FFF2-40B4-BE49-F238E27FC236}">
                <a16:creationId xmlns:a16="http://schemas.microsoft.com/office/drawing/2014/main" id="{D8833C33-CBB3-454E-BF8C-F89F6EF792EA}"/>
              </a:ext>
            </a:extLst>
          </p:cNvPr>
          <p:cNvSpPr/>
          <p:nvPr/>
        </p:nvSpPr>
        <p:spPr bwMode="gray">
          <a:xfrm>
            <a:off x="5606346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2861">
            <a:extLst>
              <a:ext uri="{FF2B5EF4-FFF2-40B4-BE49-F238E27FC236}">
                <a16:creationId xmlns:a16="http://schemas.microsoft.com/office/drawing/2014/main" id="{AB0B8507-BD68-4A10-B36D-0E123F88F18E}"/>
              </a:ext>
            </a:extLst>
          </p:cNvPr>
          <p:cNvSpPr/>
          <p:nvPr/>
        </p:nvSpPr>
        <p:spPr bwMode="gray">
          <a:xfrm>
            <a:off x="6200252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2862">
            <a:extLst>
              <a:ext uri="{FF2B5EF4-FFF2-40B4-BE49-F238E27FC236}">
                <a16:creationId xmlns:a16="http://schemas.microsoft.com/office/drawing/2014/main" id="{AE11B848-FAE9-4EC9-9FA9-A6D92425DFD5}"/>
              </a:ext>
            </a:extLst>
          </p:cNvPr>
          <p:cNvSpPr/>
          <p:nvPr/>
        </p:nvSpPr>
        <p:spPr bwMode="gray">
          <a:xfrm>
            <a:off x="6754564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0672" y="6382"/>
                </a:moveTo>
                <a:cubicBezTo>
                  <a:pt x="10464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9" y="11643"/>
                </a:cubicBezTo>
                <a:cubicBezTo>
                  <a:pt x="8462" y="11568"/>
                  <a:pt x="8536" y="11425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7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7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7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2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7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1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2863">
            <a:extLst>
              <a:ext uri="{FF2B5EF4-FFF2-40B4-BE49-F238E27FC236}">
                <a16:creationId xmlns:a16="http://schemas.microsoft.com/office/drawing/2014/main" id="{6CBE26E7-289C-4CC1-88FB-4E2AD6B1B58A}"/>
              </a:ext>
            </a:extLst>
          </p:cNvPr>
          <p:cNvSpPr/>
          <p:nvPr/>
        </p:nvSpPr>
        <p:spPr bwMode="gray">
          <a:xfrm>
            <a:off x="730887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5" y="8897"/>
                  <a:pt x="11997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4" y="9937"/>
                  <a:pt x="12643" y="10393"/>
                  <a:pt x="12232" y="10991"/>
                </a:cubicBezTo>
                <a:cubicBezTo>
                  <a:pt x="11821" y="11589"/>
                  <a:pt x="11513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5"/>
                  <a:pt x="8774" y="6973"/>
                </a:cubicBezTo>
                <a:cubicBezTo>
                  <a:pt x="8450" y="7000"/>
                  <a:pt x="7966" y="7272"/>
                  <a:pt x="7320" y="7789"/>
                </a:cubicBezTo>
                <a:cubicBezTo>
                  <a:pt x="6849" y="8183"/>
                  <a:pt x="6372" y="8577"/>
                  <a:pt x="5888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2"/>
                </a:cubicBezTo>
                <a:cubicBezTo>
                  <a:pt x="8333" y="11460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2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8"/>
                  <a:pt x="14281" y="687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2864">
            <a:extLst>
              <a:ext uri="{FF2B5EF4-FFF2-40B4-BE49-F238E27FC236}">
                <a16:creationId xmlns:a16="http://schemas.microsoft.com/office/drawing/2014/main" id="{25DBD1F3-EEDD-4E39-90EE-940CB333D318}"/>
              </a:ext>
            </a:extLst>
          </p:cNvPr>
          <p:cNvSpPr/>
          <p:nvPr/>
        </p:nvSpPr>
        <p:spPr bwMode="gray">
          <a:xfrm>
            <a:off x="786318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5" y="7359"/>
                </a:moveTo>
                <a:lnTo>
                  <a:pt x="13743" y="7359"/>
                </a:lnTo>
                <a:lnTo>
                  <a:pt x="13743" y="8833"/>
                </a:lnTo>
                <a:lnTo>
                  <a:pt x="12265" y="8833"/>
                </a:lnTo>
                <a:lnTo>
                  <a:pt x="12265" y="9816"/>
                </a:lnTo>
                <a:lnTo>
                  <a:pt x="13743" y="9816"/>
                </a:lnTo>
                <a:lnTo>
                  <a:pt x="13743" y="11283"/>
                </a:lnTo>
                <a:lnTo>
                  <a:pt x="14725" y="11283"/>
                </a:lnTo>
                <a:lnTo>
                  <a:pt x="14725" y="9816"/>
                </a:lnTo>
                <a:lnTo>
                  <a:pt x="16205" y="9816"/>
                </a:lnTo>
                <a:lnTo>
                  <a:pt x="16205" y="8833"/>
                </a:lnTo>
                <a:lnTo>
                  <a:pt x="14725" y="8833"/>
                </a:lnTo>
                <a:cubicBezTo>
                  <a:pt x="14725" y="8833"/>
                  <a:pt x="14725" y="7359"/>
                  <a:pt x="14725" y="7359"/>
                </a:cubicBezTo>
                <a:close/>
                <a:moveTo>
                  <a:pt x="9321" y="13946"/>
                </a:moveTo>
                <a:cubicBezTo>
                  <a:pt x="8620" y="13946"/>
                  <a:pt x="8071" y="13495"/>
                  <a:pt x="8071" y="12919"/>
                </a:cubicBezTo>
                <a:cubicBezTo>
                  <a:pt x="8071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47" y="11723"/>
                </a:lnTo>
                <a:lnTo>
                  <a:pt x="9465" y="11929"/>
                </a:lnTo>
                <a:cubicBezTo>
                  <a:pt x="9624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40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5" y="8362"/>
                  <a:pt x="8574" y="8014"/>
                  <a:pt x="8754" y="7806"/>
                </a:cubicBezTo>
                <a:cubicBezTo>
                  <a:pt x="8864" y="7680"/>
                  <a:pt x="9006" y="7613"/>
                  <a:pt x="9164" y="7613"/>
                </a:cubicBez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5" y="9596"/>
                  <a:pt x="9970" y="9809"/>
                </a:cubicBezTo>
                <a:cubicBezTo>
                  <a:pt x="9860" y="9935"/>
                  <a:pt x="9722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6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6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5"/>
                  <a:pt x="11386" y="8784"/>
                </a:cubicBezTo>
                <a:cubicBezTo>
                  <a:pt x="11386" y="8342"/>
                  <a:pt x="11262" y="7947"/>
                  <a:pt x="11050" y="7659"/>
                </a:cubicBezTo>
                <a:lnTo>
                  <a:pt x="11238" y="7659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5" y="6873"/>
                  <a:pt x="7345" y="7759"/>
                  <a:pt x="7345" y="8769"/>
                </a:cubicBezTo>
                <a:cubicBezTo>
                  <a:pt x="7345" y="9812"/>
                  <a:pt x="8109" y="10605"/>
                  <a:pt x="9137" y="10648"/>
                </a:cubicBezTo>
                <a:cubicBezTo>
                  <a:pt x="9121" y="10722"/>
                  <a:pt x="9113" y="10795"/>
                  <a:pt x="9113" y="10868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3" y="11309"/>
                  <a:pt x="6870" y="12161"/>
                  <a:pt x="6870" y="13167"/>
                </a:cubicBezTo>
                <a:cubicBezTo>
                  <a:pt x="6870" y="14071"/>
                  <a:pt x="7903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8"/>
                  <a:pt x="5378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2865">
            <a:extLst>
              <a:ext uri="{FF2B5EF4-FFF2-40B4-BE49-F238E27FC236}">
                <a16:creationId xmlns:a16="http://schemas.microsoft.com/office/drawing/2014/main" id="{F6EF9B0C-2375-4DF4-9729-C1300F3AE6ED}"/>
              </a:ext>
            </a:extLst>
          </p:cNvPr>
          <p:cNvSpPr/>
          <p:nvPr/>
        </p:nvSpPr>
        <p:spPr bwMode="gray">
          <a:xfrm>
            <a:off x="841749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2866">
            <a:extLst>
              <a:ext uri="{FF2B5EF4-FFF2-40B4-BE49-F238E27FC236}">
                <a16:creationId xmlns:a16="http://schemas.microsoft.com/office/drawing/2014/main" id="{102EEDCD-3CE5-4EE7-905F-4B7B9AB81992}"/>
              </a:ext>
            </a:extLst>
          </p:cNvPr>
          <p:cNvSpPr/>
          <p:nvPr/>
        </p:nvSpPr>
        <p:spPr bwMode="gray">
          <a:xfrm>
            <a:off x="8971811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2867">
            <a:extLst>
              <a:ext uri="{FF2B5EF4-FFF2-40B4-BE49-F238E27FC236}">
                <a16:creationId xmlns:a16="http://schemas.microsoft.com/office/drawing/2014/main" id="{DA89FE3F-3D5B-4A2A-B6FD-49C8F438774F}"/>
              </a:ext>
            </a:extLst>
          </p:cNvPr>
          <p:cNvSpPr/>
          <p:nvPr/>
        </p:nvSpPr>
        <p:spPr bwMode="gray">
          <a:xfrm>
            <a:off x="9526123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2"/>
                </a:lnTo>
                <a:cubicBezTo>
                  <a:pt x="13281" y="13032"/>
                  <a:pt x="13386" y="13050"/>
                  <a:pt x="13473" y="13085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7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8" y="14187"/>
                  <a:pt x="12550" y="14335"/>
                  <a:pt x="12631" y="14459"/>
                </a:cubicBezTo>
                <a:cubicBezTo>
                  <a:pt x="12706" y="14574"/>
                  <a:pt x="12831" y="14661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6"/>
                  <a:pt x="13722" y="13990"/>
                  <a:pt x="13643" y="13857"/>
                </a:cubicBezTo>
                <a:cubicBezTo>
                  <a:pt x="13567" y="13732"/>
                  <a:pt x="13439" y="13644"/>
                  <a:pt x="13280" y="13606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98" y="6884"/>
                </a:moveTo>
                <a:lnTo>
                  <a:pt x="12930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2" y="6884"/>
                </a:lnTo>
                <a:lnTo>
                  <a:pt x="9988" y="10156"/>
                </a:lnTo>
                <a:lnTo>
                  <a:pt x="8067" y="6873"/>
                </a:lnTo>
                <a:lnTo>
                  <a:pt x="8000" y="6891"/>
                </a:lnTo>
                <a:cubicBezTo>
                  <a:pt x="7739" y="6962"/>
                  <a:pt x="7347" y="6960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6"/>
                  <a:pt x="10190" y="14646"/>
                  <a:pt x="10449" y="14719"/>
                </a:cubicBezTo>
                <a:lnTo>
                  <a:pt x="10573" y="14722"/>
                </a:lnTo>
                <a:lnTo>
                  <a:pt x="10512" y="11391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5" y="7029"/>
                </a:cubicBezTo>
                <a:cubicBezTo>
                  <a:pt x="13015" y="7029"/>
                  <a:pt x="13098" y="6884"/>
                  <a:pt x="13098" y="688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2868">
            <a:extLst>
              <a:ext uri="{FF2B5EF4-FFF2-40B4-BE49-F238E27FC236}">
                <a16:creationId xmlns:a16="http://schemas.microsoft.com/office/drawing/2014/main" id="{5543EA64-6C27-4977-AA87-65A767687985}"/>
              </a:ext>
            </a:extLst>
          </p:cNvPr>
          <p:cNvSpPr/>
          <p:nvPr/>
        </p:nvSpPr>
        <p:spPr bwMode="gray">
          <a:xfrm>
            <a:off x="10080435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2965" y="14699"/>
                </a:moveTo>
                <a:lnTo>
                  <a:pt x="12958" y="14707"/>
                </a:lnTo>
                <a:lnTo>
                  <a:pt x="10801" y="13100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0" y="14627"/>
                </a:lnTo>
                <a:lnTo>
                  <a:pt x="14000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2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75" y="13002"/>
                </a:lnTo>
                <a:lnTo>
                  <a:pt x="8631" y="13516"/>
                </a:lnTo>
                <a:lnTo>
                  <a:pt x="10063" y="12429"/>
                </a:lnTo>
                <a:lnTo>
                  <a:pt x="10780" y="11880"/>
                </a:lnTo>
                <a:lnTo>
                  <a:pt x="10782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5" y="11880"/>
                </a:lnTo>
                <a:lnTo>
                  <a:pt x="12509" y="13148"/>
                </a:lnTo>
                <a:lnTo>
                  <a:pt x="13007" y="13515"/>
                </a:lnTo>
                <a:lnTo>
                  <a:pt x="16198" y="11575"/>
                </a:lnTo>
                <a:lnTo>
                  <a:pt x="13925" y="9727"/>
                </a:lnTo>
                <a:lnTo>
                  <a:pt x="10788" y="11715"/>
                </a:lnTo>
                <a:cubicBezTo>
                  <a:pt x="10788" y="11715"/>
                  <a:pt x="7642" y="9766"/>
                  <a:pt x="7642" y="9766"/>
                </a:cubicBezTo>
                <a:close/>
                <a:moveTo>
                  <a:pt x="13925" y="9727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7"/>
                  <a:pt x="13925" y="972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2869">
            <a:extLst>
              <a:ext uri="{FF2B5EF4-FFF2-40B4-BE49-F238E27FC236}">
                <a16:creationId xmlns:a16="http://schemas.microsoft.com/office/drawing/2014/main" id="{248116CD-56F7-4968-86FA-D941B08026D7}"/>
              </a:ext>
            </a:extLst>
          </p:cNvPr>
          <p:cNvSpPr/>
          <p:nvPr/>
        </p:nvSpPr>
        <p:spPr bwMode="gray">
          <a:xfrm>
            <a:off x="10634747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7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7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6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2870">
            <a:extLst>
              <a:ext uri="{FF2B5EF4-FFF2-40B4-BE49-F238E27FC236}">
                <a16:creationId xmlns:a16="http://schemas.microsoft.com/office/drawing/2014/main" id="{D06A749B-E293-405C-A7B7-1D29CFB7B133}"/>
              </a:ext>
            </a:extLst>
          </p:cNvPr>
          <p:cNvSpPr/>
          <p:nvPr/>
        </p:nvSpPr>
        <p:spPr bwMode="gray">
          <a:xfrm>
            <a:off x="11189059" y="2843364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7"/>
                </a:lnTo>
                <a:cubicBezTo>
                  <a:pt x="15118" y="9995"/>
                  <a:pt x="15213" y="9425"/>
                  <a:pt x="15213" y="8919"/>
                </a:cubicBezTo>
                <a:cubicBezTo>
                  <a:pt x="15213" y="8812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7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1" y="8413"/>
                </a:cubicBezTo>
                <a:cubicBezTo>
                  <a:pt x="9351" y="8413"/>
                  <a:pt x="9605" y="8444"/>
                  <a:pt x="9874" y="8460"/>
                </a:cubicBezTo>
                <a:lnTo>
                  <a:pt x="10651" y="10590"/>
                </a:lnTo>
                <a:lnTo>
                  <a:pt x="9559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1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5" y="8063"/>
                  <a:pt x="6726" y="8060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90" y="12162"/>
                </a:cubicBezTo>
                <a:lnTo>
                  <a:pt x="13291" y="13825"/>
                </a:lnTo>
                <a:cubicBezTo>
                  <a:pt x="13291" y="13825"/>
                  <a:pt x="11487" y="8460"/>
                  <a:pt x="11487" y="8460"/>
                </a:cubicBezTo>
                <a:close/>
                <a:moveTo>
                  <a:pt x="10800" y="15709"/>
                </a:moveTo>
                <a:cubicBezTo>
                  <a:pt x="10320" y="15709"/>
                  <a:pt x="9857" y="15637"/>
                  <a:pt x="9417" y="15508"/>
                </a:cubicBezTo>
                <a:lnTo>
                  <a:pt x="10887" y="11237"/>
                </a:lnTo>
                <a:cubicBezTo>
                  <a:pt x="10887" y="11237"/>
                  <a:pt x="12211" y="14864"/>
                  <a:pt x="12426" y="15428"/>
                </a:cubicBezTo>
                <a:cubicBezTo>
                  <a:pt x="11916" y="15607"/>
                  <a:pt x="11370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8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4" y="16691"/>
                  <a:pt x="16691" y="14054"/>
                  <a:pt x="16691" y="10800"/>
                </a:cubicBezTo>
                <a:cubicBezTo>
                  <a:pt x="16691" y="7547"/>
                  <a:pt x="14054" y="4909"/>
                  <a:pt x="10800" y="4909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2871">
            <a:extLst>
              <a:ext uri="{FF2B5EF4-FFF2-40B4-BE49-F238E27FC236}">
                <a16:creationId xmlns:a16="http://schemas.microsoft.com/office/drawing/2014/main" id="{2194801B-C3F5-4EA2-8DA2-A5E3593F7349}"/>
              </a:ext>
            </a:extLst>
          </p:cNvPr>
          <p:cNvSpPr/>
          <p:nvPr/>
        </p:nvSpPr>
        <p:spPr bwMode="gray">
          <a:xfrm>
            <a:off x="6200252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3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9"/>
                  <a:pt x="10353" y="9000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Shape 2872">
            <a:extLst>
              <a:ext uri="{FF2B5EF4-FFF2-40B4-BE49-F238E27FC236}">
                <a16:creationId xmlns:a16="http://schemas.microsoft.com/office/drawing/2014/main" id="{FCFAD9D4-E110-4823-84F3-B9128D93DDEA}"/>
              </a:ext>
            </a:extLst>
          </p:cNvPr>
          <p:cNvSpPr/>
          <p:nvPr/>
        </p:nvSpPr>
        <p:spPr bwMode="gray">
          <a:xfrm>
            <a:off x="6754564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40" y="7246"/>
                  <a:pt x="15108" y="7411"/>
                  <a:pt x="14650" y="7499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6" y="7236"/>
                </a:cubicBezTo>
                <a:cubicBezTo>
                  <a:pt x="6892" y="7529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1"/>
                  <a:pt x="7483" y="11638"/>
                </a:cubicBezTo>
                <a:cubicBezTo>
                  <a:pt x="7739" y="12426"/>
                  <a:pt x="8482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3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29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0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Shape 2873">
            <a:extLst>
              <a:ext uri="{FF2B5EF4-FFF2-40B4-BE49-F238E27FC236}">
                <a16:creationId xmlns:a16="http://schemas.microsoft.com/office/drawing/2014/main" id="{41815914-3C74-47B3-8701-765C71EA5A49}"/>
              </a:ext>
            </a:extLst>
          </p:cNvPr>
          <p:cNvSpPr/>
          <p:nvPr/>
        </p:nvSpPr>
        <p:spPr bwMode="gray">
          <a:xfrm>
            <a:off x="730887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8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2874">
            <a:extLst>
              <a:ext uri="{FF2B5EF4-FFF2-40B4-BE49-F238E27FC236}">
                <a16:creationId xmlns:a16="http://schemas.microsoft.com/office/drawing/2014/main" id="{35F095D7-3AF9-4705-9EDD-E2813BAE6A21}"/>
              </a:ext>
            </a:extLst>
          </p:cNvPr>
          <p:cNvSpPr/>
          <p:nvPr/>
        </p:nvSpPr>
        <p:spPr bwMode="gray">
          <a:xfrm>
            <a:off x="786318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20" y="12090"/>
                  <a:pt x="14020" y="12429"/>
                  <a:pt x="14020" y="12429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9"/>
                </a:lnTo>
                <a:cubicBezTo>
                  <a:pt x="14629" y="12429"/>
                  <a:pt x="14629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2" y="14266"/>
                  <a:pt x="13412" y="14266"/>
                </a:cubicBezTo>
                <a:lnTo>
                  <a:pt x="13412" y="12380"/>
                </a:lnTo>
                <a:cubicBezTo>
                  <a:pt x="13412" y="12380"/>
                  <a:pt x="13412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5" y="14169"/>
                </a:moveTo>
                <a:cubicBezTo>
                  <a:pt x="12905" y="14169"/>
                  <a:pt x="12905" y="14943"/>
                  <a:pt x="12347" y="14943"/>
                </a:cubicBezTo>
                <a:cubicBezTo>
                  <a:pt x="12005" y="14943"/>
                  <a:pt x="11798" y="14762"/>
                  <a:pt x="11688" y="14621"/>
                </a:cubicBezTo>
                <a:lnTo>
                  <a:pt x="11688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8" y="10446"/>
                </a:lnTo>
                <a:lnTo>
                  <a:pt x="11688" y="11888"/>
                </a:lnTo>
                <a:cubicBezTo>
                  <a:pt x="11788" y="11782"/>
                  <a:pt x="12037" y="11558"/>
                  <a:pt x="12347" y="11558"/>
                </a:cubicBezTo>
                <a:cubicBezTo>
                  <a:pt x="12752" y="11558"/>
                  <a:pt x="12905" y="11896"/>
                  <a:pt x="12905" y="12332"/>
                </a:cubicBezTo>
                <a:cubicBezTo>
                  <a:pt x="12905" y="12332"/>
                  <a:pt x="12905" y="14169"/>
                  <a:pt x="12905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1" y="9334"/>
                  <a:pt x="7074" y="9430"/>
                  <a:pt x="7074" y="9430"/>
                </a:cubicBezTo>
                <a:cubicBezTo>
                  <a:pt x="6234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4" y="16104"/>
                  <a:pt x="7074" y="16104"/>
                </a:cubicBezTo>
                <a:cubicBezTo>
                  <a:pt x="7074" y="16104"/>
                  <a:pt x="8905" y="16200"/>
                  <a:pt x="10800" y="16200"/>
                </a:cubicBezTo>
                <a:cubicBezTo>
                  <a:pt x="12631" y="16200"/>
                  <a:pt x="14527" y="16104"/>
                  <a:pt x="14527" y="16104"/>
                </a:cubicBezTo>
                <a:cubicBezTo>
                  <a:pt x="15367" y="16104"/>
                  <a:pt x="16049" y="15454"/>
                  <a:pt x="16049" y="14652"/>
                </a:cubicBezTo>
                <a:cubicBezTo>
                  <a:pt x="16049" y="14652"/>
                  <a:pt x="16200" y="13700"/>
                  <a:pt x="16200" y="12767"/>
                </a:cubicBezTo>
                <a:cubicBezTo>
                  <a:pt x="16200" y="11814"/>
                  <a:pt x="16049" y="10881"/>
                  <a:pt x="16049" y="10881"/>
                </a:cubicBezTo>
                <a:cubicBezTo>
                  <a:pt x="16049" y="10080"/>
                  <a:pt x="15367" y="9430"/>
                  <a:pt x="14527" y="9430"/>
                </a:cubicBezTo>
                <a:moveTo>
                  <a:pt x="11992" y="12090"/>
                </a:moveTo>
                <a:cubicBezTo>
                  <a:pt x="11860" y="12090"/>
                  <a:pt x="11757" y="12167"/>
                  <a:pt x="11688" y="12243"/>
                </a:cubicBezTo>
                <a:lnTo>
                  <a:pt x="11688" y="14276"/>
                </a:lnTo>
                <a:cubicBezTo>
                  <a:pt x="11751" y="14345"/>
                  <a:pt x="11848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9"/>
                </a:lnTo>
                <a:cubicBezTo>
                  <a:pt x="12296" y="12429"/>
                  <a:pt x="12245" y="12090"/>
                  <a:pt x="11992" y="12090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0166" y="6634"/>
                </a:moveTo>
                <a:cubicBezTo>
                  <a:pt x="10166" y="6467"/>
                  <a:pt x="10303" y="6332"/>
                  <a:pt x="10471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1" y="8348"/>
                </a:cubicBezTo>
                <a:cubicBezTo>
                  <a:pt x="10303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7"/>
                  <a:pt x="10572" y="5877"/>
                </a:cubicBezTo>
                <a:lnTo>
                  <a:pt x="10369" y="5877"/>
                </a:lnTo>
                <a:cubicBezTo>
                  <a:pt x="9921" y="5877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  <a:moveTo>
                  <a:pt x="12398" y="8801"/>
                </a:moveTo>
                <a:cubicBezTo>
                  <a:pt x="12803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7" y="8751"/>
                </a:lnTo>
                <a:lnTo>
                  <a:pt x="13767" y="5877"/>
                </a:lnTo>
                <a:lnTo>
                  <a:pt x="13158" y="5877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50" y="8348"/>
                  <a:pt x="12550" y="8197"/>
                  <a:pt x="12550" y="8197"/>
                </a:cubicBezTo>
                <a:lnTo>
                  <a:pt x="12550" y="5877"/>
                </a:lnTo>
                <a:lnTo>
                  <a:pt x="11941" y="5877"/>
                </a:lnTo>
                <a:lnTo>
                  <a:pt x="11941" y="8398"/>
                </a:lnTo>
                <a:cubicBezTo>
                  <a:pt x="11941" y="8398"/>
                  <a:pt x="11992" y="8801"/>
                  <a:pt x="12398" y="880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2875">
            <a:extLst>
              <a:ext uri="{FF2B5EF4-FFF2-40B4-BE49-F238E27FC236}">
                <a16:creationId xmlns:a16="http://schemas.microsoft.com/office/drawing/2014/main" id="{DC311952-5754-485C-9BDE-029C0769ABD3}"/>
              </a:ext>
            </a:extLst>
          </p:cNvPr>
          <p:cNvSpPr/>
          <p:nvPr/>
        </p:nvSpPr>
        <p:spPr bwMode="gray">
          <a:xfrm>
            <a:off x="841749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672" y="6382"/>
                </a:moveTo>
                <a:cubicBezTo>
                  <a:pt x="10463" y="6409"/>
                  <a:pt x="10255" y="6435"/>
                  <a:pt x="10045" y="6460"/>
                </a:cubicBezTo>
                <a:cubicBezTo>
                  <a:pt x="9652" y="6558"/>
                  <a:pt x="9223" y="6650"/>
                  <a:pt x="8905" y="6836"/>
                </a:cubicBezTo>
                <a:cubicBezTo>
                  <a:pt x="8055" y="7333"/>
                  <a:pt x="7467" y="7913"/>
                  <a:pt x="7073" y="8856"/>
                </a:cubicBezTo>
                <a:cubicBezTo>
                  <a:pt x="7009" y="9009"/>
                  <a:pt x="7007" y="9157"/>
                  <a:pt x="6960" y="9326"/>
                </a:cubicBezTo>
                <a:cubicBezTo>
                  <a:pt x="6658" y="10425"/>
                  <a:pt x="7194" y="11563"/>
                  <a:pt x="7844" y="11956"/>
                </a:cubicBezTo>
                <a:cubicBezTo>
                  <a:pt x="7969" y="12032"/>
                  <a:pt x="8254" y="12166"/>
                  <a:pt x="8358" y="11987"/>
                </a:cubicBezTo>
                <a:cubicBezTo>
                  <a:pt x="8416" y="11889"/>
                  <a:pt x="8403" y="11758"/>
                  <a:pt x="8438" y="11643"/>
                </a:cubicBezTo>
                <a:cubicBezTo>
                  <a:pt x="8462" y="11568"/>
                  <a:pt x="8536" y="11424"/>
                  <a:pt x="8519" y="11330"/>
                </a:cubicBezTo>
                <a:cubicBezTo>
                  <a:pt x="8490" y="11170"/>
                  <a:pt x="8318" y="11068"/>
                  <a:pt x="8246" y="10939"/>
                </a:cubicBezTo>
                <a:cubicBezTo>
                  <a:pt x="8099" y="10676"/>
                  <a:pt x="8092" y="10444"/>
                  <a:pt x="8020" y="10093"/>
                </a:cubicBezTo>
                <a:cubicBezTo>
                  <a:pt x="8026" y="10046"/>
                  <a:pt x="8031" y="9999"/>
                  <a:pt x="8037" y="9952"/>
                </a:cubicBezTo>
                <a:cubicBezTo>
                  <a:pt x="8058" y="9559"/>
                  <a:pt x="8124" y="9276"/>
                  <a:pt x="8246" y="8997"/>
                </a:cubicBezTo>
                <a:cubicBezTo>
                  <a:pt x="8601" y="8177"/>
                  <a:pt x="9172" y="7720"/>
                  <a:pt x="10094" y="7447"/>
                </a:cubicBezTo>
                <a:cubicBezTo>
                  <a:pt x="10300" y="7386"/>
                  <a:pt x="10882" y="7288"/>
                  <a:pt x="11187" y="7353"/>
                </a:cubicBezTo>
                <a:cubicBezTo>
                  <a:pt x="11369" y="7385"/>
                  <a:pt x="11551" y="7415"/>
                  <a:pt x="11733" y="7447"/>
                </a:cubicBezTo>
                <a:cubicBezTo>
                  <a:pt x="12393" y="7655"/>
                  <a:pt x="12874" y="8038"/>
                  <a:pt x="13131" y="8637"/>
                </a:cubicBezTo>
                <a:cubicBezTo>
                  <a:pt x="13292" y="9010"/>
                  <a:pt x="13339" y="9724"/>
                  <a:pt x="13227" y="10203"/>
                </a:cubicBezTo>
                <a:cubicBezTo>
                  <a:pt x="13174" y="10429"/>
                  <a:pt x="13183" y="10624"/>
                  <a:pt x="13115" y="10829"/>
                </a:cubicBezTo>
                <a:cubicBezTo>
                  <a:pt x="12865" y="11589"/>
                  <a:pt x="12498" y="12293"/>
                  <a:pt x="11668" y="12488"/>
                </a:cubicBezTo>
                <a:cubicBezTo>
                  <a:pt x="11121" y="12618"/>
                  <a:pt x="10711" y="12284"/>
                  <a:pt x="10576" y="11941"/>
                </a:cubicBezTo>
                <a:cubicBezTo>
                  <a:pt x="10538" y="11846"/>
                  <a:pt x="10474" y="11676"/>
                  <a:pt x="10512" y="11518"/>
                </a:cubicBezTo>
                <a:cubicBezTo>
                  <a:pt x="10656" y="10901"/>
                  <a:pt x="10865" y="10349"/>
                  <a:pt x="11026" y="9733"/>
                </a:cubicBezTo>
                <a:cubicBezTo>
                  <a:pt x="11179" y="9146"/>
                  <a:pt x="10888" y="8683"/>
                  <a:pt x="10431" y="8575"/>
                </a:cubicBezTo>
                <a:cubicBezTo>
                  <a:pt x="9863" y="8439"/>
                  <a:pt x="9424" y="8966"/>
                  <a:pt x="9274" y="9310"/>
                </a:cubicBezTo>
                <a:cubicBezTo>
                  <a:pt x="9155" y="9584"/>
                  <a:pt x="9083" y="10089"/>
                  <a:pt x="9177" y="10453"/>
                </a:cubicBezTo>
                <a:cubicBezTo>
                  <a:pt x="9208" y="10569"/>
                  <a:pt x="9347" y="10878"/>
                  <a:pt x="9322" y="10986"/>
                </a:cubicBezTo>
                <a:cubicBezTo>
                  <a:pt x="9213" y="11462"/>
                  <a:pt x="9088" y="11974"/>
                  <a:pt x="8953" y="12441"/>
                </a:cubicBezTo>
                <a:cubicBezTo>
                  <a:pt x="8812" y="12929"/>
                  <a:pt x="8736" y="13427"/>
                  <a:pt x="8599" y="13898"/>
                </a:cubicBezTo>
                <a:cubicBezTo>
                  <a:pt x="8536" y="14114"/>
                  <a:pt x="8539" y="14346"/>
                  <a:pt x="8487" y="14571"/>
                </a:cubicBezTo>
                <a:lnTo>
                  <a:pt x="8487" y="14900"/>
                </a:lnTo>
                <a:cubicBezTo>
                  <a:pt x="8440" y="15108"/>
                  <a:pt x="8475" y="15478"/>
                  <a:pt x="8519" y="15683"/>
                </a:cubicBezTo>
                <a:cubicBezTo>
                  <a:pt x="8548" y="15815"/>
                  <a:pt x="8502" y="15978"/>
                  <a:pt x="8567" y="16074"/>
                </a:cubicBezTo>
                <a:cubicBezTo>
                  <a:pt x="8568" y="16144"/>
                  <a:pt x="8577" y="16160"/>
                  <a:pt x="8599" y="16200"/>
                </a:cubicBezTo>
                <a:cubicBezTo>
                  <a:pt x="8800" y="16194"/>
                  <a:pt x="9078" y="15665"/>
                  <a:pt x="9177" y="15511"/>
                </a:cubicBezTo>
                <a:cubicBezTo>
                  <a:pt x="9369" y="15216"/>
                  <a:pt x="9546" y="14901"/>
                  <a:pt x="9692" y="14556"/>
                </a:cubicBezTo>
                <a:cubicBezTo>
                  <a:pt x="9823" y="14245"/>
                  <a:pt x="9844" y="13901"/>
                  <a:pt x="9949" y="13569"/>
                </a:cubicBezTo>
                <a:cubicBezTo>
                  <a:pt x="10025" y="13329"/>
                  <a:pt x="10133" y="13049"/>
                  <a:pt x="10158" y="12786"/>
                </a:cubicBezTo>
                <a:lnTo>
                  <a:pt x="10174" y="12786"/>
                </a:lnTo>
                <a:cubicBezTo>
                  <a:pt x="10216" y="12930"/>
                  <a:pt x="10367" y="13035"/>
                  <a:pt x="10480" y="13115"/>
                </a:cubicBezTo>
                <a:cubicBezTo>
                  <a:pt x="10833" y="13367"/>
                  <a:pt x="11442" y="13600"/>
                  <a:pt x="12102" y="13444"/>
                </a:cubicBezTo>
                <a:cubicBezTo>
                  <a:pt x="12850" y="13267"/>
                  <a:pt x="13446" y="12916"/>
                  <a:pt x="13838" y="12394"/>
                </a:cubicBezTo>
                <a:cubicBezTo>
                  <a:pt x="14127" y="12011"/>
                  <a:pt x="14345" y="11567"/>
                  <a:pt x="14513" y="11064"/>
                </a:cubicBezTo>
                <a:cubicBezTo>
                  <a:pt x="14596" y="10817"/>
                  <a:pt x="14613" y="10543"/>
                  <a:pt x="14674" y="10281"/>
                </a:cubicBezTo>
                <a:cubicBezTo>
                  <a:pt x="14827" y="9624"/>
                  <a:pt x="14623" y="8833"/>
                  <a:pt x="14433" y="8402"/>
                </a:cubicBezTo>
                <a:cubicBezTo>
                  <a:pt x="13856" y="7098"/>
                  <a:pt x="12630" y="6354"/>
                  <a:pt x="10672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2876">
            <a:extLst>
              <a:ext uri="{FF2B5EF4-FFF2-40B4-BE49-F238E27FC236}">
                <a16:creationId xmlns:a16="http://schemas.microsoft.com/office/drawing/2014/main" id="{D97345E5-5482-410D-AB96-2EFC0709E7C3}"/>
              </a:ext>
            </a:extLst>
          </p:cNvPr>
          <p:cNvSpPr/>
          <p:nvPr/>
        </p:nvSpPr>
        <p:spPr bwMode="gray">
          <a:xfrm>
            <a:off x="8971811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81" y="6871"/>
                </a:moveTo>
                <a:cubicBezTo>
                  <a:pt x="12915" y="6830"/>
                  <a:pt x="11990" y="7537"/>
                  <a:pt x="11505" y="8992"/>
                </a:cubicBezTo>
                <a:cubicBezTo>
                  <a:pt x="11754" y="8897"/>
                  <a:pt x="11998" y="8849"/>
                  <a:pt x="12232" y="8849"/>
                </a:cubicBezTo>
                <a:cubicBezTo>
                  <a:pt x="12732" y="8849"/>
                  <a:pt x="12952" y="9108"/>
                  <a:pt x="12893" y="9624"/>
                </a:cubicBezTo>
                <a:cubicBezTo>
                  <a:pt x="12863" y="9937"/>
                  <a:pt x="12643" y="10393"/>
                  <a:pt x="12232" y="10991"/>
                </a:cubicBezTo>
                <a:cubicBezTo>
                  <a:pt x="11821" y="11589"/>
                  <a:pt x="11512" y="11888"/>
                  <a:pt x="11307" y="11888"/>
                </a:cubicBezTo>
                <a:cubicBezTo>
                  <a:pt x="11043" y="11888"/>
                  <a:pt x="10800" y="11426"/>
                  <a:pt x="10580" y="10502"/>
                </a:cubicBezTo>
                <a:cubicBezTo>
                  <a:pt x="10506" y="10230"/>
                  <a:pt x="10374" y="9536"/>
                  <a:pt x="10183" y="8421"/>
                </a:cubicBezTo>
                <a:cubicBezTo>
                  <a:pt x="10007" y="7388"/>
                  <a:pt x="9537" y="6904"/>
                  <a:pt x="8773" y="6972"/>
                </a:cubicBezTo>
                <a:cubicBezTo>
                  <a:pt x="8450" y="7000"/>
                  <a:pt x="7966" y="7272"/>
                  <a:pt x="7320" y="7788"/>
                </a:cubicBezTo>
                <a:cubicBezTo>
                  <a:pt x="6849" y="8183"/>
                  <a:pt x="6372" y="8577"/>
                  <a:pt x="5887" y="8972"/>
                </a:cubicBezTo>
                <a:lnTo>
                  <a:pt x="6350" y="9522"/>
                </a:lnTo>
                <a:cubicBezTo>
                  <a:pt x="6790" y="9237"/>
                  <a:pt x="7047" y="9094"/>
                  <a:pt x="7121" y="9094"/>
                </a:cubicBezTo>
                <a:cubicBezTo>
                  <a:pt x="7459" y="9094"/>
                  <a:pt x="7774" y="9583"/>
                  <a:pt x="8068" y="10563"/>
                </a:cubicBezTo>
                <a:cubicBezTo>
                  <a:pt x="8333" y="11461"/>
                  <a:pt x="8597" y="12358"/>
                  <a:pt x="8861" y="13255"/>
                </a:cubicBezTo>
                <a:cubicBezTo>
                  <a:pt x="9258" y="14234"/>
                  <a:pt x="9743" y="14723"/>
                  <a:pt x="10316" y="14723"/>
                </a:cubicBezTo>
                <a:cubicBezTo>
                  <a:pt x="11241" y="14723"/>
                  <a:pt x="12371" y="13921"/>
                  <a:pt x="13709" y="12317"/>
                </a:cubicBezTo>
                <a:cubicBezTo>
                  <a:pt x="15001" y="10780"/>
                  <a:pt x="15669" y="9570"/>
                  <a:pt x="15713" y="8686"/>
                </a:cubicBezTo>
                <a:cubicBezTo>
                  <a:pt x="15772" y="7503"/>
                  <a:pt x="15295" y="6899"/>
                  <a:pt x="14281" y="6871"/>
                </a:cubicBezTo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2877">
            <a:extLst>
              <a:ext uri="{FF2B5EF4-FFF2-40B4-BE49-F238E27FC236}">
                <a16:creationId xmlns:a16="http://schemas.microsoft.com/office/drawing/2014/main" id="{B043CF21-0695-4D8B-A3FB-A7153C24D5E7}"/>
              </a:ext>
            </a:extLst>
          </p:cNvPr>
          <p:cNvSpPr/>
          <p:nvPr/>
        </p:nvSpPr>
        <p:spPr bwMode="gray">
          <a:xfrm>
            <a:off x="9526123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724" y="7360"/>
                </a:moveTo>
                <a:lnTo>
                  <a:pt x="13742" y="7360"/>
                </a:lnTo>
                <a:lnTo>
                  <a:pt x="13742" y="8833"/>
                </a:lnTo>
                <a:lnTo>
                  <a:pt x="12265" y="8833"/>
                </a:lnTo>
                <a:lnTo>
                  <a:pt x="12265" y="9815"/>
                </a:lnTo>
                <a:lnTo>
                  <a:pt x="13742" y="9815"/>
                </a:lnTo>
                <a:lnTo>
                  <a:pt x="13742" y="11283"/>
                </a:lnTo>
                <a:lnTo>
                  <a:pt x="14724" y="11283"/>
                </a:lnTo>
                <a:lnTo>
                  <a:pt x="14724" y="9815"/>
                </a:lnTo>
                <a:lnTo>
                  <a:pt x="16204" y="9815"/>
                </a:lnTo>
                <a:lnTo>
                  <a:pt x="16204" y="8833"/>
                </a:lnTo>
                <a:lnTo>
                  <a:pt x="14724" y="8833"/>
                </a:lnTo>
                <a:cubicBezTo>
                  <a:pt x="14724" y="8833"/>
                  <a:pt x="14724" y="7360"/>
                  <a:pt x="14724" y="7360"/>
                </a:cubicBezTo>
                <a:close/>
                <a:moveTo>
                  <a:pt x="9321" y="13946"/>
                </a:moveTo>
                <a:cubicBezTo>
                  <a:pt x="8620" y="13946"/>
                  <a:pt x="8070" y="13495"/>
                  <a:pt x="8070" y="12919"/>
                </a:cubicBezTo>
                <a:cubicBezTo>
                  <a:pt x="8070" y="12392"/>
                  <a:pt x="8713" y="11929"/>
                  <a:pt x="9446" y="11929"/>
                </a:cubicBezTo>
                <a:lnTo>
                  <a:pt x="9446" y="11723"/>
                </a:lnTo>
                <a:lnTo>
                  <a:pt x="9465" y="11929"/>
                </a:lnTo>
                <a:cubicBezTo>
                  <a:pt x="9623" y="11930"/>
                  <a:pt x="9777" y="11954"/>
                  <a:pt x="9922" y="12000"/>
                </a:cubicBezTo>
                <a:lnTo>
                  <a:pt x="10067" y="12104"/>
                </a:lnTo>
                <a:cubicBezTo>
                  <a:pt x="10439" y="12371"/>
                  <a:pt x="10637" y="12521"/>
                  <a:pt x="10695" y="12764"/>
                </a:cubicBezTo>
                <a:cubicBezTo>
                  <a:pt x="10710" y="12827"/>
                  <a:pt x="10717" y="12891"/>
                  <a:pt x="10717" y="12954"/>
                </a:cubicBezTo>
                <a:cubicBezTo>
                  <a:pt x="10717" y="13612"/>
                  <a:pt x="10247" y="13946"/>
                  <a:pt x="9321" y="13946"/>
                </a:cubicBezTo>
                <a:moveTo>
                  <a:pt x="8542" y="8739"/>
                </a:moveTo>
                <a:cubicBezTo>
                  <a:pt x="8494" y="8362"/>
                  <a:pt x="8574" y="8014"/>
                  <a:pt x="8754" y="7806"/>
                </a:cubicBezTo>
                <a:cubicBezTo>
                  <a:pt x="8864" y="7680"/>
                  <a:pt x="9006" y="7612"/>
                  <a:pt x="9163" y="7612"/>
                </a:cubicBezTo>
                <a:lnTo>
                  <a:pt x="9163" y="7409"/>
                </a:lnTo>
                <a:lnTo>
                  <a:pt x="9164" y="7409"/>
                </a:lnTo>
                <a:lnTo>
                  <a:pt x="9182" y="7613"/>
                </a:lnTo>
                <a:cubicBezTo>
                  <a:pt x="9653" y="7628"/>
                  <a:pt x="10105" y="8185"/>
                  <a:pt x="10189" y="8855"/>
                </a:cubicBezTo>
                <a:cubicBezTo>
                  <a:pt x="10237" y="9239"/>
                  <a:pt x="10154" y="9595"/>
                  <a:pt x="9969" y="9809"/>
                </a:cubicBezTo>
                <a:cubicBezTo>
                  <a:pt x="9860" y="9935"/>
                  <a:pt x="9721" y="10002"/>
                  <a:pt x="9550" y="10001"/>
                </a:cubicBezTo>
                <a:lnTo>
                  <a:pt x="9549" y="10001"/>
                </a:lnTo>
                <a:cubicBezTo>
                  <a:pt x="9087" y="9988"/>
                  <a:pt x="8625" y="9409"/>
                  <a:pt x="8542" y="8739"/>
                </a:cubicBezTo>
                <a:moveTo>
                  <a:pt x="10838" y="11196"/>
                </a:moveTo>
                <a:cubicBezTo>
                  <a:pt x="10586" y="11009"/>
                  <a:pt x="10351" y="10732"/>
                  <a:pt x="10342" y="10647"/>
                </a:cubicBezTo>
                <a:cubicBezTo>
                  <a:pt x="10342" y="10499"/>
                  <a:pt x="10342" y="10431"/>
                  <a:pt x="10689" y="10148"/>
                </a:cubicBezTo>
                <a:cubicBezTo>
                  <a:pt x="11138" y="9780"/>
                  <a:pt x="11386" y="9296"/>
                  <a:pt x="11386" y="8784"/>
                </a:cubicBezTo>
                <a:cubicBezTo>
                  <a:pt x="11386" y="8342"/>
                  <a:pt x="11262" y="7947"/>
                  <a:pt x="11049" y="7660"/>
                </a:cubicBezTo>
                <a:lnTo>
                  <a:pt x="11238" y="7660"/>
                </a:lnTo>
                <a:lnTo>
                  <a:pt x="12276" y="6873"/>
                </a:lnTo>
                <a:lnTo>
                  <a:pt x="9463" y="6873"/>
                </a:lnTo>
                <a:cubicBezTo>
                  <a:pt x="8334" y="6873"/>
                  <a:pt x="7345" y="7760"/>
                  <a:pt x="7345" y="8769"/>
                </a:cubicBezTo>
                <a:cubicBezTo>
                  <a:pt x="7345" y="9812"/>
                  <a:pt x="8109" y="10605"/>
                  <a:pt x="9136" y="10648"/>
                </a:cubicBezTo>
                <a:cubicBezTo>
                  <a:pt x="9121" y="10722"/>
                  <a:pt x="9113" y="10795"/>
                  <a:pt x="9113" y="10867"/>
                </a:cubicBezTo>
                <a:cubicBezTo>
                  <a:pt x="9113" y="11018"/>
                  <a:pt x="9147" y="11162"/>
                  <a:pt x="9216" y="11300"/>
                </a:cubicBezTo>
                <a:cubicBezTo>
                  <a:pt x="7942" y="11309"/>
                  <a:pt x="6869" y="12161"/>
                  <a:pt x="6869" y="13167"/>
                </a:cubicBezTo>
                <a:cubicBezTo>
                  <a:pt x="6869" y="14071"/>
                  <a:pt x="7902" y="14727"/>
                  <a:pt x="9325" y="14727"/>
                </a:cubicBezTo>
                <a:cubicBezTo>
                  <a:pt x="10861" y="14727"/>
                  <a:pt x="11690" y="13766"/>
                  <a:pt x="11690" y="12860"/>
                </a:cubicBezTo>
                <a:cubicBezTo>
                  <a:pt x="11690" y="12108"/>
                  <a:pt x="11459" y="11656"/>
                  <a:pt x="10838" y="11196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hape 2878">
            <a:extLst>
              <a:ext uri="{FF2B5EF4-FFF2-40B4-BE49-F238E27FC236}">
                <a16:creationId xmlns:a16="http://schemas.microsoft.com/office/drawing/2014/main" id="{6746D0FC-8A7E-44D8-8F87-12043D3B652E}"/>
              </a:ext>
            </a:extLst>
          </p:cNvPr>
          <p:cNvSpPr/>
          <p:nvPr/>
        </p:nvSpPr>
        <p:spPr bwMode="gray">
          <a:xfrm>
            <a:off x="10080435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30" y="9321"/>
                </a:moveTo>
                <a:cubicBezTo>
                  <a:pt x="11975" y="9321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1"/>
                  <a:pt x="13430" y="9321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1"/>
                </a:lnTo>
                <a:lnTo>
                  <a:pt x="6873" y="9321"/>
                </a:lnTo>
                <a:cubicBezTo>
                  <a:pt x="6873" y="9321"/>
                  <a:pt x="6873" y="14727"/>
                  <a:pt x="6873" y="14727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1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2879">
            <a:extLst>
              <a:ext uri="{FF2B5EF4-FFF2-40B4-BE49-F238E27FC236}">
                <a16:creationId xmlns:a16="http://schemas.microsoft.com/office/drawing/2014/main" id="{88154A0B-42FF-4625-8D26-49387A6D4966}"/>
              </a:ext>
            </a:extLst>
          </p:cNvPr>
          <p:cNvSpPr/>
          <p:nvPr/>
        </p:nvSpPr>
        <p:spPr bwMode="gray">
          <a:xfrm>
            <a:off x="10634747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1592" y="13291"/>
                </a:moveTo>
                <a:cubicBezTo>
                  <a:pt x="11452" y="13213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6"/>
                  <a:pt x="9187" y="8553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4"/>
                  <a:pt x="9368" y="13478"/>
                  <a:pt x="9448" y="13666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19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5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2" y="1329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2880">
            <a:extLst>
              <a:ext uri="{FF2B5EF4-FFF2-40B4-BE49-F238E27FC236}">
                <a16:creationId xmlns:a16="http://schemas.microsoft.com/office/drawing/2014/main" id="{9588ED28-3E81-490A-9699-01449144632D}"/>
              </a:ext>
            </a:extLst>
          </p:cNvPr>
          <p:cNvSpPr/>
          <p:nvPr/>
        </p:nvSpPr>
        <p:spPr bwMode="gray">
          <a:xfrm>
            <a:off x="11189059" y="3397676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4291" y="6986"/>
                </a:moveTo>
                <a:cubicBezTo>
                  <a:pt x="14241" y="6976"/>
                  <a:pt x="14187" y="6971"/>
                  <a:pt x="14134" y="6971"/>
                </a:cubicBezTo>
                <a:cubicBezTo>
                  <a:pt x="13808" y="6971"/>
                  <a:pt x="13598" y="7166"/>
                  <a:pt x="13572" y="7494"/>
                </a:cubicBezTo>
                <a:cubicBezTo>
                  <a:pt x="13242" y="11704"/>
                  <a:pt x="13044" y="12909"/>
                  <a:pt x="13042" y="12921"/>
                </a:cubicBezTo>
                <a:lnTo>
                  <a:pt x="13046" y="13020"/>
                </a:lnTo>
                <a:lnTo>
                  <a:pt x="13142" y="13032"/>
                </a:lnTo>
                <a:lnTo>
                  <a:pt x="13172" y="13031"/>
                </a:lnTo>
                <a:cubicBezTo>
                  <a:pt x="13281" y="13031"/>
                  <a:pt x="13386" y="13050"/>
                  <a:pt x="13473" y="13084"/>
                </a:cubicBezTo>
                <a:lnTo>
                  <a:pt x="13579" y="13126"/>
                </a:lnTo>
                <a:lnTo>
                  <a:pt x="13598" y="13012"/>
                </a:lnTo>
                <a:cubicBezTo>
                  <a:pt x="13837" y="11522"/>
                  <a:pt x="14296" y="9525"/>
                  <a:pt x="14542" y="8453"/>
                </a:cubicBezTo>
                <a:cubicBezTo>
                  <a:pt x="14618" y="8121"/>
                  <a:pt x="14675" y="7877"/>
                  <a:pt x="14698" y="7763"/>
                </a:cubicBezTo>
                <a:cubicBezTo>
                  <a:pt x="14745" y="7530"/>
                  <a:pt x="14724" y="7343"/>
                  <a:pt x="14636" y="7206"/>
                </a:cubicBezTo>
                <a:cubicBezTo>
                  <a:pt x="14563" y="7092"/>
                  <a:pt x="14447" y="7018"/>
                  <a:pt x="14291" y="6986"/>
                </a:cubicBezTo>
                <a:moveTo>
                  <a:pt x="13280" y="13606"/>
                </a:moveTo>
                <a:cubicBezTo>
                  <a:pt x="12921" y="13524"/>
                  <a:pt x="12660" y="13682"/>
                  <a:pt x="12569" y="14030"/>
                </a:cubicBezTo>
                <a:cubicBezTo>
                  <a:pt x="12529" y="14187"/>
                  <a:pt x="12549" y="14335"/>
                  <a:pt x="12630" y="14459"/>
                </a:cubicBezTo>
                <a:cubicBezTo>
                  <a:pt x="12706" y="14574"/>
                  <a:pt x="12831" y="14660"/>
                  <a:pt x="12982" y="14701"/>
                </a:cubicBezTo>
                <a:cubicBezTo>
                  <a:pt x="13045" y="14719"/>
                  <a:pt x="13109" y="14728"/>
                  <a:pt x="13172" y="14728"/>
                </a:cubicBezTo>
                <a:cubicBezTo>
                  <a:pt x="13438" y="14728"/>
                  <a:pt x="13639" y="14578"/>
                  <a:pt x="13698" y="14338"/>
                </a:cubicBezTo>
                <a:cubicBezTo>
                  <a:pt x="13741" y="14155"/>
                  <a:pt x="13722" y="13989"/>
                  <a:pt x="13642" y="13858"/>
                </a:cubicBezTo>
                <a:cubicBezTo>
                  <a:pt x="13567" y="13733"/>
                  <a:pt x="13439" y="13643"/>
                  <a:pt x="13280" y="13606"/>
                </a:cubicBezTo>
                <a:moveTo>
                  <a:pt x="13014" y="7028"/>
                </a:moveTo>
                <a:lnTo>
                  <a:pt x="13098" y="6884"/>
                </a:lnTo>
                <a:lnTo>
                  <a:pt x="12931" y="6884"/>
                </a:lnTo>
                <a:lnTo>
                  <a:pt x="12906" y="6887"/>
                </a:lnTo>
                <a:cubicBezTo>
                  <a:pt x="12646" y="6961"/>
                  <a:pt x="12244" y="6961"/>
                  <a:pt x="11983" y="6887"/>
                </a:cubicBezTo>
                <a:lnTo>
                  <a:pt x="11901" y="6884"/>
                </a:lnTo>
                <a:lnTo>
                  <a:pt x="9988" y="10156"/>
                </a:lnTo>
                <a:lnTo>
                  <a:pt x="8067" y="6872"/>
                </a:lnTo>
                <a:lnTo>
                  <a:pt x="8000" y="6890"/>
                </a:lnTo>
                <a:cubicBezTo>
                  <a:pt x="7739" y="6962"/>
                  <a:pt x="7347" y="6961"/>
                  <a:pt x="7088" y="6887"/>
                </a:cubicBezTo>
                <a:lnTo>
                  <a:pt x="6878" y="6884"/>
                </a:lnTo>
                <a:lnTo>
                  <a:pt x="9482" y="11392"/>
                </a:lnTo>
                <a:lnTo>
                  <a:pt x="9404" y="14626"/>
                </a:lnTo>
                <a:lnTo>
                  <a:pt x="9407" y="14722"/>
                </a:lnTo>
                <a:lnTo>
                  <a:pt x="9502" y="14722"/>
                </a:lnTo>
                <a:lnTo>
                  <a:pt x="9526" y="14719"/>
                </a:lnTo>
                <a:cubicBezTo>
                  <a:pt x="9786" y="14645"/>
                  <a:pt x="10190" y="14645"/>
                  <a:pt x="10449" y="14719"/>
                </a:cubicBezTo>
                <a:lnTo>
                  <a:pt x="10573" y="14722"/>
                </a:lnTo>
                <a:lnTo>
                  <a:pt x="10512" y="11390"/>
                </a:lnTo>
                <a:cubicBezTo>
                  <a:pt x="10600" y="11229"/>
                  <a:pt x="11150" y="10205"/>
                  <a:pt x="11738" y="9180"/>
                </a:cubicBezTo>
                <a:cubicBezTo>
                  <a:pt x="12342" y="8126"/>
                  <a:pt x="13008" y="7040"/>
                  <a:pt x="13014" y="702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2881">
            <a:extLst>
              <a:ext uri="{FF2B5EF4-FFF2-40B4-BE49-F238E27FC236}">
                <a16:creationId xmlns:a16="http://schemas.microsoft.com/office/drawing/2014/main" id="{4B1BE5B0-14BA-40DF-B784-0F5174DCF392}"/>
              </a:ext>
            </a:extLst>
          </p:cNvPr>
          <p:cNvSpPr/>
          <p:nvPr/>
        </p:nvSpPr>
        <p:spPr bwMode="gray">
          <a:xfrm>
            <a:off x="6200252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2882">
            <a:extLst>
              <a:ext uri="{FF2B5EF4-FFF2-40B4-BE49-F238E27FC236}">
                <a16:creationId xmlns:a16="http://schemas.microsoft.com/office/drawing/2014/main" id="{A68F9B08-D44A-4288-BC4D-191419B82C37}"/>
              </a:ext>
            </a:extLst>
          </p:cNvPr>
          <p:cNvSpPr/>
          <p:nvPr/>
        </p:nvSpPr>
        <p:spPr bwMode="gray">
          <a:xfrm>
            <a:off x="6754564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2883">
            <a:extLst>
              <a:ext uri="{FF2B5EF4-FFF2-40B4-BE49-F238E27FC236}">
                <a16:creationId xmlns:a16="http://schemas.microsoft.com/office/drawing/2014/main" id="{4D1EEAD1-1E98-4B06-BF0F-4006E2E810D7}"/>
              </a:ext>
            </a:extLst>
          </p:cNvPr>
          <p:cNvSpPr/>
          <p:nvPr/>
        </p:nvSpPr>
        <p:spPr bwMode="gray">
          <a:xfrm>
            <a:off x="7308875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800"/>
                </a:moveTo>
                <a:cubicBezTo>
                  <a:pt x="15709" y="12575"/>
                  <a:pt x="14764" y="14125"/>
                  <a:pt x="13353" y="14987"/>
                </a:cubicBezTo>
                <a:lnTo>
                  <a:pt x="14834" y="10706"/>
                </a:lnTo>
                <a:cubicBezTo>
                  <a:pt x="15118" y="9994"/>
                  <a:pt x="15213" y="9425"/>
                  <a:pt x="15213" y="8918"/>
                </a:cubicBezTo>
                <a:cubicBezTo>
                  <a:pt x="15213" y="8811"/>
                  <a:pt x="15201" y="8718"/>
                  <a:pt x="15194" y="8620"/>
                </a:cubicBezTo>
                <a:cubicBezTo>
                  <a:pt x="15521" y="9277"/>
                  <a:pt x="15709" y="10016"/>
                  <a:pt x="15709" y="10800"/>
                </a:cubicBezTo>
                <a:moveTo>
                  <a:pt x="11488" y="8460"/>
                </a:moveTo>
                <a:cubicBezTo>
                  <a:pt x="11788" y="8444"/>
                  <a:pt x="12059" y="8413"/>
                  <a:pt x="12059" y="8413"/>
                </a:cubicBezTo>
                <a:cubicBezTo>
                  <a:pt x="12328" y="8380"/>
                  <a:pt x="12296" y="7986"/>
                  <a:pt x="12027" y="8001"/>
                </a:cubicBezTo>
                <a:cubicBezTo>
                  <a:pt x="12027" y="8001"/>
                  <a:pt x="11219" y="8065"/>
                  <a:pt x="10697" y="8065"/>
                </a:cubicBezTo>
                <a:cubicBezTo>
                  <a:pt x="10206" y="8065"/>
                  <a:pt x="9382" y="8001"/>
                  <a:pt x="9382" y="8001"/>
                </a:cubicBezTo>
                <a:cubicBezTo>
                  <a:pt x="9113" y="7986"/>
                  <a:pt x="9082" y="8396"/>
                  <a:pt x="9350" y="8413"/>
                </a:cubicBezTo>
                <a:cubicBezTo>
                  <a:pt x="9350" y="8413"/>
                  <a:pt x="9605" y="8444"/>
                  <a:pt x="9874" y="8460"/>
                </a:cubicBezTo>
                <a:lnTo>
                  <a:pt x="10652" y="10591"/>
                </a:lnTo>
                <a:lnTo>
                  <a:pt x="9560" y="13866"/>
                </a:lnTo>
                <a:lnTo>
                  <a:pt x="7742" y="8460"/>
                </a:lnTo>
                <a:cubicBezTo>
                  <a:pt x="8042" y="8444"/>
                  <a:pt x="8313" y="8413"/>
                  <a:pt x="8313" y="8413"/>
                </a:cubicBezTo>
                <a:cubicBezTo>
                  <a:pt x="8582" y="8380"/>
                  <a:pt x="8550" y="7986"/>
                  <a:pt x="8281" y="8001"/>
                </a:cubicBezTo>
                <a:cubicBezTo>
                  <a:pt x="8281" y="8001"/>
                  <a:pt x="7473" y="8065"/>
                  <a:pt x="6951" y="8065"/>
                </a:cubicBezTo>
                <a:cubicBezTo>
                  <a:pt x="6885" y="8065"/>
                  <a:pt x="6804" y="8063"/>
                  <a:pt x="6727" y="8061"/>
                </a:cubicBezTo>
                <a:cubicBezTo>
                  <a:pt x="7608" y="6752"/>
                  <a:pt x="9103" y="5891"/>
                  <a:pt x="10800" y="5891"/>
                </a:cubicBezTo>
                <a:cubicBezTo>
                  <a:pt x="12045" y="5891"/>
                  <a:pt x="13178" y="6358"/>
                  <a:pt x="14044" y="7122"/>
                </a:cubicBezTo>
                <a:cubicBezTo>
                  <a:pt x="13590" y="7157"/>
                  <a:pt x="13299" y="7563"/>
                  <a:pt x="13299" y="8001"/>
                </a:cubicBezTo>
                <a:cubicBezTo>
                  <a:pt x="13299" y="8413"/>
                  <a:pt x="13505" y="8761"/>
                  <a:pt x="13758" y="9172"/>
                </a:cubicBezTo>
                <a:cubicBezTo>
                  <a:pt x="13948" y="9504"/>
                  <a:pt x="14169" y="9931"/>
                  <a:pt x="14169" y="10548"/>
                </a:cubicBezTo>
                <a:cubicBezTo>
                  <a:pt x="14169" y="10975"/>
                  <a:pt x="14005" y="11471"/>
                  <a:pt x="13789" y="12162"/>
                </a:cubicBezTo>
                <a:lnTo>
                  <a:pt x="13291" y="13825"/>
                </a:lnTo>
                <a:cubicBezTo>
                  <a:pt x="13291" y="13825"/>
                  <a:pt x="11488" y="8460"/>
                  <a:pt x="11488" y="8460"/>
                </a:cubicBezTo>
                <a:close/>
                <a:moveTo>
                  <a:pt x="10800" y="15709"/>
                </a:moveTo>
                <a:cubicBezTo>
                  <a:pt x="10319" y="15709"/>
                  <a:pt x="9857" y="15637"/>
                  <a:pt x="9418" y="15508"/>
                </a:cubicBezTo>
                <a:lnTo>
                  <a:pt x="10887" y="11236"/>
                </a:lnTo>
                <a:cubicBezTo>
                  <a:pt x="10887" y="11236"/>
                  <a:pt x="12211" y="14865"/>
                  <a:pt x="12425" y="15428"/>
                </a:cubicBezTo>
                <a:cubicBezTo>
                  <a:pt x="11916" y="15607"/>
                  <a:pt x="11371" y="15709"/>
                  <a:pt x="10800" y="15709"/>
                </a:cubicBezTo>
                <a:moveTo>
                  <a:pt x="5891" y="10800"/>
                </a:moveTo>
                <a:cubicBezTo>
                  <a:pt x="5891" y="10118"/>
                  <a:pt x="6030" y="9470"/>
                  <a:pt x="6281" y="8880"/>
                </a:cubicBezTo>
                <a:lnTo>
                  <a:pt x="8579" y="15174"/>
                </a:lnTo>
                <a:cubicBezTo>
                  <a:pt x="6985" y="14362"/>
                  <a:pt x="5891" y="12711"/>
                  <a:pt x="5891" y="10800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2884">
            <a:extLst>
              <a:ext uri="{FF2B5EF4-FFF2-40B4-BE49-F238E27FC236}">
                <a16:creationId xmlns:a16="http://schemas.microsoft.com/office/drawing/2014/main" id="{1F1AAD99-3D88-4B1D-84F3-6BA19096D25A}"/>
              </a:ext>
            </a:extLst>
          </p:cNvPr>
          <p:cNvSpPr/>
          <p:nvPr/>
        </p:nvSpPr>
        <p:spPr bwMode="gray">
          <a:xfrm>
            <a:off x="7863187" y="3951988"/>
            <a:ext cx="290354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236" y="10309"/>
                </a:moveTo>
                <a:cubicBezTo>
                  <a:pt x="13551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4"/>
                </a:cubicBezTo>
                <a:cubicBezTo>
                  <a:pt x="12783" y="9001"/>
                  <a:pt x="13728" y="8390"/>
                  <a:pt x="14592" y="7682"/>
                </a:cubicBezTo>
                <a:cubicBezTo>
                  <a:pt x="15222" y="8448"/>
                  <a:pt x="15619" y="9407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7" y="12618"/>
                  <a:pt x="12590" y="11483"/>
                </a:cubicBezTo>
                <a:cubicBezTo>
                  <a:pt x="13120" y="11361"/>
                  <a:pt x="13669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8" y="14322"/>
                  <a:pt x="13226" y="15065"/>
                </a:cubicBezTo>
                <a:moveTo>
                  <a:pt x="10800" y="15709"/>
                </a:moveTo>
                <a:cubicBezTo>
                  <a:pt x="9746" y="15709"/>
                  <a:pt x="8772" y="15374"/>
                  <a:pt x="7971" y="14808"/>
                </a:cubicBezTo>
                <a:cubicBezTo>
                  <a:pt x="8822" y="13429"/>
                  <a:pt x="10108" y="12348"/>
                  <a:pt x="11646" y="11768"/>
                </a:cubicBezTo>
                <a:cubicBezTo>
                  <a:pt x="12027" y="12943"/>
                  <a:pt x="12241" y="14191"/>
                  <a:pt x="12264" y="15487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0" y="10800"/>
                  <a:pt x="9312" y="10469"/>
                  <a:pt x="10852" y="9873"/>
                </a:cubicBezTo>
                <a:cubicBezTo>
                  <a:pt x="11015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7" y="7279"/>
                  <a:pt x="9793" y="8098"/>
                  <a:pt x="10353" y="9001"/>
                </a:cubicBezTo>
                <a:cubicBezTo>
                  <a:pt x="8991" y="9509"/>
                  <a:pt x="7526" y="9801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2" y="6982"/>
                </a:cubicBezTo>
                <a:cubicBezTo>
                  <a:pt x="13087" y="7622"/>
                  <a:pt x="12217" y="8174"/>
                  <a:pt x="11282" y="8612"/>
                </a:cubicBezTo>
                <a:cubicBezTo>
                  <a:pt x="10732" y="7702"/>
                  <a:pt x="10073" y="6869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2885">
            <a:extLst>
              <a:ext uri="{FF2B5EF4-FFF2-40B4-BE49-F238E27FC236}">
                <a16:creationId xmlns:a16="http://schemas.microsoft.com/office/drawing/2014/main" id="{DFBE0354-85F7-485A-B62A-2B90C1FEE7CA}"/>
              </a:ext>
            </a:extLst>
          </p:cNvPr>
          <p:cNvSpPr/>
          <p:nvPr/>
        </p:nvSpPr>
        <p:spPr bwMode="gray">
          <a:xfrm>
            <a:off x="8443895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00" y="13698"/>
                </a:moveTo>
                <a:cubicBezTo>
                  <a:pt x="15500" y="14629"/>
                  <a:pt x="14906" y="15067"/>
                  <a:pt x="13996" y="15061"/>
                </a:cubicBezTo>
                <a:cubicBezTo>
                  <a:pt x="13870" y="15061"/>
                  <a:pt x="13731" y="15061"/>
                  <a:pt x="13646" y="15044"/>
                </a:cubicBezTo>
                <a:lnTo>
                  <a:pt x="13646" y="12497"/>
                </a:lnTo>
                <a:cubicBezTo>
                  <a:pt x="13731" y="12480"/>
                  <a:pt x="13877" y="12463"/>
                  <a:pt x="14101" y="12463"/>
                </a:cubicBezTo>
                <a:cubicBezTo>
                  <a:pt x="14966" y="12463"/>
                  <a:pt x="15507" y="12890"/>
                  <a:pt x="15500" y="13698"/>
                </a:cubicBezTo>
                <a:moveTo>
                  <a:pt x="12636" y="11868"/>
                </a:moveTo>
                <a:lnTo>
                  <a:pt x="12636" y="15691"/>
                </a:lnTo>
                <a:cubicBezTo>
                  <a:pt x="12886" y="15720"/>
                  <a:pt x="13256" y="15748"/>
                  <a:pt x="13778" y="15748"/>
                </a:cubicBezTo>
                <a:cubicBezTo>
                  <a:pt x="14649" y="15748"/>
                  <a:pt x="15362" y="15587"/>
                  <a:pt x="15830" y="15246"/>
                </a:cubicBezTo>
                <a:cubicBezTo>
                  <a:pt x="16260" y="14929"/>
                  <a:pt x="16570" y="14415"/>
                  <a:pt x="16570" y="13670"/>
                </a:cubicBezTo>
                <a:cubicBezTo>
                  <a:pt x="16570" y="12982"/>
                  <a:pt x="16279" y="12503"/>
                  <a:pt x="15817" y="12203"/>
                </a:cubicBezTo>
                <a:cubicBezTo>
                  <a:pt x="15388" y="11919"/>
                  <a:pt x="14840" y="11787"/>
                  <a:pt x="13996" y="11787"/>
                </a:cubicBezTo>
                <a:cubicBezTo>
                  <a:pt x="13487" y="11787"/>
                  <a:pt x="13005" y="11815"/>
                  <a:pt x="12636" y="11868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5"/>
                </a:moveTo>
                <a:cubicBezTo>
                  <a:pt x="20400" y="20178"/>
                  <a:pt x="19863" y="20617"/>
                  <a:pt x="19200" y="20617"/>
                </a:cubicBezTo>
                <a:lnTo>
                  <a:pt x="2400" y="20617"/>
                </a:lnTo>
                <a:cubicBezTo>
                  <a:pt x="1738" y="20617"/>
                  <a:pt x="1200" y="20178"/>
                  <a:pt x="1200" y="19635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5"/>
                  <a:pt x="20400" y="19635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8"/>
                  <a:pt x="0" y="1964"/>
                </a:cubicBezTo>
                <a:lnTo>
                  <a:pt x="0" y="19635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5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769" y="13658"/>
                </a:moveTo>
                <a:cubicBezTo>
                  <a:pt x="6624" y="13658"/>
                  <a:pt x="6519" y="13652"/>
                  <a:pt x="6433" y="13635"/>
                </a:cubicBezTo>
                <a:lnTo>
                  <a:pt x="6433" y="12486"/>
                </a:lnTo>
                <a:cubicBezTo>
                  <a:pt x="6505" y="12468"/>
                  <a:pt x="6644" y="12451"/>
                  <a:pt x="6848" y="12451"/>
                </a:cubicBezTo>
                <a:cubicBezTo>
                  <a:pt x="7350" y="12451"/>
                  <a:pt x="7634" y="12665"/>
                  <a:pt x="7634" y="13023"/>
                </a:cubicBezTo>
                <a:cubicBezTo>
                  <a:pt x="7634" y="13421"/>
                  <a:pt x="7304" y="13658"/>
                  <a:pt x="6769" y="13658"/>
                </a:cubicBezTo>
                <a:moveTo>
                  <a:pt x="6796" y="11787"/>
                </a:moveTo>
                <a:cubicBezTo>
                  <a:pt x="6182" y="11787"/>
                  <a:pt x="5746" y="11821"/>
                  <a:pt x="5436" y="11868"/>
                </a:cubicBezTo>
                <a:lnTo>
                  <a:pt x="5436" y="15708"/>
                </a:lnTo>
                <a:lnTo>
                  <a:pt x="6433" y="15708"/>
                </a:lnTo>
                <a:lnTo>
                  <a:pt x="6433" y="14316"/>
                </a:lnTo>
                <a:cubicBezTo>
                  <a:pt x="6524" y="14328"/>
                  <a:pt x="6644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5" y="13704"/>
                  <a:pt x="8630" y="13381"/>
                  <a:pt x="8630" y="13000"/>
                </a:cubicBezTo>
                <a:cubicBezTo>
                  <a:pt x="8630" y="12618"/>
                  <a:pt x="8439" y="12296"/>
                  <a:pt x="8155" y="12099"/>
                </a:cubicBezTo>
                <a:cubicBezTo>
                  <a:pt x="7858" y="11891"/>
                  <a:pt x="7416" y="11787"/>
                  <a:pt x="6796" y="11787"/>
                </a:cubicBezTo>
                <a:moveTo>
                  <a:pt x="10765" y="13398"/>
                </a:moveTo>
                <a:cubicBezTo>
                  <a:pt x="10191" y="13208"/>
                  <a:pt x="9940" y="13098"/>
                  <a:pt x="9940" y="12850"/>
                </a:cubicBezTo>
                <a:cubicBezTo>
                  <a:pt x="9940" y="12648"/>
                  <a:pt x="10151" y="12474"/>
                  <a:pt x="10587" y="12474"/>
                </a:cubicBezTo>
                <a:cubicBezTo>
                  <a:pt x="11023" y="12474"/>
                  <a:pt x="11339" y="12583"/>
                  <a:pt x="11517" y="12659"/>
                </a:cubicBezTo>
                <a:lnTo>
                  <a:pt x="11742" y="11949"/>
                </a:lnTo>
                <a:cubicBezTo>
                  <a:pt x="11478" y="11845"/>
                  <a:pt x="11108" y="11752"/>
                  <a:pt x="10607" y="11752"/>
                </a:cubicBezTo>
                <a:cubicBezTo>
                  <a:pt x="9558" y="11752"/>
                  <a:pt x="8924" y="12260"/>
                  <a:pt x="8924" y="12924"/>
                </a:cubicBezTo>
                <a:cubicBezTo>
                  <a:pt x="8924" y="13490"/>
                  <a:pt x="9405" y="13849"/>
                  <a:pt x="10145" y="14074"/>
                </a:cubicBezTo>
                <a:cubicBezTo>
                  <a:pt x="10679" y="14241"/>
                  <a:pt x="10891" y="14380"/>
                  <a:pt x="10891" y="14623"/>
                </a:cubicBezTo>
                <a:cubicBezTo>
                  <a:pt x="10891" y="14877"/>
                  <a:pt x="10646" y="15044"/>
                  <a:pt x="10184" y="15044"/>
                </a:cubicBezTo>
                <a:cubicBezTo>
                  <a:pt x="9755" y="15044"/>
                  <a:pt x="9339" y="14923"/>
                  <a:pt x="9069" y="14802"/>
                </a:cubicBezTo>
                <a:lnTo>
                  <a:pt x="8864" y="15529"/>
                </a:lnTo>
                <a:cubicBezTo>
                  <a:pt x="9115" y="15651"/>
                  <a:pt x="9616" y="15766"/>
                  <a:pt x="10124" y="15766"/>
                </a:cubicBezTo>
                <a:cubicBezTo>
                  <a:pt x="11346" y="15766"/>
                  <a:pt x="11920" y="15211"/>
                  <a:pt x="11920" y="14559"/>
                </a:cubicBezTo>
                <a:cubicBezTo>
                  <a:pt x="11920" y="14010"/>
                  <a:pt x="11551" y="13652"/>
                  <a:pt x="10765" y="13398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2886">
            <a:extLst>
              <a:ext uri="{FF2B5EF4-FFF2-40B4-BE49-F238E27FC236}">
                <a16:creationId xmlns:a16="http://schemas.microsoft.com/office/drawing/2014/main" id="{FCBAF83E-8599-46C7-A25B-B6D0366FC0BE}"/>
              </a:ext>
            </a:extLst>
          </p:cNvPr>
          <p:cNvSpPr/>
          <p:nvPr/>
        </p:nvSpPr>
        <p:spPr bwMode="gray">
          <a:xfrm>
            <a:off x="8998207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36" y="15709"/>
                </a:moveTo>
                <a:lnTo>
                  <a:pt x="13646" y="15709"/>
                </a:lnTo>
                <a:lnTo>
                  <a:pt x="13646" y="11816"/>
                </a:lnTo>
                <a:lnTo>
                  <a:pt x="12636" y="11816"/>
                </a:lnTo>
                <a:cubicBezTo>
                  <a:pt x="12636" y="11816"/>
                  <a:pt x="12636" y="15709"/>
                  <a:pt x="126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9618" y="14051"/>
                </a:moveTo>
                <a:lnTo>
                  <a:pt x="9881" y="13225"/>
                </a:lnTo>
                <a:cubicBezTo>
                  <a:pt x="9954" y="13000"/>
                  <a:pt x="10020" y="12706"/>
                  <a:pt x="10086" y="12475"/>
                </a:cubicBezTo>
                <a:lnTo>
                  <a:pt x="10099" y="12475"/>
                </a:lnTo>
                <a:cubicBezTo>
                  <a:pt x="10165" y="12706"/>
                  <a:pt x="10245" y="12994"/>
                  <a:pt x="10324" y="13225"/>
                </a:cubicBezTo>
                <a:lnTo>
                  <a:pt x="10601" y="14051"/>
                </a:lnTo>
                <a:cubicBezTo>
                  <a:pt x="10601" y="14051"/>
                  <a:pt x="9618" y="14051"/>
                  <a:pt x="9618" y="14051"/>
                </a:cubicBezTo>
                <a:close/>
                <a:moveTo>
                  <a:pt x="9472" y="11816"/>
                </a:moveTo>
                <a:lnTo>
                  <a:pt x="8113" y="15709"/>
                </a:lnTo>
                <a:lnTo>
                  <a:pt x="9155" y="15709"/>
                </a:lnTo>
                <a:lnTo>
                  <a:pt x="9472" y="14710"/>
                </a:lnTo>
                <a:lnTo>
                  <a:pt x="10746" y="14710"/>
                </a:lnTo>
                <a:lnTo>
                  <a:pt x="11089" y="15709"/>
                </a:lnTo>
                <a:lnTo>
                  <a:pt x="12172" y="15709"/>
                </a:lnTo>
                <a:lnTo>
                  <a:pt x="10792" y="11816"/>
                </a:lnTo>
                <a:cubicBezTo>
                  <a:pt x="10792" y="11816"/>
                  <a:pt x="9472" y="11816"/>
                  <a:pt x="9472" y="11816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2887">
            <a:extLst>
              <a:ext uri="{FF2B5EF4-FFF2-40B4-BE49-F238E27FC236}">
                <a16:creationId xmlns:a16="http://schemas.microsoft.com/office/drawing/2014/main" id="{00B52F3B-BE8F-4228-AF9F-8EF0CDA51172}"/>
              </a:ext>
            </a:extLst>
          </p:cNvPr>
          <p:cNvSpPr/>
          <p:nvPr/>
        </p:nvSpPr>
        <p:spPr bwMode="gray">
          <a:xfrm>
            <a:off x="9552519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836" y="15709"/>
                </a:moveTo>
                <a:lnTo>
                  <a:pt x="14845" y="15709"/>
                </a:lnTo>
                <a:lnTo>
                  <a:pt x="14845" y="14144"/>
                </a:lnTo>
                <a:lnTo>
                  <a:pt x="16443" y="14144"/>
                </a:lnTo>
                <a:lnTo>
                  <a:pt x="16443" y="13428"/>
                </a:lnTo>
                <a:lnTo>
                  <a:pt x="14845" y="13428"/>
                </a:lnTo>
                <a:lnTo>
                  <a:pt x="14845" y="12538"/>
                </a:lnTo>
                <a:lnTo>
                  <a:pt x="16555" y="12538"/>
                </a:lnTo>
                <a:lnTo>
                  <a:pt x="16555" y="11816"/>
                </a:lnTo>
                <a:lnTo>
                  <a:pt x="13836" y="11816"/>
                </a:lnTo>
                <a:cubicBezTo>
                  <a:pt x="13836" y="11816"/>
                  <a:pt x="13836" y="15709"/>
                  <a:pt x="138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0396" y="15062"/>
                </a:moveTo>
                <a:cubicBezTo>
                  <a:pt x="10270" y="15062"/>
                  <a:pt x="10131" y="15062"/>
                  <a:pt x="10045" y="15045"/>
                </a:cubicBezTo>
                <a:lnTo>
                  <a:pt x="10045" y="12498"/>
                </a:lnTo>
                <a:cubicBezTo>
                  <a:pt x="10131" y="12480"/>
                  <a:pt x="10277" y="12463"/>
                  <a:pt x="10501" y="12463"/>
                </a:cubicBezTo>
                <a:cubicBezTo>
                  <a:pt x="11366" y="12463"/>
                  <a:pt x="11907" y="12891"/>
                  <a:pt x="11900" y="13699"/>
                </a:cubicBezTo>
                <a:cubicBezTo>
                  <a:pt x="11900" y="14629"/>
                  <a:pt x="11306" y="15068"/>
                  <a:pt x="10396" y="15062"/>
                </a:cubicBezTo>
                <a:moveTo>
                  <a:pt x="10396" y="11787"/>
                </a:moveTo>
                <a:cubicBezTo>
                  <a:pt x="9887" y="11787"/>
                  <a:pt x="9405" y="11816"/>
                  <a:pt x="9036" y="11868"/>
                </a:cubicBezTo>
                <a:lnTo>
                  <a:pt x="9036" y="15691"/>
                </a:lnTo>
                <a:cubicBezTo>
                  <a:pt x="9287" y="15720"/>
                  <a:pt x="9656" y="15749"/>
                  <a:pt x="10178" y="15749"/>
                </a:cubicBezTo>
                <a:cubicBezTo>
                  <a:pt x="11048" y="15749"/>
                  <a:pt x="11762" y="15587"/>
                  <a:pt x="12231" y="15246"/>
                </a:cubicBezTo>
                <a:cubicBezTo>
                  <a:pt x="12660" y="14929"/>
                  <a:pt x="12970" y="14415"/>
                  <a:pt x="12970" y="13670"/>
                </a:cubicBezTo>
                <a:cubicBezTo>
                  <a:pt x="12970" y="12983"/>
                  <a:pt x="12680" y="12503"/>
                  <a:pt x="12217" y="12203"/>
                </a:cubicBezTo>
                <a:cubicBezTo>
                  <a:pt x="11788" y="11920"/>
                  <a:pt x="11241" y="11787"/>
                  <a:pt x="10396" y="11787"/>
                </a:cubicBezTo>
                <a:moveTo>
                  <a:pt x="6769" y="13659"/>
                </a:moveTo>
                <a:cubicBezTo>
                  <a:pt x="6623" y="13659"/>
                  <a:pt x="6518" y="13653"/>
                  <a:pt x="6432" y="13636"/>
                </a:cubicBezTo>
                <a:lnTo>
                  <a:pt x="6432" y="12486"/>
                </a:lnTo>
                <a:cubicBezTo>
                  <a:pt x="6505" y="12469"/>
                  <a:pt x="6643" y="12452"/>
                  <a:pt x="6848" y="12452"/>
                </a:cubicBezTo>
                <a:cubicBezTo>
                  <a:pt x="7350" y="12452"/>
                  <a:pt x="7634" y="12665"/>
                  <a:pt x="7634" y="13023"/>
                </a:cubicBezTo>
                <a:cubicBezTo>
                  <a:pt x="7634" y="13422"/>
                  <a:pt x="7304" y="13659"/>
                  <a:pt x="6769" y="13659"/>
                </a:cubicBezTo>
                <a:moveTo>
                  <a:pt x="6796" y="11787"/>
                </a:moveTo>
                <a:cubicBezTo>
                  <a:pt x="6182" y="11787"/>
                  <a:pt x="5746" y="11822"/>
                  <a:pt x="5436" y="11868"/>
                </a:cubicBezTo>
                <a:lnTo>
                  <a:pt x="5436" y="15709"/>
                </a:lnTo>
                <a:lnTo>
                  <a:pt x="6432" y="15709"/>
                </a:lnTo>
                <a:lnTo>
                  <a:pt x="6432" y="14317"/>
                </a:lnTo>
                <a:cubicBezTo>
                  <a:pt x="6525" y="14328"/>
                  <a:pt x="6643" y="14334"/>
                  <a:pt x="6776" y="14334"/>
                </a:cubicBezTo>
                <a:cubicBezTo>
                  <a:pt x="7370" y="14334"/>
                  <a:pt x="7878" y="14207"/>
                  <a:pt x="8221" y="13924"/>
                </a:cubicBezTo>
                <a:cubicBezTo>
                  <a:pt x="8486" y="13705"/>
                  <a:pt x="8631" y="13381"/>
                  <a:pt x="8631" y="13000"/>
                </a:cubicBezTo>
                <a:cubicBezTo>
                  <a:pt x="8631" y="12619"/>
                  <a:pt x="8439" y="12296"/>
                  <a:pt x="8155" y="12099"/>
                </a:cubicBezTo>
                <a:cubicBezTo>
                  <a:pt x="7859" y="11892"/>
                  <a:pt x="7416" y="11787"/>
                  <a:pt x="6796" y="11787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2888">
            <a:extLst>
              <a:ext uri="{FF2B5EF4-FFF2-40B4-BE49-F238E27FC236}">
                <a16:creationId xmlns:a16="http://schemas.microsoft.com/office/drawing/2014/main" id="{DFC5B479-09DB-4843-AB96-F4DEEDEB0990}"/>
              </a:ext>
            </a:extLst>
          </p:cNvPr>
          <p:cNvSpPr/>
          <p:nvPr/>
        </p:nvSpPr>
        <p:spPr bwMode="gray">
          <a:xfrm>
            <a:off x="10106831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36" y="15709"/>
                </a:moveTo>
                <a:lnTo>
                  <a:pt x="13945" y="15709"/>
                </a:lnTo>
                <a:lnTo>
                  <a:pt x="13945" y="14144"/>
                </a:lnTo>
                <a:lnTo>
                  <a:pt x="15543" y="14144"/>
                </a:lnTo>
                <a:lnTo>
                  <a:pt x="15543" y="13428"/>
                </a:lnTo>
                <a:lnTo>
                  <a:pt x="13945" y="13428"/>
                </a:lnTo>
                <a:lnTo>
                  <a:pt x="13945" y="12538"/>
                </a:lnTo>
                <a:lnTo>
                  <a:pt x="15655" y="12538"/>
                </a:lnTo>
                <a:lnTo>
                  <a:pt x="15655" y="11816"/>
                </a:lnTo>
                <a:lnTo>
                  <a:pt x="12936" y="11816"/>
                </a:lnTo>
                <a:cubicBezTo>
                  <a:pt x="12936" y="11816"/>
                  <a:pt x="12936" y="15709"/>
                  <a:pt x="12936" y="15709"/>
                </a:cubicBezTo>
                <a:close/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1136" y="15709"/>
                </a:moveTo>
                <a:lnTo>
                  <a:pt x="12145" y="15709"/>
                </a:lnTo>
                <a:lnTo>
                  <a:pt x="12145" y="11816"/>
                </a:lnTo>
                <a:lnTo>
                  <a:pt x="11136" y="11816"/>
                </a:lnTo>
                <a:cubicBezTo>
                  <a:pt x="11136" y="11816"/>
                  <a:pt x="11136" y="15709"/>
                  <a:pt x="11136" y="15709"/>
                </a:cubicBezTo>
                <a:close/>
                <a:moveTo>
                  <a:pt x="8395" y="14167"/>
                </a:moveTo>
                <a:lnTo>
                  <a:pt x="9082" y="14167"/>
                </a:lnTo>
                <a:lnTo>
                  <a:pt x="9082" y="14981"/>
                </a:lnTo>
                <a:cubicBezTo>
                  <a:pt x="9002" y="15015"/>
                  <a:pt x="8818" y="15039"/>
                  <a:pt x="8586" y="15039"/>
                </a:cubicBezTo>
                <a:cubicBezTo>
                  <a:pt x="7761" y="15039"/>
                  <a:pt x="7187" y="14565"/>
                  <a:pt x="7187" y="13762"/>
                </a:cubicBezTo>
                <a:cubicBezTo>
                  <a:pt x="7187" y="12919"/>
                  <a:pt x="7821" y="12503"/>
                  <a:pt x="8659" y="12503"/>
                </a:cubicBezTo>
                <a:cubicBezTo>
                  <a:pt x="9148" y="12503"/>
                  <a:pt x="9451" y="12579"/>
                  <a:pt x="9696" y="12672"/>
                </a:cubicBezTo>
                <a:lnTo>
                  <a:pt x="9907" y="11966"/>
                </a:lnTo>
                <a:cubicBezTo>
                  <a:pt x="9689" y="11874"/>
                  <a:pt x="9247" y="11776"/>
                  <a:pt x="8672" y="11776"/>
                </a:cubicBezTo>
                <a:cubicBezTo>
                  <a:pt x="7213" y="11776"/>
                  <a:pt x="6138" y="12515"/>
                  <a:pt x="6131" y="13809"/>
                </a:cubicBezTo>
                <a:cubicBezTo>
                  <a:pt x="6124" y="14381"/>
                  <a:pt x="6349" y="14888"/>
                  <a:pt x="6758" y="15223"/>
                </a:cubicBezTo>
                <a:cubicBezTo>
                  <a:pt x="7167" y="15570"/>
                  <a:pt x="7755" y="15749"/>
                  <a:pt x="8566" y="15749"/>
                </a:cubicBezTo>
                <a:cubicBezTo>
                  <a:pt x="9155" y="15749"/>
                  <a:pt x="9742" y="15622"/>
                  <a:pt x="10052" y="15530"/>
                </a:cubicBezTo>
                <a:lnTo>
                  <a:pt x="10052" y="13479"/>
                </a:lnTo>
                <a:lnTo>
                  <a:pt x="8395" y="13479"/>
                </a:lnTo>
                <a:cubicBezTo>
                  <a:pt x="8395" y="13479"/>
                  <a:pt x="8395" y="14167"/>
                  <a:pt x="8395" y="14167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2889">
            <a:extLst>
              <a:ext uri="{FF2B5EF4-FFF2-40B4-BE49-F238E27FC236}">
                <a16:creationId xmlns:a16="http://schemas.microsoft.com/office/drawing/2014/main" id="{91A14080-C401-46ED-9686-CAD4A5A5020E}"/>
              </a:ext>
            </a:extLst>
          </p:cNvPr>
          <p:cNvSpPr/>
          <p:nvPr/>
        </p:nvSpPr>
        <p:spPr bwMode="gray">
          <a:xfrm>
            <a:off x="10661143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69" y="13659"/>
                </a:moveTo>
                <a:cubicBezTo>
                  <a:pt x="9923" y="13659"/>
                  <a:pt x="9818" y="13653"/>
                  <a:pt x="9732" y="13636"/>
                </a:cubicBezTo>
                <a:lnTo>
                  <a:pt x="9732" y="12486"/>
                </a:lnTo>
                <a:cubicBezTo>
                  <a:pt x="9805" y="12469"/>
                  <a:pt x="9943" y="12452"/>
                  <a:pt x="10148" y="12452"/>
                </a:cubicBezTo>
                <a:cubicBezTo>
                  <a:pt x="10650" y="12452"/>
                  <a:pt x="10934" y="12665"/>
                  <a:pt x="10934" y="13023"/>
                </a:cubicBezTo>
                <a:cubicBezTo>
                  <a:pt x="10934" y="13422"/>
                  <a:pt x="10604" y="13659"/>
                  <a:pt x="10069" y="13659"/>
                </a:cubicBezTo>
                <a:moveTo>
                  <a:pt x="10096" y="11787"/>
                </a:moveTo>
                <a:cubicBezTo>
                  <a:pt x="9481" y="11787"/>
                  <a:pt x="9046" y="11822"/>
                  <a:pt x="8736" y="11869"/>
                </a:cubicBezTo>
                <a:lnTo>
                  <a:pt x="8736" y="15709"/>
                </a:lnTo>
                <a:lnTo>
                  <a:pt x="9732" y="15709"/>
                </a:lnTo>
                <a:lnTo>
                  <a:pt x="9732" y="14317"/>
                </a:lnTo>
                <a:cubicBezTo>
                  <a:pt x="9825" y="14328"/>
                  <a:pt x="9943" y="14334"/>
                  <a:pt x="10076" y="14334"/>
                </a:cubicBezTo>
                <a:cubicBezTo>
                  <a:pt x="10670" y="14334"/>
                  <a:pt x="11178" y="14207"/>
                  <a:pt x="11521" y="13924"/>
                </a:cubicBezTo>
                <a:cubicBezTo>
                  <a:pt x="11786" y="13705"/>
                  <a:pt x="11931" y="13382"/>
                  <a:pt x="11931" y="13000"/>
                </a:cubicBezTo>
                <a:cubicBezTo>
                  <a:pt x="11931" y="12619"/>
                  <a:pt x="11739" y="12296"/>
                  <a:pt x="11455" y="12099"/>
                </a:cubicBezTo>
                <a:cubicBezTo>
                  <a:pt x="11159" y="11891"/>
                  <a:pt x="10716" y="11787"/>
                  <a:pt x="10096" y="11787"/>
                </a:cubicBezTo>
                <a:moveTo>
                  <a:pt x="12131" y="13809"/>
                </a:moveTo>
                <a:cubicBezTo>
                  <a:pt x="12124" y="14381"/>
                  <a:pt x="12349" y="14888"/>
                  <a:pt x="12758" y="15224"/>
                </a:cubicBezTo>
                <a:cubicBezTo>
                  <a:pt x="13167" y="15571"/>
                  <a:pt x="13755" y="15749"/>
                  <a:pt x="14566" y="15749"/>
                </a:cubicBezTo>
                <a:cubicBezTo>
                  <a:pt x="15155" y="15749"/>
                  <a:pt x="15742" y="15622"/>
                  <a:pt x="16052" y="15530"/>
                </a:cubicBezTo>
                <a:lnTo>
                  <a:pt x="16052" y="13479"/>
                </a:lnTo>
                <a:lnTo>
                  <a:pt x="14395" y="13479"/>
                </a:lnTo>
                <a:lnTo>
                  <a:pt x="14395" y="14167"/>
                </a:lnTo>
                <a:lnTo>
                  <a:pt x="15081" y="14167"/>
                </a:lnTo>
                <a:lnTo>
                  <a:pt x="15081" y="14981"/>
                </a:lnTo>
                <a:cubicBezTo>
                  <a:pt x="15002" y="15015"/>
                  <a:pt x="14818" y="15039"/>
                  <a:pt x="14586" y="15039"/>
                </a:cubicBezTo>
                <a:cubicBezTo>
                  <a:pt x="13761" y="15039"/>
                  <a:pt x="13187" y="14566"/>
                  <a:pt x="13187" y="13762"/>
                </a:cubicBezTo>
                <a:cubicBezTo>
                  <a:pt x="13187" y="12919"/>
                  <a:pt x="13821" y="12503"/>
                  <a:pt x="14659" y="12503"/>
                </a:cubicBezTo>
                <a:cubicBezTo>
                  <a:pt x="15148" y="12503"/>
                  <a:pt x="15451" y="12579"/>
                  <a:pt x="15696" y="12671"/>
                </a:cubicBezTo>
                <a:lnTo>
                  <a:pt x="15906" y="11966"/>
                </a:lnTo>
                <a:cubicBezTo>
                  <a:pt x="15689" y="11874"/>
                  <a:pt x="15247" y="11776"/>
                  <a:pt x="14672" y="11776"/>
                </a:cubicBezTo>
                <a:cubicBezTo>
                  <a:pt x="13213" y="11776"/>
                  <a:pt x="12138" y="12515"/>
                  <a:pt x="12131" y="13809"/>
                </a:cubicBezTo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3" y="20618"/>
                  <a:pt x="19200" y="20618"/>
                </a:cubicBezTo>
                <a:lnTo>
                  <a:pt x="2400" y="20618"/>
                </a:lnTo>
                <a:cubicBezTo>
                  <a:pt x="1737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1"/>
                  <a:pt x="1737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7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6606" y="14265"/>
                </a:moveTo>
                <a:cubicBezTo>
                  <a:pt x="6606" y="14872"/>
                  <a:pt x="6343" y="15039"/>
                  <a:pt x="5920" y="15039"/>
                </a:cubicBezTo>
                <a:cubicBezTo>
                  <a:pt x="5722" y="15039"/>
                  <a:pt x="5544" y="15010"/>
                  <a:pt x="5406" y="14969"/>
                </a:cubicBezTo>
                <a:lnTo>
                  <a:pt x="5293" y="15680"/>
                </a:lnTo>
                <a:cubicBezTo>
                  <a:pt x="5491" y="15738"/>
                  <a:pt x="5795" y="15773"/>
                  <a:pt x="6026" y="15773"/>
                </a:cubicBezTo>
                <a:cubicBezTo>
                  <a:pt x="7003" y="15773"/>
                  <a:pt x="7610" y="15385"/>
                  <a:pt x="7610" y="14276"/>
                </a:cubicBezTo>
                <a:lnTo>
                  <a:pt x="7610" y="11816"/>
                </a:lnTo>
                <a:lnTo>
                  <a:pt x="6606" y="11816"/>
                </a:lnTo>
                <a:cubicBezTo>
                  <a:pt x="6606" y="11816"/>
                  <a:pt x="6606" y="14265"/>
                  <a:pt x="6606" y="14265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Shape 2890">
            <a:extLst>
              <a:ext uri="{FF2B5EF4-FFF2-40B4-BE49-F238E27FC236}">
                <a16:creationId xmlns:a16="http://schemas.microsoft.com/office/drawing/2014/main" id="{25F44926-03EC-42F4-9C88-F915A0CC46C8}"/>
              </a:ext>
            </a:extLst>
          </p:cNvPr>
          <p:cNvSpPr/>
          <p:nvPr/>
        </p:nvSpPr>
        <p:spPr bwMode="gray">
          <a:xfrm>
            <a:off x="11215454" y="3951988"/>
            <a:ext cx="237563" cy="290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5891"/>
                </a:moveTo>
                <a:lnTo>
                  <a:pt x="14400" y="982"/>
                </a:lnTo>
                <a:lnTo>
                  <a:pt x="15000" y="982"/>
                </a:lnTo>
                <a:lnTo>
                  <a:pt x="20400" y="5891"/>
                </a:lnTo>
                <a:cubicBezTo>
                  <a:pt x="20400" y="5891"/>
                  <a:pt x="14400" y="5891"/>
                  <a:pt x="14400" y="5891"/>
                </a:cubicBezTo>
                <a:close/>
                <a:moveTo>
                  <a:pt x="20400" y="19636"/>
                </a:moveTo>
                <a:cubicBezTo>
                  <a:pt x="20400" y="20179"/>
                  <a:pt x="19862" y="20618"/>
                  <a:pt x="19200" y="20618"/>
                </a:cubicBezTo>
                <a:lnTo>
                  <a:pt x="2400" y="20618"/>
                </a:lnTo>
                <a:cubicBezTo>
                  <a:pt x="1738" y="20618"/>
                  <a:pt x="1200" y="20179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13200" y="982"/>
                </a:lnTo>
                <a:lnTo>
                  <a:pt x="13200" y="5891"/>
                </a:lnTo>
                <a:cubicBezTo>
                  <a:pt x="13200" y="6433"/>
                  <a:pt x="13738" y="6872"/>
                  <a:pt x="14400" y="6872"/>
                </a:cubicBezTo>
                <a:lnTo>
                  <a:pt x="20400" y="6872"/>
                </a:lnTo>
                <a:cubicBezTo>
                  <a:pt x="20400" y="6872"/>
                  <a:pt x="20400" y="19636"/>
                  <a:pt x="20400" y="19636"/>
                </a:cubicBezTo>
                <a:close/>
                <a:moveTo>
                  <a:pt x="156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1"/>
                  <a:pt x="21600" y="19636"/>
                </a:cubicBezTo>
                <a:lnTo>
                  <a:pt x="21600" y="5400"/>
                </a:lnTo>
                <a:cubicBezTo>
                  <a:pt x="21600" y="5400"/>
                  <a:pt x="15600" y="0"/>
                  <a:pt x="15600" y="0"/>
                </a:cubicBezTo>
                <a:close/>
                <a:moveTo>
                  <a:pt x="13031" y="13809"/>
                </a:moveTo>
                <a:cubicBezTo>
                  <a:pt x="13024" y="14381"/>
                  <a:pt x="13249" y="14888"/>
                  <a:pt x="13658" y="15223"/>
                </a:cubicBezTo>
                <a:cubicBezTo>
                  <a:pt x="14067" y="15570"/>
                  <a:pt x="14655" y="15749"/>
                  <a:pt x="15467" y="15749"/>
                </a:cubicBezTo>
                <a:cubicBezTo>
                  <a:pt x="16054" y="15749"/>
                  <a:pt x="16642" y="15622"/>
                  <a:pt x="16952" y="15530"/>
                </a:cubicBezTo>
                <a:lnTo>
                  <a:pt x="16952" y="13479"/>
                </a:lnTo>
                <a:lnTo>
                  <a:pt x="15295" y="13479"/>
                </a:lnTo>
                <a:lnTo>
                  <a:pt x="15295" y="14167"/>
                </a:lnTo>
                <a:lnTo>
                  <a:pt x="15981" y="14167"/>
                </a:lnTo>
                <a:lnTo>
                  <a:pt x="15981" y="14981"/>
                </a:lnTo>
                <a:cubicBezTo>
                  <a:pt x="15902" y="15015"/>
                  <a:pt x="15718" y="15039"/>
                  <a:pt x="15486" y="15039"/>
                </a:cubicBezTo>
                <a:cubicBezTo>
                  <a:pt x="14661" y="15039"/>
                  <a:pt x="14087" y="14565"/>
                  <a:pt x="14087" y="13762"/>
                </a:cubicBezTo>
                <a:cubicBezTo>
                  <a:pt x="14087" y="12919"/>
                  <a:pt x="14721" y="12503"/>
                  <a:pt x="15559" y="12503"/>
                </a:cubicBezTo>
                <a:cubicBezTo>
                  <a:pt x="16048" y="12503"/>
                  <a:pt x="16351" y="12579"/>
                  <a:pt x="16596" y="12671"/>
                </a:cubicBezTo>
                <a:lnTo>
                  <a:pt x="16807" y="11966"/>
                </a:lnTo>
                <a:cubicBezTo>
                  <a:pt x="16589" y="11874"/>
                  <a:pt x="16147" y="11776"/>
                  <a:pt x="15572" y="11776"/>
                </a:cubicBezTo>
                <a:cubicBezTo>
                  <a:pt x="14113" y="11776"/>
                  <a:pt x="13037" y="12515"/>
                  <a:pt x="13031" y="13809"/>
                </a:cubicBezTo>
                <a:moveTo>
                  <a:pt x="6169" y="13659"/>
                </a:moveTo>
                <a:cubicBezTo>
                  <a:pt x="6023" y="13659"/>
                  <a:pt x="5918" y="13653"/>
                  <a:pt x="5832" y="13636"/>
                </a:cubicBezTo>
                <a:lnTo>
                  <a:pt x="5832" y="12486"/>
                </a:lnTo>
                <a:cubicBezTo>
                  <a:pt x="5905" y="12469"/>
                  <a:pt x="6043" y="12452"/>
                  <a:pt x="6248" y="12452"/>
                </a:cubicBezTo>
                <a:cubicBezTo>
                  <a:pt x="6750" y="12452"/>
                  <a:pt x="7034" y="12665"/>
                  <a:pt x="7034" y="13023"/>
                </a:cubicBezTo>
                <a:cubicBezTo>
                  <a:pt x="7034" y="13422"/>
                  <a:pt x="6704" y="13659"/>
                  <a:pt x="6169" y="13659"/>
                </a:cubicBezTo>
                <a:moveTo>
                  <a:pt x="6196" y="11787"/>
                </a:moveTo>
                <a:cubicBezTo>
                  <a:pt x="5582" y="11787"/>
                  <a:pt x="5146" y="11822"/>
                  <a:pt x="4836" y="11868"/>
                </a:cubicBezTo>
                <a:lnTo>
                  <a:pt x="4836" y="15709"/>
                </a:lnTo>
                <a:lnTo>
                  <a:pt x="5832" y="15709"/>
                </a:lnTo>
                <a:lnTo>
                  <a:pt x="5832" y="14317"/>
                </a:lnTo>
                <a:cubicBezTo>
                  <a:pt x="5925" y="14328"/>
                  <a:pt x="6043" y="14334"/>
                  <a:pt x="6176" y="14334"/>
                </a:cubicBezTo>
                <a:cubicBezTo>
                  <a:pt x="6770" y="14334"/>
                  <a:pt x="7278" y="14207"/>
                  <a:pt x="7621" y="13924"/>
                </a:cubicBezTo>
                <a:cubicBezTo>
                  <a:pt x="7886" y="13705"/>
                  <a:pt x="8031" y="13381"/>
                  <a:pt x="8031" y="13000"/>
                </a:cubicBezTo>
                <a:cubicBezTo>
                  <a:pt x="8031" y="12619"/>
                  <a:pt x="7839" y="12296"/>
                  <a:pt x="7555" y="12099"/>
                </a:cubicBezTo>
                <a:cubicBezTo>
                  <a:pt x="7259" y="11892"/>
                  <a:pt x="6816" y="11787"/>
                  <a:pt x="6196" y="11787"/>
                </a:cubicBezTo>
                <a:moveTo>
                  <a:pt x="11195" y="12954"/>
                </a:moveTo>
                <a:cubicBezTo>
                  <a:pt x="11195" y="13537"/>
                  <a:pt x="11215" y="14063"/>
                  <a:pt x="11280" y="14577"/>
                </a:cubicBezTo>
                <a:lnTo>
                  <a:pt x="11261" y="14577"/>
                </a:lnTo>
                <a:cubicBezTo>
                  <a:pt x="11062" y="14138"/>
                  <a:pt x="10799" y="13653"/>
                  <a:pt x="10535" y="13243"/>
                </a:cubicBezTo>
                <a:lnTo>
                  <a:pt x="9611" y="11816"/>
                </a:lnTo>
                <a:lnTo>
                  <a:pt x="8436" y="11816"/>
                </a:lnTo>
                <a:lnTo>
                  <a:pt x="8436" y="15709"/>
                </a:lnTo>
                <a:lnTo>
                  <a:pt x="9360" y="15709"/>
                </a:lnTo>
                <a:lnTo>
                  <a:pt x="9360" y="14536"/>
                </a:lnTo>
                <a:cubicBezTo>
                  <a:pt x="9360" y="13901"/>
                  <a:pt x="9347" y="13352"/>
                  <a:pt x="9320" y="12838"/>
                </a:cubicBezTo>
                <a:lnTo>
                  <a:pt x="9340" y="12833"/>
                </a:lnTo>
                <a:cubicBezTo>
                  <a:pt x="9558" y="13289"/>
                  <a:pt x="9848" y="13791"/>
                  <a:pt x="10112" y="14207"/>
                </a:cubicBezTo>
                <a:lnTo>
                  <a:pt x="11062" y="15709"/>
                </a:lnTo>
                <a:lnTo>
                  <a:pt x="12119" y="15709"/>
                </a:lnTo>
                <a:lnTo>
                  <a:pt x="12119" y="11816"/>
                </a:lnTo>
                <a:lnTo>
                  <a:pt x="11195" y="11816"/>
                </a:lnTo>
                <a:cubicBezTo>
                  <a:pt x="11195" y="11816"/>
                  <a:pt x="11195" y="12954"/>
                  <a:pt x="11195" y="12954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4572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55BB41-2AEC-4A4E-88D2-1D8E4D4B9B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0327814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4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4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Arrows, Location &amp; Weather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0ED2BE2-F629-4888-8C6E-18CC987623AC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1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D3CC9DCC-FCC7-4E76-B25E-38D231D9EAEA}"/>
              </a:ext>
            </a:extLst>
          </p:cNvPr>
          <p:cNvGrpSpPr/>
          <p:nvPr/>
        </p:nvGrpSpPr>
        <p:grpSpPr bwMode="gray">
          <a:xfrm>
            <a:off x="607895" y="1759045"/>
            <a:ext cx="10807436" cy="2052075"/>
            <a:chOff x="607895" y="1759045"/>
            <a:chExt cx="10807436" cy="2052075"/>
          </a:xfrm>
        </p:grpSpPr>
        <p:sp>
          <p:nvSpPr>
            <p:cNvPr id="107" name="Shape 2893">
              <a:extLst>
                <a:ext uri="{FF2B5EF4-FFF2-40B4-BE49-F238E27FC236}">
                  <a16:creationId xmlns:a16="http://schemas.microsoft.com/office/drawing/2014/main" id="{8436A88F-45F1-47D2-9BC5-2850E9B25139}"/>
                </a:ext>
              </a:extLst>
            </p:cNvPr>
            <p:cNvSpPr/>
            <p:nvPr/>
          </p:nvSpPr>
          <p:spPr bwMode="gray">
            <a:xfrm>
              <a:off x="60789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07" y="14380"/>
                  </a:moveTo>
                  <a:cubicBezTo>
                    <a:pt x="12819" y="14469"/>
                    <a:pt x="12764" y="14592"/>
                    <a:pt x="12764" y="14727"/>
                  </a:cubicBezTo>
                  <a:cubicBezTo>
                    <a:pt x="12764" y="14999"/>
                    <a:pt x="12984" y="15218"/>
                    <a:pt x="13255" y="15218"/>
                  </a:cubicBezTo>
                  <a:cubicBezTo>
                    <a:pt x="13390" y="15218"/>
                    <a:pt x="13513" y="15164"/>
                    <a:pt x="13602" y="15074"/>
                  </a:cubicBezTo>
                  <a:lnTo>
                    <a:pt x="17529" y="11147"/>
                  </a:lnTo>
                  <a:cubicBezTo>
                    <a:pt x="17618" y="11058"/>
                    <a:pt x="17673" y="10936"/>
                    <a:pt x="17673" y="10800"/>
                  </a:cubicBezTo>
                  <a:cubicBezTo>
                    <a:pt x="17673" y="10665"/>
                    <a:pt x="17618" y="10542"/>
                    <a:pt x="17529" y="10453"/>
                  </a:cubicBezTo>
                  <a:lnTo>
                    <a:pt x="13602" y="6526"/>
                  </a:lnTo>
                  <a:cubicBezTo>
                    <a:pt x="13513" y="6437"/>
                    <a:pt x="13390" y="6382"/>
                    <a:pt x="13255" y="6382"/>
                  </a:cubicBezTo>
                  <a:cubicBezTo>
                    <a:pt x="12984" y="6382"/>
                    <a:pt x="12764" y="6601"/>
                    <a:pt x="12764" y="6873"/>
                  </a:cubicBezTo>
                  <a:cubicBezTo>
                    <a:pt x="12764" y="7008"/>
                    <a:pt x="12819" y="7131"/>
                    <a:pt x="12907" y="7220"/>
                  </a:cubicBezTo>
                  <a:lnTo>
                    <a:pt x="15997" y="10309"/>
                  </a:ln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15997" y="11291"/>
                  </a:lnTo>
                  <a:cubicBezTo>
                    <a:pt x="15997" y="11291"/>
                    <a:pt x="12907" y="14380"/>
                    <a:pt x="12907" y="14380"/>
                  </a:cubicBezTo>
                  <a:close/>
                  <a:moveTo>
                    <a:pt x="21109" y="0"/>
                  </a:moveTo>
                  <a:lnTo>
                    <a:pt x="3436" y="0"/>
                  </a:lnTo>
                  <a:cubicBezTo>
                    <a:pt x="3166" y="0"/>
                    <a:pt x="2945" y="220"/>
                    <a:pt x="2945" y="491"/>
                  </a:cubicBezTo>
                  <a:lnTo>
                    <a:pt x="2945" y="7855"/>
                  </a:lnTo>
                  <a:cubicBezTo>
                    <a:pt x="2945" y="8126"/>
                    <a:pt x="3166" y="8345"/>
                    <a:pt x="3436" y="8345"/>
                  </a:cubicBezTo>
                  <a:cubicBezTo>
                    <a:pt x="3707" y="8345"/>
                    <a:pt x="3927" y="8126"/>
                    <a:pt x="3927" y="7855"/>
                  </a:cubicBezTo>
                  <a:lnTo>
                    <a:pt x="3927" y="982"/>
                  </a:lnTo>
                  <a:lnTo>
                    <a:pt x="20618" y="982"/>
                  </a:lnTo>
                  <a:lnTo>
                    <a:pt x="20618" y="20618"/>
                  </a:lnTo>
                  <a:lnTo>
                    <a:pt x="3927" y="20618"/>
                  </a:lnTo>
                  <a:lnTo>
                    <a:pt x="3927" y="13745"/>
                  </a:lnTo>
                  <a:cubicBezTo>
                    <a:pt x="3927" y="13475"/>
                    <a:pt x="3707" y="13255"/>
                    <a:pt x="3436" y="13255"/>
                  </a:cubicBezTo>
                  <a:cubicBezTo>
                    <a:pt x="3166" y="13255"/>
                    <a:pt x="2945" y="13475"/>
                    <a:pt x="2945" y="13745"/>
                  </a:cubicBezTo>
                  <a:lnTo>
                    <a:pt x="2945" y="21109"/>
                  </a:lnTo>
                  <a:cubicBezTo>
                    <a:pt x="2945" y="21380"/>
                    <a:pt x="3166" y="21600"/>
                    <a:pt x="3436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894">
              <a:extLst>
                <a:ext uri="{FF2B5EF4-FFF2-40B4-BE49-F238E27FC236}">
                  <a16:creationId xmlns:a16="http://schemas.microsoft.com/office/drawing/2014/main" id="{C9ED21BB-FAEC-4BA6-AC94-0AF9346A6BFD}"/>
                </a:ext>
              </a:extLst>
            </p:cNvPr>
            <p:cNvSpPr/>
            <p:nvPr/>
          </p:nvSpPr>
          <p:spPr bwMode="gray">
            <a:xfrm>
              <a:off x="1161447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10309"/>
                  </a:moveTo>
                  <a:lnTo>
                    <a:pt x="5604" y="10309"/>
                  </a:lnTo>
                  <a:lnTo>
                    <a:pt x="8693" y="7220"/>
                  </a:lnTo>
                  <a:cubicBezTo>
                    <a:pt x="8781" y="7131"/>
                    <a:pt x="8836" y="7008"/>
                    <a:pt x="8836" y="6873"/>
                  </a:cubicBezTo>
                  <a:cubicBezTo>
                    <a:pt x="8836" y="6601"/>
                    <a:pt x="8616" y="6382"/>
                    <a:pt x="8345" y="6382"/>
                  </a:cubicBezTo>
                  <a:cubicBezTo>
                    <a:pt x="8210" y="6382"/>
                    <a:pt x="8087" y="6437"/>
                    <a:pt x="7998" y="6526"/>
                  </a:cubicBezTo>
                  <a:lnTo>
                    <a:pt x="4071" y="10453"/>
                  </a:lnTo>
                  <a:cubicBezTo>
                    <a:pt x="3982" y="10542"/>
                    <a:pt x="3927" y="10665"/>
                    <a:pt x="3927" y="10800"/>
                  </a:cubicBezTo>
                  <a:cubicBezTo>
                    <a:pt x="3927" y="10936"/>
                    <a:pt x="3982" y="11058"/>
                    <a:pt x="4071" y="11147"/>
                  </a:cubicBezTo>
                  <a:lnTo>
                    <a:pt x="7998" y="15074"/>
                  </a:lnTo>
                  <a:cubicBezTo>
                    <a:pt x="8087" y="15164"/>
                    <a:pt x="8210" y="15218"/>
                    <a:pt x="8345" y="15218"/>
                  </a:cubicBezTo>
                  <a:cubicBezTo>
                    <a:pt x="8616" y="15218"/>
                    <a:pt x="8836" y="14999"/>
                    <a:pt x="8836" y="14727"/>
                  </a:cubicBezTo>
                  <a:cubicBezTo>
                    <a:pt x="8836" y="14592"/>
                    <a:pt x="8781" y="14469"/>
                    <a:pt x="8693" y="14380"/>
                  </a:cubicBezTo>
                  <a:lnTo>
                    <a:pt x="5604" y="11291"/>
                  </a:ln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18164" y="13255"/>
                  </a:moveTo>
                  <a:cubicBezTo>
                    <a:pt x="17893" y="13255"/>
                    <a:pt x="17673" y="13475"/>
                    <a:pt x="17673" y="13745"/>
                  </a:cubicBezTo>
                  <a:lnTo>
                    <a:pt x="17673" y="20618"/>
                  </a:lnTo>
                  <a:lnTo>
                    <a:pt x="982" y="20618"/>
                  </a:lnTo>
                  <a:lnTo>
                    <a:pt x="982" y="982"/>
                  </a:lnTo>
                  <a:lnTo>
                    <a:pt x="17673" y="982"/>
                  </a:lnTo>
                  <a:lnTo>
                    <a:pt x="17673" y="7855"/>
                  </a:lnTo>
                  <a:cubicBezTo>
                    <a:pt x="17673" y="8126"/>
                    <a:pt x="17893" y="8345"/>
                    <a:pt x="18164" y="8345"/>
                  </a:cubicBezTo>
                  <a:cubicBezTo>
                    <a:pt x="18434" y="8345"/>
                    <a:pt x="18655" y="8126"/>
                    <a:pt x="18655" y="7855"/>
                  </a:cubicBezTo>
                  <a:lnTo>
                    <a:pt x="18655" y="491"/>
                  </a:lnTo>
                  <a:cubicBezTo>
                    <a:pt x="18655" y="220"/>
                    <a:pt x="18434" y="0"/>
                    <a:pt x="18164" y="0"/>
                  </a:cubicBezTo>
                  <a:lnTo>
                    <a:pt x="491" y="0"/>
                  </a:lnTo>
                  <a:cubicBezTo>
                    <a:pt x="220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8164" y="21600"/>
                  </a:lnTo>
                  <a:cubicBezTo>
                    <a:pt x="18434" y="21600"/>
                    <a:pt x="18655" y="21380"/>
                    <a:pt x="18655" y="21109"/>
                  </a:cubicBezTo>
                  <a:lnTo>
                    <a:pt x="18655" y="13745"/>
                  </a:lnTo>
                  <a:cubicBezTo>
                    <a:pt x="18655" y="13475"/>
                    <a:pt x="18434" y="13255"/>
                    <a:pt x="18164" y="132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895">
              <a:extLst>
                <a:ext uri="{FF2B5EF4-FFF2-40B4-BE49-F238E27FC236}">
                  <a16:creationId xmlns:a16="http://schemas.microsoft.com/office/drawing/2014/main" id="{717C38E3-9668-4016-8CE5-9C16EFE72D96}"/>
                </a:ext>
              </a:extLst>
            </p:cNvPr>
            <p:cNvSpPr/>
            <p:nvPr/>
          </p:nvSpPr>
          <p:spPr bwMode="gray">
            <a:xfrm>
              <a:off x="1787487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5709"/>
                  </a:moveTo>
                  <a:cubicBezTo>
                    <a:pt x="20347" y="15709"/>
                    <a:pt x="20102" y="15764"/>
                    <a:pt x="19924" y="15853"/>
                  </a:cubicBezTo>
                  <a:lnTo>
                    <a:pt x="11782" y="19924"/>
                  </a:lnTo>
                  <a:lnTo>
                    <a:pt x="11782" y="491"/>
                  </a:lnTo>
                  <a:cubicBezTo>
                    <a:pt x="11782" y="220"/>
                    <a:pt x="11342" y="0"/>
                    <a:pt x="10800" y="0"/>
                  </a:cubicBezTo>
                  <a:cubicBezTo>
                    <a:pt x="10258" y="0"/>
                    <a:pt x="9818" y="220"/>
                    <a:pt x="9818" y="491"/>
                  </a:cubicBezTo>
                  <a:lnTo>
                    <a:pt x="9818" y="19924"/>
                  </a:lnTo>
                  <a:lnTo>
                    <a:pt x="1676" y="15853"/>
                  </a:lnTo>
                  <a:cubicBezTo>
                    <a:pt x="1498" y="15764"/>
                    <a:pt x="1253" y="15709"/>
                    <a:pt x="982" y="15709"/>
                  </a:cubicBezTo>
                  <a:cubicBezTo>
                    <a:pt x="440" y="15709"/>
                    <a:pt x="0" y="15929"/>
                    <a:pt x="0" y="16200"/>
                  </a:cubicBezTo>
                  <a:cubicBezTo>
                    <a:pt x="0" y="16336"/>
                    <a:pt x="110" y="16458"/>
                    <a:pt x="288" y="16547"/>
                  </a:cubicBezTo>
                  <a:lnTo>
                    <a:pt x="10106" y="21456"/>
                  </a:lnTo>
                  <a:cubicBezTo>
                    <a:pt x="10284" y="21545"/>
                    <a:pt x="10529" y="21600"/>
                    <a:pt x="10800" y="21600"/>
                  </a:cubicBezTo>
                  <a:cubicBezTo>
                    <a:pt x="11071" y="21600"/>
                    <a:pt x="11316" y="21545"/>
                    <a:pt x="11494" y="21456"/>
                  </a:cubicBezTo>
                  <a:lnTo>
                    <a:pt x="21312" y="16547"/>
                  </a:lnTo>
                  <a:cubicBezTo>
                    <a:pt x="21490" y="16458"/>
                    <a:pt x="21600" y="16336"/>
                    <a:pt x="21600" y="16200"/>
                  </a:cubicBezTo>
                  <a:cubicBezTo>
                    <a:pt x="21600" y="15929"/>
                    <a:pt x="21160" y="15709"/>
                    <a:pt x="20618" y="157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896">
              <a:extLst>
                <a:ext uri="{FF2B5EF4-FFF2-40B4-BE49-F238E27FC236}">
                  <a16:creationId xmlns:a16="http://schemas.microsoft.com/office/drawing/2014/main" id="{8B7446CB-E15F-4E1F-AFF9-00EFB2394185}"/>
                </a:ext>
              </a:extLst>
            </p:cNvPr>
            <p:cNvSpPr/>
            <p:nvPr/>
          </p:nvSpPr>
          <p:spPr bwMode="gray">
            <a:xfrm>
              <a:off x="2341039" y="1759045"/>
              <a:ext cx="14497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12" y="5053"/>
                  </a:moveTo>
                  <a:lnTo>
                    <a:pt x="11494" y="144"/>
                  </a:lnTo>
                  <a:cubicBezTo>
                    <a:pt x="11316" y="55"/>
                    <a:pt x="11071" y="0"/>
                    <a:pt x="10800" y="0"/>
                  </a:cubicBezTo>
                  <a:cubicBezTo>
                    <a:pt x="10529" y="0"/>
                    <a:pt x="10284" y="55"/>
                    <a:pt x="10106" y="144"/>
                  </a:cubicBezTo>
                  <a:lnTo>
                    <a:pt x="288" y="5053"/>
                  </a:lnTo>
                  <a:cubicBezTo>
                    <a:pt x="110" y="5142"/>
                    <a:pt x="0" y="5264"/>
                    <a:pt x="0" y="5400"/>
                  </a:cubicBezTo>
                  <a:cubicBezTo>
                    <a:pt x="0" y="5671"/>
                    <a:pt x="440" y="5891"/>
                    <a:pt x="982" y="5891"/>
                  </a:cubicBezTo>
                  <a:cubicBezTo>
                    <a:pt x="1253" y="5891"/>
                    <a:pt x="1498" y="5836"/>
                    <a:pt x="1676" y="5747"/>
                  </a:cubicBezTo>
                  <a:lnTo>
                    <a:pt x="9818" y="1676"/>
                  </a:lnTo>
                  <a:lnTo>
                    <a:pt x="9818" y="21109"/>
                  </a:lnTo>
                  <a:cubicBezTo>
                    <a:pt x="9818" y="21380"/>
                    <a:pt x="10258" y="21600"/>
                    <a:pt x="10800" y="21600"/>
                  </a:cubicBezTo>
                  <a:cubicBezTo>
                    <a:pt x="11342" y="21600"/>
                    <a:pt x="11782" y="21380"/>
                    <a:pt x="11782" y="21109"/>
                  </a:cubicBezTo>
                  <a:lnTo>
                    <a:pt x="11782" y="1676"/>
                  </a:lnTo>
                  <a:lnTo>
                    <a:pt x="19924" y="5747"/>
                  </a:lnTo>
                  <a:cubicBezTo>
                    <a:pt x="20102" y="5836"/>
                    <a:pt x="20347" y="5891"/>
                    <a:pt x="20618" y="5891"/>
                  </a:cubicBezTo>
                  <a:cubicBezTo>
                    <a:pt x="21160" y="5891"/>
                    <a:pt x="21600" y="5671"/>
                    <a:pt x="21600" y="5400"/>
                  </a:cubicBezTo>
                  <a:cubicBezTo>
                    <a:pt x="21600" y="5264"/>
                    <a:pt x="21490" y="5142"/>
                    <a:pt x="21312" y="50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897">
              <a:extLst>
                <a:ext uri="{FF2B5EF4-FFF2-40B4-BE49-F238E27FC236}">
                  <a16:creationId xmlns:a16="http://schemas.microsoft.com/office/drawing/2014/main" id="{72A65987-808D-4724-A286-97F8BD8B8C76}"/>
                </a:ext>
              </a:extLst>
            </p:cNvPr>
            <p:cNvSpPr/>
            <p:nvPr/>
          </p:nvSpPr>
          <p:spPr bwMode="gray">
            <a:xfrm>
              <a:off x="2822101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9818"/>
                  </a:moveTo>
                  <a:lnTo>
                    <a:pt x="1676" y="9818"/>
                  </a:lnTo>
                  <a:lnTo>
                    <a:pt x="5747" y="1676"/>
                  </a:lnTo>
                  <a:cubicBezTo>
                    <a:pt x="5836" y="1499"/>
                    <a:pt x="5891" y="1253"/>
                    <a:pt x="5891" y="982"/>
                  </a:cubicBezTo>
                  <a:cubicBezTo>
                    <a:pt x="5891" y="439"/>
                    <a:pt x="5671" y="0"/>
                    <a:pt x="5400" y="0"/>
                  </a:cubicBezTo>
                  <a:cubicBezTo>
                    <a:pt x="5265" y="0"/>
                    <a:pt x="5142" y="110"/>
                    <a:pt x="5053" y="288"/>
                  </a:cubicBezTo>
                  <a:lnTo>
                    <a:pt x="144" y="10106"/>
                  </a:lnTo>
                  <a:cubicBezTo>
                    <a:pt x="55" y="10284"/>
                    <a:pt x="0" y="10530"/>
                    <a:pt x="0" y="10800"/>
                  </a:cubicBezTo>
                  <a:cubicBezTo>
                    <a:pt x="0" y="11071"/>
                    <a:pt x="55" y="11317"/>
                    <a:pt x="144" y="11494"/>
                  </a:cubicBezTo>
                  <a:lnTo>
                    <a:pt x="5053" y="21312"/>
                  </a:lnTo>
                  <a:cubicBezTo>
                    <a:pt x="5142" y="21491"/>
                    <a:pt x="5265" y="21600"/>
                    <a:pt x="5400" y="21600"/>
                  </a:cubicBezTo>
                  <a:cubicBezTo>
                    <a:pt x="5671" y="21600"/>
                    <a:pt x="5891" y="21161"/>
                    <a:pt x="5891" y="20618"/>
                  </a:cubicBezTo>
                  <a:cubicBezTo>
                    <a:pt x="5891" y="20348"/>
                    <a:pt x="5836" y="20102"/>
                    <a:pt x="5747" y="19924"/>
                  </a:cubicBezTo>
                  <a:lnTo>
                    <a:pt x="1676" y="11782"/>
                  </a:lnTo>
                  <a:lnTo>
                    <a:pt x="21109" y="11782"/>
                  </a:lnTo>
                  <a:cubicBezTo>
                    <a:pt x="21380" y="11782"/>
                    <a:pt x="21600" y="11343"/>
                    <a:pt x="21600" y="10800"/>
                  </a:cubicBezTo>
                  <a:cubicBezTo>
                    <a:pt x="21600" y="10257"/>
                    <a:pt x="21380" y="9818"/>
                    <a:pt x="21109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898">
              <a:extLst>
                <a:ext uri="{FF2B5EF4-FFF2-40B4-BE49-F238E27FC236}">
                  <a16:creationId xmlns:a16="http://schemas.microsoft.com/office/drawing/2014/main" id="{09F09A87-D343-4421-B3C1-ED19CEBB1368}"/>
                </a:ext>
              </a:extLst>
            </p:cNvPr>
            <p:cNvSpPr/>
            <p:nvPr/>
          </p:nvSpPr>
          <p:spPr bwMode="gray">
            <a:xfrm>
              <a:off x="3375653" y="1831534"/>
              <a:ext cx="289956" cy="1449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106"/>
                  </a:moveTo>
                  <a:lnTo>
                    <a:pt x="16547" y="288"/>
                  </a:lnTo>
                  <a:cubicBezTo>
                    <a:pt x="16458" y="110"/>
                    <a:pt x="16336" y="0"/>
                    <a:pt x="16200" y="0"/>
                  </a:cubicBezTo>
                  <a:cubicBezTo>
                    <a:pt x="15929" y="0"/>
                    <a:pt x="15709" y="439"/>
                    <a:pt x="15709" y="982"/>
                  </a:cubicBezTo>
                  <a:cubicBezTo>
                    <a:pt x="15709" y="1253"/>
                    <a:pt x="15764" y="1499"/>
                    <a:pt x="15853" y="1676"/>
                  </a:cubicBezTo>
                  <a:lnTo>
                    <a:pt x="19924" y="9818"/>
                  </a:lnTo>
                  <a:lnTo>
                    <a:pt x="491" y="9818"/>
                  </a:lnTo>
                  <a:cubicBezTo>
                    <a:pt x="220" y="9818"/>
                    <a:pt x="0" y="10257"/>
                    <a:pt x="0" y="10800"/>
                  </a:cubicBezTo>
                  <a:cubicBezTo>
                    <a:pt x="0" y="11343"/>
                    <a:pt x="220" y="11782"/>
                    <a:pt x="491" y="11782"/>
                  </a:cubicBezTo>
                  <a:lnTo>
                    <a:pt x="19924" y="11782"/>
                  </a:lnTo>
                  <a:lnTo>
                    <a:pt x="15853" y="19924"/>
                  </a:lnTo>
                  <a:cubicBezTo>
                    <a:pt x="15764" y="20102"/>
                    <a:pt x="15709" y="20347"/>
                    <a:pt x="15709" y="20618"/>
                  </a:cubicBezTo>
                  <a:cubicBezTo>
                    <a:pt x="15709" y="21161"/>
                    <a:pt x="15929" y="21600"/>
                    <a:pt x="16200" y="21600"/>
                  </a:cubicBezTo>
                  <a:cubicBezTo>
                    <a:pt x="16336" y="21600"/>
                    <a:pt x="16458" y="21491"/>
                    <a:pt x="16547" y="21312"/>
                  </a:cubicBezTo>
                  <a:lnTo>
                    <a:pt x="21456" y="11494"/>
                  </a:lnTo>
                  <a:cubicBezTo>
                    <a:pt x="21545" y="11317"/>
                    <a:pt x="21600" y="11071"/>
                    <a:pt x="21600" y="10800"/>
                  </a:cubicBezTo>
                  <a:cubicBezTo>
                    <a:pt x="21600" y="10529"/>
                    <a:pt x="21545" y="10284"/>
                    <a:pt x="21456" y="1010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899">
              <a:extLst>
                <a:ext uri="{FF2B5EF4-FFF2-40B4-BE49-F238E27FC236}">
                  <a16:creationId xmlns:a16="http://schemas.microsoft.com/office/drawing/2014/main" id="{0556C063-180A-420F-BBF2-719B94BBEB17}"/>
                </a:ext>
              </a:extLst>
            </p:cNvPr>
            <p:cNvSpPr/>
            <p:nvPr/>
          </p:nvSpPr>
          <p:spPr bwMode="gray">
            <a:xfrm>
              <a:off x="3942384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60" y="0"/>
                  </a:moveTo>
                  <a:cubicBezTo>
                    <a:pt x="20911" y="0"/>
                    <a:pt x="20776" y="121"/>
                    <a:pt x="20678" y="316"/>
                  </a:cubicBezTo>
                  <a:lnTo>
                    <a:pt x="10800" y="19033"/>
                  </a:lnTo>
                  <a:lnTo>
                    <a:pt x="922" y="316"/>
                  </a:lnTo>
                  <a:cubicBezTo>
                    <a:pt x="824" y="121"/>
                    <a:pt x="689" y="0"/>
                    <a:pt x="540" y="0"/>
                  </a:cubicBezTo>
                  <a:cubicBezTo>
                    <a:pt x="242" y="0"/>
                    <a:pt x="0" y="483"/>
                    <a:pt x="0" y="1080"/>
                  </a:cubicBezTo>
                  <a:cubicBezTo>
                    <a:pt x="0" y="1378"/>
                    <a:pt x="60" y="1648"/>
                    <a:pt x="158" y="1844"/>
                  </a:cubicBezTo>
                  <a:lnTo>
                    <a:pt x="10418" y="21284"/>
                  </a:lnTo>
                  <a:cubicBezTo>
                    <a:pt x="10516" y="21480"/>
                    <a:pt x="10651" y="21600"/>
                    <a:pt x="10800" y="21600"/>
                  </a:cubicBezTo>
                  <a:cubicBezTo>
                    <a:pt x="10949" y="21600"/>
                    <a:pt x="11084" y="21480"/>
                    <a:pt x="11182" y="21284"/>
                  </a:cubicBezTo>
                  <a:lnTo>
                    <a:pt x="21442" y="1844"/>
                  </a:lnTo>
                  <a:cubicBezTo>
                    <a:pt x="21540" y="1648"/>
                    <a:pt x="21600" y="1378"/>
                    <a:pt x="21600" y="1080"/>
                  </a:cubicBezTo>
                  <a:cubicBezTo>
                    <a:pt x="21600" y="483"/>
                    <a:pt x="21358" y="0"/>
                    <a:pt x="2106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00">
              <a:extLst>
                <a:ext uri="{FF2B5EF4-FFF2-40B4-BE49-F238E27FC236}">
                  <a16:creationId xmlns:a16="http://schemas.microsoft.com/office/drawing/2014/main" id="{96BE70F7-5DF6-47EE-95AD-6B7DDE49D117}"/>
                </a:ext>
              </a:extLst>
            </p:cNvPr>
            <p:cNvSpPr/>
            <p:nvPr/>
          </p:nvSpPr>
          <p:spPr bwMode="gray">
            <a:xfrm>
              <a:off x="4495936" y="1838124"/>
              <a:ext cx="263596" cy="131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42" y="19756"/>
                  </a:moveTo>
                  <a:lnTo>
                    <a:pt x="11182" y="316"/>
                  </a:lnTo>
                  <a:cubicBezTo>
                    <a:pt x="11084" y="121"/>
                    <a:pt x="10949" y="0"/>
                    <a:pt x="10800" y="0"/>
                  </a:cubicBezTo>
                  <a:cubicBezTo>
                    <a:pt x="10651" y="0"/>
                    <a:pt x="10516" y="121"/>
                    <a:pt x="10418" y="316"/>
                  </a:cubicBezTo>
                  <a:lnTo>
                    <a:pt x="158" y="19756"/>
                  </a:lnTo>
                  <a:cubicBezTo>
                    <a:pt x="60" y="19953"/>
                    <a:pt x="0" y="20222"/>
                    <a:pt x="0" y="20520"/>
                  </a:cubicBezTo>
                  <a:cubicBezTo>
                    <a:pt x="0" y="21117"/>
                    <a:pt x="242" y="21600"/>
                    <a:pt x="540" y="21600"/>
                  </a:cubicBezTo>
                  <a:cubicBezTo>
                    <a:pt x="689" y="21600"/>
                    <a:pt x="824" y="21480"/>
                    <a:pt x="922" y="21284"/>
                  </a:cubicBezTo>
                  <a:lnTo>
                    <a:pt x="10800" y="2567"/>
                  </a:lnTo>
                  <a:lnTo>
                    <a:pt x="20678" y="21284"/>
                  </a:lnTo>
                  <a:cubicBezTo>
                    <a:pt x="20776" y="21480"/>
                    <a:pt x="20911" y="21600"/>
                    <a:pt x="21060" y="21600"/>
                  </a:cubicBezTo>
                  <a:cubicBezTo>
                    <a:pt x="21358" y="21600"/>
                    <a:pt x="21600" y="21117"/>
                    <a:pt x="21600" y="20520"/>
                  </a:cubicBezTo>
                  <a:cubicBezTo>
                    <a:pt x="21600" y="20222"/>
                    <a:pt x="21540" y="19953"/>
                    <a:pt x="21442" y="197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01">
              <a:extLst>
                <a:ext uri="{FF2B5EF4-FFF2-40B4-BE49-F238E27FC236}">
                  <a16:creationId xmlns:a16="http://schemas.microsoft.com/office/drawing/2014/main" id="{6B70DCB1-0BD5-4C51-8F11-800CE7F08DB0}"/>
                </a:ext>
              </a:extLst>
            </p:cNvPr>
            <p:cNvSpPr/>
            <p:nvPr/>
          </p:nvSpPr>
          <p:spPr bwMode="gray">
            <a:xfrm>
              <a:off x="5115386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567" y="10800"/>
                  </a:moveTo>
                  <a:lnTo>
                    <a:pt x="21284" y="922"/>
                  </a:lnTo>
                  <a:cubicBezTo>
                    <a:pt x="21480" y="824"/>
                    <a:pt x="21600" y="689"/>
                    <a:pt x="21600" y="540"/>
                  </a:cubicBezTo>
                  <a:cubicBezTo>
                    <a:pt x="21600" y="242"/>
                    <a:pt x="21117" y="0"/>
                    <a:pt x="20520" y="0"/>
                  </a:cubicBezTo>
                  <a:cubicBezTo>
                    <a:pt x="20222" y="0"/>
                    <a:pt x="19953" y="61"/>
                    <a:pt x="19756" y="158"/>
                  </a:cubicBezTo>
                  <a:lnTo>
                    <a:pt x="316" y="10418"/>
                  </a:lnTo>
                  <a:cubicBezTo>
                    <a:pt x="121" y="10516"/>
                    <a:pt x="0" y="10651"/>
                    <a:pt x="0" y="10800"/>
                  </a:cubicBezTo>
                  <a:cubicBezTo>
                    <a:pt x="0" y="10949"/>
                    <a:pt x="120" y="11084"/>
                    <a:pt x="316" y="11182"/>
                  </a:cubicBezTo>
                  <a:lnTo>
                    <a:pt x="19756" y="21442"/>
                  </a:lnTo>
                  <a:cubicBezTo>
                    <a:pt x="19953" y="21540"/>
                    <a:pt x="20222" y="21600"/>
                    <a:pt x="20520" y="21600"/>
                  </a:cubicBezTo>
                  <a:cubicBezTo>
                    <a:pt x="21117" y="21600"/>
                    <a:pt x="21600" y="21358"/>
                    <a:pt x="21600" y="21060"/>
                  </a:cubicBezTo>
                  <a:cubicBezTo>
                    <a:pt x="21600" y="20911"/>
                    <a:pt x="21480" y="20776"/>
                    <a:pt x="21284" y="20678"/>
                  </a:cubicBezTo>
                  <a:cubicBezTo>
                    <a:pt x="21284" y="20678"/>
                    <a:pt x="2567" y="10800"/>
                    <a:pt x="2567" y="1080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02">
              <a:extLst>
                <a:ext uri="{FF2B5EF4-FFF2-40B4-BE49-F238E27FC236}">
                  <a16:creationId xmlns:a16="http://schemas.microsoft.com/office/drawing/2014/main" id="{9C282FCD-72F3-4CF0-BEE1-08C3A296B05C}"/>
                </a:ext>
              </a:extLst>
            </p:cNvPr>
            <p:cNvSpPr/>
            <p:nvPr/>
          </p:nvSpPr>
          <p:spPr bwMode="gray">
            <a:xfrm>
              <a:off x="5668938" y="1772225"/>
              <a:ext cx="131799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84" y="10418"/>
                  </a:moveTo>
                  <a:lnTo>
                    <a:pt x="1844" y="158"/>
                  </a:lnTo>
                  <a:cubicBezTo>
                    <a:pt x="1648" y="61"/>
                    <a:pt x="1378" y="0"/>
                    <a:pt x="1080" y="0"/>
                  </a:cubicBezTo>
                  <a:cubicBezTo>
                    <a:pt x="483" y="0"/>
                    <a:pt x="0" y="242"/>
                    <a:pt x="0" y="540"/>
                  </a:cubicBezTo>
                  <a:cubicBezTo>
                    <a:pt x="0" y="689"/>
                    <a:pt x="121" y="824"/>
                    <a:pt x="316" y="922"/>
                  </a:cubicBezTo>
                  <a:lnTo>
                    <a:pt x="19033" y="10800"/>
                  </a:lnTo>
                  <a:lnTo>
                    <a:pt x="316" y="20678"/>
                  </a:lnTo>
                  <a:cubicBezTo>
                    <a:pt x="121" y="20776"/>
                    <a:pt x="0" y="20911"/>
                    <a:pt x="0" y="21060"/>
                  </a:cubicBezTo>
                  <a:cubicBezTo>
                    <a:pt x="0" y="21358"/>
                    <a:pt x="483" y="21600"/>
                    <a:pt x="1080" y="21600"/>
                  </a:cubicBezTo>
                  <a:cubicBezTo>
                    <a:pt x="1378" y="21600"/>
                    <a:pt x="1648" y="21540"/>
                    <a:pt x="1844" y="21442"/>
                  </a:cubicBezTo>
                  <a:lnTo>
                    <a:pt x="21284" y="11182"/>
                  </a:lnTo>
                  <a:cubicBezTo>
                    <a:pt x="21479" y="11084"/>
                    <a:pt x="21600" y="10949"/>
                    <a:pt x="21600" y="10800"/>
                  </a:cubicBezTo>
                  <a:cubicBezTo>
                    <a:pt x="21600" y="10651"/>
                    <a:pt x="21479" y="10516"/>
                    <a:pt x="21284" y="104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03">
              <a:extLst>
                <a:ext uri="{FF2B5EF4-FFF2-40B4-BE49-F238E27FC236}">
                  <a16:creationId xmlns:a16="http://schemas.microsoft.com/office/drawing/2014/main" id="{72A0A211-0B66-48D3-A079-473FBE60C2CB}"/>
                </a:ext>
              </a:extLst>
            </p:cNvPr>
            <p:cNvSpPr/>
            <p:nvPr/>
          </p:nvSpPr>
          <p:spPr bwMode="gray">
            <a:xfrm>
              <a:off x="60789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6200" y="8836"/>
                  </a:moveTo>
                  <a:cubicBezTo>
                    <a:pt x="16065" y="8836"/>
                    <a:pt x="15942" y="8891"/>
                    <a:pt x="15852" y="8980"/>
                  </a:cubicBezTo>
                  <a:lnTo>
                    <a:pt x="10800" y="13574"/>
                  </a:lnTo>
                  <a:lnTo>
                    <a:pt x="5747" y="8980"/>
                  </a:lnTo>
                  <a:cubicBezTo>
                    <a:pt x="5658" y="8891"/>
                    <a:pt x="5535" y="8836"/>
                    <a:pt x="5400" y="8836"/>
                  </a:cubicBezTo>
                  <a:cubicBezTo>
                    <a:pt x="5129" y="8836"/>
                    <a:pt x="4909" y="9056"/>
                    <a:pt x="4909" y="9327"/>
                  </a:cubicBezTo>
                  <a:cubicBezTo>
                    <a:pt x="4909" y="9463"/>
                    <a:pt x="4964" y="9586"/>
                    <a:pt x="5053" y="9674"/>
                  </a:cubicBezTo>
                  <a:lnTo>
                    <a:pt x="10453" y="14583"/>
                  </a:lnTo>
                  <a:cubicBezTo>
                    <a:pt x="10542" y="14673"/>
                    <a:pt x="10665" y="14727"/>
                    <a:pt x="10800" y="14727"/>
                  </a:cubicBezTo>
                  <a:cubicBezTo>
                    <a:pt x="10935" y="14727"/>
                    <a:pt x="11058" y="14673"/>
                    <a:pt x="11147" y="14583"/>
                  </a:cubicBezTo>
                  <a:lnTo>
                    <a:pt x="16547" y="9674"/>
                  </a:lnTo>
                  <a:cubicBezTo>
                    <a:pt x="16636" y="9586"/>
                    <a:pt x="16691" y="9463"/>
                    <a:pt x="16691" y="9327"/>
                  </a:cubicBezTo>
                  <a:cubicBezTo>
                    <a:pt x="16691" y="9056"/>
                    <a:pt x="16471" y="8836"/>
                    <a:pt x="16200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Shape 2904">
              <a:extLst>
                <a:ext uri="{FF2B5EF4-FFF2-40B4-BE49-F238E27FC236}">
                  <a16:creationId xmlns:a16="http://schemas.microsoft.com/office/drawing/2014/main" id="{A712E849-C4DE-4670-9A86-49A8EE353EB4}"/>
                </a:ext>
              </a:extLst>
            </p:cNvPr>
            <p:cNvSpPr/>
            <p:nvPr/>
          </p:nvSpPr>
          <p:spPr bwMode="gray">
            <a:xfrm>
              <a:off x="116144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47" y="7017"/>
                  </a:moveTo>
                  <a:cubicBezTo>
                    <a:pt x="11058" y="6927"/>
                    <a:pt x="10935" y="6873"/>
                    <a:pt x="10800" y="6873"/>
                  </a:cubicBezTo>
                  <a:cubicBezTo>
                    <a:pt x="10665" y="6873"/>
                    <a:pt x="10542" y="6927"/>
                    <a:pt x="10453" y="7017"/>
                  </a:cubicBezTo>
                  <a:lnTo>
                    <a:pt x="5053" y="11926"/>
                  </a:lnTo>
                  <a:cubicBezTo>
                    <a:pt x="4964" y="12015"/>
                    <a:pt x="4909" y="12138"/>
                    <a:pt x="4909" y="12273"/>
                  </a:cubicBezTo>
                  <a:cubicBezTo>
                    <a:pt x="4909" y="12544"/>
                    <a:pt x="5129" y="12764"/>
                    <a:pt x="5400" y="12764"/>
                  </a:cubicBezTo>
                  <a:cubicBezTo>
                    <a:pt x="5535" y="12764"/>
                    <a:pt x="5658" y="12709"/>
                    <a:pt x="5747" y="12620"/>
                  </a:cubicBezTo>
                  <a:lnTo>
                    <a:pt x="10800" y="8026"/>
                  </a:lnTo>
                  <a:lnTo>
                    <a:pt x="15853" y="12620"/>
                  </a:lnTo>
                  <a:cubicBezTo>
                    <a:pt x="15942" y="12709"/>
                    <a:pt x="16065" y="12764"/>
                    <a:pt x="16200" y="12764"/>
                  </a:cubicBezTo>
                  <a:cubicBezTo>
                    <a:pt x="16471" y="12764"/>
                    <a:pt x="16691" y="12544"/>
                    <a:pt x="16691" y="12273"/>
                  </a:cubicBezTo>
                  <a:cubicBezTo>
                    <a:pt x="16691" y="12138"/>
                    <a:pt x="16636" y="12015"/>
                    <a:pt x="16547" y="11926"/>
                  </a:cubicBezTo>
                  <a:cubicBezTo>
                    <a:pt x="16547" y="11926"/>
                    <a:pt x="11147" y="7017"/>
                    <a:pt x="11147" y="7017"/>
                  </a:cubicBezTo>
                  <a:close/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Shape 2905">
              <a:extLst>
                <a:ext uri="{FF2B5EF4-FFF2-40B4-BE49-F238E27FC236}">
                  <a16:creationId xmlns:a16="http://schemas.microsoft.com/office/drawing/2014/main" id="{34B3CAB0-6BB3-49FD-B556-0A4A10F2C52B}"/>
                </a:ext>
              </a:extLst>
            </p:cNvPr>
            <p:cNvSpPr/>
            <p:nvPr/>
          </p:nvSpPr>
          <p:spPr bwMode="gray">
            <a:xfrm>
              <a:off x="171499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764" y="5400"/>
                  </a:moveTo>
                  <a:cubicBezTo>
                    <a:pt x="12764" y="5129"/>
                    <a:pt x="12544" y="4909"/>
                    <a:pt x="12273" y="4909"/>
                  </a:cubicBezTo>
                  <a:cubicBezTo>
                    <a:pt x="12137" y="4909"/>
                    <a:pt x="12015" y="4964"/>
                    <a:pt x="11926" y="5053"/>
                  </a:cubicBezTo>
                  <a:lnTo>
                    <a:pt x="7017" y="10453"/>
                  </a:lnTo>
                  <a:cubicBezTo>
                    <a:pt x="6928" y="10542"/>
                    <a:pt x="6873" y="10665"/>
                    <a:pt x="6873" y="10800"/>
                  </a:cubicBezTo>
                  <a:cubicBezTo>
                    <a:pt x="6873" y="10936"/>
                    <a:pt x="6928" y="11058"/>
                    <a:pt x="7017" y="11147"/>
                  </a:cubicBezTo>
                  <a:lnTo>
                    <a:pt x="11926" y="16547"/>
                  </a:lnTo>
                  <a:cubicBezTo>
                    <a:pt x="12015" y="16636"/>
                    <a:pt x="12137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65"/>
                    <a:pt x="12709" y="15942"/>
                    <a:pt x="12620" y="15853"/>
                  </a:cubicBezTo>
                  <a:lnTo>
                    <a:pt x="8026" y="10800"/>
                  </a:lnTo>
                  <a:lnTo>
                    <a:pt x="12620" y="5747"/>
                  </a:lnTo>
                  <a:cubicBezTo>
                    <a:pt x="12709" y="5658"/>
                    <a:pt x="12764" y="5536"/>
                    <a:pt x="12764" y="5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Shape 2906">
              <a:extLst>
                <a:ext uri="{FF2B5EF4-FFF2-40B4-BE49-F238E27FC236}">
                  <a16:creationId xmlns:a16="http://schemas.microsoft.com/office/drawing/2014/main" id="{DF640D56-2082-4B6B-888F-A986A73CD35B}"/>
                </a:ext>
              </a:extLst>
            </p:cNvPr>
            <p:cNvSpPr/>
            <p:nvPr/>
          </p:nvSpPr>
          <p:spPr bwMode="gray">
            <a:xfrm>
              <a:off x="226855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9674" y="5053"/>
                  </a:moveTo>
                  <a:cubicBezTo>
                    <a:pt x="9585" y="4964"/>
                    <a:pt x="9463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36"/>
                    <a:pt x="8891" y="5658"/>
                    <a:pt x="8980" y="5747"/>
                  </a:cubicBezTo>
                  <a:lnTo>
                    <a:pt x="13574" y="10800"/>
                  </a:lnTo>
                  <a:lnTo>
                    <a:pt x="8980" y="15853"/>
                  </a:lnTo>
                  <a:cubicBezTo>
                    <a:pt x="8891" y="15942"/>
                    <a:pt x="8836" y="16065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63" y="16691"/>
                    <a:pt x="9585" y="16636"/>
                    <a:pt x="9674" y="16547"/>
                  </a:cubicBezTo>
                  <a:lnTo>
                    <a:pt x="14583" y="11147"/>
                  </a:lnTo>
                  <a:cubicBezTo>
                    <a:pt x="14672" y="11058"/>
                    <a:pt x="14727" y="10936"/>
                    <a:pt x="14727" y="10800"/>
                  </a:cubicBezTo>
                  <a:cubicBezTo>
                    <a:pt x="14727" y="10665"/>
                    <a:pt x="14672" y="10542"/>
                    <a:pt x="14583" y="10453"/>
                  </a:cubicBezTo>
                  <a:cubicBezTo>
                    <a:pt x="14583" y="10453"/>
                    <a:pt x="9674" y="5053"/>
                    <a:pt x="9674" y="505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Shape 2907">
              <a:extLst>
                <a:ext uri="{FF2B5EF4-FFF2-40B4-BE49-F238E27FC236}">
                  <a16:creationId xmlns:a16="http://schemas.microsoft.com/office/drawing/2014/main" id="{D5031C06-CB63-466D-958A-350797BD5F77}"/>
                </a:ext>
              </a:extLst>
            </p:cNvPr>
            <p:cNvSpPr/>
            <p:nvPr/>
          </p:nvSpPr>
          <p:spPr bwMode="gray">
            <a:xfrm>
              <a:off x="282210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73" y="235"/>
                  </a:moveTo>
                  <a:cubicBezTo>
                    <a:pt x="12909" y="205"/>
                    <a:pt x="12840" y="184"/>
                    <a:pt x="12764" y="184"/>
                  </a:cubicBezTo>
                  <a:cubicBezTo>
                    <a:pt x="12493" y="184"/>
                    <a:pt x="12273" y="404"/>
                    <a:pt x="12273" y="675"/>
                  </a:cubicBezTo>
                  <a:cubicBezTo>
                    <a:pt x="12273" y="946"/>
                    <a:pt x="12493" y="1166"/>
                    <a:pt x="12764" y="1166"/>
                  </a:cubicBezTo>
                  <a:lnTo>
                    <a:pt x="12764" y="1179"/>
                  </a:lnTo>
                  <a:cubicBezTo>
                    <a:pt x="17245" y="2089"/>
                    <a:pt x="20618" y="6050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6050"/>
                    <a:pt x="4355" y="2089"/>
                    <a:pt x="8836" y="1179"/>
                  </a:cubicBezTo>
                  <a:lnTo>
                    <a:pt x="8836" y="1166"/>
                  </a:lnTo>
                  <a:cubicBezTo>
                    <a:pt x="9107" y="1166"/>
                    <a:pt x="9327" y="946"/>
                    <a:pt x="9327" y="675"/>
                  </a:cubicBezTo>
                  <a:cubicBezTo>
                    <a:pt x="9327" y="404"/>
                    <a:pt x="9107" y="184"/>
                    <a:pt x="8836" y="184"/>
                  </a:cubicBezTo>
                  <a:cubicBezTo>
                    <a:pt x="8761" y="184"/>
                    <a:pt x="8691" y="205"/>
                    <a:pt x="8627" y="235"/>
                  </a:cubicBezTo>
                  <a:cubicBezTo>
                    <a:pt x="3706" y="1243"/>
                    <a:pt x="0" y="5582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5582"/>
                    <a:pt x="17893" y="1243"/>
                    <a:pt x="12973" y="235"/>
                  </a:cubicBezTo>
                  <a:moveTo>
                    <a:pt x="6873" y="9818"/>
                  </a:moveTo>
                  <a:cubicBezTo>
                    <a:pt x="6602" y="9818"/>
                    <a:pt x="6382" y="10038"/>
                    <a:pt x="6382" y="10309"/>
                  </a:cubicBezTo>
                  <a:cubicBezTo>
                    <a:pt x="6382" y="10445"/>
                    <a:pt x="6437" y="10567"/>
                    <a:pt x="6526" y="10656"/>
                  </a:cubicBezTo>
                  <a:lnTo>
                    <a:pt x="10453" y="14583"/>
                  </a:lnTo>
                  <a:cubicBezTo>
                    <a:pt x="10542" y="14673"/>
                    <a:pt x="10664" y="14727"/>
                    <a:pt x="10800" y="14727"/>
                  </a:cubicBezTo>
                  <a:cubicBezTo>
                    <a:pt x="10936" y="14727"/>
                    <a:pt x="11059" y="14673"/>
                    <a:pt x="11147" y="14583"/>
                  </a:cubicBezTo>
                  <a:lnTo>
                    <a:pt x="15074" y="10656"/>
                  </a:lnTo>
                  <a:cubicBezTo>
                    <a:pt x="15163" y="10567"/>
                    <a:pt x="15218" y="10445"/>
                    <a:pt x="15218" y="10309"/>
                  </a:cubicBezTo>
                  <a:cubicBezTo>
                    <a:pt x="15218" y="10038"/>
                    <a:pt x="14998" y="9818"/>
                    <a:pt x="14727" y="9818"/>
                  </a:cubicBezTo>
                  <a:cubicBezTo>
                    <a:pt x="14592" y="9818"/>
                    <a:pt x="14469" y="9873"/>
                    <a:pt x="14380" y="9962"/>
                  </a:cubicBezTo>
                  <a:lnTo>
                    <a:pt x="11291" y="13051"/>
                  </a:ln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3051"/>
                  </a:lnTo>
                  <a:lnTo>
                    <a:pt x="7220" y="9962"/>
                  </a:lnTo>
                  <a:cubicBezTo>
                    <a:pt x="7131" y="9873"/>
                    <a:pt x="7009" y="9818"/>
                    <a:pt x="6873" y="98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Shape 2908">
              <a:extLst>
                <a:ext uri="{FF2B5EF4-FFF2-40B4-BE49-F238E27FC236}">
                  <a16:creationId xmlns:a16="http://schemas.microsoft.com/office/drawing/2014/main" id="{F8B47EAA-A801-41E6-85E9-F3CD20F3CB25}"/>
                </a:ext>
              </a:extLst>
            </p:cNvPr>
            <p:cNvSpPr/>
            <p:nvPr/>
          </p:nvSpPr>
          <p:spPr bwMode="gray">
            <a:xfrm>
              <a:off x="3375653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397"/>
                  </a:moveTo>
                  <a:lnTo>
                    <a:pt x="1638" y="1800"/>
                  </a:lnTo>
                  <a:lnTo>
                    <a:pt x="19962" y="1800"/>
                  </a:lnTo>
                  <a:cubicBezTo>
                    <a:pt x="19962" y="1800"/>
                    <a:pt x="10800" y="19397"/>
                    <a:pt x="10800" y="19397"/>
                  </a:cubicBezTo>
                  <a:close/>
                  <a:moveTo>
                    <a:pt x="21600" y="900"/>
                  </a:moveTo>
                  <a:cubicBezTo>
                    <a:pt x="21600" y="403"/>
                    <a:pt x="21380" y="0"/>
                    <a:pt x="21109" y="0"/>
                  </a:cubicBezTo>
                  <a:lnTo>
                    <a:pt x="491" y="0"/>
                  </a:lnTo>
                  <a:cubicBezTo>
                    <a:pt x="220" y="0"/>
                    <a:pt x="0" y="403"/>
                    <a:pt x="0" y="900"/>
                  </a:cubicBezTo>
                  <a:cubicBezTo>
                    <a:pt x="0" y="1141"/>
                    <a:pt x="53" y="1357"/>
                    <a:pt x="137" y="1519"/>
                  </a:cubicBezTo>
                  <a:lnTo>
                    <a:pt x="136" y="1521"/>
                  </a:lnTo>
                  <a:lnTo>
                    <a:pt x="10445" y="21321"/>
                  </a:lnTo>
                  <a:lnTo>
                    <a:pt x="10446" y="21319"/>
                  </a:lnTo>
                  <a:cubicBezTo>
                    <a:pt x="10536" y="21491"/>
                    <a:pt x="10660" y="21600"/>
                    <a:pt x="10800" y="21600"/>
                  </a:cubicBezTo>
                  <a:cubicBezTo>
                    <a:pt x="10940" y="21600"/>
                    <a:pt x="11064" y="21491"/>
                    <a:pt x="11154" y="21319"/>
                  </a:cubicBezTo>
                  <a:lnTo>
                    <a:pt x="11155" y="21321"/>
                  </a:lnTo>
                  <a:lnTo>
                    <a:pt x="21464" y="1521"/>
                  </a:lnTo>
                  <a:lnTo>
                    <a:pt x="21463" y="1519"/>
                  </a:lnTo>
                  <a:cubicBezTo>
                    <a:pt x="21547" y="1357"/>
                    <a:pt x="21600" y="1141"/>
                    <a:pt x="21600" y="9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Shape 2909">
              <a:extLst>
                <a:ext uri="{FF2B5EF4-FFF2-40B4-BE49-F238E27FC236}">
                  <a16:creationId xmlns:a16="http://schemas.microsoft.com/office/drawing/2014/main" id="{44294CF1-84FE-4500-9730-5B347E729B77}"/>
                </a:ext>
              </a:extLst>
            </p:cNvPr>
            <p:cNvSpPr/>
            <p:nvPr/>
          </p:nvSpPr>
          <p:spPr bwMode="gray">
            <a:xfrm>
              <a:off x="3929204" y="2378496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8" y="19800"/>
                  </a:moveTo>
                  <a:lnTo>
                    <a:pt x="10800" y="2203"/>
                  </a:lnTo>
                  <a:lnTo>
                    <a:pt x="19962" y="19800"/>
                  </a:lnTo>
                  <a:cubicBezTo>
                    <a:pt x="19962" y="19800"/>
                    <a:pt x="1638" y="19800"/>
                    <a:pt x="1638" y="19800"/>
                  </a:cubicBezTo>
                  <a:close/>
                  <a:moveTo>
                    <a:pt x="21463" y="20081"/>
                  </a:moveTo>
                  <a:lnTo>
                    <a:pt x="21464" y="20079"/>
                  </a:lnTo>
                  <a:lnTo>
                    <a:pt x="11155" y="279"/>
                  </a:lnTo>
                  <a:lnTo>
                    <a:pt x="11154" y="282"/>
                  </a:lnTo>
                  <a:cubicBezTo>
                    <a:pt x="11064" y="109"/>
                    <a:pt x="10940" y="0"/>
                    <a:pt x="10800" y="0"/>
                  </a:cubicBezTo>
                  <a:cubicBezTo>
                    <a:pt x="10660" y="0"/>
                    <a:pt x="10536" y="109"/>
                    <a:pt x="10446" y="282"/>
                  </a:cubicBezTo>
                  <a:lnTo>
                    <a:pt x="10445" y="279"/>
                  </a:lnTo>
                  <a:lnTo>
                    <a:pt x="136" y="20079"/>
                  </a:lnTo>
                  <a:lnTo>
                    <a:pt x="137" y="20081"/>
                  </a:lnTo>
                  <a:cubicBezTo>
                    <a:pt x="54" y="20243"/>
                    <a:pt x="0" y="20459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20459"/>
                    <a:pt x="21547" y="20243"/>
                    <a:pt x="21463" y="2008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Shape 2910">
              <a:extLst>
                <a:ext uri="{FF2B5EF4-FFF2-40B4-BE49-F238E27FC236}">
                  <a16:creationId xmlns:a16="http://schemas.microsoft.com/office/drawing/2014/main" id="{5E58547E-4FD8-499E-A970-D6DDCE800718}"/>
                </a:ext>
              </a:extLst>
            </p:cNvPr>
            <p:cNvSpPr/>
            <p:nvPr/>
          </p:nvSpPr>
          <p:spPr bwMode="gray">
            <a:xfrm>
              <a:off x="4548655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00" y="19962"/>
                  </a:moveTo>
                  <a:lnTo>
                    <a:pt x="2203" y="10800"/>
                  </a:lnTo>
                  <a:lnTo>
                    <a:pt x="19800" y="1638"/>
                  </a:lnTo>
                  <a:cubicBezTo>
                    <a:pt x="19800" y="1638"/>
                    <a:pt x="19800" y="19962"/>
                    <a:pt x="19800" y="19962"/>
                  </a:cubicBezTo>
                  <a:close/>
                  <a:moveTo>
                    <a:pt x="20700" y="0"/>
                  </a:moveTo>
                  <a:cubicBezTo>
                    <a:pt x="20459" y="0"/>
                    <a:pt x="20243" y="53"/>
                    <a:pt x="20080" y="137"/>
                  </a:cubicBezTo>
                  <a:lnTo>
                    <a:pt x="20079" y="136"/>
                  </a:lnTo>
                  <a:lnTo>
                    <a:pt x="279" y="10445"/>
                  </a:lnTo>
                  <a:lnTo>
                    <a:pt x="281" y="10446"/>
                  </a:lnTo>
                  <a:cubicBezTo>
                    <a:pt x="109" y="10536"/>
                    <a:pt x="0" y="10660"/>
                    <a:pt x="0" y="10800"/>
                  </a:cubicBezTo>
                  <a:cubicBezTo>
                    <a:pt x="0" y="10940"/>
                    <a:pt x="109" y="11065"/>
                    <a:pt x="281" y="11154"/>
                  </a:cubicBezTo>
                  <a:lnTo>
                    <a:pt x="279" y="11155"/>
                  </a:lnTo>
                  <a:lnTo>
                    <a:pt x="20079" y="21465"/>
                  </a:lnTo>
                  <a:lnTo>
                    <a:pt x="20080" y="21463"/>
                  </a:lnTo>
                  <a:cubicBezTo>
                    <a:pt x="20243" y="21547"/>
                    <a:pt x="20459" y="21600"/>
                    <a:pt x="20700" y="21600"/>
                  </a:cubicBezTo>
                  <a:cubicBezTo>
                    <a:pt x="21197" y="21600"/>
                    <a:pt x="21600" y="21380"/>
                    <a:pt x="21600" y="21109"/>
                  </a:cubicBezTo>
                  <a:lnTo>
                    <a:pt x="21600" y="491"/>
                  </a:lnTo>
                  <a:cubicBezTo>
                    <a:pt x="21600" y="220"/>
                    <a:pt x="21197" y="0"/>
                    <a:pt x="207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Shape 2911">
              <a:extLst>
                <a:ext uri="{FF2B5EF4-FFF2-40B4-BE49-F238E27FC236}">
                  <a16:creationId xmlns:a16="http://schemas.microsoft.com/office/drawing/2014/main" id="{778ABCB1-693F-4DC6-B6D5-C10782B41CBE}"/>
                </a:ext>
              </a:extLst>
            </p:cNvPr>
            <p:cNvSpPr/>
            <p:nvPr/>
          </p:nvSpPr>
          <p:spPr bwMode="gray">
            <a:xfrm>
              <a:off x="5102206" y="2312597"/>
              <a:ext cx="15815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0" y="19962"/>
                  </a:moveTo>
                  <a:lnTo>
                    <a:pt x="1800" y="1638"/>
                  </a:lnTo>
                  <a:lnTo>
                    <a:pt x="19397" y="10800"/>
                  </a:lnTo>
                  <a:cubicBezTo>
                    <a:pt x="19397" y="10800"/>
                    <a:pt x="1800" y="19962"/>
                    <a:pt x="1800" y="19962"/>
                  </a:cubicBezTo>
                  <a:close/>
                  <a:moveTo>
                    <a:pt x="21600" y="10800"/>
                  </a:moveTo>
                  <a:cubicBezTo>
                    <a:pt x="21600" y="10660"/>
                    <a:pt x="21491" y="10536"/>
                    <a:pt x="21318" y="10446"/>
                  </a:cubicBezTo>
                  <a:lnTo>
                    <a:pt x="21321" y="10445"/>
                  </a:lnTo>
                  <a:lnTo>
                    <a:pt x="1521" y="136"/>
                  </a:lnTo>
                  <a:lnTo>
                    <a:pt x="1519" y="137"/>
                  </a:lnTo>
                  <a:cubicBezTo>
                    <a:pt x="1357" y="53"/>
                    <a:pt x="1141" y="0"/>
                    <a:pt x="900" y="0"/>
                  </a:cubicBezTo>
                  <a:cubicBezTo>
                    <a:pt x="403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403" y="21600"/>
                    <a:pt x="900" y="21600"/>
                  </a:cubicBezTo>
                  <a:cubicBezTo>
                    <a:pt x="1141" y="21600"/>
                    <a:pt x="1357" y="21547"/>
                    <a:pt x="1519" y="21463"/>
                  </a:cubicBezTo>
                  <a:lnTo>
                    <a:pt x="1521" y="21465"/>
                  </a:lnTo>
                  <a:lnTo>
                    <a:pt x="21321" y="11155"/>
                  </a:lnTo>
                  <a:lnTo>
                    <a:pt x="21318" y="11154"/>
                  </a:lnTo>
                  <a:cubicBezTo>
                    <a:pt x="21491" y="11065"/>
                    <a:pt x="21600" y="10940"/>
                    <a:pt x="21600" y="108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Shape 2912">
              <a:extLst>
                <a:ext uri="{FF2B5EF4-FFF2-40B4-BE49-F238E27FC236}">
                  <a16:creationId xmlns:a16="http://schemas.microsoft.com/office/drawing/2014/main" id="{DEBBA3FB-FF4D-41A3-B6B7-31EFC78E7817}"/>
                </a:ext>
              </a:extLst>
            </p:cNvPr>
            <p:cNvSpPr/>
            <p:nvPr/>
          </p:nvSpPr>
          <p:spPr bwMode="gray">
            <a:xfrm>
              <a:off x="5589859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56" y="10453"/>
                  </a:moveTo>
                  <a:lnTo>
                    <a:pt x="18511" y="7507"/>
                  </a:lnTo>
                  <a:cubicBezTo>
                    <a:pt x="18422" y="7419"/>
                    <a:pt x="18299" y="7364"/>
                    <a:pt x="18164" y="7364"/>
                  </a:cubicBezTo>
                  <a:cubicBezTo>
                    <a:pt x="17892" y="7364"/>
                    <a:pt x="17673" y="7584"/>
                    <a:pt x="17673" y="7855"/>
                  </a:cubicBezTo>
                  <a:cubicBezTo>
                    <a:pt x="17673" y="7990"/>
                    <a:pt x="17728" y="8113"/>
                    <a:pt x="17817" y="8202"/>
                  </a:cubicBezTo>
                  <a:lnTo>
                    <a:pt x="19924" y="10309"/>
                  </a:lnTo>
                  <a:lnTo>
                    <a:pt x="11291" y="10309"/>
                  </a:lnTo>
                  <a:lnTo>
                    <a:pt x="11291" y="1676"/>
                  </a:lnTo>
                  <a:lnTo>
                    <a:pt x="13398" y="3783"/>
                  </a:lnTo>
                  <a:cubicBezTo>
                    <a:pt x="13487" y="3873"/>
                    <a:pt x="13610" y="3927"/>
                    <a:pt x="13745" y="3927"/>
                  </a:cubicBezTo>
                  <a:cubicBezTo>
                    <a:pt x="14017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8" y="55"/>
                    <a:pt x="10936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7507" y="3089"/>
                  </a:lnTo>
                  <a:cubicBezTo>
                    <a:pt x="7418" y="3178"/>
                    <a:pt x="7364" y="3301"/>
                    <a:pt x="7364" y="3436"/>
                  </a:cubicBezTo>
                  <a:cubicBezTo>
                    <a:pt x="7364" y="3708"/>
                    <a:pt x="7583" y="3927"/>
                    <a:pt x="7855" y="3927"/>
                  </a:cubicBezTo>
                  <a:cubicBezTo>
                    <a:pt x="7990" y="3927"/>
                    <a:pt x="8113" y="3873"/>
                    <a:pt x="8202" y="3783"/>
                  </a:cubicBezTo>
                  <a:lnTo>
                    <a:pt x="10309" y="1676"/>
                  </a:lnTo>
                  <a:lnTo>
                    <a:pt x="10309" y="10309"/>
                  </a:lnTo>
                  <a:lnTo>
                    <a:pt x="1676" y="10309"/>
                  </a:lnTo>
                  <a:lnTo>
                    <a:pt x="3783" y="8202"/>
                  </a:lnTo>
                  <a:cubicBezTo>
                    <a:pt x="3873" y="8113"/>
                    <a:pt x="3927" y="7990"/>
                    <a:pt x="3927" y="7855"/>
                  </a:cubicBezTo>
                  <a:cubicBezTo>
                    <a:pt x="3927" y="7584"/>
                    <a:pt x="3708" y="7364"/>
                    <a:pt x="3436" y="7364"/>
                  </a:cubicBezTo>
                  <a:cubicBezTo>
                    <a:pt x="3301" y="7364"/>
                    <a:pt x="3178" y="7419"/>
                    <a:pt x="3089" y="7507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0936"/>
                    <a:pt x="55" y="11058"/>
                    <a:pt x="144" y="11148"/>
                  </a:cubicBezTo>
                  <a:lnTo>
                    <a:pt x="3089" y="14093"/>
                  </a:lnTo>
                  <a:cubicBezTo>
                    <a:pt x="3178" y="14182"/>
                    <a:pt x="3301" y="14236"/>
                    <a:pt x="3436" y="14236"/>
                  </a:cubicBezTo>
                  <a:cubicBezTo>
                    <a:pt x="3708" y="14236"/>
                    <a:pt x="3927" y="14017"/>
                    <a:pt x="3927" y="13745"/>
                  </a:cubicBezTo>
                  <a:cubicBezTo>
                    <a:pt x="3927" y="13610"/>
                    <a:pt x="3873" y="13488"/>
                    <a:pt x="3783" y="13398"/>
                  </a:cubicBezTo>
                  <a:lnTo>
                    <a:pt x="1676" y="11291"/>
                  </a:lnTo>
                  <a:lnTo>
                    <a:pt x="10309" y="11291"/>
                  </a:lnTo>
                  <a:lnTo>
                    <a:pt x="10309" y="19924"/>
                  </a:lnTo>
                  <a:lnTo>
                    <a:pt x="8202" y="17817"/>
                  </a:lnTo>
                  <a:cubicBezTo>
                    <a:pt x="8113" y="17728"/>
                    <a:pt x="7990" y="17673"/>
                    <a:pt x="7855" y="17673"/>
                  </a:cubicBezTo>
                  <a:cubicBezTo>
                    <a:pt x="7583" y="17673"/>
                    <a:pt x="7364" y="17893"/>
                    <a:pt x="7364" y="18164"/>
                  </a:cubicBezTo>
                  <a:cubicBezTo>
                    <a:pt x="7364" y="18300"/>
                    <a:pt x="7418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6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2" y="18422"/>
                    <a:pt x="14236" y="18300"/>
                    <a:pt x="14236" y="18164"/>
                  </a:cubicBezTo>
                  <a:cubicBezTo>
                    <a:pt x="14236" y="17893"/>
                    <a:pt x="14017" y="17673"/>
                    <a:pt x="13745" y="17673"/>
                  </a:cubicBezTo>
                  <a:cubicBezTo>
                    <a:pt x="13610" y="17673"/>
                    <a:pt x="13487" y="17728"/>
                    <a:pt x="13398" y="17817"/>
                  </a:cubicBezTo>
                  <a:lnTo>
                    <a:pt x="11291" y="19924"/>
                  </a:lnTo>
                  <a:lnTo>
                    <a:pt x="11291" y="11291"/>
                  </a:lnTo>
                  <a:lnTo>
                    <a:pt x="19924" y="11291"/>
                  </a:lnTo>
                  <a:lnTo>
                    <a:pt x="17817" y="13398"/>
                  </a:lnTo>
                  <a:cubicBezTo>
                    <a:pt x="17728" y="13488"/>
                    <a:pt x="17673" y="13610"/>
                    <a:pt x="17673" y="13745"/>
                  </a:cubicBezTo>
                  <a:cubicBezTo>
                    <a:pt x="17673" y="14017"/>
                    <a:pt x="17892" y="14236"/>
                    <a:pt x="18164" y="14236"/>
                  </a:cubicBezTo>
                  <a:cubicBezTo>
                    <a:pt x="18299" y="14236"/>
                    <a:pt x="18422" y="14182"/>
                    <a:pt x="18511" y="14093"/>
                  </a:cubicBezTo>
                  <a:lnTo>
                    <a:pt x="21456" y="11148"/>
                  </a:lnTo>
                  <a:cubicBezTo>
                    <a:pt x="21545" y="11058"/>
                    <a:pt x="21600" y="10936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Shape 2913">
              <a:extLst>
                <a:ext uri="{FF2B5EF4-FFF2-40B4-BE49-F238E27FC236}">
                  <a16:creationId xmlns:a16="http://schemas.microsoft.com/office/drawing/2014/main" id="{2B2B3BB1-EED2-468E-8AD9-7E25B73FC2F5}"/>
                </a:ext>
              </a:extLst>
            </p:cNvPr>
            <p:cNvSpPr/>
            <p:nvPr/>
          </p:nvSpPr>
          <p:spPr bwMode="gray">
            <a:xfrm>
              <a:off x="6143411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6200" y="7855"/>
                  </a:moveTo>
                  <a:cubicBezTo>
                    <a:pt x="16073" y="7855"/>
                    <a:pt x="15959" y="7905"/>
                    <a:pt x="15873" y="7985"/>
                  </a:cubicBezTo>
                  <a:lnTo>
                    <a:pt x="15870" y="7982"/>
                  </a:lnTo>
                  <a:lnTo>
                    <a:pt x="10800" y="12591"/>
                  </a:lnTo>
                  <a:lnTo>
                    <a:pt x="5730" y="7982"/>
                  </a:lnTo>
                  <a:lnTo>
                    <a:pt x="5727" y="7985"/>
                  </a:lnTo>
                  <a:cubicBezTo>
                    <a:pt x="5641" y="7905"/>
                    <a:pt x="5527" y="7855"/>
                    <a:pt x="5400" y="7855"/>
                  </a:cubicBezTo>
                  <a:cubicBezTo>
                    <a:pt x="5129" y="7855"/>
                    <a:pt x="4909" y="8074"/>
                    <a:pt x="4909" y="8345"/>
                  </a:cubicBezTo>
                  <a:cubicBezTo>
                    <a:pt x="4909" y="8489"/>
                    <a:pt x="4973" y="8616"/>
                    <a:pt x="5073" y="8706"/>
                  </a:cubicBezTo>
                  <a:lnTo>
                    <a:pt x="5070" y="8709"/>
                  </a:lnTo>
                  <a:lnTo>
                    <a:pt x="10470" y="13618"/>
                  </a:lnTo>
                  <a:lnTo>
                    <a:pt x="10473" y="13615"/>
                  </a:lnTo>
                  <a:cubicBezTo>
                    <a:pt x="10559" y="13695"/>
                    <a:pt x="10673" y="13745"/>
                    <a:pt x="10800" y="13745"/>
                  </a:cubicBezTo>
                  <a:cubicBezTo>
                    <a:pt x="10927" y="13745"/>
                    <a:pt x="11041" y="13695"/>
                    <a:pt x="11127" y="13615"/>
                  </a:cubicBezTo>
                  <a:lnTo>
                    <a:pt x="11130" y="13618"/>
                  </a:lnTo>
                  <a:lnTo>
                    <a:pt x="16530" y="8709"/>
                  </a:lnTo>
                  <a:lnTo>
                    <a:pt x="16527" y="8706"/>
                  </a:lnTo>
                  <a:cubicBezTo>
                    <a:pt x="16627" y="8616"/>
                    <a:pt x="16691" y="8489"/>
                    <a:pt x="16691" y="8345"/>
                  </a:cubicBezTo>
                  <a:cubicBezTo>
                    <a:pt x="16691" y="8074"/>
                    <a:pt x="16471" y="7855"/>
                    <a:pt x="16200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Shape 2914">
              <a:extLst>
                <a:ext uri="{FF2B5EF4-FFF2-40B4-BE49-F238E27FC236}">
                  <a16:creationId xmlns:a16="http://schemas.microsoft.com/office/drawing/2014/main" id="{A887DCCD-747E-4103-959C-C65BEB80FD58}"/>
                </a:ext>
              </a:extLst>
            </p:cNvPr>
            <p:cNvSpPr/>
            <p:nvPr/>
          </p:nvSpPr>
          <p:spPr bwMode="gray">
            <a:xfrm>
              <a:off x="6696962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30" y="12891"/>
                  </a:moveTo>
                  <a:lnTo>
                    <a:pt x="11130" y="7982"/>
                  </a:lnTo>
                  <a:lnTo>
                    <a:pt x="11128" y="7985"/>
                  </a:lnTo>
                  <a:cubicBezTo>
                    <a:pt x="11040" y="7906"/>
                    <a:pt x="10927" y="7855"/>
                    <a:pt x="10800" y="7855"/>
                  </a:cubicBezTo>
                  <a:cubicBezTo>
                    <a:pt x="10673" y="7855"/>
                    <a:pt x="10559" y="7906"/>
                    <a:pt x="10473" y="7985"/>
                  </a:cubicBezTo>
                  <a:lnTo>
                    <a:pt x="10469" y="7982"/>
                  </a:lnTo>
                  <a:lnTo>
                    <a:pt x="5069" y="12891"/>
                  </a:lnTo>
                  <a:lnTo>
                    <a:pt x="5073" y="12895"/>
                  </a:lnTo>
                  <a:cubicBezTo>
                    <a:pt x="4973" y="12984"/>
                    <a:pt x="4909" y="13111"/>
                    <a:pt x="4909" y="13255"/>
                  </a:cubicBezTo>
                  <a:cubicBezTo>
                    <a:pt x="4909" y="13526"/>
                    <a:pt x="5129" y="13745"/>
                    <a:pt x="5400" y="13745"/>
                  </a:cubicBezTo>
                  <a:cubicBezTo>
                    <a:pt x="5527" y="13745"/>
                    <a:pt x="5640" y="13694"/>
                    <a:pt x="5728" y="13615"/>
                  </a:cubicBezTo>
                  <a:lnTo>
                    <a:pt x="5730" y="13618"/>
                  </a:lnTo>
                  <a:lnTo>
                    <a:pt x="10800" y="9009"/>
                  </a:lnTo>
                  <a:lnTo>
                    <a:pt x="15869" y="13618"/>
                  </a:lnTo>
                  <a:lnTo>
                    <a:pt x="15873" y="13615"/>
                  </a:lnTo>
                  <a:cubicBezTo>
                    <a:pt x="15959" y="13694"/>
                    <a:pt x="16073" y="13745"/>
                    <a:pt x="16200" y="13745"/>
                  </a:cubicBezTo>
                  <a:cubicBezTo>
                    <a:pt x="16471" y="13745"/>
                    <a:pt x="16691" y="13526"/>
                    <a:pt x="16691" y="13255"/>
                  </a:cubicBezTo>
                  <a:cubicBezTo>
                    <a:pt x="16691" y="13111"/>
                    <a:pt x="16627" y="12984"/>
                    <a:pt x="16527" y="12895"/>
                  </a:cubicBezTo>
                  <a:cubicBezTo>
                    <a:pt x="16527" y="12895"/>
                    <a:pt x="16530" y="12891"/>
                    <a:pt x="16530" y="12891"/>
                  </a:cubicBezTo>
                  <a:close/>
                  <a:moveTo>
                    <a:pt x="20618" y="19636"/>
                  </a:moveTo>
                  <a:cubicBezTo>
                    <a:pt x="20618" y="20179"/>
                    <a:pt x="20179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9"/>
                    <a:pt x="982" y="19636"/>
                  </a:cubicBezTo>
                  <a:lnTo>
                    <a:pt x="982" y="1964"/>
                  </a:lnTo>
                  <a:cubicBezTo>
                    <a:pt x="982" y="1421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9" y="982"/>
                    <a:pt x="20618" y="1421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Shape 2915">
              <a:extLst>
                <a:ext uri="{FF2B5EF4-FFF2-40B4-BE49-F238E27FC236}">
                  <a16:creationId xmlns:a16="http://schemas.microsoft.com/office/drawing/2014/main" id="{C399EE7C-651E-4A08-AEBD-6582C803F5D1}"/>
                </a:ext>
              </a:extLst>
            </p:cNvPr>
            <p:cNvSpPr/>
            <p:nvPr/>
          </p:nvSpPr>
          <p:spPr bwMode="gray">
            <a:xfrm>
              <a:off x="7250514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2273" y="4909"/>
                  </a:moveTo>
                  <a:cubicBezTo>
                    <a:pt x="12128" y="4909"/>
                    <a:pt x="12002" y="4974"/>
                    <a:pt x="11912" y="5073"/>
                  </a:cubicBezTo>
                  <a:lnTo>
                    <a:pt x="11909" y="5070"/>
                  </a:lnTo>
                  <a:lnTo>
                    <a:pt x="7000" y="10470"/>
                  </a:lnTo>
                  <a:lnTo>
                    <a:pt x="7003" y="10473"/>
                  </a:lnTo>
                  <a:cubicBezTo>
                    <a:pt x="6924" y="10559"/>
                    <a:pt x="6873" y="10673"/>
                    <a:pt x="6873" y="10800"/>
                  </a:cubicBezTo>
                  <a:cubicBezTo>
                    <a:pt x="6873" y="10927"/>
                    <a:pt x="6924" y="11041"/>
                    <a:pt x="7003" y="11127"/>
                  </a:cubicBezTo>
                  <a:lnTo>
                    <a:pt x="7000" y="11130"/>
                  </a:lnTo>
                  <a:lnTo>
                    <a:pt x="11909" y="16530"/>
                  </a:lnTo>
                  <a:lnTo>
                    <a:pt x="11912" y="16527"/>
                  </a:lnTo>
                  <a:cubicBezTo>
                    <a:pt x="12002" y="16627"/>
                    <a:pt x="12128" y="16691"/>
                    <a:pt x="12273" y="16691"/>
                  </a:cubicBezTo>
                  <a:cubicBezTo>
                    <a:pt x="12544" y="16691"/>
                    <a:pt x="12764" y="16471"/>
                    <a:pt x="12764" y="16200"/>
                  </a:cubicBezTo>
                  <a:cubicBezTo>
                    <a:pt x="12764" y="16073"/>
                    <a:pt x="12713" y="15960"/>
                    <a:pt x="12633" y="15873"/>
                  </a:cubicBezTo>
                  <a:lnTo>
                    <a:pt x="12636" y="15870"/>
                  </a:lnTo>
                  <a:lnTo>
                    <a:pt x="8027" y="10800"/>
                  </a:lnTo>
                  <a:lnTo>
                    <a:pt x="12636" y="5730"/>
                  </a:lnTo>
                  <a:lnTo>
                    <a:pt x="12633" y="5728"/>
                  </a:lnTo>
                  <a:cubicBezTo>
                    <a:pt x="12713" y="5641"/>
                    <a:pt x="12764" y="5527"/>
                    <a:pt x="12764" y="5400"/>
                  </a:cubicBezTo>
                  <a:cubicBezTo>
                    <a:pt x="12764" y="5129"/>
                    <a:pt x="12544" y="4909"/>
                    <a:pt x="12273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Shape 2916">
              <a:extLst>
                <a:ext uri="{FF2B5EF4-FFF2-40B4-BE49-F238E27FC236}">
                  <a16:creationId xmlns:a16="http://schemas.microsoft.com/office/drawing/2014/main" id="{63597108-60B4-4A33-B4C2-FA822C084535}"/>
                </a:ext>
              </a:extLst>
            </p:cNvPr>
            <p:cNvSpPr/>
            <p:nvPr/>
          </p:nvSpPr>
          <p:spPr bwMode="gray">
            <a:xfrm>
              <a:off x="7804065" y="1759045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597" y="10473"/>
                  </a:moveTo>
                  <a:lnTo>
                    <a:pt x="14600" y="10470"/>
                  </a:lnTo>
                  <a:lnTo>
                    <a:pt x="9691" y="5070"/>
                  </a:lnTo>
                  <a:lnTo>
                    <a:pt x="9688" y="5073"/>
                  </a:lnTo>
                  <a:cubicBezTo>
                    <a:pt x="9598" y="4974"/>
                    <a:pt x="9471" y="4909"/>
                    <a:pt x="9327" y="4909"/>
                  </a:cubicBezTo>
                  <a:cubicBezTo>
                    <a:pt x="9056" y="4909"/>
                    <a:pt x="8836" y="5129"/>
                    <a:pt x="8836" y="5400"/>
                  </a:cubicBezTo>
                  <a:cubicBezTo>
                    <a:pt x="8836" y="5527"/>
                    <a:pt x="8887" y="5641"/>
                    <a:pt x="8967" y="5728"/>
                  </a:cubicBezTo>
                  <a:lnTo>
                    <a:pt x="8964" y="5730"/>
                  </a:lnTo>
                  <a:lnTo>
                    <a:pt x="13573" y="10800"/>
                  </a:lnTo>
                  <a:lnTo>
                    <a:pt x="8964" y="15870"/>
                  </a:lnTo>
                  <a:lnTo>
                    <a:pt x="8967" y="15873"/>
                  </a:lnTo>
                  <a:cubicBezTo>
                    <a:pt x="8887" y="15960"/>
                    <a:pt x="8836" y="16073"/>
                    <a:pt x="8836" y="16200"/>
                  </a:cubicBezTo>
                  <a:cubicBezTo>
                    <a:pt x="8836" y="16471"/>
                    <a:pt x="9056" y="16691"/>
                    <a:pt x="9327" y="16691"/>
                  </a:cubicBezTo>
                  <a:cubicBezTo>
                    <a:pt x="9471" y="16691"/>
                    <a:pt x="9598" y="16627"/>
                    <a:pt x="9688" y="16527"/>
                  </a:cubicBezTo>
                  <a:lnTo>
                    <a:pt x="9691" y="16530"/>
                  </a:lnTo>
                  <a:lnTo>
                    <a:pt x="14600" y="11130"/>
                  </a:lnTo>
                  <a:lnTo>
                    <a:pt x="14597" y="11127"/>
                  </a:lnTo>
                  <a:cubicBezTo>
                    <a:pt x="14676" y="11041"/>
                    <a:pt x="14727" y="10927"/>
                    <a:pt x="14727" y="10800"/>
                  </a:cubicBezTo>
                  <a:cubicBezTo>
                    <a:pt x="14727" y="10673"/>
                    <a:pt x="14676" y="10559"/>
                    <a:pt x="14597" y="104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Shape 2917">
              <a:extLst>
                <a:ext uri="{FF2B5EF4-FFF2-40B4-BE49-F238E27FC236}">
                  <a16:creationId xmlns:a16="http://schemas.microsoft.com/office/drawing/2014/main" id="{74FCEF4B-EC2C-4C1C-8906-958A1AFFEF0E}"/>
                </a:ext>
              </a:extLst>
            </p:cNvPr>
            <p:cNvSpPr/>
            <p:nvPr/>
          </p:nvSpPr>
          <p:spPr bwMode="gray">
            <a:xfrm>
              <a:off x="8403746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2459" y="14727"/>
                  </a:lnTo>
                  <a:lnTo>
                    <a:pt x="8640" y="14727"/>
                  </a:lnTo>
                  <a:lnTo>
                    <a:pt x="8640" y="1964"/>
                  </a:lnTo>
                  <a:cubicBezTo>
                    <a:pt x="8640" y="1422"/>
                    <a:pt x="9285" y="982"/>
                    <a:pt x="10080" y="982"/>
                  </a:cubicBezTo>
                  <a:lnTo>
                    <a:pt x="11520" y="982"/>
                  </a:lnTo>
                  <a:cubicBezTo>
                    <a:pt x="12315" y="982"/>
                    <a:pt x="12960" y="1422"/>
                    <a:pt x="12960" y="1964"/>
                  </a:cubicBezTo>
                  <a:lnTo>
                    <a:pt x="12960" y="14727"/>
                  </a:lnTo>
                  <a:lnTo>
                    <a:pt x="19142" y="14727"/>
                  </a:lnTo>
                  <a:cubicBezTo>
                    <a:pt x="19142" y="14727"/>
                    <a:pt x="10800" y="20415"/>
                    <a:pt x="10800" y="20415"/>
                  </a:cubicBezTo>
                  <a:close/>
                  <a:moveTo>
                    <a:pt x="20880" y="13745"/>
                  </a:moveTo>
                  <a:lnTo>
                    <a:pt x="14400" y="13745"/>
                  </a:lnTo>
                  <a:lnTo>
                    <a:pt x="14400" y="1964"/>
                  </a:lnTo>
                  <a:cubicBezTo>
                    <a:pt x="14400" y="879"/>
                    <a:pt x="13110" y="0"/>
                    <a:pt x="11520" y="0"/>
                  </a:cubicBezTo>
                  <a:lnTo>
                    <a:pt x="10080" y="0"/>
                  </a:lnTo>
                  <a:cubicBezTo>
                    <a:pt x="8490" y="0"/>
                    <a:pt x="7200" y="879"/>
                    <a:pt x="7200" y="1964"/>
                  </a:cubicBezTo>
                  <a:lnTo>
                    <a:pt x="7200" y="13745"/>
                  </a:lnTo>
                  <a:lnTo>
                    <a:pt x="720" y="13745"/>
                  </a:lnTo>
                  <a:cubicBezTo>
                    <a:pt x="323" y="13745"/>
                    <a:pt x="0" y="13966"/>
                    <a:pt x="0" y="14236"/>
                  </a:cubicBezTo>
                  <a:cubicBezTo>
                    <a:pt x="0" y="14373"/>
                    <a:pt x="81" y="14495"/>
                    <a:pt x="212" y="14584"/>
                  </a:cubicBezTo>
                  <a:lnTo>
                    <a:pt x="10290" y="21456"/>
                  </a:lnTo>
                  <a:cubicBezTo>
                    <a:pt x="10421" y="21545"/>
                    <a:pt x="10601" y="21600"/>
                    <a:pt x="10800" y="21600"/>
                  </a:cubicBezTo>
                  <a:cubicBezTo>
                    <a:pt x="10999" y="21600"/>
                    <a:pt x="11179" y="21545"/>
                    <a:pt x="11310" y="21456"/>
                  </a:cubicBezTo>
                  <a:lnTo>
                    <a:pt x="21388" y="14584"/>
                  </a:lnTo>
                  <a:cubicBezTo>
                    <a:pt x="21519" y="14495"/>
                    <a:pt x="21600" y="14373"/>
                    <a:pt x="21600" y="14236"/>
                  </a:cubicBezTo>
                  <a:cubicBezTo>
                    <a:pt x="21600" y="13966"/>
                    <a:pt x="21277" y="13745"/>
                    <a:pt x="20880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Shape 2918">
              <a:extLst>
                <a:ext uri="{FF2B5EF4-FFF2-40B4-BE49-F238E27FC236}">
                  <a16:creationId xmlns:a16="http://schemas.microsoft.com/office/drawing/2014/main" id="{3506CCBC-100D-4270-97FE-C44E6E52CCF1}"/>
                </a:ext>
              </a:extLst>
            </p:cNvPr>
            <p:cNvSpPr/>
            <p:nvPr/>
          </p:nvSpPr>
          <p:spPr bwMode="gray">
            <a:xfrm>
              <a:off x="8957298" y="1759045"/>
              <a:ext cx="197698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960" y="6873"/>
                  </a:moveTo>
                  <a:lnTo>
                    <a:pt x="12960" y="19636"/>
                  </a:lnTo>
                  <a:cubicBezTo>
                    <a:pt x="12960" y="20178"/>
                    <a:pt x="12315" y="20618"/>
                    <a:pt x="11520" y="20618"/>
                  </a:cubicBezTo>
                  <a:lnTo>
                    <a:pt x="10080" y="20618"/>
                  </a:lnTo>
                  <a:cubicBezTo>
                    <a:pt x="9285" y="20618"/>
                    <a:pt x="8640" y="20178"/>
                    <a:pt x="8640" y="19636"/>
                  </a:cubicBezTo>
                  <a:lnTo>
                    <a:pt x="8640" y="6873"/>
                  </a:lnTo>
                  <a:lnTo>
                    <a:pt x="2458" y="6873"/>
                  </a:lnTo>
                  <a:lnTo>
                    <a:pt x="10800" y="1185"/>
                  </a:lnTo>
                  <a:lnTo>
                    <a:pt x="19142" y="6873"/>
                  </a:lnTo>
                  <a:cubicBezTo>
                    <a:pt x="19142" y="6873"/>
                    <a:pt x="12960" y="6873"/>
                    <a:pt x="12960" y="6873"/>
                  </a:cubicBezTo>
                  <a:close/>
                  <a:moveTo>
                    <a:pt x="21389" y="7017"/>
                  </a:moveTo>
                  <a:lnTo>
                    <a:pt x="11309" y="144"/>
                  </a:lnTo>
                  <a:cubicBezTo>
                    <a:pt x="11179" y="55"/>
                    <a:pt x="10999" y="0"/>
                    <a:pt x="10800" y="0"/>
                  </a:cubicBezTo>
                  <a:cubicBezTo>
                    <a:pt x="10601" y="0"/>
                    <a:pt x="10422" y="55"/>
                    <a:pt x="10291" y="144"/>
                  </a:cubicBezTo>
                  <a:lnTo>
                    <a:pt x="211" y="7017"/>
                  </a:lnTo>
                  <a:cubicBezTo>
                    <a:pt x="81" y="7106"/>
                    <a:pt x="0" y="7228"/>
                    <a:pt x="0" y="7364"/>
                  </a:cubicBezTo>
                  <a:cubicBezTo>
                    <a:pt x="0" y="7635"/>
                    <a:pt x="322" y="7855"/>
                    <a:pt x="720" y="7855"/>
                  </a:cubicBezTo>
                  <a:lnTo>
                    <a:pt x="7200" y="7855"/>
                  </a:lnTo>
                  <a:lnTo>
                    <a:pt x="7200" y="19636"/>
                  </a:lnTo>
                  <a:cubicBezTo>
                    <a:pt x="7200" y="20721"/>
                    <a:pt x="8490" y="21600"/>
                    <a:pt x="10080" y="21600"/>
                  </a:cubicBezTo>
                  <a:lnTo>
                    <a:pt x="11520" y="21600"/>
                  </a:lnTo>
                  <a:cubicBezTo>
                    <a:pt x="13110" y="21600"/>
                    <a:pt x="14400" y="20721"/>
                    <a:pt x="14400" y="19636"/>
                  </a:cubicBezTo>
                  <a:lnTo>
                    <a:pt x="14400" y="7855"/>
                  </a:lnTo>
                  <a:lnTo>
                    <a:pt x="20880" y="7855"/>
                  </a:lnTo>
                  <a:cubicBezTo>
                    <a:pt x="21278" y="7855"/>
                    <a:pt x="21600" y="7635"/>
                    <a:pt x="21600" y="7364"/>
                  </a:cubicBezTo>
                  <a:cubicBezTo>
                    <a:pt x="21600" y="7228"/>
                    <a:pt x="21519" y="7106"/>
                    <a:pt x="21389" y="70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Shape 2919">
              <a:extLst>
                <a:ext uri="{FF2B5EF4-FFF2-40B4-BE49-F238E27FC236}">
                  <a16:creationId xmlns:a16="http://schemas.microsoft.com/office/drawing/2014/main" id="{61A4B2BF-58FC-4AE4-A764-EC1DA18B777C}"/>
                </a:ext>
              </a:extLst>
            </p:cNvPr>
            <p:cNvSpPr/>
            <p:nvPr/>
          </p:nvSpPr>
          <p:spPr bwMode="gray">
            <a:xfrm>
              <a:off x="9464720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1520"/>
                  </a:moveTo>
                  <a:cubicBezTo>
                    <a:pt x="20618" y="12315"/>
                    <a:pt x="20178" y="12960"/>
                    <a:pt x="19636" y="12960"/>
                  </a:cubicBezTo>
                  <a:lnTo>
                    <a:pt x="6873" y="12960"/>
                  </a:lnTo>
                  <a:lnTo>
                    <a:pt x="6873" y="19142"/>
                  </a:lnTo>
                  <a:lnTo>
                    <a:pt x="1185" y="10800"/>
                  </a:lnTo>
                  <a:lnTo>
                    <a:pt x="6873" y="2458"/>
                  </a:lnTo>
                  <a:lnTo>
                    <a:pt x="6873" y="8640"/>
                  </a:lnTo>
                  <a:lnTo>
                    <a:pt x="19636" y="8640"/>
                  </a:lnTo>
                  <a:cubicBezTo>
                    <a:pt x="20178" y="8640"/>
                    <a:pt x="20618" y="9285"/>
                    <a:pt x="20618" y="10080"/>
                  </a:cubicBezTo>
                  <a:cubicBezTo>
                    <a:pt x="20618" y="10080"/>
                    <a:pt x="20618" y="11520"/>
                    <a:pt x="20618" y="11520"/>
                  </a:cubicBezTo>
                  <a:close/>
                  <a:moveTo>
                    <a:pt x="19636" y="7200"/>
                  </a:moveTo>
                  <a:lnTo>
                    <a:pt x="7855" y="7200"/>
                  </a:lnTo>
                  <a:lnTo>
                    <a:pt x="7855" y="720"/>
                  </a:lnTo>
                  <a:cubicBezTo>
                    <a:pt x="7855" y="322"/>
                    <a:pt x="7635" y="0"/>
                    <a:pt x="7364" y="0"/>
                  </a:cubicBezTo>
                  <a:cubicBezTo>
                    <a:pt x="7228" y="0"/>
                    <a:pt x="7105" y="81"/>
                    <a:pt x="7017" y="212"/>
                  </a:cubicBezTo>
                  <a:lnTo>
                    <a:pt x="144" y="10291"/>
                  </a:lnTo>
                  <a:cubicBezTo>
                    <a:pt x="55" y="10422"/>
                    <a:pt x="0" y="10602"/>
                    <a:pt x="0" y="10800"/>
                  </a:cubicBezTo>
                  <a:cubicBezTo>
                    <a:pt x="0" y="11000"/>
                    <a:pt x="55" y="11180"/>
                    <a:pt x="144" y="11310"/>
                  </a:cubicBezTo>
                  <a:lnTo>
                    <a:pt x="7017" y="21389"/>
                  </a:lnTo>
                  <a:cubicBezTo>
                    <a:pt x="7105" y="21520"/>
                    <a:pt x="7228" y="21600"/>
                    <a:pt x="7364" y="21600"/>
                  </a:cubicBezTo>
                  <a:cubicBezTo>
                    <a:pt x="7635" y="21600"/>
                    <a:pt x="7855" y="21278"/>
                    <a:pt x="7855" y="20880"/>
                  </a:cubicBezTo>
                  <a:lnTo>
                    <a:pt x="7855" y="14400"/>
                  </a:lnTo>
                  <a:lnTo>
                    <a:pt x="19636" y="14400"/>
                  </a:lnTo>
                  <a:cubicBezTo>
                    <a:pt x="20721" y="14400"/>
                    <a:pt x="21600" y="13110"/>
                    <a:pt x="21600" y="11520"/>
                  </a:cubicBezTo>
                  <a:lnTo>
                    <a:pt x="21600" y="10080"/>
                  </a:lnTo>
                  <a:cubicBezTo>
                    <a:pt x="21600" y="8490"/>
                    <a:pt x="20721" y="7200"/>
                    <a:pt x="19636" y="72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Shape 2920">
              <a:extLst>
                <a:ext uri="{FF2B5EF4-FFF2-40B4-BE49-F238E27FC236}">
                  <a16:creationId xmlns:a16="http://schemas.microsoft.com/office/drawing/2014/main" id="{0D4420F3-D5CB-49BA-AC13-C773A1F51847}"/>
                </a:ext>
              </a:extLst>
            </p:cNvPr>
            <p:cNvSpPr/>
            <p:nvPr/>
          </p:nvSpPr>
          <p:spPr bwMode="gray">
            <a:xfrm>
              <a:off x="10018271" y="1805174"/>
              <a:ext cx="289956" cy="197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142"/>
                  </a:moveTo>
                  <a:lnTo>
                    <a:pt x="14727" y="12960"/>
                  </a:lnTo>
                  <a:lnTo>
                    <a:pt x="1964" y="12960"/>
                  </a:lnTo>
                  <a:cubicBezTo>
                    <a:pt x="1421" y="12960"/>
                    <a:pt x="982" y="12316"/>
                    <a:pt x="982" y="11520"/>
                  </a:cubicBezTo>
                  <a:lnTo>
                    <a:pt x="982" y="10080"/>
                  </a:lnTo>
                  <a:cubicBezTo>
                    <a:pt x="982" y="9285"/>
                    <a:pt x="1421" y="8640"/>
                    <a:pt x="1964" y="8640"/>
                  </a:cubicBezTo>
                  <a:lnTo>
                    <a:pt x="14727" y="8640"/>
                  </a:lnTo>
                  <a:lnTo>
                    <a:pt x="14727" y="2458"/>
                  </a:lnTo>
                  <a:lnTo>
                    <a:pt x="20415" y="10800"/>
                  </a:lnTo>
                  <a:cubicBezTo>
                    <a:pt x="20415" y="10800"/>
                    <a:pt x="14727" y="19142"/>
                    <a:pt x="14727" y="19142"/>
                  </a:cubicBezTo>
                  <a:close/>
                  <a:moveTo>
                    <a:pt x="21456" y="10291"/>
                  </a:moveTo>
                  <a:lnTo>
                    <a:pt x="14584" y="212"/>
                  </a:lnTo>
                  <a:cubicBezTo>
                    <a:pt x="14495" y="81"/>
                    <a:pt x="14372" y="0"/>
                    <a:pt x="14236" y="0"/>
                  </a:cubicBezTo>
                  <a:cubicBezTo>
                    <a:pt x="13965" y="0"/>
                    <a:pt x="13745" y="322"/>
                    <a:pt x="13745" y="720"/>
                  </a:cubicBezTo>
                  <a:lnTo>
                    <a:pt x="13745" y="7200"/>
                  </a:lnTo>
                  <a:lnTo>
                    <a:pt x="1964" y="7200"/>
                  </a:lnTo>
                  <a:cubicBezTo>
                    <a:pt x="879" y="7200"/>
                    <a:pt x="0" y="8490"/>
                    <a:pt x="0" y="10080"/>
                  </a:cubicBezTo>
                  <a:lnTo>
                    <a:pt x="0" y="11520"/>
                  </a:lnTo>
                  <a:cubicBezTo>
                    <a:pt x="0" y="13110"/>
                    <a:pt x="879" y="14400"/>
                    <a:pt x="1964" y="14400"/>
                  </a:cubicBezTo>
                  <a:lnTo>
                    <a:pt x="13745" y="14400"/>
                  </a:lnTo>
                  <a:lnTo>
                    <a:pt x="13745" y="20880"/>
                  </a:lnTo>
                  <a:cubicBezTo>
                    <a:pt x="13745" y="21278"/>
                    <a:pt x="13965" y="21600"/>
                    <a:pt x="14236" y="21600"/>
                  </a:cubicBezTo>
                  <a:cubicBezTo>
                    <a:pt x="14372" y="21600"/>
                    <a:pt x="14495" y="21520"/>
                    <a:pt x="14583" y="21389"/>
                  </a:cubicBezTo>
                  <a:lnTo>
                    <a:pt x="21456" y="11310"/>
                  </a:lnTo>
                  <a:cubicBezTo>
                    <a:pt x="21545" y="11180"/>
                    <a:pt x="21600" y="11000"/>
                    <a:pt x="21600" y="10800"/>
                  </a:cubicBezTo>
                  <a:cubicBezTo>
                    <a:pt x="21600" y="10601"/>
                    <a:pt x="21545" y="10421"/>
                    <a:pt x="21456" y="1029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Shape 2921">
              <a:extLst>
                <a:ext uri="{FF2B5EF4-FFF2-40B4-BE49-F238E27FC236}">
                  <a16:creationId xmlns:a16="http://schemas.microsoft.com/office/drawing/2014/main" id="{14EB9F24-14EF-43DA-A654-4D35BE36D659}"/>
                </a:ext>
              </a:extLst>
            </p:cNvPr>
            <p:cNvSpPr/>
            <p:nvPr/>
          </p:nvSpPr>
          <p:spPr bwMode="gray">
            <a:xfrm>
              <a:off x="10611362" y="1759045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02" y="5052"/>
                  </a:moveTo>
                  <a:lnTo>
                    <a:pt x="14652" y="144"/>
                  </a:lnTo>
                  <a:cubicBezTo>
                    <a:pt x="14530" y="55"/>
                    <a:pt x="14362" y="0"/>
                    <a:pt x="14175" y="0"/>
                  </a:cubicBezTo>
                  <a:cubicBezTo>
                    <a:pt x="13802" y="0"/>
                    <a:pt x="13500" y="220"/>
                    <a:pt x="13500" y="491"/>
                  </a:cubicBezTo>
                  <a:cubicBezTo>
                    <a:pt x="13500" y="627"/>
                    <a:pt x="13576" y="749"/>
                    <a:pt x="13698" y="838"/>
                  </a:cubicBezTo>
                  <a:lnTo>
                    <a:pt x="19296" y="4909"/>
                  </a:lnTo>
                  <a:lnTo>
                    <a:pt x="675" y="4909"/>
                  </a:lnTo>
                  <a:cubicBezTo>
                    <a:pt x="302" y="4909"/>
                    <a:pt x="0" y="5129"/>
                    <a:pt x="0" y="5400"/>
                  </a:cubicBezTo>
                  <a:lnTo>
                    <a:pt x="0" y="21109"/>
                  </a:lnTo>
                  <a:cubicBezTo>
                    <a:pt x="0" y="21380"/>
                    <a:pt x="302" y="21600"/>
                    <a:pt x="675" y="21600"/>
                  </a:cubicBezTo>
                  <a:cubicBezTo>
                    <a:pt x="1048" y="21600"/>
                    <a:pt x="1350" y="21380"/>
                    <a:pt x="1350" y="21109"/>
                  </a:cubicBezTo>
                  <a:lnTo>
                    <a:pt x="1350" y="5891"/>
                  </a:lnTo>
                  <a:lnTo>
                    <a:pt x="19296" y="5891"/>
                  </a:lnTo>
                  <a:lnTo>
                    <a:pt x="13698" y="9962"/>
                  </a:lnTo>
                  <a:cubicBezTo>
                    <a:pt x="13575" y="10051"/>
                    <a:pt x="13500" y="10173"/>
                    <a:pt x="13500" y="10309"/>
                  </a:cubicBezTo>
                  <a:cubicBezTo>
                    <a:pt x="13500" y="10580"/>
                    <a:pt x="13802" y="10800"/>
                    <a:pt x="14175" y="10800"/>
                  </a:cubicBezTo>
                  <a:cubicBezTo>
                    <a:pt x="14362" y="10800"/>
                    <a:pt x="14531" y="10745"/>
                    <a:pt x="14653" y="10656"/>
                  </a:cubicBezTo>
                  <a:lnTo>
                    <a:pt x="21402" y="5747"/>
                  </a:lnTo>
                  <a:cubicBezTo>
                    <a:pt x="21525" y="5658"/>
                    <a:pt x="21600" y="5536"/>
                    <a:pt x="21600" y="5400"/>
                  </a:cubicBezTo>
                  <a:cubicBezTo>
                    <a:pt x="21600" y="5264"/>
                    <a:pt x="21524" y="5142"/>
                    <a:pt x="21402" y="50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Shape 2922">
              <a:extLst>
                <a:ext uri="{FF2B5EF4-FFF2-40B4-BE49-F238E27FC236}">
                  <a16:creationId xmlns:a16="http://schemas.microsoft.com/office/drawing/2014/main" id="{D9062271-E604-41A8-A89C-4E06E5CF00A4}"/>
                </a:ext>
              </a:extLst>
            </p:cNvPr>
            <p:cNvSpPr/>
            <p:nvPr/>
          </p:nvSpPr>
          <p:spPr bwMode="gray">
            <a:xfrm>
              <a:off x="11125375" y="1798584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2546"/>
                  </a:moveTo>
                  <a:lnTo>
                    <a:pt x="16691" y="2304"/>
                  </a:lnTo>
                  <a:lnTo>
                    <a:pt x="20415" y="7425"/>
                  </a:lnTo>
                  <a:cubicBezTo>
                    <a:pt x="20415" y="7425"/>
                    <a:pt x="16691" y="12546"/>
                    <a:pt x="16691" y="12546"/>
                  </a:cubicBezTo>
                  <a:close/>
                  <a:moveTo>
                    <a:pt x="21456" y="6948"/>
                  </a:moveTo>
                  <a:lnTo>
                    <a:pt x="16548" y="198"/>
                  </a:lnTo>
                  <a:cubicBezTo>
                    <a:pt x="16458" y="76"/>
                    <a:pt x="16336" y="0"/>
                    <a:pt x="16200" y="0"/>
                  </a:cubicBezTo>
                  <a:cubicBezTo>
                    <a:pt x="15929" y="0"/>
                    <a:pt x="15709" y="302"/>
                    <a:pt x="15709" y="675"/>
                  </a:cubicBezTo>
                  <a:lnTo>
                    <a:pt x="15709" y="6750"/>
                  </a:lnTo>
                  <a:lnTo>
                    <a:pt x="491" y="6750"/>
                  </a:lnTo>
                  <a:cubicBezTo>
                    <a:pt x="220" y="6750"/>
                    <a:pt x="0" y="7052"/>
                    <a:pt x="0" y="7425"/>
                  </a:cubicBezTo>
                  <a:lnTo>
                    <a:pt x="0" y="20925"/>
                  </a:lnTo>
                  <a:cubicBezTo>
                    <a:pt x="0" y="21298"/>
                    <a:pt x="220" y="21600"/>
                    <a:pt x="491" y="21600"/>
                  </a:cubicBezTo>
                  <a:cubicBezTo>
                    <a:pt x="762" y="21600"/>
                    <a:pt x="982" y="21298"/>
                    <a:pt x="982" y="20925"/>
                  </a:cubicBezTo>
                  <a:lnTo>
                    <a:pt x="982" y="8100"/>
                  </a:lnTo>
                  <a:lnTo>
                    <a:pt x="15709" y="8100"/>
                  </a:lnTo>
                  <a:lnTo>
                    <a:pt x="15709" y="14175"/>
                  </a:lnTo>
                  <a:cubicBezTo>
                    <a:pt x="15709" y="14548"/>
                    <a:pt x="15929" y="14850"/>
                    <a:pt x="16200" y="14850"/>
                  </a:cubicBezTo>
                  <a:cubicBezTo>
                    <a:pt x="16336" y="14850"/>
                    <a:pt x="16458" y="14775"/>
                    <a:pt x="16547" y="14652"/>
                  </a:cubicBezTo>
                  <a:lnTo>
                    <a:pt x="21456" y="7903"/>
                  </a:lnTo>
                  <a:cubicBezTo>
                    <a:pt x="21545" y="7781"/>
                    <a:pt x="21600" y="7612"/>
                    <a:pt x="21600" y="7425"/>
                  </a:cubicBezTo>
                  <a:cubicBezTo>
                    <a:pt x="21600" y="7238"/>
                    <a:pt x="21545" y="7070"/>
                    <a:pt x="21456" y="6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Shape 2923">
              <a:extLst>
                <a:ext uri="{FF2B5EF4-FFF2-40B4-BE49-F238E27FC236}">
                  <a16:creationId xmlns:a16="http://schemas.microsoft.com/office/drawing/2014/main" id="{F137B381-D840-43CB-907B-4B69F83CD560}"/>
                </a:ext>
              </a:extLst>
            </p:cNvPr>
            <p:cNvSpPr/>
            <p:nvPr/>
          </p:nvSpPr>
          <p:spPr bwMode="gray">
            <a:xfrm>
              <a:off x="6143411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4236" y="0"/>
                  </a:lnTo>
                  <a:cubicBezTo>
                    <a:pt x="13966" y="0"/>
                    <a:pt x="13745" y="220"/>
                    <a:pt x="13745" y="491"/>
                  </a:cubicBezTo>
                  <a:cubicBezTo>
                    <a:pt x="13745" y="762"/>
                    <a:pt x="13966" y="982"/>
                    <a:pt x="14236" y="982"/>
                  </a:cubicBezTo>
                  <a:lnTo>
                    <a:pt x="19924" y="982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2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20618" y="1676"/>
                  </a:lnTo>
                  <a:lnTo>
                    <a:pt x="20618" y="7364"/>
                  </a:lnTo>
                  <a:cubicBezTo>
                    <a:pt x="20618" y="7635"/>
                    <a:pt x="20838" y="7855"/>
                    <a:pt x="21109" y="7855"/>
                  </a:cubicBezTo>
                  <a:cubicBezTo>
                    <a:pt x="21380" y="7855"/>
                    <a:pt x="21600" y="7635"/>
                    <a:pt x="21600" y="7364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9327" y="11782"/>
                  </a:moveTo>
                  <a:cubicBezTo>
                    <a:pt x="9192" y="11782"/>
                    <a:pt x="9069" y="11837"/>
                    <a:pt x="8980" y="11926"/>
                  </a:cubicBezTo>
                  <a:lnTo>
                    <a:pt x="982" y="19924"/>
                  </a:lnTo>
                  <a:lnTo>
                    <a:pt x="982" y="14236"/>
                  </a:lnTo>
                  <a:cubicBezTo>
                    <a:pt x="982" y="13966"/>
                    <a:pt x="762" y="13745"/>
                    <a:pt x="491" y="13745"/>
                  </a:cubicBezTo>
                  <a:cubicBezTo>
                    <a:pt x="220" y="13745"/>
                    <a:pt x="0" y="13966"/>
                    <a:pt x="0" y="14236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7364" y="21600"/>
                  </a:lnTo>
                  <a:cubicBezTo>
                    <a:pt x="7634" y="21600"/>
                    <a:pt x="7855" y="21380"/>
                    <a:pt x="7855" y="21109"/>
                  </a:cubicBezTo>
                  <a:cubicBezTo>
                    <a:pt x="7855" y="20838"/>
                    <a:pt x="7634" y="20618"/>
                    <a:pt x="7364" y="20618"/>
                  </a:cubicBezTo>
                  <a:lnTo>
                    <a:pt x="1676" y="20618"/>
                  </a:lnTo>
                  <a:lnTo>
                    <a:pt x="9674" y="12620"/>
                  </a:lnTo>
                  <a:cubicBezTo>
                    <a:pt x="9763" y="12531"/>
                    <a:pt x="9818" y="12408"/>
                    <a:pt x="9818" y="12273"/>
                  </a:cubicBez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Shape 2924">
              <a:extLst>
                <a:ext uri="{FF2B5EF4-FFF2-40B4-BE49-F238E27FC236}">
                  <a16:creationId xmlns:a16="http://schemas.microsoft.com/office/drawing/2014/main" id="{1C0BCD5A-1FF2-4EF5-B5B5-73884703FD66}"/>
                </a:ext>
              </a:extLst>
            </p:cNvPr>
            <p:cNvSpPr/>
            <p:nvPr/>
          </p:nvSpPr>
          <p:spPr bwMode="gray">
            <a:xfrm>
              <a:off x="6696962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1"/>
                  </a:move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2764" y="8142"/>
                  </a:lnTo>
                  <a:lnTo>
                    <a:pt x="12764" y="2455"/>
                  </a:lnTo>
                  <a:cubicBezTo>
                    <a:pt x="12764" y="2184"/>
                    <a:pt x="12544" y="1964"/>
                    <a:pt x="12273" y="1964"/>
                  </a:cubicBezTo>
                  <a:cubicBezTo>
                    <a:pt x="12002" y="1964"/>
                    <a:pt x="11782" y="2184"/>
                    <a:pt x="11782" y="2455"/>
                  </a:cubicBezTo>
                  <a:lnTo>
                    <a:pt x="11782" y="9327"/>
                  </a:lnTo>
                  <a:cubicBezTo>
                    <a:pt x="11782" y="9599"/>
                    <a:pt x="12002" y="9818"/>
                    <a:pt x="12273" y="9818"/>
                  </a:cubicBezTo>
                  <a:lnTo>
                    <a:pt x="19145" y="9818"/>
                  </a:lnTo>
                  <a:cubicBezTo>
                    <a:pt x="19416" y="9818"/>
                    <a:pt x="19636" y="9599"/>
                    <a:pt x="19636" y="9327"/>
                  </a:cubicBezTo>
                  <a:cubicBezTo>
                    <a:pt x="19636" y="9056"/>
                    <a:pt x="19416" y="8836"/>
                    <a:pt x="19145" y="8836"/>
                  </a:cubicBezTo>
                  <a:lnTo>
                    <a:pt x="13458" y="8836"/>
                  </a:lnTo>
                  <a:lnTo>
                    <a:pt x="21456" y="838"/>
                  </a:lnTo>
                  <a:cubicBezTo>
                    <a:pt x="21545" y="750"/>
                    <a:pt x="21600" y="627"/>
                    <a:pt x="21600" y="491"/>
                  </a:cubicBezTo>
                  <a:moveTo>
                    <a:pt x="9327" y="11782"/>
                  </a:moveTo>
                  <a:lnTo>
                    <a:pt x="2455" y="11782"/>
                  </a:lnTo>
                  <a:cubicBezTo>
                    <a:pt x="2184" y="11782"/>
                    <a:pt x="1964" y="12002"/>
                    <a:pt x="1964" y="12273"/>
                  </a:cubicBezTo>
                  <a:cubicBezTo>
                    <a:pt x="1964" y="12544"/>
                    <a:pt x="2184" y="12764"/>
                    <a:pt x="2455" y="12764"/>
                  </a:cubicBezTo>
                  <a:lnTo>
                    <a:pt x="8142" y="12764"/>
                  </a:lnTo>
                  <a:lnTo>
                    <a:pt x="144" y="20762"/>
                  </a:lnTo>
                  <a:cubicBezTo>
                    <a:pt x="55" y="20851"/>
                    <a:pt x="0" y="20973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8836" y="13458"/>
                  </a:lnTo>
                  <a:lnTo>
                    <a:pt x="8836" y="19145"/>
                  </a:lnTo>
                  <a:cubicBezTo>
                    <a:pt x="8836" y="19417"/>
                    <a:pt x="9056" y="19636"/>
                    <a:pt x="9327" y="19636"/>
                  </a:cubicBezTo>
                  <a:cubicBezTo>
                    <a:pt x="9598" y="19636"/>
                    <a:pt x="9818" y="19417"/>
                    <a:pt x="9818" y="19145"/>
                  </a:cubicBezTo>
                  <a:lnTo>
                    <a:pt x="9818" y="12273"/>
                  </a:lnTo>
                  <a:cubicBezTo>
                    <a:pt x="9818" y="12002"/>
                    <a:pt x="9598" y="11782"/>
                    <a:pt x="9327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Shape 2925">
              <a:extLst>
                <a:ext uri="{FF2B5EF4-FFF2-40B4-BE49-F238E27FC236}">
                  <a16:creationId xmlns:a16="http://schemas.microsoft.com/office/drawing/2014/main" id="{0107D737-D38F-4269-A7E5-97DECA3B0769}"/>
                </a:ext>
              </a:extLst>
            </p:cNvPr>
            <p:cNvSpPr/>
            <p:nvPr/>
          </p:nvSpPr>
          <p:spPr bwMode="gray">
            <a:xfrm>
              <a:off x="7250514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0"/>
                  </a:moveTo>
                  <a:lnTo>
                    <a:pt x="16200" y="0"/>
                  </a:lnTo>
                  <a:cubicBezTo>
                    <a:pt x="15929" y="0"/>
                    <a:pt x="15709" y="220"/>
                    <a:pt x="15709" y="491"/>
                  </a:cubicBezTo>
                  <a:cubicBezTo>
                    <a:pt x="15709" y="762"/>
                    <a:pt x="15929" y="982"/>
                    <a:pt x="16200" y="982"/>
                  </a:cubicBezTo>
                  <a:lnTo>
                    <a:pt x="19924" y="982"/>
                  </a:lnTo>
                  <a:lnTo>
                    <a:pt x="6035" y="14871"/>
                  </a:lnTo>
                  <a:cubicBezTo>
                    <a:pt x="5946" y="14960"/>
                    <a:pt x="5891" y="15083"/>
                    <a:pt x="5891" y="15218"/>
                  </a:cubicBezTo>
                  <a:cubicBezTo>
                    <a:pt x="5891" y="15489"/>
                    <a:pt x="6111" y="15709"/>
                    <a:pt x="6382" y="15709"/>
                  </a:cubicBezTo>
                  <a:cubicBezTo>
                    <a:pt x="6517" y="15709"/>
                    <a:pt x="6640" y="15654"/>
                    <a:pt x="6729" y="15565"/>
                  </a:cubicBezTo>
                  <a:lnTo>
                    <a:pt x="20618" y="1676"/>
                  </a:lnTo>
                  <a:lnTo>
                    <a:pt x="20618" y="5400"/>
                  </a:lnTo>
                  <a:cubicBezTo>
                    <a:pt x="20618" y="5671"/>
                    <a:pt x="20838" y="5890"/>
                    <a:pt x="21109" y="5890"/>
                  </a:cubicBezTo>
                  <a:cubicBezTo>
                    <a:pt x="21380" y="5890"/>
                    <a:pt x="21600" y="5671"/>
                    <a:pt x="21600" y="5400"/>
                  </a:cubicBezTo>
                  <a:lnTo>
                    <a:pt x="21600" y="491"/>
                  </a:lnTo>
                  <a:cubicBezTo>
                    <a:pt x="21600" y="220"/>
                    <a:pt x="21380" y="0"/>
                    <a:pt x="21109" y="0"/>
                  </a:cubicBezTo>
                  <a:moveTo>
                    <a:pt x="17182" y="6873"/>
                  </a:moveTo>
                  <a:cubicBezTo>
                    <a:pt x="16911" y="6873"/>
                    <a:pt x="16691" y="7092"/>
                    <a:pt x="16691" y="7364"/>
                  </a:cubicBezTo>
                  <a:lnTo>
                    <a:pt x="16691" y="20618"/>
                  </a:lnTo>
                  <a:lnTo>
                    <a:pt x="982" y="20618"/>
                  </a:lnTo>
                  <a:lnTo>
                    <a:pt x="982" y="4909"/>
                  </a:lnTo>
                  <a:lnTo>
                    <a:pt x="14236" y="4909"/>
                  </a:lnTo>
                  <a:cubicBezTo>
                    <a:pt x="14507" y="4909"/>
                    <a:pt x="14727" y="4689"/>
                    <a:pt x="14727" y="4418"/>
                  </a:cubicBezTo>
                  <a:cubicBezTo>
                    <a:pt x="14727" y="4147"/>
                    <a:pt x="14507" y="3927"/>
                    <a:pt x="14236" y="3927"/>
                  </a:cubicBezTo>
                  <a:lnTo>
                    <a:pt x="491" y="3927"/>
                  </a:lnTo>
                  <a:cubicBezTo>
                    <a:pt x="220" y="3927"/>
                    <a:pt x="0" y="4147"/>
                    <a:pt x="0" y="4418"/>
                  </a:cubicBezTo>
                  <a:lnTo>
                    <a:pt x="0" y="21109"/>
                  </a:lnTo>
                  <a:cubicBezTo>
                    <a:pt x="0" y="21380"/>
                    <a:pt x="220" y="21600"/>
                    <a:pt x="491" y="21600"/>
                  </a:cubicBezTo>
                  <a:lnTo>
                    <a:pt x="17182" y="21600"/>
                  </a:lnTo>
                  <a:cubicBezTo>
                    <a:pt x="17453" y="21600"/>
                    <a:pt x="17673" y="21380"/>
                    <a:pt x="17673" y="21109"/>
                  </a:cubicBezTo>
                  <a:lnTo>
                    <a:pt x="17673" y="7364"/>
                  </a:lnTo>
                  <a:cubicBezTo>
                    <a:pt x="17673" y="7092"/>
                    <a:pt x="17453" y="6873"/>
                    <a:pt x="17182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Shape 2926">
              <a:extLst>
                <a:ext uri="{FF2B5EF4-FFF2-40B4-BE49-F238E27FC236}">
                  <a16:creationId xmlns:a16="http://schemas.microsoft.com/office/drawing/2014/main" id="{57EFCA34-4820-4DC8-8648-470835B520D8}"/>
                </a:ext>
              </a:extLst>
            </p:cNvPr>
            <p:cNvSpPr/>
            <p:nvPr/>
          </p:nvSpPr>
          <p:spPr bwMode="gray">
            <a:xfrm>
              <a:off x="7804065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0383"/>
                  </a:moveTo>
                  <a:lnTo>
                    <a:pt x="11424" y="15709"/>
                  </a:lnTo>
                  <a:lnTo>
                    <a:pt x="13255" y="15709"/>
                  </a:lnTo>
                  <a:cubicBezTo>
                    <a:pt x="13525" y="15709"/>
                    <a:pt x="13745" y="15490"/>
                    <a:pt x="13745" y="15218"/>
                  </a:cubicBezTo>
                  <a:lnTo>
                    <a:pt x="13745" y="14727"/>
                  </a:lnTo>
                  <a:cubicBezTo>
                    <a:pt x="13635" y="12724"/>
                    <a:pt x="12844" y="5590"/>
                    <a:pt x="7448" y="1949"/>
                  </a:cubicBezTo>
                  <a:cubicBezTo>
                    <a:pt x="16407" y="4809"/>
                    <a:pt x="17536" y="12588"/>
                    <a:pt x="17673" y="14727"/>
                  </a:cubicBezTo>
                  <a:lnTo>
                    <a:pt x="17673" y="15218"/>
                  </a:lnTo>
                  <a:cubicBezTo>
                    <a:pt x="17673" y="15490"/>
                    <a:pt x="17893" y="15709"/>
                    <a:pt x="18164" y="15709"/>
                  </a:cubicBezTo>
                  <a:lnTo>
                    <a:pt x="19994" y="15709"/>
                  </a:lnTo>
                  <a:cubicBezTo>
                    <a:pt x="19994" y="15709"/>
                    <a:pt x="15709" y="20383"/>
                    <a:pt x="15709" y="20383"/>
                  </a:cubicBezTo>
                  <a:close/>
                  <a:moveTo>
                    <a:pt x="21109" y="14727"/>
                  </a:moveTo>
                  <a:lnTo>
                    <a:pt x="18658" y="14727"/>
                  </a:lnTo>
                  <a:cubicBezTo>
                    <a:pt x="18450" y="12130"/>
                    <a:pt x="16610" y="0"/>
                    <a:pt x="491" y="0"/>
                  </a:cubicBezTo>
                  <a:cubicBezTo>
                    <a:pt x="219" y="0"/>
                    <a:pt x="0" y="220"/>
                    <a:pt x="0" y="491"/>
                  </a:cubicBezTo>
                  <a:cubicBezTo>
                    <a:pt x="0" y="762"/>
                    <a:pt x="219" y="982"/>
                    <a:pt x="491" y="982"/>
                  </a:cubicBezTo>
                  <a:cubicBezTo>
                    <a:pt x="5558" y="982"/>
                    <a:pt x="9160" y="3417"/>
                    <a:pt x="11196" y="8250"/>
                  </a:cubicBezTo>
                  <a:cubicBezTo>
                    <a:pt x="12394" y="11093"/>
                    <a:pt x="12657" y="13684"/>
                    <a:pt x="12715" y="14727"/>
                  </a:cubicBezTo>
                  <a:lnTo>
                    <a:pt x="10309" y="14727"/>
                  </a:lnTo>
                  <a:cubicBezTo>
                    <a:pt x="10038" y="14727"/>
                    <a:pt x="9818" y="14947"/>
                    <a:pt x="9818" y="15218"/>
                  </a:cubicBezTo>
                  <a:cubicBezTo>
                    <a:pt x="9818" y="15354"/>
                    <a:pt x="9873" y="15477"/>
                    <a:pt x="9962" y="15566"/>
                  </a:cubicBezTo>
                  <a:lnTo>
                    <a:pt x="15362" y="21456"/>
                  </a:lnTo>
                  <a:cubicBezTo>
                    <a:pt x="15450" y="21545"/>
                    <a:pt x="15574" y="21600"/>
                    <a:pt x="15709" y="21600"/>
                  </a:cubicBezTo>
                  <a:cubicBezTo>
                    <a:pt x="15845" y="21600"/>
                    <a:pt x="15967" y="21545"/>
                    <a:pt x="16056" y="21456"/>
                  </a:cubicBezTo>
                  <a:lnTo>
                    <a:pt x="21456" y="15566"/>
                  </a:lnTo>
                  <a:cubicBezTo>
                    <a:pt x="21545" y="15477"/>
                    <a:pt x="21600" y="15354"/>
                    <a:pt x="21600" y="15218"/>
                  </a:cubicBezTo>
                  <a:cubicBezTo>
                    <a:pt x="21600" y="14947"/>
                    <a:pt x="21380" y="14727"/>
                    <a:pt x="21109" y="147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Shape 2927">
              <a:extLst>
                <a:ext uri="{FF2B5EF4-FFF2-40B4-BE49-F238E27FC236}">
                  <a16:creationId xmlns:a16="http://schemas.microsoft.com/office/drawing/2014/main" id="{4E82498E-C4C8-487D-B84C-811F3A1508B2}"/>
                </a:ext>
              </a:extLst>
            </p:cNvPr>
            <p:cNvSpPr/>
            <p:nvPr/>
          </p:nvSpPr>
          <p:spPr bwMode="gray">
            <a:xfrm>
              <a:off x="8357617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5891"/>
                  </a:moveTo>
                  <a:cubicBezTo>
                    <a:pt x="17893" y="5891"/>
                    <a:pt x="17673" y="6111"/>
                    <a:pt x="17673" y="6382"/>
                  </a:cubicBezTo>
                  <a:lnTo>
                    <a:pt x="17673" y="6873"/>
                  </a:lnTo>
                  <a:cubicBezTo>
                    <a:pt x="17536" y="9012"/>
                    <a:pt x="16407" y="16791"/>
                    <a:pt x="7448" y="19651"/>
                  </a:cubicBezTo>
                  <a:cubicBezTo>
                    <a:pt x="12844" y="16010"/>
                    <a:pt x="13635" y="8876"/>
                    <a:pt x="13745" y="6873"/>
                  </a:cubicBezTo>
                  <a:lnTo>
                    <a:pt x="13745" y="6382"/>
                  </a:lnTo>
                  <a:cubicBezTo>
                    <a:pt x="13745" y="6111"/>
                    <a:pt x="13525" y="5891"/>
                    <a:pt x="13255" y="5891"/>
                  </a:cubicBezTo>
                  <a:lnTo>
                    <a:pt x="11424" y="5891"/>
                  </a:lnTo>
                  <a:lnTo>
                    <a:pt x="15709" y="1217"/>
                  </a:lnTo>
                  <a:lnTo>
                    <a:pt x="19994" y="5891"/>
                  </a:lnTo>
                  <a:cubicBezTo>
                    <a:pt x="19994" y="5891"/>
                    <a:pt x="18164" y="5891"/>
                    <a:pt x="18164" y="5891"/>
                  </a:cubicBezTo>
                  <a:close/>
                  <a:moveTo>
                    <a:pt x="21456" y="6035"/>
                  </a:moveTo>
                  <a:lnTo>
                    <a:pt x="16056" y="144"/>
                  </a:lnTo>
                  <a:cubicBezTo>
                    <a:pt x="15967" y="55"/>
                    <a:pt x="15845" y="0"/>
                    <a:pt x="15709" y="0"/>
                  </a:cubicBezTo>
                  <a:cubicBezTo>
                    <a:pt x="15573" y="0"/>
                    <a:pt x="15450" y="55"/>
                    <a:pt x="15362" y="144"/>
                  </a:cubicBezTo>
                  <a:lnTo>
                    <a:pt x="9962" y="6035"/>
                  </a:lnTo>
                  <a:cubicBezTo>
                    <a:pt x="9873" y="6124"/>
                    <a:pt x="9818" y="6247"/>
                    <a:pt x="9818" y="6382"/>
                  </a:cubicBezTo>
                  <a:cubicBezTo>
                    <a:pt x="9818" y="6653"/>
                    <a:pt x="10038" y="6873"/>
                    <a:pt x="10309" y="6873"/>
                  </a:cubicBezTo>
                  <a:lnTo>
                    <a:pt x="12715" y="6873"/>
                  </a:lnTo>
                  <a:cubicBezTo>
                    <a:pt x="12657" y="7916"/>
                    <a:pt x="12394" y="10507"/>
                    <a:pt x="11196" y="13351"/>
                  </a:cubicBezTo>
                  <a:cubicBezTo>
                    <a:pt x="9160" y="18184"/>
                    <a:pt x="5558" y="20618"/>
                    <a:pt x="491" y="20618"/>
                  </a:cubicBezTo>
                  <a:cubicBezTo>
                    <a:pt x="219" y="20618"/>
                    <a:pt x="0" y="20838"/>
                    <a:pt x="0" y="21109"/>
                  </a:cubicBezTo>
                  <a:cubicBezTo>
                    <a:pt x="0" y="21380"/>
                    <a:pt x="219" y="21600"/>
                    <a:pt x="491" y="21600"/>
                  </a:cubicBezTo>
                  <a:cubicBezTo>
                    <a:pt x="16610" y="21600"/>
                    <a:pt x="18450" y="9470"/>
                    <a:pt x="18658" y="6873"/>
                  </a:cubicBezTo>
                  <a:lnTo>
                    <a:pt x="21109" y="6873"/>
                  </a:lnTo>
                  <a:cubicBezTo>
                    <a:pt x="21380" y="6873"/>
                    <a:pt x="21600" y="6653"/>
                    <a:pt x="21600" y="6382"/>
                  </a:cubicBezTo>
                  <a:cubicBezTo>
                    <a:pt x="21600" y="6247"/>
                    <a:pt x="21545" y="6124"/>
                    <a:pt x="21456" y="603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Shape 2928">
              <a:extLst>
                <a:ext uri="{FF2B5EF4-FFF2-40B4-BE49-F238E27FC236}">
                  <a16:creationId xmlns:a16="http://schemas.microsoft.com/office/drawing/2014/main" id="{D1F0DA19-3B3A-4173-9AEE-60ACFC8599B1}"/>
                </a:ext>
              </a:extLst>
            </p:cNvPr>
            <p:cNvSpPr/>
            <p:nvPr/>
          </p:nvSpPr>
          <p:spPr bwMode="gray">
            <a:xfrm>
              <a:off x="8911168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73" y="7855"/>
                  </a:moveTo>
                  <a:lnTo>
                    <a:pt x="6382" y="7855"/>
                  </a:lnTo>
                  <a:cubicBezTo>
                    <a:pt x="6110" y="7855"/>
                    <a:pt x="5891" y="8075"/>
                    <a:pt x="5891" y="8345"/>
                  </a:cubicBezTo>
                  <a:lnTo>
                    <a:pt x="5891" y="10176"/>
                  </a:lnTo>
                  <a:lnTo>
                    <a:pt x="1216" y="5891"/>
                  </a:lnTo>
                  <a:lnTo>
                    <a:pt x="5891" y="1606"/>
                  </a:lnTo>
                  <a:lnTo>
                    <a:pt x="5891" y="3436"/>
                  </a:lnTo>
                  <a:cubicBezTo>
                    <a:pt x="5891" y="3708"/>
                    <a:pt x="6110" y="3927"/>
                    <a:pt x="6382" y="3927"/>
                  </a:cubicBezTo>
                  <a:lnTo>
                    <a:pt x="6873" y="3927"/>
                  </a:lnTo>
                  <a:cubicBezTo>
                    <a:pt x="9012" y="4064"/>
                    <a:pt x="16791" y="5193"/>
                    <a:pt x="19651" y="14152"/>
                  </a:cubicBezTo>
                  <a:cubicBezTo>
                    <a:pt x="16010" y="8756"/>
                    <a:pt x="8876" y="7965"/>
                    <a:pt x="6873" y="7855"/>
                  </a:cubicBezTo>
                  <a:moveTo>
                    <a:pt x="6873" y="2942"/>
                  </a:moveTo>
                  <a:lnTo>
                    <a:pt x="6873" y="491"/>
                  </a:lnTo>
                  <a:cubicBezTo>
                    <a:pt x="6873" y="220"/>
                    <a:pt x="6653" y="0"/>
                    <a:pt x="6382" y="0"/>
                  </a:cubicBezTo>
                  <a:cubicBezTo>
                    <a:pt x="6246" y="0"/>
                    <a:pt x="6123" y="55"/>
                    <a:pt x="6035" y="144"/>
                  </a:cubicBezTo>
                  <a:lnTo>
                    <a:pt x="144" y="5544"/>
                  </a:lnTo>
                  <a:cubicBezTo>
                    <a:pt x="55" y="5633"/>
                    <a:pt x="0" y="5756"/>
                    <a:pt x="0" y="5891"/>
                  </a:cubicBezTo>
                  <a:cubicBezTo>
                    <a:pt x="0" y="6027"/>
                    <a:pt x="55" y="6150"/>
                    <a:pt x="144" y="6238"/>
                  </a:cubicBezTo>
                  <a:lnTo>
                    <a:pt x="6035" y="11638"/>
                  </a:lnTo>
                  <a:cubicBezTo>
                    <a:pt x="6123" y="11727"/>
                    <a:pt x="6246" y="11782"/>
                    <a:pt x="6382" y="11782"/>
                  </a:cubicBezTo>
                  <a:cubicBezTo>
                    <a:pt x="6653" y="11782"/>
                    <a:pt x="6873" y="11562"/>
                    <a:pt x="6873" y="11291"/>
                  </a:cubicBezTo>
                  <a:lnTo>
                    <a:pt x="6873" y="8884"/>
                  </a:lnTo>
                  <a:cubicBezTo>
                    <a:pt x="7916" y="8943"/>
                    <a:pt x="10507" y="9206"/>
                    <a:pt x="13350" y="10404"/>
                  </a:cubicBezTo>
                  <a:cubicBezTo>
                    <a:pt x="18183" y="12440"/>
                    <a:pt x="20618" y="16042"/>
                    <a:pt x="20618" y="21109"/>
                  </a:cubicBezTo>
                  <a:cubicBezTo>
                    <a:pt x="20618" y="21380"/>
                    <a:pt x="20838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4990"/>
                    <a:pt x="9470" y="3150"/>
                    <a:pt x="6873" y="294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Shape 2929">
              <a:extLst>
                <a:ext uri="{FF2B5EF4-FFF2-40B4-BE49-F238E27FC236}">
                  <a16:creationId xmlns:a16="http://schemas.microsoft.com/office/drawing/2014/main" id="{2E5A54B6-EE83-4F79-B643-4AFEA5338B5A}"/>
                </a:ext>
              </a:extLst>
            </p:cNvPr>
            <p:cNvSpPr/>
            <p:nvPr/>
          </p:nvSpPr>
          <p:spPr bwMode="gray">
            <a:xfrm>
              <a:off x="9464720" y="2312597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0176"/>
                  </a:moveTo>
                  <a:lnTo>
                    <a:pt x="15709" y="8345"/>
                  </a:lnTo>
                  <a:cubicBezTo>
                    <a:pt x="15709" y="8075"/>
                    <a:pt x="15490" y="7855"/>
                    <a:pt x="15218" y="7855"/>
                  </a:cubicBezTo>
                  <a:lnTo>
                    <a:pt x="14727" y="7855"/>
                  </a:lnTo>
                  <a:cubicBezTo>
                    <a:pt x="12724" y="7965"/>
                    <a:pt x="5590" y="8756"/>
                    <a:pt x="1949" y="14152"/>
                  </a:cubicBezTo>
                  <a:cubicBezTo>
                    <a:pt x="4809" y="5193"/>
                    <a:pt x="12588" y="4064"/>
                    <a:pt x="14727" y="3927"/>
                  </a:cubicBezTo>
                  <a:lnTo>
                    <a:pt x="15218" y="3927"/>
                  </a:lnTo>
                  <a:cubicBezTo>
                    <a:pt x="15490" y="3927"/>
                    <a:pt x="15709" y="3708"/>
                    <a:pt x="15709" y="3436"/>
                  </a:cubicBezTo>
                  <a:lnTo>
                    <a:pt x="15709" y="1606"/>
                  </a:lnTo>
                  <a:lnTo>
                    <a:pt x="20383" y="5891"/>
                  </a:lnTo>
                  <a:cubicBezTo>
                    <a:pt x="20383" y="5891"/>
                    <a:pt x="15709" y="10176"/>
                    <a:pt x="15709" y="10176"/>
                  </a:cubicBezTo>
                  <a:close/>
                  <a:moveTo>
                    <a:pt x="21456" y="5544"/>
                  </a:moveTo>
                  <a:lnTo>
                    <a:pt x="15565" y="144"/>
                  </a:lnTo>
                  <a:cubicBezTo>
                    <a:pt x="15477" y="55"/>
                    <a:pt x="15354" y="0"/>
                    <a:pt x="15218" y="0"/>
                  </a:cubicBezTo>
                  <a:cubicBezTo>
                    <a:pt x="14947" y="0"/>
                    <a:pt x="14727" y="220"/>
                    <a:pt x="14727" y="491"/>
                  </a:cubicBezTo>
                  <a:lnTo>
                    <a:pt x="14727" y="2942"/>
                  </a:lnTo>
                  <a:cubicBezTo>
                    <a:pt x="12130" y="3150"/>
                    <a:pt x="0" y="4991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762" y="21600"/>
                    <a:pt x="982" y="21380"/>
                    <a:pt x="982" y="21109"/>
                  </a:cubicBezTo>
                  <a:cubicBezTo>
                    <a:pt x="982" y="16042"/>
                    <a:pt x="3417" y="12440"/>
                    <a:pt x="8250" y="10404"/>
                  </a:cubicBezTo>
                  <a:cubicBezTo>
                    <a:pt x="11093" y="9206"/>
                    <a:pt x="13684" y="8943"/>
                    <a:pt x="14727" y="8884"/>
                  </a:cubicBezTo>
                  <a:lnTo>
                    <a:pt x="14727" y="11291"/>
                  </a:lnTo>
                  <a:cubicBezTo>
                    <a:pt x="14727" y="11562"/>
                    <a:pt x="14947" y="11782"/>
                    <a:pt x="15218" y="11782"/>
                  </a:cubicBezTo>
                  <a:cubicBezTo>
                    <a:pt x="15354" y="11782"/>
                    <a:pt x="15477" y="11727"/>
                    <a:pt x="15565" y="11638"/>
                  </a:cubicBezTo>
                  <a:lnTo>
                    <a:pt x="21456" y="6238"/>
                  </a:lnTo>
                  <a:cubicBezTo>
                    <a:pt x="21545" y="6150"/>
                    <a:pt x="21600" y="6027"/>
                    <a:pt x="21600" y="5891"/>
                  </a:cubicBezTo>
                  <a:cubicBezTo>
                    <a:pt x="21600" y="5756"/>
                    <a:pt x="21545" y="5633"/>
                    <a:pt x="21456" y="554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Shape 2930">
              <a:extLst>
                <a:ext uri="{FF2B5EF4-FFF2-40B4-BE49-F238E27FC236}">
                  <a16:creationId xmlns:a16="http://schemas.microsoft.com/office/drawing/2014/main" id="{75CAA399-F13A-46BB-81DD-EA5B51A7FF0B}"/>
                </a:ext>
              </a:extLst>
            </p:cNvPr>
            <p:cNvSpPr/>
            <p:nvPr/>
          </p:nvSpPr>
          <p:spPr bwMode="gray">
            <a:xfrm>
              <a:off x="10018271" y="2365316"/>
              <a:ext cx="289956" cy="1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55" y="1543"/>
                  </a:moveTo>
                  <a:cubicBezTo>
                    <a:pt x="12837" y="1543"/>
                    <a:pt x="10309" y="5515"/>
                    <a:pt x="10309" y="10414"/>
                  </a:cubicBezTo>
                  <a:lnTo>
                    <a:pt x="10309" y="11186"/>
                  </a:lnTo>
                  <a:cubicBezTo>
                    <a:pt x="10309" y="15233"/>
                    <a:pt x="8221" y="18514"/>
                    <a:pt x="5645" y="18514"/>
                  </a:cubicBezTo>
                  <a:cubicBezTo>
                    <a:pt x="3070" y="18514"/>
                    <a:pt x="982" y="15233"/>
                    <a:pt x="982" y="11186"/>
                  </a:cubicBezTo>
                  <a:lnTo>
                    <a:pt x="982" y="10414"/>
                  </a:lnTo>
                  <a:cubicBezTo>
                    <a:pt x="982" y="6367"/>
                    <a:pt x="3070" y="3086"/>
                    <a:pt x="5645" y="3086"/>
                  </a:cubicBezTo>
                  <a:cubicBezTo>
                    <a:pt x="6670" y="3086"/>
                    <a:pt x="7575" y="3630"/>
                    <a:pt x="8321" y="4629"/>
                  </a:cubicBezTo>
                  <a:lnTo>
                    <a:pt x="6382" y="4629"/>
                  </a:lnTo>
                  <a:cubicBezTo>
                    <a:pt x="6110" y="4629"/>
                    <a:pt x="5891" y="4974"/>
                    <a:pt x="5891" y="5400"/>
                  </a:cubicBezTo>
                  <a:cubicBezTo>
                    <a:pt x="5891" y="5826"/>
                    <a:pt x="6110" y="6171"/>
                    <a:pt x="6382" y="6171"/>
                  </a:cubicBezTo>
                  <a:lnTo>
                    <a:pt x="9327" y="6171"/>
                  </a:lnTo>
                  <a:cubicBezTo>
                    <a:pt x="9599" y="6171"/>
                    <a:pt x="9818" y="5826"/>
                    <a:pt x="9818" y="5400"/>
                  </a:cubicBezTo>
                  <a:lnTo>
                    <a:pt x="9818" y="771"/>
                  </a:lnTo>
                  <a:cubicBezTo>
                    <a:pt x="9818" y="346"/>
                    <a:pt x="9599" y="0"/>
                    <a:pt x="9327" y="0"/>
                  </a:cubicBezTo>
                  <a:cubicBezTo>
                    <a:pt x="9056" y="0"/>
                    <a:pt x="8836" y="346"/>
                    <a:pt x="8836" y="771"/>
                  </a:cubicBezTo>
                  <a:lnTo>
                    <a:pt x="8836" y="3321"/>
                  </a:lnTo>
                  <a:cubicBezTo>
                    <a:pt x="7879" y="2160"/>
                    <a:pt x="6706" y="1543"/>
                    <a:pt x="5645" y="1543"/>
                  </a:cubicBezTo>
                  <a:cubicBezTo>
                    <a:pt x="2527" y="1543"/>
                    <a:pt x="0" y="5515"/>
                    <a:pt x="0" y="10414"/>
                  </a:cubicBezTo>
                  <a:lnTo>
                    <a:pt x="0" y="11186"/>
                  </a:lnTo>
                  <a:cubicBezTo>
                    <a:pt x="0" y="16085"/>
                    <a:pt x="2527" y="20057"/>
                    <a:pt x="5645" y="20057"/>
                  </a:cubicBezTo>
                  <a:cubicBezTo>
                    <a:pt x="8763" y="20057"/>
                    <a:pt x="11291" y="16085"/>
                    <a:pt x="11291" y="11186"/>
                  </a:cubicBezTo>
                  <a:lnTo>
                    <a:pt x="11291" y="10414"/>
                  </a:lnTo>
                  <a:cubicBezTo>
                    <a:pt x="11291" y="6367"/>
                    <a:pt x="13379" y="3086"/>
                    <a:pt x="15955" y="3086"/>
                  </a:cubicBezTo>
                  <a:cubicBezTo>
                    <a:pt x="18530" y="3086"/>
                    <a:pt x="20618" y="6367"/>
                    <a:pt x="20618" y="10414"/>
                  </a:cubicBezTo>
                  <a:lnTo>
                    <a:pt x="20618" y="11186"/>
                  </a:lnTo>
                  <a:cubicBezTo>
                    <a:pt x="20618" y="15233"/>
                    <a:pt x="18530" y="18514"/>
                    <a:pt x="15955" y="18514"/>
                  </a:cubicBezTo>
                  <a:cubicBezTo>
                    <a:pt x="14930" y="18514"/>
                    <a:pt x="14025" y="17970"/>
                    <a:pt x="13279" y="16971"/>
                  </a:cubicBezTo>
                  <a:lnTo>
                    <a:pt x="15218" y="16971"/>
                  </a:lnTo>
                  <a:cubicBezTo>
                    <a:pt x="15490" y="16971"/>
                    <a:pt x="15709" y="16626"/>
                    <a:pt x="15709" y="16200"/>
                  </a:cubicBezTo>
                  <a:cubicBezTo>
                    <a:pt x="15709" y="15774"/>
                    <a:pt x="15490" y="15429"/>
                    <a:pt x="15218" y="15429"/>
                  </a:cubicBezTo>
                  <a:lnTo>
                    <a:pt x="12273" y="15429"/>
                  </a:lnTo>
                  <a:cubicBezTo>
                    <a:pt x="12001" y="15429"/>
                    <a:pt x="11782" y="15774"/>
                    <a:pt x="11782" y="16200"/>
                  </a:cubicBezTo>
                  <a:lnTo>
                    <a:pt x="11782" y="20829"/>
                  </a:lnTo>
                  <a:cubicBezTo>
                    <a:pt x="11782" y="21255"/>
                    <a:pt x="12001" y="21600"/>
                    <a:pt x="12273" y="21600"/>
                  </a:cubicBezTo>
                  <a:cubicBezTo>
                    <a:pt x="12544" y="21600"/>
                    <a:pt x="12764" y="21255"/>
                    <a:pt x="12764" y="20829"/>
                  </a:cubicBezTo>
                  <a:lnTo>
                    <a:pt x="12764" y="18279"/>
                  </a:lnTo>
                  <a:cubicBezTo>
                    <a:pt x="13721" y="19441"/>
                    <a:pt x="14894" y="20057"/>
                    <a:pt x="15955" y="20057"/>
                  </a:cubicBezTo>
                  <a:cubicBezTo>
                    <a:pt x="19073" y="20057"/>
                    <a:pt x="21600" y="16085"/>
                    <a:pt x="21600" y="11186"/>
                  </a:cubicBezTo>
                  <a:lnTo>
                    <a:pt x="21600" y="10414"/>
                  </a:lnTo>
                  <a:cubicBezTo>
                    <a:pt x="21600" y="5515"/>
                    <a:pt x="19073" y="1543"/>
                    <a:pt x="15955" y="154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Shape 2931">
              <a:extLst>
                <a:ext uri="{FF2B5EF4-FFF2-40B4-BE49-F238E27FC236}">
                  <a16:creationId xmlns:a16="http://schemas.microsoft.com/office/drawing/2014/main" id="{D0C3F73A-7B22-421F-BE28-1ADBBF4D297A}"/>
                </a:ext>
              </a:extLst>
            </p:cNvPr>
            <p:cNvSpPr/>
            <p:nvPr/>
          </p:nvSpPr>
          <p:spPr bwMode="gray">
            <a:xfrm>
              <a:off x="10571823" y="2352136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4" y="4050"/>
                  </a:moveTo>
                  <a:lnTo>
                    <a:pt x="18798" y="5598"/>
                  </a:lnTo>
                  <a:cubicBezTo>
                    <a:pt x="18709" y="5720"/>
                    <a:pt x="18655" y="5889"/>
                    <a:pt x="18655" y="6075"/>
                  </a:cubicBezTo>
                  <a:cubicBezTo>
                    <a:pt x="18655" y="6448"/>
                    <a:pt x="18874" y="6750"/>
                    <a:pt x="19145" y="6750"/>
                  </a:cubicBezTo>
                  <a:cubicBezTo>
                    <a:pt x="19281" y="6750"/>
                    <a:pt x="19404" y="6674"/>
                    <a:pt x="19493" y="6552"/>
                  </a:cubicBezTo>
                  <a:lnTo>
                    <a:pt x="21456" y="3853"/>
                  </a:lnTo>
                  <a:cubicBezTo>
                    <a:pt x="21545" y="3731"/>
                    <a:pt x="21600" y="3562"/>
                    <a:pt x="21600" y="3375"/>
                  </a:cubicBezTo>
                  <a:cubicBezTo>
                    <a:pt x="21600" y="3189"/>
                    <a:pt x="21545" y="3020"/>
                    <a:pt x="21456" y="2898"/>
                  </a:cubicBezTo>
                  <a:lnTo>
                    <a:pt x="19493" y="198"/>
                  </a:lnTo>
                  <a:cubicBezTo>
                    <a:pt x="19403" y="76"/>
                    <a:pt x="19281" y="0"/>
                    <a:pt x="19145" y="0"/>
                  </a:cubicBezTo>
                  <a:cubicBezTo>
                    <a:pt x="18874" y="0"/>
                    <a:pt x="18655" y="303"/>
                    <a:pt x="18655" y="675"/>
                  </a:cubicBezTo>
                  <a:cubicBezTo>
                    <a:pt x="18655" y="862"/>
                    <a:pt x="18709" y="1031"/>
                    <a:pt x="18799" y="1153"/>
                  </a:cubicBezTo>
                  <a:lnTo>
                    <a:pt x="19924" y="2700"/>
                  </a:lnTo>
                  <a:lnTo>
                    <a:pt x="15218" y="2700"/>
                  </a:lnTo>
                  <a:cubicBezTo>
                    <a:pt x="15065" y="2700"/>
                    <a:pt x="14933" y="2803"/>
                    <a:pt x="14843" y="2954"/>
                  </a:cubicBezTo>
                  <a:lnTo>
                    <a:pt x="14838" y="2948"/>
                  </a:lnTo>
                  <a:lnTo>
                    <a:pt x="6149" y="17550"/>
                  </a:lnTo>
                  <a:lnTo>
                    <a:pt x="491" y="17550"/>
                  </a:lnTo>
                  <a:cubicBezTo>
                    <a:pt x="220" y="17550"/>
                    <a:pt x="0" y="17853"/>
                    <a:pt x="0" y="18225"/>
                  </a:cubicBezTo>
                  <a:cubicBezTo>
                    <a:pt x="0" y="18598"/>
                    <a:pt x="220" y="18900"/>
                    <a:pt x="491" y="18900"/>
                  </a:cubicBezTo>
                  <a:lnTo>
                    <a:pt x="6382" y="18900"/>
                  </a:lnTo>
                  <a:cubicBezTo>
                    <a:pt x="6535" y="18900"/>
                    <a:pt x="6667" y="18798"/>
                    <a:pt x="6757" y="18647"/>
                  </a:cubicBezTo>
                  <a:lnTo>
                    <a:pt x="6762" y="18652"/>
                  </a:lnTo>
                  <a:lnTo>
                    <a:pt x="15451" y="4050"/>
                  </a:lnTo>
                  <a:cubicBezTo>
                    <a:pt x="15451" y="4050"/>
                    <a:pt x="19924" y="4050"/>
                    <a:pt x="19924" y="4050"/>
                  </a:cubicBezTo>
                  <a:close/>
                  <a:moveTo>
                    <a:pt x="19493" y="15048"/>
                  </a:moveTo>
                  <a:cubicBezTo>
                    <a:pt x="19403" y="14926"/>
                    <a:pt x="19281" y="14850"/>
                    <a:pt x="19145" y="14850"/>
                  </a:cubicBezTo>
                  <a:cubicBezTo>
                    <a:pt x="18874" y="14850"/>
                    <a:pt x="18655" y="15153"/>
                    <a:pt x="18655" y="15525"/>
                  </a:cubicBezTo>
                  <a:cubicBezTo>
                    <a:pt x="18655" y="15712"/>
                    <a:pt x="18709" y="15880"/>
                    <a:pt x="18798" y="16002"/>
                  </a:cubicBezTo>
                  <a:lnTo>
                    <a:pt x="19924" y="17550"/>
                  </a:lnTo>
                  <a:lnTo>
                    <a:pt x="15451" y="17550"/>
                  </a:lnTo>
                  <a:lnTo>
                    <a:pt x="12386" y="12399"/>
                  </a:lnTo>
                  <a:lnTo>
                    <a:pt x="11751" y="13465"/>
                  </a:lnTo>
                  <a:lnTo>
                    <a:pt x="14838" y="18652"/>
                  </a:lnTo>
                  <a:lnTo>
                    <a:pt x="14843" y="18647"/>
                  </a:lnTo>
                  <a:cubicBezTo>
                    <a:pt x="14933" y="18798"/>
                    <a:pt x="15065" y="18900"/>
                    <a:pt x="15218" y="18900"/>
                  </a:cubicBezTo>
                  <a:lnTo>
                    <a:pt x="19924" y="18900"/>
                  </a:lnTo>
                  <a:lnTo>
                    <a:pt x="18798" y="20448"/>
                  </a:lnTo>
                  <a:cubicBezTo>
                    <a:pt x="18709" y="20570"/>
                    <a:pt x="18655" y="20739"/>
                    <a:pt x="18655" y="20925"/>
                  </a:cubicBezTo>
                  <a:cubicBezTo>
                    <a:pt x="18655" y="21298"/>
                    <a:pt x="18874" y="21600"/>
                    <a:pt x="19145" y="21600"/>
                  </a:cubicBezTo>
                  <a:cubicBezTo>
                    <a:pt x="19281" y="21600"/>
                    <a:pt x="19403" y="21525"/>
                    <a:pt x="19493" y="21402"/>
                  </a:cubicBezTo>
                  <a:lnTo>
                    <a:pt x="21456" y="18702"/>
                  </a:lnTo>
                  <a:cubicBezTo>
                    <a:pt x="21545" y="18580"/>
                    <a:pt x="21600" y="18412"/>
                    <a:pt x="21600" y="18225"/>
                  </a:cubicBezTo>
                  <a:cubicBezTo>
                    <a:pt x="21600" y="18039"/>
                    <a:pt x="21545" y="17870"/>
                    <a:pt x="21456" y="17748"/>
                  </a:cubicBezTo>
                  <a:cubicBezTo>
                    <a:pt x="21456" y="17748"/>
                    <a:pt x="19493" y="15048"/>
                    <a:pt x="19493" y="15048"/>
                  </a:cubicBezTo>
                  <a:close/>
                  <a:moveTo>
                    <a:pt x="491" y="4050"/>
                  </a:moveTo>
                  <a:lnTo>
                    <a:pt x="6148" y="4050"/>
                  </a:lnTo>
                  <a:lnTo>
                    <a:pt x="9214" y="9201"/>
                  </a:lnTo>
                  <a:lnTo>
                    <a:pt x="9849" y="8136"/>
                  </a:lnTo>
                  <a:lnTo>
                    <a:pt x="6762" y="2948"/>
                  </a:lnTo>
                  <a:lnTo>
                    <a:pt x="6756" y="2954"/>
                  </a:lnTo>
                  <a:cubicBezTo>
                    <a:pt x="6667" y="2803"/>
                    <a:pt x="6535" y="2700"/>
                    <a:pt x="6382" y="2700"/>
                  </a:cubicBezTo>
                  <a:lnTo>
                    <a:pt x="491" y="2700"/>
                  </a:lnTo>
                  <a:cubicBezTo>
                    <a:pt x="220" y="2700"/>
                    <a:pt x="0" y="3003"/>
                    <a:pt x="0" y="3375"/>
                  </a:cubicBezTo>
                  <a:cubicBezTo>
                    <a:pt x="0" y="3748"/>
                    <a:pt x="220" y="4050"/>
                    <a:pt x="491" y="405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Shape 2932">
              <a:extLst>
                <a:ext uri="{FF2B5EF4-FFF2-40B4-BE49-F238E27FC236}">
                  <a16:creationId xmlns:a16="http://schemas.microsoft.com/office/drawing/2014/main" id="{C604169C-85CA-4DC3-866E-DA159FE69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338956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" y="12000"/>
                  </a:moveTo>
                  <a:cubicBezTo>
                    <a:pt x="1421" y="12000"/>
                    <a:pt x="982" y="11462"/>
                    <a:pt x="982" y="10800"/>
                  </a:cubicBezTo>
                  <a:cubicBezTo>
                    <a:pt x="982" y="10138"/>
                    <a:pt x="1421" y="9600"/>
                    <a:pt x="1964" y="9600"/>
                  </a:cubicBezTo>
                  <a:cubicBezTo>
                    <a:pt x="2505" y="9600"/>
                    <a:pt x="2945" y="10138"/>
                    <a:pt x="2945" y="10800"/>
                  </a:cubicBezTo>
                  <a:cubicBezTo>
                    <a:pt x="2945" y="11462"/>
                    <a:pt x="2505" y="12000"/>
                    <a:pt x="1964" y="12000"/>
                  </a:cubicBezTo>
                  <a:moveTo>
                    <a:pt x="21456" y="10376"/>
                  </a:moveTo>
                  <a:lnTo>
                    <a:pt x="18511" y="6776"/>
                  </a:lnTo>
                  <a:cubicBezTo>
                    <a:pt x="18422" y="6667"/>
                    <a:pt x="18299" y="6600"/>
                    <a:pt x="18164" y="6600"/>
                  </a:cubicBezTo>
                  <a:cubicBezTo>
                    <a:pt x="17892" y="6600"/>
                    <a:pt x="17673" y="6869"/>
                    <a:pt x="17673" y="7200"/>
                  </a:cubicBezTo>
                  <a:cubicBezTo>
                    <a:pt x="17673" y="7366"/>
                    <a:pt x="17728" y="7516"/>
                    <a:pt x="17817" y="7624"/>
                  </a:cubicBezTo>
                  <a:lnTo>
                    <a:pt x="19924" y="10200"/>
                  </a:lnTo>
                  <a:lnTo>
                    <a:pt x="8058" y="10200"/>
                  </a:lnTo>
                  <a:lnTo>
                    <a:pt x="14727" y="2048"/>
                  </a:lnTo>
                  <a:lnTo>
                    <a:pt x="14727" y="5400"/>
                  </a:lnTo>
                  <a:cubicBezTo>
                    <a:pt x="14727" y="5732"/>
                    <a:pt x="14947" y="6000"/>
                    <a:pt x="15218" y="6000"/>
                  </a:cubicBezTo>
                  <a:cubicBezTo>
                    <a:pt x="15489" y="6000"/>
                    <a:pt x="15709" y="5732"/>
                    <a:pt x="15709" y="5400"/>
                  </a:cubicBezTo>
                  <a:lnTo>
                    <a:pt x="15709" y="600"/>
                  </a:lnTo>
                  <a:cubicBezTo>
                    <a:pt x="15709" y="269"/>
                    <a:pt x="15489" y="0"/>
                    <a:pt x="15218" y="0"/>
                  </a:cubicBezTo>
                  <a:lnTo>
                    <a:pt x="11291" y="0"/>
                  </a:lnTo>
                  <a:cubicBezTo>
                    <a:pt x="11020" y="0"/>
                    <a:pt x="10800" y="269"/>
                    <a:pt x="10800" y="600"/>
                  </a:cubicBezTo>
                  <a:cubicBezTo>
                    <a:pt x="10800" y="932"/>
                    <a:pt x="11020" y="1200"/>
                    <a:pt x="11291" y="1200"/>
                  </a:cubicBezTo>
                  <a:lnTo>
                    <a:pt x="14033" y="1200"/>
                  </a:lnTo>
                  <a:lnTo>
                    <a:pt x="6669" y="10200"/>
                  </a:lnTo>
                  <a:lnTo>
                    <a:pt x="3858" y="10200"/>
                  </a:lnTo>
                  <a:cubicBezTo>
                    <a:pt x="3639" y="9167"/>
                    <a:pt x="2877" y="8400"/>
                    <a:pt x="1964" y="8400"/>
                  </a:cubicBezTo>
                  <a:cubicBezTo>
                    <a:pt x="879" y="8400"/>
                    <a:pt x="0" y="9475"/>
                    <a:pt x="0" y="10800"/>
                  </a:cubicBezTo>
                  <a:cubicBezTo>
                    <a:pt x="0" y="12125"/>
                    <a:pt x="879" y="13200"/>
                    <a:pt x="1964" y="13200"/>
                  </a:cubicBezTo>
                  <a:cubicBezTo>
                    <a:pt x="2877" y="13200"/>
                    <a:pt x="3639" y="12434"/>
                    <a:pt x="3858" y="11400"/>
                  </a:cubicBezTo>
                  <a:lnTo>
                    <a:pt x="6669" y="11400"/>
                  </a:lnTo>
                  <a:lnTo>
                    <a:pt x="14033" y="20400"/>
                  </a:lnTo>
                  <a:lnTo>
                    <a:pt x="11291" y="20400"/>
                  </a:lnTo>
                  <a:cubicBezTo>
                    <a:pt x="11020" y="20400"/>
                    <a:pt x="10800" y="20669"/>
                    <a:pt x="10800" y="21000"/>
                  </a:cubicBezTo>
                  <a:cubicBezTo>
                    <a:pt x="10800" y="21332"/>
                    <a:pt x="11020" y="21600"/>
                    <a:pt x="11291" y="21600"/>
                  </a:cubicBezTo>
                  <a:lnTo>
                    <a:pt x="15218" y="21600"/>
                  </a:lnTo>
                  <a:cubicBezTo>
                    <a:pt x="15489" y="21600"/>
                    <a:pt x="15709" y="21332"/>
                    <a:pt x="15709" y="21000"/>
                  </a:cubicBezTo>
                  <a:lnTo>
                    <a:pt x="15709" y="16200"/>
                  </a:lnTo>
                  <a:cubicBezTo>
                    <a:pt x="15709" y="15869"/>
                    <a:pt x="15489" y="15600"/>
                    <a:pt x="15218" y="15600"/>
                  </a:cubicBezTo>
                  <a:cubicBezTo>
                    <a:pt x="14947" y="15600"/>
                    <a:pt x="14727" y="15869"/>
                    <a:pt x="14727" y="16200"/>
                  </a:cubicBezTo>
                  <a:lnTo>
                    <a:pt x="14727" y="19552"/>
                  </a:lnTo>
                  <a:lnTo>
                    <a:pt x="8058" y="11400"/>
                  </a:lnTo>
                  <a:lnTo>
                    <a:pt x="19924" y="11400"/>
                  </a:lnTo>
                  <a:lnTo>
                    <a:pt x="17817" y="13976"/>
                  </a:lnTo>
                  <a:cubicBezTo>
                    <a:pt x="17728" y="14085"/>
                    <a:pt x="17673" y="14235"/>
                    <a:pt x="17673" y="14400"/>
                  </a:cubicBezTo>
                  <a:cubicBezTo>
                    <a:pt x="17673" y="14732"/>
                    <a:pt x="17892" y="15000"/>
                    <a:pt x="18164" y="15000"/>
                  </a:cubicBezTo>
                  <a:cubicBezTo>
                    <a:pt x="18299" y="15000"/>
                    <a:pt x="18422" y="14933"/>
                    <a:pt x="18511" y="14824"/>
                  </a:cubicBezTo>
                  <a:lnTo>
                    <a:pt x="21456" y="11224"/>
                  </a:lnTo>
                  <a:cubicBezTo>
                    <a:pt x="21545" y="11116"/>
                    <a:pt x="21600" y="10966"/>
                    <a:pt x="21600" y="10800"/>
                  </a:cubicBezTo>
                  <a:cubicBezTo>
                    <a:pt x="21600" y="10635"/>
                    <a:pt x="21545" y="10485"/>
                    <a:pt x="21456" y="1037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Shape 2944">
              <a:extLst>
                <a:ext uri="{FF2B5EF4-FFF2-40B4-BE49-F238E27FC236}">
                  <a16:creationId xmlns:a16="http://schemas.microsoft.com/office/drawing/2014/main" id="{7DDA064C-99A6-4A0F-BFE3-B9389E6A242C}"/>
                </a:ext>
              </a:extLst>
            </p:cNvPr>
            <p:cNvSpPr/>
            <p:nvPr/>
          </p:nvSpPr>
          <p:spPr bwMode="gray">
            <a:xfrm>
              <a:off x="6095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850" y="17620"/>
                  </a:moveTo>
                  <a:cubicBezTo>
                    <a:pt x="17270" y="17122"/>
                    <a:pt x="16604" y="16682"/>
                    <a:pt x="15855" y="16324"/>
                  </a:cubicBezTo>
                  <a:cubicBezTo>
                    <a:pt x="15868" y="16284"/>
                    <a:pt x="15882" y="16244"/>
                    <a:pt x="15896" y="16203"/>
                  </a:cubicBezTo>
                  <a:cubicBezTo>
                    <a:pt x="16131" y="15456"/>
                    <a:pt x="16320" y="14656"/>
                    <a:pt x="16454" y="13811"/>
                  </a:cubicBezTo>
                  <a:cubicBezTo>
                    <a:pt x="16471" y="13704"/>
                    <a:pt x="16484" y="13596"/>
                    <a:pt x="16499" y="13488"/>
                  </a:cubicBezTo>
                  <a:cubicBezTo>
                    <a:pt x="16544" y="13166"/>
                    <a:pt x="16581" y="12839"/>
                    <a:pt x="16610" y="12507"/>
                  </a:cubicBezTo>
                  <a:cubicBezTo>
                    <a:pt x="16621" y="12383"/>
                    <a:pt x="16632" y="12260"/>
                    <a:pt x="16641" y="12135"/>
                  </a:cubicBezTo>
                  <a:cubicBezTo>
                    <a:pt x="16660" y="11858"/>
                    <a:pt x="16664" y="11574"/>
                    <a:pt x="16673" y="11291"/>
                  </a:cubicBezTo>
                  <a:lnTo>
                    <a:pt x="20598" y="11291"/>
                  </a:lnTo>
                  <a:cubicBezTo>
                    <a:pt x="20476" y="13747"/>
                    <a:pt x="19450" y="15962"/>
                    <a:pt x="17850" y="17620"/>
                  </a:cubicBezTo>
                  <a:moveTo>
                    <a:pt x="13714" y="20178"/>
                  </a:moveTo>
                  <a:cubicBezTo>
                    <a:pt x="13925" y="19957"/>
                    <a:pt x="14127" y="19710"/>
                    <a:pt x="14321" y="19444"/>
                  </a:cubicBezTo>
                  <a:cubicBezTo>
                    <a:pt x="14339" y="19419"/>
                    <a:pt x="14357" y="19394"/>
                    <a:pt x="14375" y="19369"/>
                  </a:cubicBezTo>
                  <a:cubicBezTo>
                    <a:pt x="14764" y="18822"/>
                    <a:pt x="15116" y="18192"/>
                    <a:pt x="15420" y="17488"/>
                  </a:cubicBezTo>
                  <a:cubicBezTo>
                    <a:pt x="15436" y="17450"/>
                    <a:pt x="15451" y="17410"/>
                    <a:pt x="15467" y="17372"/>
                  </a:cubicBezTo>
                  <a:cubicBezTo>
                    <a:pt x="15485" y="17329"/>
                    <a:pt x="15499" y="17282"/>
                    <a:pt x="15517" y="17239"/>
                  </a:cubicBezTo>
                  <a:cubicBezTo>
                    <a:pt x="16123" y="17535"/>
                    <a:pt x="16665" y="17890"/>
                    <a:pt x="17142" y="18285"/>
                  </a:cubicBezTo>
                  <a:cubicBezTo>
                    <a:pt x="16149" y="19129"/>
                    <a:pt x="14989" y="19782"/>
                    <a:pt x="13714" y="20178"/>
                  </a:cubicBezTo>
                  <a:moveTo>
                    <a:pt x="11291" y="20569"/>
                  </a:moveTo>
                  <a:lnTo>
                    <a:pt x="11291" y="16221"/>
                  </a:lnTo>
                  <a:cubicBezTo>
                    <a:pt x="12498" y="16271"/>
                    <a:pt x="13638" y="16493"/>
                    <a:pt x="14652" y="16869"/>
                  </a:cubicBezTo>
                  <a:cubicBezTo>
                    <a:pt x="13850" y="18909"/>
                    <a:pt x="12654" y="20298"/>
                    <a:pt x="11291" y="20569"/>
                  </a:cubicBezTo>
                  <a:moveTo>
                    <a:pt x="11291" y="11291"/>
                  </a:moveTo>
                  <a:lnTo>
                    <a:pt x="15697" y="11291"/>
                  </a:lnTo>
                  <a:cubicBezTo>
                    <a:pt x="15655" y="12995"/>
                    <a:pt x="15392" y="14581"/>
                    <a:pt x="14971" y="15948"/>
                  </a:cubicBezTo>
                  <a:cubicBezTo>
                    <a:pt x="13855" y="15534"/>
                    <a:pt x="12608" y="15291"/>
                    <a:pt x="11291" y="15240"/>
                  </a:cubicBezTo>
                  <a:cubicBezTo>
                    <a:pt x="11291" y="15240"/>
                    <a:pt x="11291" y="11291"/>
                    <a:pt x="11291" y="11291"/>
                  </a:cubicBezTo>
                  <a:close/>
                  <a:moveTo>
                    <a:pt x="11291" y="6360"/>
                  </a:moveTo>
                  <a:cubicBezTo>
                    <a:pt x="12608" y="6309"/>
                    <a:pt x="13855" y="6066"/>
                    <a:pt x="14971" y="5652"/>
                  </a:cubicBezTo>
                  <a:cubicBezTo>
                    <a:pt x="15392" y="7019"/>
                    <a:pt x="15655" y="8605"/>
                    <a:pt x="15697" y="10309"/>
                  </a:cubicBezTo>
                  <a:lnTo>
                    <a:pt x="11291" y="10309"/>
                  </a:lnTo>
                  <a:cubicBezTo>
                    <a:pt x="11291" y="10309"/>
                    <a:pt x="11291" y="6360"/>
                    <a:pt x="11291" y="6360"/>
                  </a:cubicBezTo>
                  <a:close/>
                  <a:moveTo>
                    <a:pt x="11291" y="1031"/>
                  </a:moveTo>
                  <a:cubicBezTo>
                    <a:pt x="12654" y="1302"/>
                    <a:pt x="13850" y="2691"/>
                    <a:pt x="14652" y="4731"/>
                  </a:cubicBezTo>
                  <a:cubicBezTo>
                    <a:pt x="13638" y="5107"/>
                    <a:pt x="12498" y="5329"/>
                    <a:pt x="11291" y="5379"/>
                  </a:cubicBezTo>
                  <a:cubicBezTo>
                    <a:pt x="11291" y="5379"/>
                    <a:pt x="11291" y="1031"/>
                    <a:pt x="11291" y="1031"/>
                  </a:cubicBezTo>
                  <a:close/>
                  <a:moveTo>
                    <a:pt x="17142" y="3315"/>
                  </a:moveTo>
                  <a:cubicBezTo>
                    <a:pt x="16665" y="3711"/>
                    <a:pt x="16123" y="4065"/>
                    <a:pt x="15517" y="4361"/>
                  </a:cubicBezTo>
                  <a:cubicBezTo>
                    <a:pt x="15499" y="4318"/>
                    <a:pt x="15485" y="4271"/>
                    <a:pt x="15467" y="4229"/>
                  </a:cubicBezTo>
                  <a:cubicBezTo>
                    <a:pt x="15451" y="4190"/>
                    <a:pt x="15436" y="4151"/>
                    <a:pt x="15420" y="4112"/>
                  </a:cubicBezTo>
                  <a:cubicBezTo>
                    <a:pt x="15116" y="3408"/>
                    <a:pt x="14764" y="2778"/>
                    <a:pt x="14375" y="2231"/>
                  </a:cubicBezTo>
                  <a:cubicBezTo>
                    <a:pt x="14357" y="2206"/>
                    <a:pt x="14339" y="2181"/>
                    <a:pt x="14321" y="2156"/>
                  </a:cubicBezTo>
                  <a:cubicBezTo>
                    <a:pt x="14127" y="1890"/>
                    <a:pt x="13925" y="1643"/>
                    <a:pt x="13714" y="1422"/>
                  </a:cubicBezTo>
                  <a:cubicBezTo>
                    <a:pt x="14989" y="1818"/>
                    <a:pt x="16149" y="2471"/>
                    <a:pt x="17142" y="3315"/>
                  </a:cubicBezTo>
                  <a:moveTo>
                    <a:pt x="20598" y="10309"/>
                  </a:moveTo>
                  <a:lnTo>
                    <a:pt x="16673" y="10309"/>
                  </a:lnTo>
                  <a:cubicBezTo>
                    <a:pt x="16664" y="10027"/>
                    <a:pt x="16660" y="9742"/>
                    <a:pt x="16641" y="9465"/>
                  </a:cubicBezTo>
                  <a:cubicBezTo>
                    <a:pt x="16632" y="9340"/>
                    <a:pt x="16621" y="9217"/>
                    <a:pt x="16610" y="9093"/>
                  </a:cubicBezTo>
                  <a:cubicBezTo>
                    <a:pt x="16581" y="8761"/>
                    <a:pt x="16544" y="8434"/>
                    <a:pt x="16499" y="8112"/>
                  </a:cubicBezTo>
                  <a:cubicBezTo>
                    <a:pt x="16484" y="8005"/>
                    <a:pt x="16471" y="7896"/>
                    <a:pt x="16454" y="7789"/>
                  </a:cubicBezTo>
                  <a:cubicBezTo>
                    <a:pt x="16320" y="6944"/>
                    <a:pt x="16131" y="6144"/>
                    <a:pt x="15896" y="5397"/>
                  </a:cubicBezTo>
                  <a:cubicBezTo>
                    <a:pt x="15882" y="5357"/>
                    <a:pt x="15868" y="5317"/>
                    <a:pt x="15855" y="5276"/>
                  </a:cubicBezTo>
                  <a:cubicBezTo>
                    <a:pt x="16604" y="4918"/>
                    <a:pt x="17270" y="4478"/>
                    <a:pt x="17850" y="3981"/>
                  </a:cubicBezTo>
                  <a:cubicBezTo>
                    <a:pt x="19450" y="5638"/>
                    <a:pt x="20476" y="7853"/>
                    <a:pt x="20598" y="10309"/>
                  </a:cubicBezTo>
                  <a:moveTo>
                    <a:pt x="10309" y="5379"/>
                  </a:moveTo>
                  <a:cubicBezTo>
                    <a:pt x="9101" y="5329"/>
                    <a:pt x="7961" y="5107"/>
                    <a:pt x="6947" y="4731"/>
                  </a:cubicBezTo>
                  <a:cubicBezTo>
                    <a:pt x="7749" y="2691"/>
                    <a:pt x="8945" y="1302"/>
                    <a:pt x="10309" y="1031"/>
                  </a:cubicBezTo>
                  <a:cubicBezTo>
                    <a:pt x="10309" y="1031"/>
                    <a:pt x="10309" y="5379"/>
                    <a:pt x="10309" y="5379"/>
                  </a:cubicBezTo>
                  <a:close/>
                  <a:moveTo>
                    <a:pt x="10309" y="10309"/>
                  </a:moveTo>
                  <a:lnTo>
                    <a:pt x="5903" y="10309"/>
                  </a:lnTo>
                  <a:cubicBezTo>
                    <a:pt x="5945" y="8605"/>
                    <a:pt x="6207" y="7019"/>
                    <a:pt x="6629" y="5652"/>
                  </a:cubicBezTo>
                  <a:cubicBezTo>
                    <a:pt x="7745" y="6066"/>
                    <a:pt x="8991" y="6309"/>
                    <a:pt x="10309" y="6360"/>
                  </a:cubicBezTo>
                  <a:cubicBezTo>
                    <a:pt x="10309" y="6360"/>
                    <a:pt x="10309" y="10309"/>
                    <a:pt x="10309" y="10309"/>
                  </a:cubicBezTo>
                  <a:close/>
                  <a:moveTo>
                    <a:pt x="10309" y="15240"/>
                  </a:moveTo>
                  <a:cubicBezTo>
                    <a:pt x="8991" y="15291"/>
                    <a:pt x="7745" y="15534"/>
                    <a:pt x="6629" y="15948"/>
                  </a:cubicBezTo>
                  <a:cubicBezTo>
                    <a:pt x="6207" y="14581"/>
                    <a:pt x="5945" y="12995"/>
                    <a:pt x="5903" y="11291"/>
                  </a:cubicBezTo>
                  <a:lnTo>
                    <a:pt x="10309" y="11291"/>
                  </a:lnTo>
                  <a:cubicBezTo>
                    <a:pt x="10309" y="11291"/>
                    <a:pt x="10309" y="15240"/>
                    <a:pt x="10309" y="15240"/>
                  </a:cubicBezTo>
                  <a:close/>
                  <a:moveTo>
                    <a:pt x="10309" y="20569"/>
                  </a:moveTo>
                  <a:cubicBezTo>
                    <a:pt x="8945" y="20298"/>
                    <a:pt x="7749" y="18909"/>
                    <a:pt x="6947" y="16869"/>
                  </a:cubicBezTo>
                  <a:cubicBezTo>
                    <a:pt x="7961" y="16493"/>
                    <a:pt x="9101" y="16271"/>
                    <a:pt x="10309" y="16221"/>
                  </a:cubicBezTo>
                  <a:cubicBezTo>
                    <a:pt x="10309" y="16221"/>
                    <a:pt x="10309" y="20569"/>
                    <a:pt x="10309" y="20569"/>
                  </a:cubicBezTo>
                  <a:close/>
                  <a:moveTo>
                    <a:pt x="4458" y="18285"/>
                  </a:moveTo>
                  <a:cubicBezTo>
                    <a:pt x="4934" y="17890"/>
                    <a:pt x="5476" y="17535"/>
                    <a:pt x="6083" y="17239"/>
                  </a:cubicBezTo>
                  <a:cubicBezTo>
                    <a:pt x="6100" y="17282"/>
                    <a:pt x="6115" y="17329"/>
                    <a:pt x="6132" y="17372"/>
                  </a:cubicBezTo>
                  <a:cubicBezTo>
                    <a:pt x="6149" y="17410"/>
                    <a:pt x="6163" y="17450"/>
                    <a:pt x="6180" y="17488"/>
                  </a:cubicBezTo>
                  <a:cubicBezTo>
                    <a:pt x="6484" y="18192"/>
                    <a:pt x="6835" y="18822"/>
                    <a:pt x="7224" y="19369"/>
                  </a:cubicBezTo>
                  <a:cubicBezTo>
                    <a:pt x="7242" y="19394"/>
                    <a:pt x="7261" y="19419"/>
                    <a:pt x="7279" y="19444"/>
                  </a:cubicBezTo>
                  <a:cubicBezTo>
                    <a:pt x="7472" y="19710"/>
                    <a:pt x="7674" y="19957"/>
                    <a:pt x="7886" y="20178"/>
                  </a:cubicBezTo>
                  <a:cubicBezTo>
                    <a:pt x="6610" y="19782"/>
                    <a:pt x="5451" y="19129"/>
                    <a:pt x="4458" y="18285"/>
                  </a:cubicBezTo>
                  <a:moveTo>
                    <a:pt x="1002" y="11291"/>
                  </a:moveTo>
                  <a:lnTo>
                    <a:pt x="4927" y="11291"/>
                  </a:lnTo>
                  <a:cubicBezTo>
                    <a:pt x="4935" y="11574"/>
                    <a:pt x="4940" y="11858"/>
                    <a:pt x="4958" y="12135"/>
                  </a:cubicBezTo>
                  <a:cubicBezTo>
                    <a:pt x="4967" y="12260"/>
                    <a:pt x="4979" y="12383"/>
                    <a:pt x="4989" y="12507"/>
                  </a:cubicBezTo>
                  <a:cubicBezTo>
                    <a:pt x="5018" y="12839"/>
                    <a:pt x="5055" y="13166"/>
                    <a:pt x="5100" y="13488"/>
                  </a:cubicBezTo>
                  <a:cubicBezTo>
                    <a:pt x="5116" y="13596"/>
                    <a:pt x="5129" y="13704"/>
                    <a:pt x="5146" y="13811"/>
                  </a:cubicBezTo>
                  <a:cubicBezTo>
                    <a:pt x="5280" y="14656"/>
                    <a:pt x="5468" y="15456"/>
                    <a:pt x="5704" y="16203"/>
                  </a:cubicBezTo>
                  <a:cubicBezTo>
                    <a:pt x="5718" y="16244"/>
                    <a:pt x="5731" y="16284"/>
                    <a:pt x="5744" y="16324"/>
                  </a:cubicBezTo>
                  <a:cubicBezTo>
                    <a:pt x="4996" y="16682"/>
                    <a:pt x="4330" y="17122"/>
                    <a:pt x="3749" y="17620"/>
                  </a:cubicBezTo>
                  <a:cubicBezTo>
                    <a:pt x="2150" y="15962"/>
                    <a:pt x="1123" y="13747"/>
                    <a:pt x="1002" y="11291"/>
                  </a:cubicBezTo>
                  <a:moveTo>
                    <a:pt x="3749" y="3981"/>
                  </a:moveTo>
                  <a:cubicBezTo>
                    <a:pt x="4330" y="4478"/>
                    <a:pt x="4996" y="4918"/>
                    <a:pt x="5744" y="5276"/>
                  </a:cubicBezTo>
                  <a:cubicBezTo>
                    <a:pt x="5731" y="5317"/>
                    <a:pt x="5718" y="5357"/>
                    <a:pt x="5704" y="5397"/>
                  </a:cubicBezTo>
                  <a:cubicBezTo>
                    <a:pt x="5469" y="6144"/>
                    <a:pt x="5280" y="6944"/>
                    <a:pt x="5146" y="7789"/>
                  </a:cubicBezTo>
                  <a:cubicBezTo>
                    <a:pt x="5129" y="7896"/>
                    <a:pt x="5116" y="8005"/>
                    <a:pt x="5100" y="8112"/>
                  </a:cubicBezTo>
                  <a:cubicBezTo>
                    <a:pt x="5055" y="8434"/>
                    <a:pt x="5018" y="8761"/>
                    <a:pt x="4989" y="9093"/>
                  </a:cubicBezTo>
                  <a:cubicBezTo>
                    <a:pt x="4979" y="9217"/>
                    <a:pt x="4967" y="9340"/>
                    <a:pt x="4958" y="9465"/>
                  </a:cubicBezTo>
                  <a:cubicBezTo>
                    <a:pt x="4940" y="9742"/>
                    <a:pt x="4935" y="10027"/>
                    <a:pt x="4927" y="10309"/>
                  </a:cubicBezTo>
                  <a:lnTo>
                    <a:pt x="1002" y="10309"/>
                  </a:lnTo>
                  <a:cubicBezTo>
                    <a:pt x="1123" y="7853"/>
                    <a:pt x="2150" y="5638"/>
                    <a:pt x="3749" y="3981"/>
                  </a:cubicBezTo>
                  <a:moveTo>
                    <a:pt x="7886" y="1422"/>
                  </a:moveTo>
                  <a:cubicBezTo>
                    <a:pt x="7674" y="1643"/>
                    <a:pt x="7472" y="1890"/>
                    <a:pt x="7279" y="2156"/>
                  </a:cubicBezTo>
                  <a:cubicBezTo>
                    <a:pt x="7261" y="2181"/>
                    <a:pt x="7242" y="2206"/>
                    <a:pt x="7224" y="2231"/>
                  </a:cubicBezTo>
                  <a:cubicBezTo>
                    <a:pt x="6835" y="2778"/>
                    <a:pt x="6484" y="3408"/>
                    <a:pt x="6180" y="4112"/>
                  </a:cubicBezTo>
                  <a:cubicBezTo>
                    <a:pt x="6163" y="4151"/>
                    <a:pt x="6149" y="4190"/>
                    <a:pt x="6132" y="4229"/>
                  </a:cubicBezTo>
                  <a:cubicBezTo>
                    <a:pt x="6115" y="4271"/>
                    <a:pt x="6100" y="4318"/>
                    <a:pt x="6083" y="4361"/>
                  </a:cubicBezTo>
                  <a:cubicBezTo>
                    <a:pt x="5476" y="4065"/>
                    <a:pt x="4934" y="3711"/>
                    <a:pt x="4458" y="3315"/>
                  </a:cubicBezTo>
                  <a:cubicBezTo>
                    <a:pt x="5451" y="2471"/>
                    <a:pt x="6610" y="1818"/>
                    <a:pt x="7886" y="142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Shape 2945">
              <a:extLst>
                <a:ext uri="{FF2B5EF4-FFF2-40B4-BE49-F238E27FC236}">
                  <a16:creationId xmlns:a16="http://schemas.microsoft.com/office/drawing/2014/main" id="{6DCB2E97-A581-4EC9-B8C4-9805B937F7F4}"/>
                </a:ext>
              </a:extLst>
            </p:cNvPr>
            <p:cNvSpPr/>
            <p:nvPr/>
          </p:nvSpPr>
          <p:spPr bwMode="gray">
            <a:xfrm>
              <a:off x="1163107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58" y="8342"/>
                  </a:moveTo>
                  <a:cubicBezTo>
                    <a:pt x="17614" y="6914"/>
                    <a:pt x="17383" y="5576"/>
                    <a:pt x="17008" y="4408"/>
                  </a:cubicBezTo>
                  <a:cubicBezTo>
                    <a:pt x="17543" y="4130"/>
                    <a:pt x="18018" y="3797"/>
                    <a:pt x="18435" y="3427"/>
                  </a:cubicBezTo>
                  <a:cubicBezTo>
                    <a:pt x="19673" y="4722"/>
                    <a:pt x="20474" y="6437"/>
                    <a:pt x="20593" y="8342"/>
                  </a:cubicBezTo>
                  <a:cubicBezTo>
                    <a:pt x="20593" y="8342"/>
                    <a:pt x="17658" y="8342"/>
                    <a:pt x="17658" y="8342"/>
                  </a:cubicBezTo>
                  <a:close/>
                  <a:moveTo>
                    <a:pt x="15485" y="1482"/>
                  </a:moveTo>
                  <a:cubicBezTo>
                    <a:pt x="16306" y="1786"/>
                    <a:pt x="17058" y="2226"/>
                    <a:pt x="17723" y="2769"/>
                  </a:cubicBezTo>
                  <a:cubicBezTo>
                    <a:pt x="17412" y="3036"/>
                    <a:pt x="17056" y="3275"/>
                    <a:pt x="16666" y="3486"/>
                  </a:cubicBezTo>
                  <a:cubicBezTo>
                    <a:pt x="16337" y="2707"/>
                    <a:pt x="15939" y="2026"/>
                    <a:pt x="15485" y="1482"/>
                  </a:cubicBezTo>
                  <a:moveTo>
                    <a:pt x="12764" y="0"/>
                  </a:moveTo>
                  <a:cubicBezTo>
                    <a:pt x="9919" y="0"/>
                    <a:pt x="7396" y="1350"/>
                    <a:pt x="5780" y="3437"/>
                  </a:cubicBezTo>
                  <a:cubicBezTo>
                    <a:pt x="6514" y="3197"/>
                    <a:pt x="7287" y="3044"/>
                    <a:pt x="8086" y="2983"/>
                  </a:cubicBezTo>
                  <a:cubicBezTo>
                    <a:pt x="7991" y="2912"/>
                    <a:pt x="7892" y="2844"/>
                    <a:pt x="7804" y="2769"/>
                  </a:cubicBezTo>
                  <a:cubicBezTo>
                    <a:pt x="8469" y="2226"/>
                    <a:pt x="9222" y="1786"/>
                    <a:pt x="10042" y="1482"/>
                  </a:cubicBezTo>
                  <a:cubicBezTo>
                    <a:pt x="9694" y="1899"/>
                    <a:pt x="9380" y="2398"/>
                    <a:pt x="9104" y="2959"/>
                  </a:cubicBezTo>
                  <a:cubicBezTo>
                    <a:pt x="9451" y="2968"/>
                    <a:pt x="9793" y="2996"/>
                    <a:pt x="10131" y="3040"/>
                  </a:cubicBezTo>
                  <a:cubicBezTo>
                    <a:pt x="10712" y="1983"/>
                    <a:pt x="11449" y="1263"/>
                    <a:pt x="12269" y="1056"/>
                  </a:cubicBezTo>
                  <a:lnTo>
                    <a:pt x="12269" y="3575"/>
                  </a:lnTo>
                  <a:cubicBezTo>
                    <a:pt x="12608" y="3701"/>
                    <a:pt x="12938" y="3844"/>
                    <a:pt x="13258" y="4006"/>
                  </a:cubicBezTo>
                  <a:lnTo>
                    <a:pt x="13258" y="1056"/>
                  </a:lnTo>
                  <a:cubicBezTo>
                    <a:pt x="14282" y="1315"/>
                    <a:pt x="15181" y="2363"/>
                    <a:pt x="15801" y="3883"/>
                  </a:cubicBezTo>
                  <a:cubicBezTo>
                    <a:pt x="15207" y="4107"/>
                    <a:pt x="14555" y="4261"/>
                    <a:pt x="13865" y="4342"/>
                  </a:cubicBezTo>
                  <a:cubicBezTo>
                    <a:pt x="14263" y="4581"/>
                    <a:pt x="14647" y="4840"/>
                    <a:pt x="15006" y="5131"/>
                  </a:cubicBezTo>
                  <a:cubicBezTo>
                    <a:pt x="15391" y="5041"/>
                    <a:pt x="15767" y="4935"/>
                    <a:pt x="16122" y="4801"/>
                  </a:cubicBezTo>
                  <a:cubicBezTo>
                    <a:pt x="16296" y="5379"/>
                    <a:pt x="16430" y="6009"/>
                    <a:pt x="16526" y="6670"/>
                  </a:cubicBezTo>
                  <a:cubicBezTo>
                    <a:pt x="17157" y="7466"/>
                    <a:pt x="17663" y="8363"/>
                    <a:pt x="18025" y="9331"/>
                  </a:cubicBezTo>
                  <a:lnTo>
                    <a:pt x="20593" y="9331"/>
                  </a:lnTo>
                  <a:cubicBezTo>
                    <a:pt x="20478" y="11173"/>
                    <a:pt x="19721" y="12834"/>
                    <a:pt x="18551" y="14114"/>
                  </a:cubicBezTo>
                  <a:cubicBezTo>
                    <a:pt x="18470" y="14700"/>
                    <a:pt x="18342" y="15272"/>
                    <a:pt x="18163" y="15821"/>
                  </a:cubicBezTo>
                  <a:cubicBezTo>
                    <a:pt x="20250" y="14204"/>
                    <a:pt x="21600" y="11681"/>
                    <a:pt x="21600" y="8836"/>
                  </a:cubicBezTo>
                  <a:cubicBezTo>
                    <a:pt x="21600" y="3956"/>
                    <a:pt x="17644" y="0"/>
                    <a:pt x="12764" y="0"/>
                  </a:cubicBezTo>
                  <a:moveTo>
                    <a:pt x="13731" y="12269"/>
                  </a:moveTo>
                  <a:cubicBezTo>
                    <a:pt x="13687" y="10842"/>
                    <a:pt x="13456" y="9504"/>
                    <a:pt x="13081" y="8335"/>
                  </a:cubicBezTo>
                  <a:cubicBezTo>
                    <a:pt x="13616" y="8057"/>
                    <a:pt x="14091" y="7725"/>
                    <a:pt x="14507" y="7354"/>
                  </a:cubicBezTo>
                  <a:cubicBezTo>
                    <a:pt x="15746" y="8649"/>
                    <a:pt x="16547" y="10365"/>
                    <a:pt x="16666" y="12269"/>
                  </a:cubicBezTo>
                  <a:cubicBezTo>
                    <a:pt x="16666" y="12269"/>
                    <a:pt x="13731" y="12269"/>
                    <a:pt x="13731" y="12269"/>
                  </a:cubicBezTo>
                  <a:close/>
                  <a:moveTo>
                    <a:pt x="14507" y="18173"/>
                  </a:moveTo>
                  <a:cubicBezTo>
                    <a:pt x="14091" y="17803"/>
                    <a:pt x="13616" y="17470"/>
                    <a:pt x="13081" y="17192"/>
                  </a:cubicBezTo>
                  <a:cubicBezTo>
                    <a:pt x="13456" y="16024"/>
                    <a:pt x="13687" y="14686"/>
                    <a:pt x="13731" y="13258"/>
                  </a:cubicBezTo>
                  <a:lnTo>
                    <a:pt x="16666" y="13258"/>
                  </a:lnTo>
                  <a:cubicBezTo>
                    <a:pt x="16547" y="15163"/>
                    <a:pt x="15746" y="16878"/>
                    <a:pt x="14507" y="18173"/>
                  </a:cubicBezTo>
                  <a:moveTo>
                    <a:pt x="11558" y="20118"/>
                  </a:moveTo>
                  <a:cubicBezTo>
                    <a:pt x="12012" y="19574"/>
                    <a:pt x="12409" y="18893"/>
                    <a:pt x="12738" y="18114"/>
                  </a:cubicBezTo>
                  <a:cubicBezTo>
                    <a:pt x="13129" y="18325"/>
                    <a:pt x="13485" y="18564"/>
                    <a:pt x="13796" y="18831"/>
                  </a:cubicBezTo>
                  <a:cubicBezTo>
                    <a:pt x="13131" y="19374"/>
                    <a:pt x="12378" y="19814"/>
                    <a:pt x="11558" y="20118"/>
                  </a:cubicBezTo>
                  <a:moveTo>
                    <a:pt x="9331" y="20544"/>
                  </a:moveTo>
                  <a:lnTo>
                    <a:pt x="9331" y="17204"/>
                  </a:lnTo>
                  <a:cubicBezTo>
                    <a:pt x="10246" y="17253"/>
                    <a:pt x="11108" y="17428"/>
                    <a:pt x="11874" y="17717"/>
                  </a:cubicBezTo>
                  <a:cubicBezTo>
                    <a:pt x="11254" y="19237"/>
                    <a:pt x="10355" y="20286"/>
                    <a:pt x="9331" y="20544"/>
                  </a:cubicBezTo>
                  <a:moveTo>
                    <a:pt x="9331" y="13258"/>
                  </a:moveTo>
                  <a:lnTo>
                    <a:pt x="12749" y="13258"/>
                  </a:lnTo>
                  <a:cubicBezTo>
                    <a:pt x="12709" y="14550"/>
                    <a:pt x="12510" y="15752"/>
                    <a:pt x="12195" y="16799"/>
                  </a:cubicBezTo>
                  <a:cubicBezTo>
                    <a:pt x="11327" y="16471"/>
                    <a:pt x="10357" y="16273"/>
                    <a:pt x="9331" y="16223"/>
                  </a:cubicBezTo>
                  <a:cubicBezTo>
                    <a:pt x="9331" y="16223"/>
                    <a:pt x="9331" y="13258"/>
                    <a:pt x="9331" y="13258"/>
                  </a:cubicBezTo>
                  <a:close/>
                  <a:moveTo>
                    <a:pt x="9331" y="9305"/>
                  </a:moveTo>
                  <a:cubicBezTo>
                    <a:pt x="10357" y="9254"/>
                    <a:pt x="11327" y="9056"/>
                    <a:pt x="12195" y="8728"/>
                  </a:cubicBezTo>
                  <a:cubicBezTo>
                    <a:pt x="12510" y="9775"/>
                    <a:pt x="12709" y="10977"/>
                    <a:pt x="12749" y="12269"/>
                  </a:cubicBezTo>
                  <a:lnTo>
                    <a:pt x="9331" y="12269"/>
                  </a:lnTo>
                  <a:cubicBezTo>
                    <a:pt x="9331" y="12269"/>
                    <a:pt x="9331" y="9305"/>
                    <a:pt x="9331" y="9305"/>
                  </a:cubicBezTo>
                  <a:close/>
                  <a:moveTo>
                    <a:pt x="9331" y="4983"/>
                  </a:moveTo>
                  <a:cubicBezTo>
                    <a:pt x="10355" y="5242"/>
                    <a:pt x="11254" y="6290"/>
                    <a:pt x="11874" y="7810"/>
                  </a:cubicBezTo>
                  <a:cubicBezTo>
                    <a:pt x="11108" y="8099"/>
                    <a:pt x="10246" y="8275"/>
                    <a:pt x="9331" y="8323"/>
                  </a:cubicBezTo>
                  <a:cubicBezTo>
                    <a:pt x="9331" y="8323"/>
                    <a:pt x="9331" y="4983"/>
                    <a:pt x="9331" y="4983"/>
                  </a:cubicBezTo>
                  <a:close/>
                  <a:moveTo>
                    <a:pt x="13796" y="6696"/>
                  </a:moveTo>
                  <a:cubicBezTo>
                    <a:pt x="13485" y="6963"/>
                    <a:pt x="13129" y="7203"/>
                    <a:pt x="12738" y="7413"/>
                  </a:cubicBezTo>
                  <a:cubicBezTo>
                    <a:pt x="12409" y="6634"/>
                    <a:pt x="12012" y="5954"/>
                    <a:pt x="11557" y="5410"/>
                  </a:cubicBezTo>
                  <a:cubicBezTo>
                    <a:pt x="12378" y="5714"/>
                    <a:pt x="13131" y="6153"/>
                    <a:pt x="13796" y="6696"/>
                  </a:cubicBezTo>
                  <a:moveTo>
                    <a:pt x="8342" y="8323"/>
                  </a:moveTo>
                  <a:cubicBezTo>
                    <a:pt x="7427" y="8275"/>
                    <a:pt x="6564" y="8099"/>
                    <a:pt x="5799" y="7810"/>
                  </a:cubicBezTo>
                  <a:cubicBezTo>
                    <a:pt x="6419" y="6290"/>
                    <a:pt x="7318" y="5242"/>
                    <a:pt x="8342" y="4983"/>
                  </a:cubicBezTo>
                  <a:cubicBezTo>
                    <a:pt x="8342" y="4983"/>
                    <a:pt x="8342" y="8323"/>
                    <a:pt x="8342" y="8323"/>
                  </a:cubicBezTo>
                  <a:close/>
                  <a:moveTo>
                    <a:pt x="8342" y="12269"/>
                  </a:moveTo>
                  <a:lnTo>
                    <a:pt x="4923" y="12269"/>
                  </a:lnTo>
                  <a:cubicBezTo>
                    <a:pt x="4964" y="10977"/>
                    <a:pt x="5163" y="9775"/>
                    <a:pt x="5478" y="8728"/>
                  </a:cubicBezTo>
                  <a:cubicBezTo>
                    <a:pt x="6346" y="9056"/>
                    <a:pt x="7316" y="9254"/>
                    <a:pt x="8342" y="9305"/>
                  </a:cubicBezTo>
                  <a:cubicBezTo>
                    <a:pt x="8342" y="9305"/>
                    <a:pt x="8342" y="12269"/>
                    <a:pt x="8342" y="12269"/>
                  </a:cubicBezTo>
                  <a:close/>
                  <a:moveTo>
                    <a:pt x="8342" y="16223"/>
                  </a:moveTo>
                  <a:cubicBezTo>
                    <a:pt x="7316" y="16273"/>
                    <a:pt x="6346" y="16471"/>
                    <a:pt x="5478" y="16799"/>
                  </a:cubicBezTo>
                  <a:cubicBezTo>
                    <a:pt x="5163" y="15752"/>
                    <a:pt x="4964" y="14550"/>
                    <a:pt x="4923" y="13258"/>
                  </a:cubicBezTo>
                  <a:lnTo>
                    <a:pt x="8342" y="13258"/>
                  </a:lnTo>
                  <a:cubicBezTo>
                    <a:pt x="8342" y="13258"/>
                    <a:pt x="8342" y="16223"/>
                    <a:pt x="8342" y="16223"/>
                  </a:cubicBezTo>
                  <a:close/>
                  <a:moveTo>
                    <a:pt x="8342" y="20544"/>
                  </a:moveTo>
                  <a:cubicBezTo>
                    <a:pt x="7318" y="20286"/>
                    <a:pt x="6419" y="19237"/>
                    <a:pt x="5799" y="17717"/>
                  </a:cubicBezTo>
                  <a:cubicBezTo>
                    <a:pt x="6564" y="17428"/>
                    <a:pt x="7427" y="17253"/>
                    <a:pt x="8342" y="17204"/>
                  </a:cubicBezTo>
                  <a:cubicBezTo>
                    <a:pt x="8342" y="17204"/>
                    <a:pt x="8342" y="20544"/>
                    <a:pt x="8342" y="20544"/>
                  </a:cubicBezTo>
                  <a:close/>
                  <a:moveTo>
                    <a:pt x="3877" y="18831"/>
                  </a:moveTo>
                  <a:cubicBezTo>
                    <a:pt x="4188" y="18564"/>
                    <a:pt x="4544" y="18325"/>
                    <a:pt x="4935" y="18114"/>
                  </a:cubicBezTo>
                  <a:cubicBezTo>
                    <a:pt x="5264" y="18893"/>
                    <a:pt x="5661" y="19574"/>
                    <a:pt x="6115" y="20118"/>
                  </a:cubicBezTo>
                  <a:cubicBezTo>
                    <a:pt x="5295" y="19814"/>
                    <a:pt x="4541" y="19374"/>
                    <a:pt x="3877" y="18831"/>
                  </a:cubicBezTo>
                  <a:moveTo>
                    <a:pt x="1007" y="13258"/>
                  </a:moveTo>
                  <a:lnTo>
                    <a:pt x="3942" y="13258"/>
                  </a:lnTo>
                  <a:cubicBezTo>
                    <a:pt x="3986" y="14686"/>
                    <a:pt x="4217" y="16024"/>
                    <a:pt x="4591" y="17192"/>
                  </a:cubicBezTo>
                  <a:cubicBezTo>
                    <a:pt x="4057" y="17470"/>
                    <a:pt x="3582" y="17803"/>
                    <a:pt x="3166" y="18173"/>
                  </a:cubicBezTo>
                  <a:cubicBezTo>
                    <a:pt x="1927" y="16878"/>
                    <a:pt x="1126" y="15163"/>
                    <a:pt x="1007" y="13258"/>
                  </a:cubicBezTo>
                  <a:moveTo>
                    <a:pt x="3166" y="7354"/>
                  </a:moveTo>
                  <a:cubicBezTo>
                    <a:pt x="3582" y="7725"/>
                    <a:pt x="4057" y="8057"/>
                    <a:pt x="4591" y="8335"/>
                  </a:cubicBezTo>
                  <a:cubicBezTo>
                    <a:pt x="4217" y="9504"/>
                    <a:pt x="3986" y="10842"/>
                    <a:pt x="3942" y="12269"/>
                  </a:cubicBezTo>
                  <a:lnTo>
                    <a:pt x="1007" y="12269"/>
                  </a:lnTo>
                  <a:cubicBezTo>
                    <a:pt x="1126" y="10365"/>
                    <a:pt x="1927" y="8649"/>
                    <a:pt x="3166" y="7354"/>
                  </a:cubicBezTo>
                  <a:moveTo>
                    <a:pt x="6115" y="5410"/>
                  </a:moveTo>
                  <a:cubicBezTo>
                    <a:pt x="5661" y="5954"/>
                    <a:pt x="5264" y="6634"/>
                    <a:pt x="4935" y="7413"/>
                  </a:cubicBezTo>
                  <a:cubicBezTo>
                    <a:pt x="4544" y="7203"/>
                    <a:pt x="4188" y="6963"/>
                    <a:pt x="3877" y="6696"/>
                  </a:cubicBezTo>
                  <a:cubicBezTo>
                    <a:pt x="4542" y="6153"/>
                    <a:pt x="5295" y="5714"/>
                    <a:pt x="6115" y="5410"/>
                  </a:cubicBezTo>
                  <a:moveTo>
                    <a:pt x="8836" y="3927"/>
                  </a:moveTo>
                  <a:cubicBezTo>
                    <a:pt x="3956" y="3927"/>
                    <a:pt x="0" y="7883"/>
                    <a:pt x="0" y="12764"/>
                  </a:cubicBezTo>
                  <a:cubicBezTo>
                    <a:pt x="0" y="17644"/>
                    <a:pt x="3956" y="21600"/>
                    <a:pt x="8836" y="21600"/>
                  </a:cubicBezTo>
                  <a:cubicBezTo>
                    <a:pt x="13717" y="21600"/>
                    <a:pt x="17673" y="17644"/>
                    <a:pt x="17673" y="12764"/>
                  </a:cubicBezTo>
                  <a:cubicBezTo>
                    <a:pt x="17673" y="7883"/>
                    <a:pt x="13717" y="3927"/>
                    <a:pt x="8836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Shape 2946">
              <a:extLst>
                <a:ext uri="{FF2B5EF4-FFF2-40B4-BE49-F238E27FC236}">
                  <a16:creationId xmlns:a16="http://schemas.microsoft.com/office/drawing/2014/main" id="{7E21AFCA-0DF0-42EA-A529-611BDEB32CB8}"/>
                </a:ext>
              </a:extLst>
            </p:cNvPr>
            <p:cNvSpPr/>
            <p:nvPr/>
          </p:nvSpPr>
          <p:spPr bwMode="gray">
            <a:xfrm>
              <a:off x="1716659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95" y="9980"/>
                  </a:moveTo>
                  <a:cubicBezTo>
                    <a:pt x="19587" y="9894"/>
                    <a:pt x="19575" y="9811"/>
                    <a:pt x="19565" y="9726"/>
                  </a:cubicBezTo>
                  <a:cubicBezTo>
                    <a:pt x="19542" y="9539"/>
                    <a:pt x="19514" y="9355"/>
                    <a:pt x="19480" y="9172"/>
                  </a:cubicBezTo>
                  <a:cubicBezTo>
                    <a:pt x="19463" y="9078"/>
                    <a:pt x="19444" y="8986"/>
                    <a:pt x="19424" y="8893"/>
                  </a:cubicBezTo>
                  <a:cubicBezTo>
                    <a:pt x="19384" y="8712"/>
                    <a:pt x="19337" y="8533"/>
                    <a:pt x="19286" y="8356"/>
                  </a:cubicBezTo>
                  <a:cubicBezTo>
                    <a:pt x="19263" y="8276"/>
                    <a:pt x="19244" y="8195"/>
                    <a:pt x="19218" y="8116"/>
                  </a:cubicBezTo>
                  <a:cubicBezTo>
                    <a:pt x="19143" y="7879"/>
                    <a:pt x="19057" y="7646"/>
                    <a:pt x="18963" y="7418"/>
                  </a:cubicBezTo>
                  <a:cubicBezTo>
                    <a:pt x="18923" y="7321"/>
                    <a:pt x="18876" y="7229"/>
                    <a:pt x="18833" y="7134"/>
                  </a:cubicBezTo>
                  <a:cubicBezTo>
                    <a:pt x="18771" y="6999"/>
                    <a:pt x="18708" y="6865"/>
                    <a:pt x="18640" y="6734"/>
                  </a:cubicBezTo>
                  <a:cubicBezTo>
                    <a:pt x="18580" y="6618"/>
                    <a:pt x="18516" y="6504"/>
                    <a:pt x="18450" y="6391"/>
                  </a:cubicBezTo>
                  <a:cubicBezTo>
                    <a:pt x="18392" y="6291"/>
                    <a:pt x="18331" y="6192"/>
                    <a:pt x="18269" y="6094"/>
                  </a:cubicBezTo>
                  <a:cubicBezTo>
                    <a:pt x="18192" y="5971"/>
                    <a:pt x="18114" y="5849"/>
                    <a:pt x="18031" y="5731"/>
                  </a:cubicBezTo>
                  <a:cubicBezTo>
                    <a:pt x="17986" y="5667"/>
                    <a:pt x="17936" y="5605"/>
                    <a:pt x="17889" y="5541"/>
                  </a:cubicBezTo>
                  <a:cubicBezTo>
                    <a:pt x="17544" y="5080"/>
                    <a:pt x="17159" y="4651"/>
                    <a:pt x="16732" y="4265"/>
                  </a:cubicBezTo>
                  <a:cubicBezTo>
                    <a:pt x="16705" y="4241"/>
                    <a:pt x="16679" y="4216"/>
                    <a:pt x="16652" y="4192"/>
                  </a:cubicBezTo>
                  <a:cubicBezTo>
                    <a:pt x="16499" y="4058"/>
                    <a:pt x="16343" y="3927"/>
                    <a:pt x="16181" y="3803"/>
                  </a:cubicBezTo>
                  <a:cubicBezTo>
                    <a:pt x="16173" y="3796"/>
                    <a:pt x="16165" y="3790"/>
                    <a:pt x="16156" y="3784"/>
                  </a:cubicBezTo>
                  <a:cubicBezTo>
                    <a:pt x="15459" y="3252"/>
                    <a:pt x="14680" y="2821"/>
                    <a:pt x="13842" y="2513"/>
                  </a:cubicBezTo>
                  <a:cubicBezTo>
                    <a:pt x="13592" y="2912"/>
                    <a:pt x="13337" y="3420"/>
                    <a:pt x="13040" y="3590"/>
                  </a:cubicBezTo>
                  <a:cubicBezTo>
                    <a:pt x="12610" y="3835"/>
                    <a:pt x="12641" y="4817"/>
                    <a:pt x="13469" y="4725"/>
                  </a:cubicBezTo>
                  <a:cubicBezTo>
                    <a:pt x="13469" y="4725"/>
                    <a:pt x="13224" y="4970"/>
                    <a:pt x="13469" y="5860"/>
                  </a:cubicBezTo>
                  <a:cubicBezTo>
                    <a:pt x="13715" y="6750"/>
                    <a:pt x="14126" y="6943"/>
                    <a:pt x="15341" y="6443"/>
                  </a:cubicBezTo>
                  <a:cubicBezTo>
                    <a:pt x="15862" y="6228"/>
                    <a:pt x="16258" y="6340"/>
                    <a:pt x="16200" y="6873"/>
                  </a:cubicBezTo>
                  <a:cubicBezTo>
                    <a:pt x="16077" y="8008"/>
                    <a:pt x="15202" y="7960"/>
                    <a:pt x="15862" y="9788"/>
                  </a:cubicBezTo>
                  <a:cubicBezTo>
                    <a:pt x="16261" y="10892"/>
                    <a:pt x="17243" y="11322"/>
                    <a:pt x="17611" y="12181"/>
                  </a:cubicBezTo>
                  <a:cubicBezTo>
                    <a:pt x="17814" y="12653"/>
                    <a:pt x="18591" y="13088"/>
                    <a:pt x="19250" y="13384"/>
                  </a:cubicBezTo>
                  <a:cubicBezTo>
                    <a:pt x="19321" y="13153"/>
                    <a:pt x="19380" y="12917"/>
                    <a:pt x="19432" y="12677"/>
                  </a:cubicBezTo>
                  <a:cubicBezTo>
                    <a:pt x="19452" y="12587"/>
                    <a:pt x="19467" y="12494"/>
                    <a:pt x="19484" y="12402"/>
                  </a:cubicBezTo>
                  <a:cubicBezTo>
                    <a:pt x="19517" y="12224"/>
                    <a:pt x="19545" y="12044"/>
                    <a:pt x="19566" y="11862"/>
                  </a:cubicBezTo>
                  <a:cubicBezTo>
                    <a:pt x="19576" y="11776"/>
                    <a:pt x="19588" y="11691"/>
                    <a:pt x="19596" y="11604"/>
                  </a:cubicBezTo>
                  <a:cubicBezTo>
                    <a:pt x="19620" y="11340"/>
                    <a:pt x="19636" y="11072"/>
                    <a:pt x="19636" y="10800"/>
                  </a:cubicBezTo>
                  <a:cubicBezTo>
                    <a:pt x="19636" y="10523"/>
                    <a:pt x="19620" y="10250"/>
                    <a:pt x="19595" y="9980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2" y="982"/>
                    <a:pt x="20618" y="5377"/>
                    <a:pt x="20618" y="10800"/>
                  </a:cubicBezTo>
                  <a:cubicBezTo>
                    <a:pt x="20618" y="16223"/>
                    <a:pt x="16222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8407" y="9726"/>
                  </a:moveTo>
                  <a:cubicBezTo>
                    <a:pt x="8468" y="9020"/>
                    <a:pt x="9603" y="8284"/>
                    <a:pt x="10370" y="7947"/>
                  </a:cubicBezTo>
                  <a:cubicBezTo>
                    <a:pt x="11137" y="7609"/>
                    <a:pt x="11843" y="7486"/>
                    <a:pt x="11751" y="6903"/>
                  </a:cubicBezTo>
                  <a:cubicBezTo>
                    <a:pt x="11659" y="6320"/>
                    <a:pt x="11444" y="5891"/>
                    <a:pt x="10248" y="5891"/>
                  </a:cubicBezTo>
                  <a:cubicBezTo>
                    <a:pt x="9051" y="5891"/>
                    <a:pt x="9573" y="7486"/>
                    <a:pt x="8591" y="6535"/>
                  </a:cubicBezTo>
                  <a:cubicBezTo>
                    <a:pt x="7609" y="5584"/>
                    <a:pt x="8805" y="5830"/>
                    <a:pt x="9296" y="5615"/>
                  </a:cubicBezTo>
                  <a:cubicBezTo>
                    <a:pt x="9787" y="5400"/>
                    <a:pt x="10278" y="4510"/>
                    <a:pt x="9419" y="4449"/>
                  </a:cubicBezTo>
                  <a:cubicBezTo>
                    <a:pt x="8560" y="4388"/>
                    <a:pt x="8744" y="4817"/>
                    <a:pt x="8069" y="4572"/>
                  </a:cubicBezTo>
                  <a:cubicBezTo>
                    <a:pt x="7394" y="4326"/>
                    <a:pt x="7087" y="5431"/>
                    <a:pt x="6658" y="5277"/>
                  </a:cubicBezTo>
                  <a:cubicBezTo>
                    <a:pt x="6373" y="5176"/>
                    <a:pt x="5613" y="4605"/>
                    <a:pt x="5110" y="4044"/>
                  </a:cubicBezTo>
                  <a:cubicBezTo>
                    <a:pt x="4094" y="4900"/>
                    <a:pt x="3277" y="5982"/>
                    <a:pt x="2729" y="7212"/>
                  </a:cubicBezTo>
                  <a:cubicBezTo>
                    <a:pt x="2875" y="8862"/>
                    <a:pt x="3774" y="9726"/>
                    <a:pt x="3774" y="9726"/>
                  </a:cubicBezTo>
                  <a:cubicBezTo>
                    <a:pt x="3774" y="9726"/>
                    <a:pt x="4234" y="10800"/>
                    <a:pt x="6995" y="12119"/>
                  </a:cubicBezTo>
                  <a:cubicBezTo>
                    <a:pt x="6995" y="12119"/>
                    <a:pt x="7517" y="12150"/>
                    <a:pt x="6903" y="11536"/>
                  </a:cubicBezTo>
                  <a:cubicBezTo>
                    <a:pt x="6290" y="10923"/>
                    <a:pt x="5615" y="10156"/>
                    <a:pt x="6382" y="9757"/>
                  </a:cubicBezTo>
                  <a:cubicBezTo>
                    <a:pt x="7149" y="9358"/>
                    <a:pt x="7364" y="9389"/>
                    <a:pt x="7548" y="10125"/>
                  </a:cubicBezTo>
                  <a:cubicBezTo>
                    <a:pt x="7732" y="10861"/>
                    <a:pt x="8345" y="10432"/>
                    <a:pt x="8407" y="9726"/>
                  </a:cubicBezTo>
                  <a:moveTo>
                    <a:pt x="16246" y="12871"/>
                  </a:moveTo>
                  <a:cubicBezTo>
                    <a:pt x="15893" y="13086"/>
                    <a:pt x="15908" y="13561"/>
                    <a:pt x="16200" y="13822"/>
                  </a:cubicBezTo>
                  <a:cubicBezTo>
                    <a:pt x="16491" y="14083"/>
                    <a:pt x="17074" y="14420"/>
                    <a:pt x="17258" y="13822"/>
                  </a:cubicBezTo>
                  <a:cubicBezTo>
                    <a:pt x="17442" y="13224"/>
                    <a:pt x="16599" y="12656"/>
                    <a:pt x="16246" y="12871"/>
                  </a:cubicBezTo>
                  <a:moveTo>
                    <a:pt x="12027" y="12948"/>
                  </a:moveTo>
                  <a:cubicBezTo>
                    <a:pt x="10984" y="12058"/>
                    <a:pt x="11107" y="11659"/>
                    <a:pt x="9787" y="11659"/>
                  </a:cubicBezTo>
                  <a:cubicBezTo>
                    <a:pt x="8468" y="11659"/>
                    <a:pt x="7640" y="11966"/>
                    <a:pt x="7977" y="13807"/>
                  </a:cubicBezTo>
                  <a:cubicBezTo>
                    <a:pt x="8315" y="15648"/>
                    <a:pt x="9296" y="14819"/>
                    <a:pt x="9205" y="16231"/>
                  </a:cubicBezTo>
                  <a:cubicBezTo>
                    <a:pt x="9112" y="17642"/>
                    <a:pt x="9450" y="17949"/>
                    <a:pt x="9665" y="18286"/>
                  </a:cubicBezTo>
                  <a:cubicBezTo>
                    <a:pt x="9880" y="18624"/>
                    <a:pt x="10524" y="19606"/>
                    <a:pt x="10769" y="18225"/>
                  </a:cubicBezTo>
                  <a:cubicBezTo>
                    <a:pt x="11015" y="16844"/>
                    <a:pt x="11475" y="16077"/>
                    <a:pt x="11996" y="15402"/>
                  </a:cubicBezTo>
                  <a:cubicBezTo>
                    <a:pt x="12518" y="14727"/>
                    <a:pt x="13070" y="13837"/>
                    <a:pt x="12027" y="1294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Shape 2947">
              <a:extLst>
                <a:ext uri="{FF2B5EF4-FFF2-40B4-BE49-F238E27FC236}">
                  <a16:creationId xmlns:a16="http://schemas.microsoft.com/office/drawing/2014/main" id="{D15B0A39-F629-4A3A-9817-CC95891BD154}"/>
                </a:ext>
              </a:extLst>
            </p:cNvPr>
            <p:cNvSpPr/>
            <p:nvPr/>
          </p:nvSpPr>
          <p:spPr bwMode="gray">
            <a:xfrm>
              <a:off x="2270211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67" y="17673"/>
                  </a:moveTo>
                  <a:lnTo>
                    <a:pt x="20127" y="17673"/>
                  </a:lnTo>
                  <a:cubicBezTo>
                    <a:pt x="20398" y="17673"/>
                    <a:pt x="20618" y="17453"/>
                    <a:pt x="20618" y="17182"/>
                  </a:cubicBezTo>
                  <a:cubicBezTo>
                    <a:pt x="20618" y="16910"/>
                    <a:pt x="20398" y="16691"/>
                    <a:pt x="20127" y="16691"/>
                  </a:cubicBezTo>
                  <a:lnTo>
                    <a:pt x="17182" y="16691"/>
                  </a:lnTo>
                  <a:cubicBezTo>
                    <a:pt x="16911" y="16691"/>
                    <a:pt x="16691" y="16910"/>
                    <a:pt x="16691" y="17182"/>
                  </a:cubicBezTo>
                  <a:lnTo>
                    <a:pt x="16691" y="20127"/>
                  </a:lnTo>
                  <a:cubicBezTo>
                    <a:pt x="16691" y="20399"/>
                    <a:pt x="16911" y="20618"/>
                    <a:pt x="17182" y="20618"/>
                  </a:cubicBezTo>
                  <a:cubicBezTo>
                    <a:pt x="17453" y="20618"/>
                    <a:pt x="17673" y="20399"/>
                    <a:pt x="17673" y="20127"/>
                  </a:cubicBezTo>
                  <a:lnTo>
                    <a:pt x="17673" y="18367"/>
                  </a:lnTo>
                  <a:lnTo>
                    <a:pt x="20762" y="21456"/>
                  </a:lnTo>
                  <a:cubicBezTo>
                    <a:pt x="20851" y="21545"/>
                    <a:pt x="20974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974"/>
                    <a:pt x="21545" y="20851"/>
                    <a:pt x="21456" y="20762"/>
                  </a:cubicBezTo>
                  <a:cubicBezTo>
                    <a:pt x="21456" y="20762"/>
                    <a:pt x="18367" y="17673"/>
                    <a:pt x="18367" y="17673"/>
                  </a:cubicBezTo>
                  <a:close/>
                  <a:moveTo>
                    <a:pt x="4418" y="16691"/>
                  </a:moveTo>
                  <a:lnTo>
                    <a:pt x="1473" y="16691"/>
                  </a:lnTo>
                  <a:cubicBezTo>
                    <a:pt x="1202" y="16691"/>
                    <a:pt x="982" y="16910"/>
                    <a:pt x="982" y="17182"/>
                  </a:cubicBezTo>
                  <a:cubicBezTo>
                    <a:pt x="982" y="17453"/>
                    <a:pt x="1202" y="17673"/>
                    <a:pt x="1473" y="17673"/>
                  </a:cubicBezTo>
                  <a:lnTo>
                    <a:pt x="3233" y="17673"/>
                  </a:lnTo>
                  <a:lnTo>
                    <a:pt x="144" y="20762"/>
                  </a:lnTo>
                  <a:cubicBezTo>
                    <a:pt x="55" y="20851"/>
                    <a:pt x="0" y="20974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cubicBezTo>
                    <a:pt x="626" y="21600"/>
                    <a:pt x="749" y="21545"/>
                    <a:pt x="838" y="21456"/>
                  </a:cubicBezTo>
                  <a:lnTo>
                    <a:pt x="3927" y="18367"/>
                  </a:lnTo>
                  <a:lnTo>
                    <a:pt x="3927" y="20127"/>
                  </a:lnTo>
                  <a:cubicBezTo>
                    <a:pt x="3927" y="20399"/>
                    <a:pt x="4147" y="20618"/>
                    <a:pt x="4418" y="20618"/>
                  </a:cubicBezTo>
                  <a:cubicBezTo>
                    <a:pt x="4689" y="20618"/>
                    <a:pt x="4909" y="20399"/>
                    <a:pt x="4909" y="20127"/>
                  </a:cubicBezTo>
                  <a:lnTo>
                    <a:pt x="4909" y="17182"/>
                  </a:lnTo>
                  <a:cubicBezTo>
                    <a:pt x="4909" y="16910"/>
                    <a:pt x="4689" y="16691"/>
                    <a:pt x="4418" y="16691"/>
                  </a:cubicBezTo>
                  <a:moveTo>
                    <a:pt x="14578" y="13923"/>
                  </a:moveTo>
                  <a:cubicBezTo>
                    <a:pt x="14366" y="13756"/>
                    <a:pt x="14123" y="13606"/>
                    <a:pt x="13863" y="13470"/>
                  </a:cubicBezTo>
                  <a:cubicBezTo>
                    <a:pt x="14060" y="12810"/>
                    <a:pt x="14189" y="12080"/>
                    <a:pt x="14228" y="11304"/>
                  </a:cubicBezTo>
                  <a:lnTo>
                    <a:pt x="15676" y="11304"/>
                  </a:lnTo>
                  <a:cubicBezTo>
                    <a:pt x="15574" y="12295"/>
                    <a:pt x="15177" y="13195"/>
                    <a:pt x="14578" y="13923"/>
                  </a:cubicBezTo>
                  <a:moveTo>
                    <a:pt x="13136" y="15120"/>
                  </a:moveTo>
                  <a:cubicBezTo>
                    <a:pt x="13280" y="14892"/>
                    <a:pt x="13410" y="14641"/>
                    <a:pt x="13529" y="14374"/>
                  </a:cubicBezTo>
                  <a:cubicBezTo>
                    <a:pt x="13660" y="14445"/>
                    <a:pt x="13781" y="14521"/>
                    <a:pt x="13893" y="14602"/>
                  </a:cubicBezTo>
                  <a:cubicBezTo>
                    <a:pt x="13656" y="14795"/>
                    <a:pt x="13407" y="14973"/>
                    <a:pt x="13136" y="15120"/>
                  </a:cubicBezTo>
                  <a:moveTo>
                    <a:pt x="11304" y="12785"/>
                  </a:moveTo>
                  <a:lnTo>
                    <a:pt x="11304" y="11304"/>
                  </a:lnTo>
                  <a:lnTo>
                    <a:pt x="13226" y="11304"/>
                  </a:lnTo>
                  <a:cubicBezTo>
                    <a:pt x="13193" y="11948"/>
                    <a:pt x="13093" y="12547"/>
                    <a:pt x="12949" y="13093"/>
                  </a:cubicBezTo>
                  <a:cubicBezTo>
                    <a:pt x="12443" y="12931"/>
                    <a:pt x="11890" y="12824"/>
                    <a:pt x="11304" y="12785"/>
                  </a:cubicBezTo>
                  <a:moveTo>
                    <a:pt x="11304" y="15605"/>
                  </a:moveTo>
                  <a:lnTo>
                    <a:pt x="11304" y="13766"/>
                  </a:lnTo>
                  <a:cubicBezTo>
                    <a:pt x="11784" y="13800"/>
                    <a:pt x="12233" y="13886"/>
                    <a:pt x="12642" y="14009"/>
                  </a:cubicBezTo>
                  <a:cubicBezTo>
                    <a:pt x="12301" y="14805"/>
                    <a:pt x="11837" y="15382"/>
                    <a:pt x="11304" y="15605"/>
                  </a:cubicBezTo>
                  <a:moveTo>
                    <a:pt x="11304" y="8815"/>
                  </a:moveTo>
                  <a:cubicBezTo>
                    <a:pt x="11890" y="8776"/>
                    <a:pt x="12443" y="8669"/>
                    <a:pt x="12949" y="8507"/>
                  </a:cubicBezTo>
                  <a:cubicBezTo>
                    <a:pt x="13093" y="9053"/>
                    <a:pt x="13193" y="9652"/>
                    <a:pt x="13226" y="10297"/>
                  </a:cubicBezTo>
                  <a:lnTo>
                    <a:pt x="11304" y="10297"/>
                  </a:lnTo>
                  <a:cubicBezTo>
                    <a:pt x="11304" y="10297"/>
                    <a:pt x="11304" y="8815"/>
                    <a:pt x="11304" y="8815"/>
                  </a:cubicBezTo>
                  <a:close/>
                  <a:moveTo>
                    <a:pt x="11304" y="5995"/>
                  </a:moveTo>
                  <a:cubicBezTo>
                    <a:pt x="11837" y="6218"/>
                    <a:pt x="12301" y="6795"/>
                    <a:pt x="12642" y="7591"/>
                  </a:cubicBezTo>
                  <a:cubicBezTo>
                    <a:pt x="12233" y="7714"/>
                    <a:pt x="11784" y="7800"/>
                    <a:pt x="11304" y="7835"/>
                  </a:cubicBezTo>
                  <a:cubicBezTo>
                    <a:pt x="11304" y="7835"/>
                    <a:pt x="11304" y="5995"/>
                    <a:pt x="11304" y="5995"/>
                  </a:cubicBezTo>
                  <a:close/>
                  <a:moveTo>
                    <a:pt x="13893" y="6998"/>
                  </a:moveTo>
                  <a:cubicBezTo>
                    <a:pt x="13781" y="7079"/>
                    <a:pt x="13660" y="7155"/>
                    <a:pt x="13529" y="7227"/>
                  </a:cubicBezTo>
                  <a:cubicBezTo>
                    <a:pt x="13410" y="6960"/>
                    <a:pt x="13280" y="6708"/>
                    <a:pt x="13136" y="6480"/>
                  </a:cubicBezTo>
                  <a:cubicBezTo>
                    <a:pt x="13407" y="6627"/>
                    <a:pt x="13656" y="6805"/>
                    <a:pt x="13893" y="6998"/>
                  </a:cubicBezTo>
                  <a:moveTo>
                    <a:pt x="15676" y="10297"/>
                  </a:moveTo>
                  <a:lnTo>
                    <a:pt x="14228" y="10297"/>
                  </a:lnTo>
                  <a:cubicBezTo>
                    <a:pt x="14189" y="9520"/>
                    <a:pt x="14060" y="8790"/>
                    <a:pt x="13863" y="8130"/>
                  </a:cubicBezTo>
                  <a:cubicBezTo>
                    <a:pt x="14123" y="7994"/>
                    <a:pt x="14366" y="7844"/>
                    <a:pt x="14578" y="7677"/>
                  </a:cubicBezTo>
                  <a:cubicBezTo>
                    <a:pt x="15177" y="8405"/>
                    <a:pt x="15574" y="9305"/>
                    <a:pt x="15676" y="10297"/>
                  </a:cubicBezTo>
                  <a:moveTo>
                    <a:pt x="10296" y="7835"/>
                  </a:moveTo>
                  <a:cubicBezTo>
                    <a:pt x="9816" y="7800"/>
                    <a:pt x="9367" y="7714"/>
                    <a:pt x="8958" y="7591"/>
                  </a:cubicBezTo>
                  <a:cubicBezTo>
                    <a:pt x="9299" y="6795"/>
                    <a:pt x="9764" y="6218"/>
                    <a:pt x="10296" y="5995"/>
                  </a:cubicBezTo>
                  <a:cubicBezTo>
                    <a:pt x="10296" y="5995"/>
                    <a:pt x="10296" y="7835"/>
                    <a:pt x="10296" y="7835"/>
                  </a:cubicBezTo>
                  <a:close/>
                  <a:moveTo>
                    <a:pt x="10296" y="10297"/>
                  </a:moveTo>
                  <a:lnTo>
                    <a:pt x="8374" y="10297"/>
                  </a:lnTo>
                  <a:cubicBezTo>
                    <a:pt x="8407" y="9652"/>
                    <a:pt x="8507" y="9053"/>
                    <a:pt x="8651" y="8507"/>
                  </a:cubicBezTo>
                  <a:cubicBezTo>
                    <a:pt x="9158" y="8669"/>
                    <a:pt x="9710" y="8776"/>
                    <a:pt x="10296" y="8815"/>
                  </a:cubicBezTo>
                  <a:cubicBezTo>
                    <a:pt x="10296" y="8815"/>
                    <a:pt x="10296" y="10297"/>
                    <a:pt x="10296" y="10297"/>
                  </a:cubicBezTo>
                  <a:close/>
                  <a:moveTo>
                    <a:pt x="10296" y="12785"/>
                  </a:moveTo>
                  <a:cubicBezTo>
                    <a:pt x="9710" y="12824"/>
                    <a:pt x="9158" y="12931"/>
                    <a:pt x="8651" y="13093"/>
                  </a:cubicBezTo>
                  <a:cubicBezTo>
                    <a:pt x="8507" y="12547"/>
                    <a:pt x="8407" y="11948"/>
                    <a:pt x="8374" y="11304"/>
                  </a:cubicBezTo>
                  <a:lnTo>
                    <a:pt x="10296" y="11304"/>
                  </a:lnTo>
                  <a:cubicBezTo>
                    <a:pt x="10296" y="11304"/>
                    <a:pt x="10296" y="12785"/>
                    <a:pt x="10296" y="12785"/>
                  </a:cubicBezTo>
                  <a:close/>
                  <a:moveTo>
                    <a:pt x="10296" y="15605"/>
                  </a:moveTo>
                  <a:cubicBezTo>
                    <a:pt x="9764" y="15382"/>
                    <a:pt x="9299" y="14805"/>
                    <a:pt x="8958" y="14009"/>
                  </a:cubicBezTo>
                  <a:cubicBezTo>
                    <a:pt x="9367" y="13886"/>
                    <a:pt x="9816" y="13800"/>
                    <a:pt x="10296" y="13766"/>
                  </a:cubicBezTo>
                  <a:cubicBezTo>
                    <a:pt x="10296" y="13766"/>
                    <a:pt x="10296" y="15605"/>
                    <a:pt x="10296" y="15605"/>
                  </a:cubicBezTo>
                  <a:close/>
                  <a:moveTo>
                    <a:pt x="7707" y="14602"/>
                  </a:moveTo>
                  <a:cubicBezTo>
                    <a:pt x="7819" y="14521"/>
                    <a:pt x="7941" y="14445"/>
                    <a:pt x="8071" y="14374"/>
                  </a:cubicBezTo>
                  <a:cubicBezTo>
                    <a:pt x="8190" y="14641"/>
                    <a:pt x="8321" y="14892"/>
                    <a:pt x="8464" y="15120"/>
                  </a:cubicBezTo>
                  <a:cubicBezTo>
                    <a:pt x="8193" y="14973"/>
                    <a:pt x="7944" y="14795"/>
                    <a:pt x="7707" y="14602"/>
                  </a:cubicBezTo>
                  <a:moveTo>
                    <a:pt x="5925" y="11304"/>
                  </a:moveTo>
                  <a:lnTo>
                    <a:pt x="7372" y="11304"/>
                  </a:lnTo>
                  <a:cubicBezTo>
                    <a:pt x="7411" y="12080"/>
                    <a:pt x="7540" y="12810"/>
                    <a:pt x="7737" y="13470"/>
                  </a:cubicBezTo>
                  <a:cubicBezTo>
                    <a:pt x="7477" y="13606"/>
                    <a:pt x="7235" y="13756"/>
                    <a:pt x="7022" y="13923"/>
                  </a:cubicBezTo>
                  <a:cubicBezTo>
                    <a:pt x="6423" y="13195"/>
                    <a:pt x="6026" y="12295"/>
                    <a:pt x="5925" y="11304"/>
                  </a:cubicBezTo>
                  <a:moveTo>
                    <a:pt x="7022" y="7677"/>
                  </a:moveTo>
                  <a:cubicBezTo>
                    <a:pt x="7235" y="7844"/>
                    <a:pt x="7477" y="7994"/>
                    <a:pt x="7737" y="8130"/>
                  </a:cubicBezTo>
                  <a:cubicBezTo>
                    <a:pt x="7540" y="8790"/>
                    <a:pt x="7411" y="9520"/>
                    <a:pt x="7372" y="10297"/>
                  </a:cubicBezTo>
                  <a:lnTo>
                    <a:pt x="5925" y="10297"/>
                  </a:lnTo>
                  <a:cubicBezTo>
                    <a:pt x="6026" y="9305"/>
                    <a:pt x="6423" y="8405"/>
                    <a:pt x="7022" y="7677"/>
                  </a:cubicBezTo>
                  <a:moveTo>
                    <a:pt x="8464" y="6480"/>
                  </a:moveTo>
                  <a:cubicBezTo>
                    <a:pt x="8321" y="6708"/>
                    <a:pt x="8190" y="6960"/>
                    <a:pt x="8071" y="7227"/>
                  </a:cubicBezTo>
                  <a:cubicBezTo>
                    <a:pt x="7941" y="7155"/>
                    <a:pt x="7819" y="7079"/>
                    <a:pt x="7707" y="6998"/>
                  </a:cubicBezTo>
                  <a:cubicBezTo>
                    <a:pt x="7944" y="6805"/>
                    <a:pt x="8193" y="6627"/>
                    <a:pt x="8464" y="6480"/>
                  </a:cubicBezTo>
                  <a:moveTo>
                    <a:pt x="10800" y="4909"/>
                  </a:moveTo>
                  <a:cubicBezTo>
                    <a:pt x="7546" y="4909"/>
                    <a:pt x="4909" y="7546"/>
                    <a:pt x="4909" y="10800"/>
                  </a:cubicBezTo>
                  <a:cubicBezTo>
                    <a:pt x="4909" y="14053"/>
                    <a:pt x="7546" y="16691"/>
                    <a:pt x="10800" y="16691"/>
                  </a:cubicBezTo>
                  <a:cubicBezTo>
                    <a:pt x="14053" y="16691"/>
                    <a:pt x="16691" y="14053"/>
                    <a:pt x="16691" y="10800"/>
                  </a:cubicBezTo>
                  <a:cubicBezTo>
                    <a:pt x="16691" y="7546"/>
                    <a:pt x="14053" y="4909"/>
                    <a:pt x="10800" y="4909"/>
                  </a:cubicBezTo>
                  <a:moveTo>
                    <a:pt x="3233" y="3927"/>
                  </a:moveTo>
                  <a:lnTo>
                    <a:pt x="1473" y="3927"/>
                  </a:lnTo>
                  <a:cubicBezTo>
                    <a:pt x="1202" y="3927"/>
                    <a:pt x="982" y="4147"/>
                    <a:pt x="982" y="4418"/>
                  </a:cubicBezTo>
                  <a:cubicBezTo>
                    <a:pt x="982" y="4690"/>
                    <a:pt x="1202" y="4909"/>
                    <a:pt x="1473" y="4909"/>
                  </a:cubicBezTo>
                  <a:lnTo>
                    <a:pt x="4418" y="4909"/>
                  </a:lnTo>
                  <a:cubicBezTo>
                    <a:pt x="4689" y="4909"/>
                    <a:pt x="4909" y="4690"/>
                    <a:pt x="4909" y="4418"/>
                  </a:cubicBezTo>
                  <a:lnTo>
                    <a:pt x="4909" y="1473"/>
                  </a:lnTo>
                  <a:cubicBezTo>
                    <a:pt x="4909" y="1201"/>
                    <a:pt x="4689" y="982"/>
                    <a:pt x="4418" y="982"/>
                  </a:cubicBezTo>
                  <a:cubicBezTo>
                    <a:pt x="4147" y="982"/>
                    <a:pt x="3927" y="1201"/>
                    <a:pt x="3927" y="1473"/>
                  </a:cubicBezTo>
                  <a:lnTo>
                    <a:pt x="3927" y="3233"/>
                  </a:lnTo>
                  <a:lnTo>
                    <a:pt x="838" y="144"/>
                  </a:lnTo>
                  <a:cubicBezTo>
                    <a:pt x="749" y="55"/>
                    <a:pt x="626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cubicBezTo>
                    <a:pt x="0" y="627"/>
                    <a:pt x="55" y="749"/>
                    <a:pt x="144" y="838"/>
                  </a:cubicBezTo>
                  <a:cubicBezTo>
                    <a:pt x="144" y="838"/>
                    <a:pt x="3233" y="3927"/>
                    <a:pt x="3233" y="3927"/>
                  </a:cubicBezTo>
                  <a:close/>
                  <a:moveTo>
                    <a:pt x="17182" y="4909"/>
                  </a:moveTo>
                  <a:lnTo>
                    <a:pt x="20127" y="4909"/>
                  </a:lnTo>
                  <a:cubicBezTo>
                    <a:pt x="20398" y="4909"/>
                    <a:pt x="20618" y="4690"/>
                    <a:pt x="20618" y="4418"/>
                  </a:cubicBezTo>
                  <a:cubicBezTo>
                    <a:pt x="20618" y="4147"/>
                    <a:pt x="20398" y="3927"/>
                    <a:pt x="20127" y="3927"/>
                  </a:cubicBezTo>
                  <a:lnTo>
                    <a:pt x="18367" y="3927"/>
                  </a:lnTo>
                  <a:lnTo>
                    <a:pt x="21456" y="838"/>
                  </a:lnTo>
                  <a:cubicBezTo>
                    <a:pt x="21545" y="749"/>
                    <a:pt x="21600" y="627"/>
                    <a:pt x="21600" y="491"/>
                  </a:cubicBezTo>
                  <a:cubicBezTo>
                    <a:pt x="21600" y="220"/>
                    <a:pt x="21380" y="0"/>
                    <a:pt x="21109" y="0"/>
                  </a:cubicBezTo>
                  <a:cubicBezTo>
                    <a:pt x="20974" y="0"/>
                    <a:pt x="20851" y="55"/>
                    <a:pt x="20762" y="144"/>
                  </a:cubicBezTo>
                  <a:lnTo>
                    <a:pt x="17673" y="3233"/>
                  </a:lnTo>
                  <a:lnTo>
                    <a:pt x="17673" y="1473"/>
                  </a:lnTo>
                  <a:cubicBezTo>
                    <a:pt x="17673" y="1201"/>
                    <a:pt x="17453" y="982"/>
                    <a:pt x="17182" y="982"/>
                  </a:cubicBezTo>
                  <a:cubicBezTo>
                    <a:pt x="16911" y="982"/>
                    <a:pt x="16691" y="1201"/>
                    <a:pt x="16691" y="1473"/>
                  </a:cubicBezTo>
                  <a:lnTo>
                    <a:pt x="16691" y="4418"/>
                  </a:lnTo>
                  <a:cubicBezTo>
                    <a:pt x="16691" y="4690"/>
                    <a:pt x="16911" y="4909"/>
                    <a:pt x="17182" y="490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Shape 2948">
              <a:extLst>
                <a:ext uri="{FF2B5EF4-FFF2-40B4-BE49-F238E27FC236}">
                  <a16:creationId xmlns:a16="http://schemas.microsoft.com/office/drawing/2014/main" id="{508F9E13-7604-40D7-9BD4-46CF13AEE24B}"/>
                </a:ext>
              </a:extLst>
            </p:cNvPr>
            <p:cNvSpPr/>
            <p:nvPr/>
          </p:nvSpPr>
          <p:spPr bwMode="gray">
            <a:xfrm>
              <a:off x="2863302" y="2908303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75" y="6273"/>
                  </a:moveTo>
                  <a:cubicBezTo>
                    <a:pt x="6275" y="6273"/>
                    <a:pt x="6661" y="6914"/>
                    <a:pt x="8976" y="7703"/>
                  </a:cubicBezTo>
                  <a:cubicBezTo>
                    <a:pt x="8976" y="7703"/>
                    <a:pt x="9413" y="7721"/>
                    <a:pt x="8899" y="7354"/>
                  </a:cubicBezTo>
                  <a:cubicBezTo>
                    <a:pt x="8384" y="6987"/>
                    <a:pt x="7819" y="6529"/>
                    <a:pt x="8462" y="6291"/>
                  </a:cubicBezTo>
                  <a:cubicBezTo>
                    <a:pt x="9104" y="6052"/>
                    <a:pt x="9285" y="6071"/>
                    <a:pt x="9439" y="6511"/>
                  </a:cubicBezTo>
                  <a:cubicBezTo>
                    <a:pt x="9594" y="6950"/>
                    <a:pt x="10108" y="6694"/>
                    <a:pt x="10159" y="6273"/>
                  </a:cubicBezTo>
                  <a:cubicBezTo>
                    <a:pt x="10211" y="5851"/>
                    <a:pt x="11163" y="5411"/>
                    <a:pt x="11806" y="5209"/>
                  </a:cubicBezTo>
                  <a:cubicBezTo>
                    <a:pt x="12449" y="5007"/>
                    <a:pt x="13040" y="4934"/>
                    <a:pt x="12963" y="4585"/>
                  </a:cubicBezTo>
                  <a:cubicBezTo>
                    <a:pt x="12886" y="4237"/>
                    <a:pt x="12706" y="3980"/>
                    <a:pt x="11703" y="3980"/>
                  </a:cubicBezTo>
                  <a:cubicBezTo>
                    <a:pt x="10699" y="3980"/>
                    <a:pt x="11137" y="4934"/>
                    <a:pt x="10314" y="4365"/>
                  </a:cubicBezTo>
                  <a:cubicBezTo>
                    <a:pt x="9491" y="3797"/>
                    <a:pt x="10493" y="3944"/>
                    <a:pt x="10905" y="3816"/>
                  </a:cubicBezTo>
                  <a:cubicBezTo>
                    <a:pt x="11317" y="3687"/>
                    <a:pt x="11729" y="3155"/>
                    <a:pt x="11009" y="3119"/>
                  </a:cubicBezTo>
                  <a:cubicBezTo>
                    <a:pt x="10287" y="3082"/>
                    <a:pt x="10442" y="3339"/>
                    <a:pt x="9876" y="3192"/>
                  </a:cubicBezTo>
                  <a:cubicBezTo>
                    <a:pt x="9310" y="3045"/>
                    <a:pt x="9053" y="3706"/>
                    <a:pt x="8693" y="3614"/>
                  </a:cubicBezTo>
                  <a:cubicBezTo>
                    <a:pt x="8519" y="3570"/>
                    <a:pt x="8131" y="3374"/>
                    <a:pt x="7770" y="3142"/>
                  </a:cubicBezTo>
                  <a:cubicBezTo>
                    <a:pt x="6767" y="3765"/>
                    <a:pt x="6022" y="4597"/>
                    <a:pt x="5656" y="5546"/>
                  </a:cubicBezTo>
                  <a:cubicBezTo>
                    <a:pt x="5919" y="6021"/>
                    <a:pt x="6275" y="6273"/>
                    <a:pt x="6275" y="6273"/>
                  </a:cubicBezTo>
                  <a:moveTo>
                    <a:pt x="20588" y="12027"/>
                  </a:moveTo>
                  <a:cubicBezTo>
                    <a:pt x="20407" y="12027"/>
                    <a:pt x="20245" y="12080"/>
                    <a:pt x="20124" y="12164"/>
                  </a:cubicBezTo>
                  <a:lnTo>
                    <a:pt x="20119" y="12161"/>
                  </a:lnTo>
                  <a:cubicBezTo>
                    <a:pt x="18145" y="13734"/>
                    <a:pt x="15310" y="14727"/>
                    <a:pt x="12150" y="14727"/>
                  </a:cubicBezTo>
                  <a:cubicBezTo>
                    <a:pt x="6186" y="14727"/>
                    <a:pt x="1350" y="11211"/>
                    <a:pt x="1350" y="6873"/>
                  </a:cubicBezTo>
                  <a:cubicBezTo>
                    <a:pt x="1350" y="4606"/>
                    <a:pt x="2678" y="2571"/>
                    <a:pt x="4788" y="1137"/>
                  </a:cubicBezTo>
                  <a:lnTo>
                    <a:pt x="4777" y="1127"/>
                  </a:lnTo>
                  <a:cubicBezTo>
                    <a:pt x="4945" y="1037"/>
                    <a:pt x="5062" y="900"/>
                    <a:pt x="5062" y="736"/>
                  </a:cubicBezTo>
                  <a:cubicBezTo>
                    <a:pt x="5062" y="465"/>
                    <a:pt x="4760" y="245"/>
                    <a:pt x="4388" y="245"/>
                  </a:cubicBezTo>
                  <a:cubicBezTo>
                    <a:pt x="4192" y="245"/>
                    <a:pt x="4020" y="308"/>
                    <a:pt x="3897" y="405"/>
                  </a:cubicBezTo>
                  <a:lnTo>
                    <a:pt x="3895" y="403"/>
                  </a:lnTo>
                  <a:cubicBezTo>
                    <a:pt x="1505" y="2016"/>
                    <a:pt x="0" y="4314"/>
                    <a:pt x="0" y="6873"/>
                  </a:cubicBezTo>
                  <a:cubicBezTo>
                    <a:pt x="0" y="11587"/>
                    <a:pt x="5081" y="15428"/>
                    <a:pt x="11475" y="15684"/>
                  </a:cubicBezTo>
                  <a:lnTo>
                    <a:pt x="11475" y="20618"/>
                  </a:lnTo>
                  <a:lnTo>
                    <a:pt x="7425" y="20618"/>
                  </a:lnTo>
                  <a:cubicBezTo>
                    <a:pt x="7052" y="20618"/>
                    <a:pt x="6750" y="20838"/>
                    <a:pt x="6750" y="21109"/>
                  </a:cubicBezTo>
                  <a:cubicBezTo>
                    <a:pt x="6750" y="21380"/>
                    <a:pt x="7052" y="21600"/>
                    <a:pt x="7425" y="21600"/>
                  </a:cubicBezTo>
                  <a:lnTo>
                    <a:pt x="16875" y="21600"/>
                  </a:lnTo>
                  <a:cubicBezTo>
                    <a:pt x="17247" y="21600"/>
                    <a:pt x="17550" y="21380"/>
                    <a:pt x="17550" y="21109"/>
                  </a:cubicBezTo>
                  <a:cubicBezTo>
                    <a:pt x="17550" y="20838"/>
                    <a:pt x="17247" y="20618"/>
                    <a:pt x="16875" y="20618"/>
                  </a:cubicBezTo>
                  <a:lnTo>
                    <a:pt x="12825" y="20618"/>
                  </a:lnTo>
                  <a:lnTo>
                    <a:pt x="12825" y="15684"/>
                  </a:lnTo>
                  <a:cubicBezTo>
                    <a:pt x="16068" y="15554"/>
                    <a:pt x="18970" y="14500"/>
                    <a:pt x="21045" y="12880"/>
                  </a:cubicBezTo>
                  <a:lnTo>
                    <a:pt x="21041" y="12877"/>
                  </a:lnTo>
                  <a:cubicBezTo>
                    <a:pt x="21175" y="12788"/>
                    <a:pt x="21262" y="12661"/>
                    <a:pt x="21262" y="12518"/>
                  </a:cubicBezTo>
                  <a:cubicBezTo>
                    <a:pt x="21262" y="12247"/>
                    <a:pt x="20960" y="12027"/>
                    <a:pt x="20588" y="12027"/>
                  </a:cubicBezTo>
                  <a:moveTo>
                    <a:pt x="12150" y="982"/>
                  </a:moveTo>
                  <a:cubicBezTo>
                    <a:pt x="16623" y="982"/>
                    <a:pt x="20250" y="3619"/>
                    <a:pt x="20250" y="6873"/>
                  </a:cubicBezTo>
                  <a:cubicBezTo>
                    <a:pt x="20250" y="10127"/>
                    <a:pt x="16623" y="12764"/>
                    <a:pt x="12150" y="12764"/>
                  </a:cubicBezTo>
                  <a:cubicBezTo>
                    <a:pt x="7677" y="12764"/>
                    <a:pt x="4050" y="10127"/>
                    <a:pt x="4050" y="6873"/>
                  </a:cubicBezTo>
                  <a:cubicBezTo>
                    <a:pt x="4050" y="3619"/>
                    <a:pt x="7677" y="982"/>
                    <a:pt x="12150" y="982"/>
                  </a:cubicBezTo>
                  <a:moveTo>
                    <a:pt x="12150" y="13745"/>
                  </a:moveTo>
                  <a:cubicBezTo>
                    <a:pt x="17369" y="13745"/>
                    <a:pt x="21600" y="10669"/>
                    <a:pt x="21600" y="6873"/>
                  </a:cubicBezTo>
                  <a:cubicBezTo>
                    <a:pt x="21600" y="3077"/>
                    <a:pt x="17369" y="0"/>
                    <a:pt x="12150" y="0"/>
                  </a:cubicBezTo>
                  <a:cubicBezTo>
                    <a:pt x="6931" y="0"/>
                    <a:pt x="2700" y="3077"/>
                    <a:pt x="2700" y="6873"/>
                  </a:cubicBezTo>
                  <a:cubicBezTo>
                    <a:pt x="2700" y="10669"/>
                    <a:pt x="6931" y="13745"/>
                    <a:pt x="12150" y="13745"/>
                  </a:cubicBezTo>
                  <a:moveTo>
                    <a:pt x="16733" y="8152"/>
                  </a:moveTo>
                  <a:cubicBezTo>
                    <a:pt x="16437" y="8280"/>
                    <a:pt x="16449" y="8564"/>
                    <a:pt x="16693" y="8720"/>
                  </a:cubicBezTo>
                  <a:cubicBezTo>
                    <a:pt x="16938" y="8876"/>
                    <a:pt x="17427" y="9078"/>
                    <a:pt x="17581" y="8720"/>
                  </a:cubicBezTo>
                  <a:cubicBezTo>
                    <a:pt x="17736" y="8362"/>
                    <a:pt x="17028" y="8023"/>
                    <a:pt x="16733" y="8152"/>
                  </a:cubicBezTo>
                  <a:moveTo>
                    <a:pt x="11317" y="7428"/>
                  </a:moveTo>
                  <a:cubicBezTo>
                    <a:pt x="10211" y="7428"/>
                    <a:pt x="9516" y="7611"/>
                    <a:pt x="9800" y="8711"/>
                  </a:cubicBezTo>
                  <a:cubicBezTo>
                    <a:pt x="10082" y="9811"/>
                    <a:pt x="10905" y="9316"/>
                    <a:pt x="10828" y="10160"/>
                  </a:cubicBezTo>
                  <a:cubicBezTo>
                    <a:pt x="10751" y="11003"/>
                    <a:pt x="11034" y="11186"/>
                    <a:pt x="11214" y="11388"/>
                  </a:cubicBezTo>
                  <a:cubicBezTo>
                    <a:pt x="11315" y="11501"/>
                    <a:pt x="11532" y="11731"/>
                    <a:pt x="11738" y="11767"/>
                  </a:cubicBezTo>
                  <a:cubicBezTo>
                    <a:pt x="11768" y="11768"/>
                    <a:pt x="11798" y="11769"/>
                    <a:pt x="11828" y="11770"/>
                  </a:cubicBezTo>
                  <a:cubicBezTo>
                    <a:pt x="11954" y="11751"/>
                    <a:pt x="12068" y="11642"/>
                    <a:pt x="12140" y="11351"/>
                  </a:cubicBezTo>
                  <a:cubicBezTo>
                    <a:pt x="12346" y="10526"/>
                    <a:pt x="12732" y="10067"/>
                    <a:pt x="13169" y="9664"/>
                  </a:cubicBezTo>
                  <a:cubicBezTo>
                    <a:pt x="13606" y="9261"/>
                    <a:pt x="14070" y="8729"/>
                    <a:pt x="13195" y="8197"/>
                  </a:cubicBezTo>
                  <a:cubicBezTo>
                    <a:pt x="12320" y="7666"/>
                    <a:pt x="12423" y="7428"/>
                    <a:pt x="11317" y="7428"/>
                  </a:cubicBezTo>
                  <a:moveTo>
                    <a:pt x="14404" y="3284"/>
                  </a:moveTo>
                  <a:cubicBezTo>
                    <a:pt x="14404" y="3284"/>
                    <a:pt x="14198" y="3431"/>
                    <a:pt x="14404" y="3962"/>
                  </a:cubicBezTo>
                  <a:cubicBezTo>
                    <a:pt x="14610" y="4494"/>
                    <a:pt x="14955" y="4609"/>
                    <a:pt x="15974" y="4311"/>
                  </a:cubicBezTo>
                  <a:cubicBezTo>
                    <a:pt x="16411" y="4182"/>
                    <a:pt x="16742" y="4248"/>
                    <a:pt x="16693" y="4567"/>
                  </a:cubicBezTo>
                  <a:cubicBezTo>
                    <a:pt x="16591" y="5246"/>
                    <a:pt x="15858" y="5217"/>
                    <a:pt x="16411" y="6309"/>
                  </a:cubicBezTo>
                  <a:cubicBezTo>
                    <a:pt x="16745" y="6969"/>
                    <a:pt x="17568" y="7226"/>
                    <a:pt x="17877" y="7739"/>
                  </a:cubicBezTo>
                  <a:cubicBezTo>
                    <a:pt x="17984" y="7918"/>
                    <a:pt x="18288" y="8083"/>
                    <a:pt x="18633" y="8228"/>
                  </a:cubicBezTo>
                  <a:cubicBezTo>
                    <a:pt x="18803" y="7797"/>
                    <a:pt x="18900" y="7344"/>
                    <a:pt x="18900" y="6873"/>
                  </a:cubicBezTo>
                  <a:cubicBezTo>
                    <a:pt x="18900" y="4752"/>
                    <a:pt x="17047" y="2950"/>
                    <a:pt x="14457" y="2264"/>
                  </a:cubicBezTo>
                  <a:cubicBezTo>
                    <a:pt x="14328" y="2411"/>
                    <a:pt x="14192" y="2545"/>
                    <a:pt x="14044" y="2605"/>
                  </a:cubicBezTo>
                  <a:cubicBezTo>
                    <a:pt x="13684" y="2752"/>
                    <a:pt x="13710" y="3339"/>
                    <a:pt x="14404" y="328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Shape 2950">
              <a:extLst>
                <a:ext uri="{FF2B5EF4-FFF2-40B4-BE49-F238E27FC236}">
                  <a16:creationId xmlns:a16="http://schemas.microsoft.com/office/drawing/2014/main" id="{3A4383B1-C1E7-438F-ACC9-B68AB14DE0D1}"/>
                </a:ext>
              </a:extLst>
            </p:cNvPr>
            <p:cNvSpPr/>
            <p:nvPr/>
          </p:nvSpPr>
          <p:spPr bwMode="gray">
            <a:xfrm>
              <a:off x="3394413" y="2908303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0" y="7855"/>
                  </a:moveTo>
                  <a:lnTo>
                    <a:pt x="7800" y="7855"/>
                  </a:lnTo>
                  <a:cubicBezTo>
                    <a:pt x="8132" y="7855"/>
                    <a:pt x="8400" y="7635"/>
                    <a:pt x="8400" y="7364"/>
                  </a:cubicBezTo>
                  <a:cubicBezTo>
                    <a:pt x="8400" y="7092"/>
                    <a:pt x="8132" y="6873"/>
                    <a:pt x="7800" y="6873"/>
                  </a:cubicBezTo>
                  <a:lnTo>
                    <a:pt x="4200" y="6873"/>
                  </a:lnTo>
                  <a:cubicBezTo>
                    <a:pt x="3868" y="6873"/>
                    <a:pt x="3600" y="7092"/>
                    <a:pt x="3600" y="7364"/>
                  </a:cubicBezTo>
                  <a:cubicBezTo>
                    <a:pt x="3600" y="7635"/>
                    <a:pt x="3868" y="7855"/>
                    <a:pt x="4200" y="7855"/>
                  </a:cubicBezTo>
                  <a:moveTo>
                    <a:pt x="4200" y="11782"/>
                  </a:moveTo>
                  <a:lnTo>
                    <a:pt x="16200" y="11782"/>
                  </a:lnTo>
                  <a:cubicBezTo>
                    <a:pt x="16532" y="11782"/>
                    <a:pt x="16800" y="11562"/>
                    <a:pt x="16800" y="11291"/>
                  </a:cubicBezTo>
                  <a:cubicBezTo>
                    <a:pt x="16800" y="11020"/>
                    <a:pt x="16532" y="10800"/>
                    <a:pt x="16200" y="10800"/>
                  </a:cubicBezTo>
                  <a:lnTo>
                    <a:pt x="4200" y="10800"/>
                  </a:lnTo>
                  <a:cubicBezTo>
                    <a:pt x="3868" y="10800"/>
                    <a:pt x="3600" y="11020"/>
                    <a:pt x="3600" y="11291"/>
                  </a:cubicBezTo>
                  <a:cubicBezTo>
                    <a:pt x="3600" y="11562"/>
                    <a:pt x="3868" y="11782"/>
                    <a:pt x="4200" y="11782"/>
                  </a:cubicBezTo>
                  <a:moveTo>
                    <a:pt x="4200" y="9818"/>
                  </a:moveTo>
                  <a:lnTo>
                    <a:pt x="11400" y="9818"/>
                  </a:lnTo>
                  <a:cubicBezTo>
                    <a:pt x="11732" y="9818"/>
                    <a:pt x="12000" y="9599"/>
                    <a:pt x="12000" y="9327"/>
                  </a:cubicBezTo>
                  <a:cubicBezTo>
                    <a:pt x="12000" y="9056"/>
                    <a:pt x="11732" y="8836"/>
                    <a:pt x="11400" y="8836"/>
                  </a:cubicBezTo>
                  <a:lnTo>
                    <a:pt x="4200" y="8836"/>
                  </a:lnTo>
                  <a:cubicBezTo>
                    <a:pt x="3868" y="8836"/>
                    <a:pt x="3600" y="9056"/>
                    <a:pt x="3600" y="9327"/>
                  </a:cubicBezTo>
                  <a:cubicBezTo>
                    <a:pt x="3600" y="9599"/>
                    <a:pt x="3868" y="9818"/>
                    <a:pt x="4200" y="9818"/>
                  </a:cubicBezTo>
                  <a:moveTo>
                    <a:pt x="4200" y="5891"/>
                  </a:moveTo>
                  <a:lnTo>
                    <a:pt x="15000" y="5891"/>
                  </a:lnTo>
                  <a:cubicBezTo>
                    <a:pt x="15332" y="5891"/>
                    <a:pt x="15600" y="5671"/>
                    <a:pt x="15600" y="5400"/>
                  </a:cubicBezTo>
                  <a:cubicBezTo>
                    <a:pt x="15600" y="5129"/>
                    <a:pt x="15332" y="4909"/>
                    <a:pt x="15000" y="4909"/>
                  </a:cubicBezTo>
                  <a:lnTo>
                    <a:pt x="4200" y="4909"/>
                  </a:lnTo>
                  <a:cubicBezTo>
                    <a:pt x="3868" y="4909"/>
                    <a:pt x="3600" y="5129"/>
                    <a:pt x="3600" y="5400"/>
                  </a:cubicBezTo>
                  <a:cubicBezTo>
                    <a:pt x="3600" y="5671"/>
                    <a:pt x="3868" y="5891"/>
                    <a:pt x="4200" y="5891"/>
                  </a:cubicBezTo>
                  <a:moveTo>
                    <a:pt x="20400" y="13745"/>
                  </a:moveTo>
                  <a:lnTo>
                    <a:pt x="1200" y="13745"/>
                  </a:lnTo>
                  <a:lnTo>
                    <a:pt x="1200" y="2945"/>
                  </a:lnTo>
                  <a:lnTo>
                    <a:pt x="20400" y="2945"/>
                  </a:lnTo>
                  <a:cubicBezTo>
                    <a:pt x="20400" y="2945"/>
                    <a:pt x="20400" y="13745"/>
                    <a:pt x="20400" y="13745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4727"/>
                  </a:lnTo>
                  <a:lnTo>
                    <a:pt x="11400" y="14727"/>
                  </a:lnTo>
                  <a:cubicBezTo>
                    <a:pt x="11400" y="14727"/>
                    <a:pt x="11400" y="20618"/>
                    <a:pt x="11400" y="20618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0400" y="1964"/>
                  </a:move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2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1200" y="1964"/>
                  </a:lnTo>
                  <a:cubicBezTo>
                    <a:pt x="537" y="1964"/>
                    <a:pt x="0" y="2404"/>
                    <a:pt x="0" y="2945"/>
                  </a:cubicBezTo>
                  <a:lnTo>
                    <a:pt x="0" y="13745"/>
                  </a:lnTo>
                  <a:cubicBezTo>
                    <a:pt x="0" y="14287"/>
                    <a:pt x="537" y="14727"/>
                    <a:pt x="1200" y="14727"/>
                  </a:cubicBezTo>
                  <a:lnTo>
                    <a:pt x="9000" y="14727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2" y="21600"/>
                    <a:pt x="12600" y="21160"/>
                    <a:pt x="12600" y="20618"/>
                  </a:cubicBezTo>
                  <a:lnTo>
                    <a:pt x="12600" y="14727"/>
                  </a:lnTo>
                  <a:lnTo>
                    <a:pt x="20400" y="14727"/>
                  </a:lnTo>
                  <a:cubicBezTo>
                    <a:pt x="21062" y="14727"/>
                    <a:pt x="21600" y="14287"/>
                    <a:pt x="21600" y="13745"/>
                  </a:cubicBezTo>
                  <a:lnTo>
                    <a:pt x="21600" y="2945"/>
                  </a:lnTo>
                  <a:cubicBezTo>
                    <a:pt x="21600" y="2404"/>
                    <a:pt x="21062" y="1964"/>
                    <a:pt x="20400" y="1964"/>
                  </a:cubicBezTo>
                  <a:moveTo>
                    <a:pt x="17400" y="8836"/>
                  </a:moveTo>
                  <a:lnTo>
                    <a:pt x="13800" y="8836"/>
                  </a:lnTo>
                  <a:cubicBezTo>
                    <a:pt x="13468" y="8836"/>
                    <a:pt x="13200" y="9056"/>
                    <a:pt x="13200" y="9327"/>
                  </a:cubicBezTo>
                  <a:cubicBezTo>
                    <a:pt x="13200" y="9599"/>
                    <a:pt x="13468" y="9818"/>
                    <a:pt x="13800" y="9818"/>
                  </a:cubicBezTo>
                  <a:lnTo>
                    <a:pt x="17400" y="9818"/>
                  </a:lnTo>
                  <a:cubicBezTo>
                    <a:pt x="17732" y="9818"/>
                    <a:pt x="18000" y="9599"/>
                    <a:pt x="18000" y="9327"/>
                  </a:cubicBezTo>
                  <a:cubicBezTo>
                    <a:pt x="18000" y="9056"/>
                    <a:pt x="17732" y="8836"/>
                    <a:pt x="17400" y="8836"/>
                  </a:cubicBezTo>
                  <a:moveTo>
                    <a:pt x="9600" y="7364"/>
                  </a:moveTo>
                  <a:cubicBezTo>
                    <a:pt x="9600" y="7635"/>
                    <a:pt x="9868" y="7855"/>
                    <a:pt x="10200" y="7855"/>
                  </a:cubicBezTo>
                  <a:lnTo>
                    <a:pt x="17400" y="7855"/>
                  </a:lnTo>
                  <a:cubicBezTo>
                    <a:pt x="17732" y="7855"/>
                    <a:pt x="18000" y="7635"/>
                    <a:pt x="18000" y="7364"/>
                  </a:cubicBezTo>
                  <a:cubicBezTo>
                    <a:pt x="18000" y="7092"/>
                    <a:pt x="17732" y="6873"/>
                    <a:pt x="17400" y="6873"/>
                  </a:cubicBezTo>
                  <a:lnTo>
                    <a:pt x="10200" y="6873"/>
                  </a:lnTo>
                  <a:cubicBezTo>
                    <a:pt x="9868" y="6873"/>
                    <a:pt x="9600" y="7092"/>
                    <a:pt x="9600" y="736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Shape 2951">
              <a:extLst>
                <a:ext uri="{FF2B5EF4-FFF2-40B4-BE49-F238E27FC236}">
                  <a16:creationId xmlns:a16="http://schemas.microsoft.com/office/drawing/2014/main" id="{E0A565CC-DBC0-44C9-9348-4215B86BB059}"/>
                </a:ext>
              </a:extLst>
            </p:cNvPr>
            <p:cNvSpPr/>
            <p:nvPr/>
          </p:nvSpPr>
          <p:spPr bwMode="gray">
            <a:xfrm>
              <a:off x="3921605" y="2934662"/>
              <a:ext cx="289956" cy="2372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0400"/>
                  </a:moveTo>
                  <a:lnTo>
                    <a:pt x="1964" y="20400"/>
                  </a:lnTo>
                  <a:cubicBezTo>
                    <a:pt x="1422" y="20400"/>
                    <a:pt x="982" y="19862"/>
                    <a:pt x="982" y="19200"/>
                  </a:cubicBezTo>
                  <a:cubicBezTo>
                    <a:pt x="982" y="18949"/>
                    <a:pt x="1026" y="18796"/>
                    <a:pt x="1048" y="18735"/>
                  </a:cubicBezTo>
                  <a:cubicBezTo>
                    <a:pt x="1065" y="18712"/>
                    <a:pt x="1048" y="18729"/>
                    <a:pt x="1078" y="18673"/>
                  </a:cubicBezTo>
                  <a:lnTo>
                    <a:pt x="9915" y="1873"/>
                  </a:lnTo>
                  <a:cubicBezTo>
                    <a:pt x="9929" y="1843"/>
                    <a:pt x="9944" y="1813"/>
                    <a:pt x="9957" y="1783"/>
                  </a:cubicBezTo>
                  <a:cubicBezTo>
                    <a:pt x="9960" y="1778"/>
                    <a:pt x="10234" y="1200"/>
                    <a:pt x="10800" y="1200"/>
                  </a:cubicBezTo>
                  <a:cubicBezTo>
                    <a:pt x="11366" y="1200"/>
                    <a:pt x="11588" y="1654"/>
                    <a:pt x="11617" y="1719"/>
                  </a:cubicBezTo>
                  <a:cubicBezTo>
                    <a:pt x="11641" y="1792"/>
                    <a:pt x="11650" y="1806"/>
                    <a:pt x="11685" y="1873"/>
                  </a:cubicBezTo>
                  <a:lnTo>
                    <a:pt x="20522" y="18673"/>
                  </a:lnTo>
                  <a:cubicBezTo>
                    <a:pt x="20535" y="18697"/>
                    <a:pt x="20548" y="18720"/>
                    <a:pt x="20562" y="18743"/>
                  </a:cubicBezTo>
                  <a:cubicBezTo>
                    <a:pt x="20576" y="18785"/>
                    <a:pt x="20618" y="18928"/>
                    <a:pt x="20618" y="19200"/>
                  </a:cubicBezTo>
                  <a:cubicBezTo>
                    <a:pt x="20618" y="19862"/>
                    <a:pt x="20178" y="20400"/>
                    <a:pt x="19636" y="20400"/>
                  </a:cubicBezTo>
                  <a:moveTo>
                    <a:pt x="21348" y="18023"/>
                  </a:moveTo>
                  <a:lnTo>
                    <a:pt x="12511" y="1223"/>
                  </a:lnTo>
                  <a:cubicBezTo>
                    <a:pt x="12511" y="1223"/>
                    <a:pt x="12057" y="0"/>
                    <a:pt x="10800" y="0"/>
                  </a:cubicBezTo>
                  <a:cubicBezTo>
                    <a:pt x="9616" y="0"/>
                    <a:pt x="9089" y="1223"/>
                    <a:pt x="9089" y="1223"/>
                  </a:cubicBezTo>
                  <a:lnTo>
                    <a:pt x="252" y="18023"/>
                  </a:lnTo>
                  <a:cubicBezTo>
                    <a:pt x="252" y="18023"/>
                    <a:pt x="0" y="18421"/>
                    <a:pt x="0" y="19200"/>
                  </a:cubicBezTo>
                  <a:cubicBezTo>
                    <a:pt x="0" y="20525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525"/>
                    <a:pt x="21600" y="19200"/>
                  </a:cubicBezTo>
                  <a:cubicBezTo>
                    <a:pt x="21600" y="18362"/>
                    <a:pt x="21348" y="18023"/>
                    <a:pt x="21348" y="18023"/>
                  </a:cubicBezTo>
                  <a:moveTo>
                    <a:pt x="13255" y="8400"/>
                  </a:moveTo>
                  <a:lnTo>
                    <a:pt x="10309" y="8400"/>
                  </a:lnTo>
                  <a:cubicBezTo>
                    <a:pt x="10038" y="8400"/>
                    <a:pt x="9818" y="8668"/>
                    <a:pt x="9818" y="9000"/>
                  </a:cubicBezTo>
                  <a:cubicBezTo>
                    <a:pt x="9818" y="9332"/>
                    <a:pt x="10038" y="9600"/>
                    <a:pt x="10309" y="9600"/>
                  </a:cubicBezTo>
                  <a:lnTo>
                    <a:pt x="11821" y="9600"/>
                  </a:lnTo>
                  <a:cubicBezTo>
                    <a:pt x="10310" y="11177"/>
                    <a:pt x="7852" y="14224"/>
                    <a:pt x="7852" y="17384"/>
                  </a:cubicBezTo>
                  <a:lnTo>
                    <a:pt x="7857" y="17384"/>
                  </a:lnTo>
                  <a:cubicBezTo>
                    <a:pt x="7857" y="17389"/>
                    <a:pt x="7855" y="17394"/>
                    <a:pt x="7855" y="17400"/>
                  </a:cubicBezTo>
                  <a:cubicBezTo>
                    <a:pt x="7855" y="17732"/>
                    <a:pt x="8074" y="18000"/>
                    <a:pt x="8345" y="18000"/>
                  </a:cubicBezTo>
                  <a:cubicBezTo>
                    <a:pt x="8617" y="18000"/>
                    <a:pt x="8836" y="17732"/>
                    <a:pt x="8836" y="17400"/>
                  </a:cubicBezTo>
                  <a:cubicBezTo>
                    <a:pt x="8836" y="17394"/>
                    <a:pt x="8833" y="17389"/>
                    <a:pt x="8833" y="17384"/>
                  </a:cubicBezTo>
                  <a:cubicBezTo>
                    <a:pt x="8833" y="14516"/>
                    <a:pt x="11431" y="11542"/>
                    <a:pt x="12764" y="10204"/>
                  </a:cubicBezTo>
                  <a:lnTo>
                    <a:pt x="12764" y="12600"/>
                  </a:lnTo>
                  <a:cubicBezTo>
                    <a:pt x="12764" y="12932"/>
                    <a:pt x="12983" y="13200"/>
                    <a:pt x="13255" y="13200"/>
                  </a:cubicBezTo>
                  <a:cubicBezTo>
                    <a:pt x="13526" y="13200"/>
                    <a:pt x="13745" y="12932"/>
                    <a:pt x="13745" y="12600"/>
                  </a:cubicBezTo>
                  <a:lnTo>
                    <a:pt x="13745" y="9000"/>
                  </a:lnTo>
                  <a:cubicBezTo>
                    <a:pt x="13745" y="8668"/>
                    <a:pt x="13526" y="8400"/>
                    <a:pt x="13255" y="8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Shape 2952">
              <a:extLst>
                <a:ext uri="{FF2B5EF4-FFF2-40B4-BE49-F238E27FC236}">
                  <a16:creationId xmlns:a16="http://schemas.microsoft.com/office/drawing/2014/main" id="{5D929789-2D92-44C4-B6CD-F5F7AD5AB0FE}"/>
                </a:ext>
              </a:extLst>
            </p:cNvPr>
            <p:cNvSpPr/>
            <p:nvPr/>
          </p:nvSpPr>
          <p:spPr bwMode="gray">
            <a:xfrm>
              <a:off x="4475156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9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Shape 2953">
              <a:extLst>
                <a:ext uri="{FF2B5EF4-FFF2-40B4-BE49-F238E27FC236}">
                  <a16:creationId xmlns:a16="http://schemas.microsoft.com/office/drawing/2014/main" id="{8B410DE5-0D19-4052-A447-D6245BB2C3F3}"/>
                </a:ext>
              </a:extLst>
            </p:cNvPr>
            <p:cNvSpPr/>
            <p:nvPr/>
          </p:nvSpPr>
          <p:spPr bwMode="gray">
            <a:xfrm>
              <a:off x="5028708" y="2908303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3745"/>
                  </a:moveTo>
                  <a:lnTo>
                    <a:pt x="982" y="13745"/>
                  </a:lnTo>
                  <a:lnTo>
                    <a:pt x="982" y="12764"/>
                  </a:lnTo>
                  <a:lnTo>
                    <a:pt x="20618" y="12764"/>
                  </a:lnTo>
                  <a:cubicBezTo>
                    <a:pt x="20618" y="12764"/>
                    <a:pt x="20618" y="13745"/>
                    <a:pt x="20618" y="13745"/>
                  </a:cubicBezTo>
                  <a:close/>
                  <a:moveTo>
                    <a:pt x="17673" y="15015"/>
                  </a:moveTo>
                  <a:lnTo>
                    <a:pt x="16691" y="15997"/>
                  </a:lnTo>
                  <a:lnTo>
                    <a:pt x="16691" y="14727"/>
                  </a:lnTo>
                  <a:lnTo>
                    <a:pt x="17673" y="14727"/>
                  </a:lnTo>
                  <a:cubicBezTo>
                    <a:pt x="17673" y="14727"/>
                    <a:pt x="17673" y="15015"/>
                    <a:pt x="17673" y="15015"/>
                  </a:cubicBezTo>
                  <a:close/>
                  <a:moveTo>
                    <a:pt x="17673" y="17960"/>
                  </a:moveTo>
                  <a:lnTo>
                    <a:pt x="16894" y="17182"/>
                  </a:lnTo>
                  <a:lnTo>
                    <a:pt x="17673" y="16403"/>
                  </a:lnTo>
                  <a:cubicBezTo>
                    <a:pt x="17673" y="16403"/>
                    <a:pt x="17673" y="17960"/>
                    <a:pt x="17673" y="17960"/>
                  </a:cubicBezTo>
                  <a:close/>
                  <a:moveTo>
                    <a:pt x="16691" y="19924"/>
                  </a:moveTo>
                  <a:lnTo>
                    <a:pt x="16691" y="18367"/>
                  </a:lnTo>
                  <a:lnTo>
                    <a:pt x="17469" y="19145"/>
                  </a:lnTo>
                  <a:cubicBezTo>
                    <a:pt x="17469" y="19145"/>
                    <a:pt x="16691" y="19924"/>
                    <a:pt x="16691" y="19924"/>
                  </a:cubicBezTo>
                  <a:close/>
                  <a:moveTo>
                    <a:pt x="4909" y="15997"/>
                  </a:moveTo>
                  <a:lnTo>
                    <a:pt x="3927" y="15015"/>
                  </a:lnTo>
                  <a:lnTo>
                    <a:pt x="3927" y="14727"/>
                  </a:lnTo>
                  <a:lnTo>
                    <a:pt x="4909" y="14727"/>
                  </a:lnTo>
                  <a:cubicBezTo>
                    <a:pt x="4909" y="14727"/>
                    <a:pt x="4909" y="15997"/>
                    <a:pt x="4909" y="15997"/>
                  </a:cubicBezTo>
                  <a:close/>
                  <a:moveTo>
                    <a:pt x="3927" y="17960"/>
                  </a:moveTo>
                  <a:lnTo>
                    <a:pt x="3927" y="16403"/>
                  </a:lnTo>
                  <a:lnTo>
                    <a:pt x="4706" y="17182"/>
                  </a:lnTo>
                  <a:cubicBezTo>
                    <a:pt x="4706" y="17182"/>
                    <a:pt x="3927" y="17960"/>
                    <a:pt x="3927" y="17960"/>
                  </a:cubicBezTo>
                  <a:close/>
                  <a:moveTo>
                    <a:pt x="4909" y="19924"/>
                  </a:moveTo>
                  <a:lnTo>
                    <a:pt x="4131" y="19145"/>
                  </a:lnTo>
                  <a:lnTo>
                    <a:pt x="4909" y="18367"/>
                  </a:lnTo>
                  <a:cubicBezTo>
                    <a:pt x="4909" y="18367"/>
                    <a:pt x="4909" y="19924"/>
                    <a:pt x="4909" y="19924"/>
                  </a:cubicBezTo>
                  <a:close/>
                  <a:moveTo>
                    <a:pt x="1964" y="1964"/>
                  </a:moveTo>
                  <a:lnTo>
                    <a:pt x="19636" y="1964"/>
                  </a:lnTo>
                  <a:lnTo>
                    <a:pt x="19636" y="11782"/>
                  </a:lnTo>
                  <a:lnTo>
                    <a:pt x="1964" y="11782"/>
                  </a:lnTo>
                  <a:cubicBezTo>
                    <a:pt x="1964" y="11782"/>
                    <a:pt x="1964" y="1964"/>
                    <a:pt x="1964" y="1964"/>
                  </a:cubicBezTo>
                  <a:close/>
                  <a:moveTo>
                    <a:pt x="20618" y="11782"/>
                  </a:moveTo>
                  <a:lnTo>
                    <a:pt x="20618" y="1964"/>
                  </a:lnTo>
                  <a:cubicBezTo>
                    <a:pt x="20618" y="1422"/>
                    <a:pt x="20178" y="982"/>
                    <a:pt x="19636" y="982"/>
                  </a:cubicBezTo>
                  <a:lnTo>
                    <a:pt x="17673" y="982"/>
                  </a:lnTo>
                  <a:lnTo>
                    <a:pt x="17673" y="491"/>
                  </a:lnTo>
                  <a:cubicBezTo>
                    <a:pt x="17673" y="220"/>
                    <a:pt x="17453" y="0"/>
                    <a:pt x="17182" y="0"/>
                  </a:cubicBezTo>
                  <a:cubicBezTo>
                    <a:pt x="16910" y="0"/>
                    <a:pt x="16691" y="220"/>
                    <a:pt x="16691" y="491"/>
                  </a:cubicBezTo>
                  <a:lnTo>
                    <a:pt x="16691" y="982"/>
                  </a:lnTo>
                  <a:lnTo>
                    <a:pt x="4909" y="982"/>
                  </a:lnTo>
                  <a:lnTo>
                    <a:pt x="4909" y="491"/>
                  </a:lnTo>
                  <a:cubicBezTo>
                    <a:pt x="4909" y="220"/>
                    <a:pt x="4690" y="0"/>
                    <a:pt x="4418" y="0"/>
                  </a:cubicBezTo>
                  <a:cubicBezTo>
                    <a:pt x="4147" y="0"/>
                    <a:pt x="3927" y="220"/>
                    <a:pt x="3927" y="491"/>
                  </a:cubicBezTo>
                  <a:lnTo>
                    <a:pt x="3927" y="982"/>
                  </a:lnTo>
                  <a:lnTo>
                    <a:pt x="1964" y="982"/>
                  </a:lnTo>
                  <a:cubicBezTo>
                    <a:pt x="1422" y="982"/>
                    <a:pt x="982" y="1422"/>
                    <a:pt x="982" y="1964"/>
                  </a:cubicBezTo>
                  <a:lnTo>
                    <a:pt x="982" y="11782"/>
                  </a:lnTo>
                  <a:cubicBezTo>
                    <a:pt x="440" y="11782"/>
                    <a:pt x="0" y="12222"/>
                    <a:pt x="0" y="12764"/>
                  </a:cubicBezTo>
                  <a:lnTo>
                    <a:pt x="0" y="13745"/>
                  </a:lnTo>
                  <a:cubicBezTo>
                    <a:pt x="0" y="14287"/>
                    <a:pt x="440" y="14727"/>
                    <a:pt x="982" y="14727"/>
                  </a:cubicBezTo>
                  <a:lnTo>
                    <a:pt x="2945" y="14727"/>
                  </a:lnTo>
                  <a:lnTo>
                    <a:pt x="2945" y="21109"/>
                  </a:lnTo>
                  <a:cubicBezTo>
                    <a:pt x="2945" y="21380"/>
                    <a:pt x="3165" y="21600"/>
                    <a:pt x="3436" y="21600"/>
                  </a:cubicBezTo>
                  <a:cubicBezTo>
                    <a:pt x="3708" y="21600"/>
                    <a:pt x="3927" y="21380"/>
                    <a:pt x="3927" y="21109"/>
                  </a:cubicBezTo>
                  <a:lnTo>
                    <a:pt x="3927" y="20331"/>
                  </a:lnTo>
                  <a:lnTo>
                    <a:pt x="5053" y="21456"/>
                  </a:lnTo>
                  <a:cubicBezTo>
                    <a:pt x="5141" y="21545"/>
                    <a:pt x="5264" y="21600"/>
                    <a:pt x="5400" y="21600"/>
                  </a:cubicBezTo>
                  <a:cubicBezTo>
                    <a:pt x="5671" y="21600"/>
                    <a:pt x="5891" y="21380"/>
                    <a:pt x="5891" y="21109"/>
                  </a:cubicBezTo>
                  <a:lnTo>
                    <a:pt x="5891" y="14727"/>
                  </a:lnTo>
                  <a:lnTo>
                    <a:pt x="15709" y="14727"/>
                  </a:lnTo>
                  <a:lnTo>
                    <a:pt x="15709" y="21109"/>
                  </a:lnTo>
                  <a:cubicBezTo>
                    <a:pt x="15709" y="21380"/>
                    <a:pt x="15929" y="21600"/>
                    <a:pt x="16200" y="21600"/>
                  </a:cubicBezTo>
                  <a:cubicBezTo>
                    <a:pt x="16336" y="21600"/>
                    <a:pt x="16458" y="21545"/>
                    <a:pt x="16548" y="21456"/>
                  </a:cubicBezTo>
                  <a:lnTo>
                    <a:pt x="17673" y="20331"/>
                  </a:lnTo>
                  <a:lnTo>
                    <a:pt x="17673" y="21109"/>
                  </a:lnTo>
                  <a:cubicBezTo>
                    <a:pt x="17673" y="21380"/>
                    <a:pt x="17892" y="21600"/>
                    <a:pt x="18164" y="21600"/>
                  </a:cubicBezTo>
                  <a:cubicBezTo>
                    <a:pt x="18435" y="21600"/>
                    <a:pt x="18655" y="21380"/>
                    <a:pt x="18655" y="21109"/>
                  </a:cubicBezTo>
                  <a:lnTo>
                    <a:pt x="18655" y="14727"/>
                  </a:lnTo>
                  <a:lnTo>
                    <a:pt x="20618" y="14727"/>
                  </a:lnTo>
                  <a:cubicBezTo>
                    <a:pt x="21160" y="14727"/>
                    <a:pt x="21600" y="14287"/>
                    <a:pt x="21600" y="13745"/>
                  </a:cubicBezTo>
                  <a:lnTo>
                    <a:pt x="21600" y="12764"/>
                  </a:lnTo>
                  <a:cubicBezTo>
                    <a:pt x="21600" y="12222"/>
                    <a:pt x="21160" y="11782"/>
                    <a:pt x="20618" y="11782"/>
                  </a:cubicBezTo>
                  <a:moveTo>
                    <a:pt x="12620" y="4072"/>
                  </a:moveTo>
                  <a:cubicBezTo>
                    <a:pt x="12531" y="3982"/>
                    <a:pt x="12408" y="3927"/>
                    <a:pt x="12273" y="3927"/>
                  </a:cubicBezTo>
                  <a:cubicBezTo>
                    <a:pt x="12001" y="3927"/>
                    <a:pt x="11782" y="4147"/>
                    <a:pt x="11782" y="4418"/>
                  </a:cubicBezTo>
                  <a:cubicBezTo>
                    <a:pt x="11782" y="4554"/>
                    <a:pt x="11837" y="4677"/>
                    <a:pt x="11926" y="4765"/>
                  </a:cubicBezTo>
                  <a:lnTo>
                    <a:pt x="13542" y="6382"/>
                  </a:lnTo>
                  <a:lnTo>
                    <a:pt x="6873" y="6382"/>
                  </a:lnTo>
                  <a:cubicBezTo>
                    <a:pt x="6601" y="6382"/>
                    <a:pt x="6382" y="6602"/>
                    <a:pt x="6382" y="6873"/>
                  </a:cubicBezTo>
                  <a:cubicBezTo>
                    <a:pt x="6382" y="7144"/>
                    <a:pt x="6601" y="7364"/>
                    <a:pt x="6873" y="7364"/>
                  </a:cubicBezTo>
                  <a:lnTo>
                    <a:pt x="13542" y="7364"/>
                  </a:lnTo>
                  <a:lnTo>
                    <a:pt x="11926" y="8980"/>
                  </a:lnTo>
                  <a:cubicBezTo>
                    <a:pt x="11837" y="9069"/>
                    <a:pt x="11782" y="9192"/>
                    <a:pt x="11782" y="9327"/>
                  </a:cubicBezTo>
                  <a:cubicBezTo>
                    <a:pt x="11782" y="9599"/>
                    <a:pt x="12001" y="9818"/>
                    <a:pt x="12273" y="9818"/>
                  </a:cubicBezTo>
                  <a:cubicBezTo>
                    <a:pt x="12408" y="9818"/>
                    <a:pt x="12531" y="9764"/>
                    <a:pt x="12620" y="9674"/>
                  </a:cubicBezTo>
                  <a:lnTo>
                    <a:pt x="15074" y="7220"/>
                  </a:lnTo>
                  <a:cubicBezTo>
                    <a:pt x="15163" y="7131"/>
                    <a:pt x="15218" y="7008"/>
                    <a:pt x="15218" y="6873"/>
                  </a:cubicBezTo>
                  <a:cubicBezTo>
                    <a:pt x="15218" y="6738"/>
                    <a:pt x="15163" y="6614"/>
                    <a:pt x="15074" y="6526"/>
                  </a:cubicBezTo>
                  <a:cubicBezTo>
                    <a:pt x="15074" y="6526"/>
                    <a:pt x="12620" y="4072"/>
                    <a:pt x="12620" y="4072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Shape 2955">
              <a:extLst>
                <a:ext uri="{FF2B5EF4-FFF2-40B4-BE49-F238E27FC236}">
                  <a16:creationId xmlns:a16="http://schemas.microsoft.com/office/drawing/2014/main" id="{F40B160D-EB00-4D12-9E70-EA4A57AB5159}"/>
                </a:ext>
              </a:extLst>
            </p:cNvPr>
            <p:cNvSpPr/>
            <p:nvPr/>
          </p:nvSpPr>
          <p:spPr bwMode="gray">
            <a:xfrm>
              <a:off x="5555613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7673"/>
                  </a:moveTo>
                  <a:cubicBezTo>
                    <a:pt x="10529" y="17673"/>
                    <a:pt x="10309" y="17892"/>
                    <a:pt x="10309" y="18164"/>
                  </a:cubicBezTo>
                  <a:lnTo>
                    <a:pt x="10309" y="21109"/>
                  </a:lnTo>
                  <a:cubicBezTo>
                    <a:pt x="10309" y="21380"/>
                    <a:pt x="10529" y="21600"/>
                    <a:pt x="10800" y="21600"/>
                  </a:cubicBezTo>
                  <a:cubicBezTo>
                    <a:pt x="11071" y="21600"/>
                    <a:pt x="11291" y="21380"/>
                    <a:pt x="11291" y="21109"/>
                  </a:cubicBezTo>
                  <a:lnTo>
                    <a:pt x="11291" y="18164"/>
                  </a:lnTo>
                  <a:cubicBezTo>
                    <a:pt x="11291" y="17892"/>
                    <a:pt x="11071" y="17673"/>
                    <a:pt x="10800" y="17673"/>
                  </a:cubicBezTo>
                  <a:moveTo>
                    <a:pt x="10800" y="15709"/>
                  </a:moveTo>
                  <a:cubicBezTo>
                    <a:pt x="8089" y="15709"/>
                    <a:pt x="5891" y="13511"/>
                    <a:pt x="5891" y="10800"/>
                  </a:cubicBez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3511"/>
                    <a:pt x="13511" y="15709"/>
                    <a:pt x="10800" y="15709"/>
                  </a:cubicBezTo>
                  <a:moveTo>
                    <a:pt x="10800" y="4909"/>
                  </a:moveTo>
                  <a:cubicBezTo>
                    <a:pt x="7547" y="4909"/>
                    <a:pt x="4909" y="7547"/>
                    <a:pt x="4909" y="10800"/>
                  </a:cubicBezTo>
                  <a:cubicBezTo>
                    <a:pt x="4909" y="14054"/>
                    <a:pt x="7547" y="16691"/>
                    <a:pt x="10800" y="16691"/>
                  </a:cubicBezTo>
                  <a:cubicBezTo>
                    <a:pt x="14053" y="16691"/>
                    <a:pt x="16691" y="14054"/>
                    <a:pt x="16691" y="10800"/>
                  </a:cubicBezTo>
                  <a:cubicBezTo>
                    <a:pt x="16691" y="7547"/>
                    <a:pt x="14053" y="4909"/>
                    <a:pt x="10800" y="4909"/>
                  </a:cubicBezTo>
                  <a:moveTo>
                    <a:pt x="16354" y="15660"/>
                  </a:moveTo>
                  <a:cubicBezTo>
                    <a:pt x="16162" y="15468"/>
                    <a:pt x="15851" y="15468"/>
                    <a:pt x="15659" y="15660"/>
                  </a:cubicBezTo>
                  <a:cubicBezTo>
                    <a:pt x="15468" y="15851"/>
                    <a:pt x="15468" y="16163"/>
                    <a:pt x="15659" y="16354"/>
                  </a:cubicBezTo>
                  <a:lnTo>
                    <a:pt x="17742" y="18437"/>
                  </a:lnTo>
                  <a:cubicBezTo>
                    <a:pt x="17934" y="18629"/>
                    <a:pt x="18245" y="18629"/>
                    <a:pt x="18437" y="18437"/>
                  </a:cubicBezTo>
                  <a:cubicBezTo>
                    <a:pt x="18628" y="18245"/>
                    <a:pt x="18628" y="17934"/>
                    <a:pt x="18437" y="17743"/>
                  </a:cubicBezTo>
                  <a:cubicBezTo>
                    <a:pt x="18437" y="17743"/>
                    <a:pt x="16354" y="15660"/>
                    <a:pt x="16354" y="15660"/>
                  </a:cubicBezTo>
                  <a:close/>
                  <a:moveTo>
                    <a:pt x="21109" y="10309"/>
                  </a:moveTo>
                  <a:lnTo>
                    <a:pt x="18164" y="10309"/>
                  </a:ln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1"/>
                    <a:pt x="17893" y="11291"/>
                    <a:pt x="18164" y="11291"/>
                  </a:cubicBezTo>
                  <a:lnTo>
                    <a:pt x="21109" y="11291"/>
                  </a:lnTo>
                  <a:cubicBezTo>
                    <a:pt x="21380" y="11291"/>
                    <a:pt x="21600" y="11071"/>
                    <a:pt x="21600" y="10800"/>
                  </a:cubicBezTo>
                  <a:cubicBezTo>
                    <a:pt x="21600" y="10529"/>
                    <a:pt x="21380" y="10309"/>
                    <a:pt x="21109" y="10309"/>
                  </a:cubicBezTo>
                  <a:moveTo>
                    <a:pt x="5246" y="15660"/>
                  </a:moveTo>
                  <a:lnTo>
                    <a:pt x="3163" y="17743"/>
                  </a:lnTo>
                  <a:cubicBezTo>
                    <a:pt x="2972" y="17934"/>
                    <a:pt x="2972" y="18245"/>
                    <a:pt x="3163" y="18437"/>
                  </a:cubicBezTo>
                  <a:cubicBezTo>
                    <a:pt x="3355" y="18629"/>
                    <a:pt x="3666" y="18629"/>
                    <a:pt x="3858" y="18437"/>
                  </a:cubicBezTo>
                  <a:lnTo>
                    <a:pt x="5941" y="16354"/>
                  </a:lnTo>
                  <a:cubicBezTo>
                    <a:pt x="6132" y="16163"/>
                    <a:pt x="6132" y="15851"/>
                    <a:pt x="5941" y="15660"/>
                  </a:cubicBezTo>
                  <a:cubicBezTo>
                    <a:pt x="5749" y="15468"/>
                    <a:pt x="5438" y="15468"/>
                    <a:pt x="5246" y="15660"/>
                  </a:cubicBezTo>
                  <a:moveTo>
                    <a:pt x="16354" y="5941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1"/>
                  </a:cubicBezTo>
                  <a:cubicBezTo>
                    <a:pt x="15851" y="6132"/>
                    <a:pt x="16162" y="6132"/>
                    <a:pt x="16354" y="5941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3927" y="10800"/>
                  </a:moveTo>
                  <a:cubicBezTo>
                    <a:pt x="3927" y="10529"/>
                    <a:pt x="3707" y="10309"/>
                    <a:pt x="3436" y="10309"/>
                  </a:cubicBezTo>
                  <a:lnTo>
                    <a:pt x="491" y="10309"/>
                  </a:lnTo>
                  <a:cubicBezTo>
                    <a:pt x="220" y="10309"/>
                    <a:pt x="0" y="10529"/>
                    <a:pt x="0" y="10800"/>
                  </a:cubicBezTo>
                  <a:cubicBezTo>
                    <a:pt x="0" y="11071"/>
                    <a:pt x="220" y="11291"/>
                    <a:pt x="491" y="11291"/>
                  </a:cubicBezTo>
                  <a:lnTo>
                    <a:pt x="3436" y="11291"/>
                  </a:lnTo>
                  <a:cubicBezTo>
                    <a:pt x="3707" y="11291"/>
                    <a:pt x="3927" y="11071"/>
                    <a:pt x="3927" y="10800"/>
                  </a:cubicBezTo>
                  <a:moveTo>
                    <a:pt x="5246" y="5941"/>
                  </a:moveTo>
                  <a:cubicBezTo>
                    <a:pt x="5438" y="6132"/>
                    <a:pt x="5749" y="6132"/>
                    <a:pt x="5941" y="5941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1"/>
                    <a:pt x="5246" y="5941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Shape 2956">
              <a:extLst>
                <a:ext uri="{FF2B5EF4-FFF2-40B4-BE49-F238E27FC236}">
                  <a16:creationId xmlns:a16="http://schemas.microsoft.com/office/drawing/2014/main" id="{B39D09EA-0139-4EC6-8EB1-D8CBF2732D94}"/>
                </a:ext>
              </a:extLst>
            </p:cNvPr>
            <p:cNvSpPr/>
            <p:nvPr/>
          </p:nvSpPr>
          <p:spPr bwMode="gray">
            <a:xfrm>
              <a:off x="610916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415"/>
                  </a:moveTo>
                  <a:lnTo>
                    <a:pt x="9040" y="18655"/>
                  </a:lnTo>
                  <a:lnTo>
                    <a:pt x="9327" y="18655"/>
                  </a:lnTo>
                  <a:cubicBezTo>
                    <a:pt x="9598" y="18655"/>
                    <a:pt x="9818" y="18435"/>
                    <a:pt x="9818" y="18164"/>
                  </a:cubicBezTo>
                  <a:lnTo>
                    <a:pt x="9818" y="15709"/>
                  </a:lnTo>
                  <a:lnTo>
                    <a:pt x="11782" y="15709"/>
                  </a:lnTo>
                  <a:lnTo>
                    <a:pt x="11782" y="18164"/>
                  </a:lnTo>
                  <a:cubicBezTo>
                    <a:pt x="11782" y="18435"/>
                    <a:pt x="12002" y="18655"/>
                    <a:pt x="12273" y="18655"/>
                  </a:cubicBezTo>
                  <a:lnTo>
                    <a:pt x="12560" y="18655"/>
                  </a:lnTo>
                  <a:cubicBezTo>
                    <a:pt x="12560" y="18655"/>
                    <a:pt x="10800" y="20415"/>
                    <a:pt x="10800" y="20415"/>
                  </a:cubicBezTo>
                  <a:close/>
                  <a:moveTo>
                    <a:pt x="13745" y="17673"/>
                  </a:moveTo>
                  <a:lnTo>
                    <a:pt x="12764" y="17673"/>
                  </a:lnTo>
                  <a:lnTo>
                    <a:pt x="12764" y="15218"/>
                  </a:lnTo>
                  <a:cubicBezTo>
                    <a:pt x="12764" y="14947"/>
                    <a:pt x="12544" y="14727"/>
                    <a:pt x="12273" y="14727"/>
                  </a:cubicBezTo>
                  <a:lnTo>
                    <a:pt x="9327" y="14727"/>
                  </a:lnTo>
                  <a:cubicBezTo>
                    <a:pt x="9056" y="14727"/>
                    <a:pt x="8836" y="14947"/>
                    <a:pt x="8836" y="15218"/>
                  </a:cubicBezTo>
                  <a:lnTo>
                    <a:pt x="8836" y="17673"/>
                  </a:lnTo>
                  <a:lnTo>
                    <a:pt x="7855" y="17673"/>
                  </a:lnTo>
                  <a:cubicBezTo>
                    <a:pt x="7584" y="17673"/>
                    <a:pt x="7364" y="17892"/>
                    <a:pt x="7364" y="18164"/>
                  </a:cubicBezTo>
                  <a:cubicBezTo>
                    <a:pt x="7364" y="18299"/>
                    <a:pt x="7419" y="18422"/>
                    <a:pt x="7507" y="18511"/>
                  </a:cubicBezTo>
                  <a:lnTo>
                    <a:pt x="10453" y="21456"/>
                  </a:lnTo>
                  <a:cubicBezTo>
                    <a:pt x="10542" y="21545"/>
                    <a:pt x="10665" y="21600"/>
                    <a:pt x="10800" y="21600"/>
                  </a:cubicBezTo>
                  <a:cubicBezTo>
                    <a:pt x="10935" y="21600"/>
                    <a:pt x="11058" y="21545"/>
                    <a:pt x="11147" y="21456"/>
                  </a:cubicBezTo>
                  <a:lnTo>
                    <a:pt x="14093" y="18511"/>
                  </a:lnTo>
                  <a:cubicBezTo>
                    <a:pt x="14181" y="18422"/>
                    <a:pt x="14236" y="18299"/>
                    <a:pt x="14236" y="18164"/>
                  </a:cubicBezTo>
                  <a:cubicBezTo>
                    <a:pt x="14236" y="17892"/>
                    <a:pt x="14016" y="17673"/>
                    <a:pt x="13745" y="17673"/>
                  </a:cubicBezTo>
                  <a:moveTo>
                    <a:pt x="5891" y="10800"/>
                  </a:moveTo>
                  <a:cubicBezTo>
                    <a:pt x="5891" y="8088"/>
                    <a:pt x="8089" y="5891"/>
                    <a:pt x="10800" y="5891"/>
                  </a:cubicBezTo>
                  <a:cubicBezTo>
                    <a:pt x="13511" y="5891"/>
                    <a:pt x="15709" y="8088"/>
                    <a:pt x="15709" y="10800"/>
                  </a:cubicBezTo>
                  <a:cubicBezTo>
                    <a:pt x="15709" y="10800"/>
                    <a:pt x="5891" y="10800"/>
                    <a:pt x="5891" y="10800"/>
                  </a:cubicBezTo>
                  <a:close/>
                  <a:moveTo>
                    <a:pt x="21109" y="10800"/>
                  </a:moveTo>
                  <a:lnTo>
                    <a:pt x="16691" y="10800"/>
                  </a:lnTo>
                  <a:cubicBezTo>
                    <a:pt x="16691" y="7547"/>
                    <a:pt x="14053" y="4909"/>
                    <a:pt x="10800" y="4909"/>
                  </a:cubicBezTo>
                  <a:cubicBezTo>
                    <a:pt x="7547" y="4909"/>
                    <a:pt x="4909" y="7547"/>
                    <a:pt x="4909" y="10800"/>
                  </a:cubicBezTo>
                  <a:lnTo>
                    <a:pt x="491" y="10800"/>
                  </a:lnTo>
                  <a:cubicBezTo>
                    <a:pt x="220" y="10800"/>
                    <a:pt x="0" y="11020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11020"/>
                    <a:pt x="21380" y="10800"/>
                    <a:pt x="21109" y="10800"/>
                  </a:cubicBezTo>
                  <a:moveTo>
                    <a:pt x="10800" y="3927"/>
                  </a:moveTo>
                  <a:cubicBezTo>
                    <a:pt x="11071" y="3927"/>
                    <a:pt x="11291" y="3708"/>
                    <a:pt x="11291" y="3436"/>
                  </a:cubicBez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3436"/>
                  </a:lnTo>
                  <a:cubicBezTo>
                    <a:pt x="10309" y="3708"/>
                    <a:pt x="10529" y="3927"/>
                    <a:pt x="10800" y="3927"/>
                  </a:cubicBezTo>
                  <a:moveTo>
                    <a:pt x="16354" y="5940"/>
                  </a:moveTo>
                  <a:lnTo>
                    <a:pt x="18437" y="3857"/>
                  </a:lnTo>
                  <a:cubicBezTo>
                    <a:pt x="18628" y="3666"/>
                    <a:pt x="18628" y="3355"/>
                    <a:pt x="18437" y="3163"/>
                  </a:cubicBezTo>
                  <a:cubicBezTo>
                    <a:pt x="18245" y="2971"/>
                    <a:pt x="17934" y="2971"/>
                    <a:pt x="17742" y="3163"/>
                  </a:cubicBezTo>
                  <a:lnTo>
                    <a:pt x="15659" y="5247"/>
                  </a:lnTo>
                  <a:cubicBezTo>
                    <a:pt x="15468" y="5437"/>
                    <a:pt x="15468" y="5749"/>
                    <a:pt x="15659" y="5940"/>
                  </a:cubicBezTo>
                  <a:cubicBezTo>
                    <a:pt x="15851" y="6132"/>
                    <a:pt x="16162" y="6132"/>
                    <a:pt x="16354" y="5940"/>
                  </a:cubicBezTo>
                  <a:moveTo>
                    <a:pt x="5246" y="5940"/>
                  </a:moveTo>
                  <a:cubicBezTo>
                    <a:pt x="5438" y="6132"/>
                    <a:pt x="5749" y="6132"/>
                    <a:pt x="5941" y="5940"/>
                  </a:cubicBezTo>
                  <a:cubicBezTo>
                    <a:pt x="6132" y="5749"/>
                    <a:pt x="6132" y="5437"/>
                    <a:pt x="5941" y="5247"/>
                  </a:cubicBezTo>
                  <a:lnTo>
                    <a:pt x="3858" y="3163"/>
                  </a:lnTo>
                  <a:cubicBezTo>
                    <a:pt x="3666" y="2971"/>
                    <a:pt x="3355" y="2971"/>
                    <a:pt x="3163" y="3163"/>
                  </a:cubicBezTo>
                  <a:cubicBezTo>
                    <a:pt x="2972" y="3355"/>
                    <a:pt x="2972" y="3666"/>
                    <a:pt x="3163" y="3857"/>
                  </a:cubicBezTo>
                  <a:cubicBezTo>
                    <a:pt x="3163" y="3857"/>
                    <a:pt x="5246" y="5940"/>
                    <a:pt x="5246" y="594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Shape 2957">
              <a:extLst>
                <a:ext uri="{FF2B5EF4-FFF2-40B4-BE49-F238E27FC236}">
                  <a16:creationId xmlns:a16="http://schemas.microsoft.com/office/drawing/2014/main" id="{03104164-B5FC-41DE-82D5-B39930261B9A}"/>
                </a:ext>
              </a:extLst>
            </p:cNvPr>
            <p:cNvSpPr/>
            <p:nvPr/>
          </p:nvSpPr>
          <p:spPr bwMode="gray">
            <a:xfrm>
              <a:off x="6662716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185"/>
                  </a:moveTo>
                  <a:lnTo>
                    <a:pt x="12560" y="2945"/>
                  </a:lnTo>
                  <a:lnTo>
                    <a:pt x="12273" y="2945"/>
                  </a:lnTo>
                  <a:cubicBezTo>
                    <a:pt x="12002" y="2945"/>
                    <a:pt x="11782" y="3165"/>
                    <a:pt x="11782" y="3436"/>
                  </a:cubicBezTo>
                  <a:lnTo>
                    <a:pt x="11782" y="5891"/>
                  </a:lnTo>
                  <a:lnTo>
                    <a:pt x="9818" y="5891"/>
                  </a:lnTo>
                  <a:lnTo>
                    <a:pt x="9818" y="3436"/>
                  </a:lnTo>
                  <a:cubicBezTo>
                    <a:pt x="9818" y="3165"/>
                    <a:pt x="9598" y="2945"/>
                    <a:pt x="9327" y="2945"/>
                  </a:cubicBezTo>
                  <a:lnTo>
                    <a:pt x="9040" y="2945"/>
                  </a:lnTo>
                  <a:cubicBezTo>
                    <a:pt x="9040" y="2945"/>
                    <a:pt x="10800" y="1185"/>
                    <a:pt x="10800" y="1185"/>
                  </a:cubicBezTo>
                  <a:close/>
                  <a:moveTo>
                    <a:pt x="7855" y="3927"/>
                  </a:moveTo>
                  <a:lnTo>
                    <a:pt x="8836" y="3927"/>
                  </a:lnTo>
                  <a:lnTo>
                    <a:pt x="8836" y="6382"/>
                  </a:lnTo>
                  <a:cubicBezTo>
                    <a:pt x="8836" y="6653"/>
                    <a:pt x="9056" y="6873"/>
                    <a:pt x="9327" y="6873"/>
                  </a:cubicBezTo>
                  <a:lnTo>
                    <a:pt x="12273" y="6873"/>
                  </a:lnTo>
                  <a:cubicBezTo>
                    <a:pt x="12544" y="6873"/>
                    <a:pt x="12764" y="6653"/>
                    <a:pt x="12764" y="6382"/>
                  </a:cubicBezTo>
                  <a:lnTo>
                    <a:pt x="12764" y="3927"/>
                  </a:lnTo>
                  <a:lnTo>
                    <a:pt x="13745" y="3927"/>
                  </a:lnTo>
                  <a:cubicBezTo>
                    <a:pt x="14016" y="3927"/>
                    <a:pt x="14236" y="3708"/>
                    <a:pt x="14236" y="3436"/>
                  </a:cubicBezTo>
                  <a:cubicBezTo>
                    <a:pt x="14236" y="3301"/>
                    <a:pt x="14181" y="3178"/>
                    <a:pt x="14093" y="3089"/>
                  </a:cubicBezTo>
                  <a:lnTo>
                    <a:pt x="11147" y="144"/>
                  </a:lnTo>
                  <a:cubicBezTo>
                    <a:pt x="11059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2" y="144"/>
                  </a:cubicBezTo>
                  <a:lnTo>
                    <a:pt x="7507" y="3089"/>
                  </a:lnTo>
                  <a:cubicBezTo>
                    <a:pt x="7419" y="3178"/>
                    <a:pt x="7364" y="3301"/>
                    <a:pt x="7364" y="3436"/>
                  </a:cubicBezTo>
                  <a:cubicBezTo>
                    <a:pt x="7364" y="3708"/>
                    <a:pt x="7584" y="3927"/>
                    <a:pt x="7855" y="3927"/>
                  </a:cubicBezTo>
                  <a:moveTo>
                    <a:pt x="5246" y="15759"/>
                  </a:moveTo>
                  <a:cubicBezTo>
                    <a:pt x="5438" y="15950"/>
                    <a:pt x="5749" y="15950"/>
                    <a:pt x="5941" y="15759"/>
                  </a:cubicBezTo>
                  <a:cubicBezTo>
                    <a:pt x="6132" y="15567"/>
                    <a:pt x="6132" y="15256"/>
                    <a:pt x="5941" y="15064"/>
                  </a:cubicBezTo>
                  <a:lnTo>
                    <a:pt x="3858" y="12981"/>
                  </a:lnTo>
                  <a:cubicBezTo>
                    <a:pt x="3666" y="12790"/>
                    <a:pt x="3355" y="12790"/>
                    <a:pt x="3163" y="12981"/>
                  </a:cubicBezTo>
                  <a:cubicBezTo>
                    <a:pt x="2971" y="13173"/>
                    <a:pt x="2971" y="13484"/>
                    <a:pt x="3163" y="13675"/>
                  </a:cubicBezTo>
                  <a:cubicBezTo>
                    <a:pt x="3163" y="13675"/>
                    <a:pt x="5246" y="15759"/>
                    <a:pt x="5246" y="15759"/>
                  </a:cubicBezTo>
                  <a:close/>
                  <a:moveTo>
                    <a:pt x="10309" y="10309"/>
                  </a:moveTo>
                  <a:lnTo>
                    <a:pt x="10309" y="13255"/>
                  </a:lnTo>
                  <a:cubicBezTo>
                    <a:pt x="10309" y="13526"/>
                    <a:pt x="10529" y="13745"/>
                    <a:pt x="10800" y="13745"/>
                  </a:cubicBezTo>
                  <a:cubicBezTo>
                    <a:pt x="11071" y="13745"/>
                    <a:pt x="11291" y="13526"/>
                    <a:pt x="11291" y="13255"/>
                  </a:cubicBezTo>
                  <a:lnTo>
                    <a:pt x="11291" y="10309"/>
                  </a:lnTo>
                  <a:cubicBezTo>
                    <a:pt x="11291" y="10038"/>
                    <a:pt x="11071" y="9818"/>
                    <a:pt x="10800" y="9818"/>
                  </a:cubicBezTo>
                  <a:cubicBezTo>
                    <a:pt x="10529" y="9818"/>
                    <a:pt x="10309" y="10038"/>
                    <a:pt x="10309" y="10309"/>
                  </a:cubicBezTo>
                  <a:moveTo>
                    <a:pt x="16354" y="15759"/>
                  </a:moveTo>
                  <a:lnTo>
                    <a:pt x="18437" y="13675"/>
                  </a:lnTo>
                  <a:cubicBezTo>
                    <a:pt x="18628" y="13484"/>
                    <a:pt x="18628" y="13173"/>
                    <a:pt x="18437" y="12981"/>
                  </a:cubicBezTo>
                  <a:cubicBezTo>
                    <a:pt x="18245" y="12790"/>
                    <a:pt x="17934" y="12790"/>
                    <a:pt x="17742" y="12981"/>
                  </a:cubicBezTo>
                  <a:lnTo>
                    <a:pt x="15659" y="15064"/>
                  </a:lnTo>
                  <a:cubicBezTo>
                    <a:pt x="15468" y="15256"/>
                    <a:pt x="15468" y="15567"/>
                    <a:pt x="15659" y="15759"/>
                  </a:cubicBezTo>
                  <a:cubicBezTo>
                    <a:pt x="15851" y="15950"/>
                    <a:pt x="16162" y="15950"/>
                    <a:pt x="16354" y="15759"/>
                  </a:cubicBezTo>
                  <a:moveTo>
                    <a:pt x="5891" y="20618"/>
                  </a:moveTo>
                  <a:cubicBezTo>
                    <a:pt x="5891" y="17907"/>
                    <a:pt x="8089" y="15709"/>
                    <a:pt x="10800" y="15709"/>
                  </a:cubicBezTo>
                  <a:cubicBezTo>
                    <a:pt x="13511" y="15709"/>
                    <a:pt x="15709" y="17907"/>
                    <a:pt x="15709" y="20618"/>
                  </a:cubicBezTo>
                  <a:cubicBezTo>
                    <a:pt x="15709" y="20618"/>
                    <a:pt x="5891" y="20618"/>
                    <a:pt x="5891" y="20618"/>
                  </a:cubicBezTo>
                  <a:close/>
                  <a:moveTo>
                    <a:pt x="21109" y="20618"/>
                  </a:moveTo>
                  <a:lnTo>
                    <a:pt x="16691" y="20618"/>
                  </a:lnTo>
                  <a:cubicBezTo>
                    <a:pt x="16691" y="17365"/>
                    <a:pt x="14053" y="14727"/>
                    <a:pt x="10800" y="14727"/>
                  </a:cubicBezTo>
                  <a:cubicBezTo>
                    <a:pt x="7547" y="14727"/>
                    <a:pt x="4909" y="17365"/>
                    <a:pt x="4909" y="20618"/>
                  </a:cubicBezTo>
                  <a:lnTo>
                    <a:pt x="491" y="20618"/>
                  </a:lnTo>
                  <a:cubicBezTo>
                    <a:pt x="220" y="20618"/>
                    <a:pt x="0" y="20838"/>
                    <a:pt x="0" y="21109"/>
                  </a:cubicBezTo>
                  <a:cubicBezTo>
                    <a:pt x="0" y="21380"/>
                    <a:pt x="220" y="21600"/>
                    <a:pt x="491" y="21600"/>
                  </a:cubicBezTo>
                  <a:lnTo>
                    <a:pt x="21109" y="21600"/>
                  </a:lnTo>
                  <a:cubicBezTo>
                    <a:pt x="21380" y="21600"/>
                    <a:pt x="21600" y="21380"/>
                    <a:pt x="21600" y="21109"/>
                  </a:cubicBezTo>
                  <a:cubicBezTo>
                    <a:pt x="21600" y="20838"/>
                    <a:pt x="21380" y="20618"/>
                    <a:pt x="21109" y="206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Shape 2958">
              <a:extLst>
                <a:ext uri="{FF2B5EF4-FFF2-40B4-BE49-F238E27FC236}">
                  <a16:creationId xmlns:a16="http://schemas.microsoft.com/office/drawing/2014/main" id="{87702E07-A93A-4F73-913F-0D3EDE674F6F}"/>
                </a:ext>
              </a:extLst>
            </p:cNvPr>
            <p:cNvSpPr/>
            <p:nvPr/>
          </p:nvSpPr>
          <p:spPr bwMode="gray">
            <a:xfrm>
              <a:off x="7216268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4"/>
                  </a:moveTo>
                  <a:lnTo>
                    <a:pt x="19636" y="1964"/>
                  </a:lnTo>
                  <a:lnTo>
                    <a:pt x="18900" y="0"/>
                  </a:lnTo>
                  <a:lnTo>
                    <a:pt x="18164" y="1964"/>
                  </a:lnTo>
                  <a:lnTo>
                    <a:pt x="16200" y="1964"/>
                  </a:lnTo>
                  <a:lnTo>
                    <a:pt x="17795" y="3191"/>
                  </a:lnTo>
                  <a:lnTo>
                    <a:pt x="17059" y="5400"/>
                  </a:lnTo>
                  <a:lnTo>
                    <a:pt x="18900" y="4050"/>
                  </a:lnTo>
                  <a:lnTo>
                    <a:pt x="20741" y="5400"/>
                  </a:lnTo>
                  <a:lnTo>
                    <a:pt x="20005" y="3191"/>
                  </a:lnTo>
                  <a:cubicBezTo>
                    <a:pt x="20005" y="3191"/>
                    <a:pt x="21600" y="1964"/>
                    <a:pt x="21600" y="1964"/>
                  </a:cubicBezTo>
                  <a:close/>
                  <a:moveTo>
                    <a:pt x="10800" y="20616"/>
                  </a:moveTo>
                  <a:cubicBezTo>
                    <a:pt x="5386" y="20616"/>
                    <a:pt x="982" y="16203"/>
                    <a:pt x="982" y="10777"/>
                  </a:cubicBezTo>
                  <a:cubicBezTo>
                    <a:pt x="982" y="6434"/>
                    <a:pt x="3745" y="2741"/>
                    <a:pt x="7690" y="1441"/>
                  </a:cubicBezTo>
                  <a:cubicBezTo>
                    <a:pt x="6837" y="3102"/>
                    <a:pt x="6382" y="4957"/>
                    <a:pt x="6382" y="6841"/>
                  </a:cubicBezTo>
                  <a:cubicBezTo>
                    <a:pt x="6382" y="13004"/>
                    <a:pt x="11118" y="18079"/>
                    <a:pt x="17134" y="18604"/>
                  </a:cubicBezTo>
                  <a:cubicBezTo>
                    <a:pt x="15361" y="19863"/>
                    <a:pt x="13065" y="20616"/>
                    <a:pt x="10800" y="20616"/>
                  </a:cubicBezTo>
                  <a:moveTo>
                    <a:pt x="7364" y="6841"/>
                  </a:moveTo>
                  <a:cubicBezTo>
                    <a:pt x="7364" y="4248"/>
                    <a:pt x="8276" y="1870"/>
                    <a:pt x="9794" y="5"/>
                  </a:cubicBezTo>
                  <a:cubicBezTo>
                    <a:pt x="4302" y="514"/>
                    <a:pt x="0" y="5140"/>
                    <a:pt x="0" y="10777"/>
                  </a:cubicBezTo>
                  <a:cubicBezTo>
                    <a:pt x="0" y="16755"/>
                    <a:pt x="4836" y="21600"/>
                    <a:pt x="10800" y="21600"/>
                  </a:cubicBezTo>
                  <a:cubicBezTo>
                    <a:pt x="14176" y="21600"/>
                    <a:pt x="17656" y="20045"/>
                    <a:pt x="19636" y="17613"/>
                  </a:cubicBezTo>
                  <a:cubicBezTo>
                    <a:pt x="19305" y="17644"/>
                    <a:pt x="18503" y="17665"/>
                    <a:pt x="18164" y="17665"/>
                  </a:cubicBezTo>
                  <a:cubicBezTo>
                    <a:pt x="12199" y="17665"/>
                    <a:pt x="7364" y="12819"/>
                    <a:pt x="7364" y="6841"/>
                  </a:cubicBezTo>
                  <a:moveTo>
                    <a:pt x="17673" y="10309"/>
                  </a:moveTo>
                  <a:lnTo>
                    <a:pt x="17137" y="11737"/>
                  </a:lnTo>
                  <a:lnTo>
                    <a:pt x="15709" y="11737"/>
                  </a:lnTo>
                  <a:lnTo>
                    <a:pt x="16869" y="12629"/>
                  </a:lnTo>
                  <a:lnTo>
                    <a:pt x="16334" y="14236"/>
                  </a:lnTo>
                  <a:lnTo>
                    <a:pt x="17673" y="13255"/>
                  </a:lnTo>
                  <a:lnTo>
                    <a:pt x="19011" y="14236"/>
                  </a:lnTo>
                  <a:lnTo>
                    <a:pt x="18476" y="12629"/>
                  </a:lnTo>
                  <a:lnTo>
                    <a:pt x="19636" y="11737"/>
                  </a:lnTo>
                  <a:lnTo>
                    <a:pt x="18208" y="11737"/>
                  </a:lnTo>
                  <a:cubicBezTo>
                    <a:pt x="18208" y="11737"/>
                    <a:pt x="17673" y="10309"/>
                    <a:pt x="17673" y="10309"/>
                  </a:cubicBezTo>
                  <a:close/>
                  <a:moveTo>
                    <a:pt x="11425" y="9327"/>
                  </a:moveTo>
                  <a:lnTo>
                    <a:pt x="12764" y="8345"/>
                  </a:lnTo>
                  <a:lnTo>
                    <a:pt x="14102" y="9327"/>
                  </a:lnTo>
                  <a:lnTo>
                    <a:pt x="13567" y="7721"/>
                  </a:lnTo>
                  <a:lnTo>
                    <a:pt x="14727" y="6828"/>
                  </a:lnTo>
                  <a:lnTo>
                    <a:pt x="13299" y="6828"/>
                  </a:lnTo>
                  <a:lnTo>
                    <a:pt x="12764" y="5400"/>
                  </a:lnTo>
                  <a:lnTo>
                    <a:pt x="12228" y="6828"/>
                  </a:lnTo>
                  <a:lnTo>
                    <a:pt x="10800" y="6828"/>
                  </a:lnTo>
                  <a:lnTo>
                    <a:pt x="11960" y="7721"/>
                  </a:lnTo>
                  <a:cubicBezTo>
                    <a:pt x="11960" y="7721"/>
                    <a:pt x="11425" y="9327"/>
                    <a:pt x="11425" y="9327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Shape 2959">
              <a:extLst>
                <a:ext uri="{FF2B5EF4-FFF2-40B4-BE49-F238E27FC236}">
                  <a16:creationId xmlns:a16="http://schemas.microsoft.com/office/drawing/2014/main" id="{756213E0-AC86-4014-834B-9E7B6F59C505}"/>
                </a:ext>
              </a:extLst>
            </p:cNvPr>
            <p:cNvSpPr/>
            <p:nvPr/>
          </p:nvSpPr>
          <p:spPr bwMode="gray">
            <a:xfrm>
              <a:off x="7769819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55" y="8836"/>
                  </a:moveTo>
                  <a:cubicBezTo>
                    <a:pt x="6770" y="8836"/>
                    <a:pt x="5891" y="7957"/>
                    <a:pt x="5891" y="6873"/>
                  </a:cubicBezTo>
                  <a:cubicBezTo>
                    <a:pt x="5891" y="5788"/>
                    <a:pt x="6770" y="4909"/>
                    <a:pt x="7855" y="4909"/>
                  </a:cubicBezTo>
                  <a:cubicBezTo>
                    <a:pt x="8939" y="4909"/>
                    <a:pt x="9818" y="5788"/>
                    <a:pt x="9818" y="6873"/>
                  </a:cubicBezTo>
                  <a:cubicBezTo>
                    <a:pt x="9818" y="7957"/>
                    <a:pt x="8939" y="8836"/>
                    <a:pt x="7855" y="8836"/>
                  </a:cubicBezTo>
                  <a:moveTo>
                    <a:pt x="7855" y="3927"/>
                  </a:moveTo>
                  <a:cubicBezTo>
                    <a:pt x="6228" y="3927"/>
                    <a:pt x="4909" y="5247"/>
                    <a:pt x="4909" y="6873"/>
                  </a:cubicBezTo>
                  <a:cubicBezTo>
                    <a:pt x="4909" y="8500"/>
                    <a:pt x="6228" y="9818"/>
                    <a:pt x="7855" y="9818"/>
                  </a:cubicBezTo>
                  <a:cubicBezTo>
                    <a:pt x="9481" y="9818"/>
                    <a:pt x="10800" y="8500"/>
                    <a:pt x="10800" y="6873"/>
                  </a:cubicBezTo>
                  <a:cubicBezTo>
                    <a:pt x="10800" y="5247"/>
                    <a:pt x="9481" y="3927"/>
                    <a:pt x="7855" y="3927"/>
                  </a:cubicBezTo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6223" y="982"/>
                    <a:pt x="20618" y="5378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2273" y="10800"/>
                  </a:moveTo>
                  <a:cubicBezTo>
                    <a:pt x="12002" y="10800"/>
                    <a:pt x="11782" y="11020"/>
                    <a:pt x="11782" y="11291"/>
                  </a:cubicBezTo>
                  <a:cubicBezTo>
                    <a:pt x="11782" y="11562"/>
                    <a:pt x="12002" y="11782"/>
                    <a:pt x="12273" y="11782"/>
                  </a:cubicBezTo>
                  <a:cubicBezTo>
                    <a:pt x="12544" y="11782"/>
                    <a:pt x="12764" y="11562"/>
                    <a:pt x="12764" y="11291"/>
                  </a:cubicBezTo>
                  <a:cubicBezTo>
                    <a:pt x="12764" y="11020"/>
                    <a:pt x="12544" y="10800"/>
                    <a:pt x="12273" y="10800"/>
                  </a:cubicBezTo>
                  <a:moveTo>
                    <a:pt x="9327" y="15709"/>
                  </a:moveTo>
                  <a:cubicBezTo>
                    <a:pt x="9056" y="15709"/>
                    <a:pt x="8836" y="15490"/>
                    <a:pt x="8836" y="15218"/>
                  </a:cubicBezTo>
                  <a:cubicBezTo>
                    <a:pt x="8836" y="14947"/>
                    <a:pt x="9056" y="14727"/>
                    <a:pt x="9327" y="14727"/>
                  </a:cubicBezTo>
                  <a:cubicBezTo>
                    <a:pt x="9598" y="14727"/>
                    <a:pt x="9818" y="14947"/>
                    <a:pt x="9818" y="15218"/>
                  </a:cubicBezTo>
                  <a:cubicBezTo>
                    <a:pt x="9818" y="15490"/>
                    <a:pt x="9598" y="15709"/>
                    <a:pt x="9327" y="15709"/>
                  </a:cubicBezTo>
                  <a:moveTo>
                    <a:pt x="9327" y="13745"/>
                  </a:moveTo>
                  <a:cubicBezTo>
                    <a:pt x="8514" y="13745"/>
                    <a:pt x="7855" y="14405"/>
                    <a:pt x="7855" y="15218"/>
                  </a:cubicBezTo>
                  <a:cubicBezTo>
                    <a:pt x="7855" y="16032"/>
                    <a:pt x="8514" y="16691"/>
                    <a:pt x="9327" y="16691"/>
                  </a:cubicBezTo>
                  <a:cubicBezTo>
                    <a:pt x="10141" y="16691"/>
                    <a:pt x="10800" y="16032"/>
                    <a:pt x="10800" y="15218"/>
                  </a:cubicBezTo>
                  <a:cubicBezTo>
                    <a:pt x="10800" y="14405"/>
                    <a:pt x="10141" y="13745"/>
                    <a:pt x="9327" y="13745"/>
                  </a:cubicBezTo>
                  <a:moveTo>
                    <a:pt x="4909" y="11782"/>
                  </a:moveTo>
                  <a:cubicBezTo>
                    <a:pt x="4367" y="11782"/>
                    <a:pt x="3927" y="12222"/>
                    <a:pt x="3927" y="12764"/>
                  </a:cubicBezTo>
                  <a:cubicBezTo>
                    <a:pt x="3927" y="13305"/>
                    <a:pt x="4367" y="13745"/>
                    <a:pt x="4909" y="13745"/>
                  </a:cubicBezTo>
                  <a:cubicBezTo>
                    <a:pt x="5451" y="13745"/>
                    <a:pt x="5891" y="13305"/>
                    <a:pt x="5891" y="12764"/>
                  </a:cubicBezTo>
                  <a:cubicBezTo>
                    <a:pt x="5891" y="12222"/>
                    <a:pt x="5451" y="11782"/>
                    <a:pt x="4909" y="11782"/>
                  </a:cubicBezTo>
                  <a:moveTo>
                    <a:pt x="14236" y="16691"/>
                  </a:moveTo>
                  <a:cubicBezTo>
                    <a:pt x="13966" y="16691"/>
                    <a:pt x="13745" y="16911"/>
                    <a:pt x="13745" y="17182"/>
                  </a:cubicBezTo>
                  <a:cubicBezTo>
                    <a:pt x="13745" y="17453"/>
                    <a:pt x="13966" y="17673"/>
                    <a:pt x="14236" y="17673"/>
                  </a:cubicBezTo>
                  <a:cubicBezTo>
                    <a:pt x="14507" y="17673"/>
                    <a:pt x="14727" y="17453"/>
                    <a:pt x="14727" y="17182"/>
                  </a:cubicBezTo>
                  <a:cubicBezTo>
                    <a:pt x="14727" y="16911"/>
                    <a:pt x="14507" y="16691"/>
                    <a:pt x="14236" y="16691"/>
                  </a:cubicBezTo>
                  <a:moveTo>
                    <a:pt x="16691" y="11782"/>
                  </a:moveTo>
                  <a:cubicBezTo>
                    <a:pt x="16149" y="11782"/>
                    <a:pt x="15709" y="11342"/>
                    <a:pt x="15709" y="10800"/>
                  </a:cubicBezTo>
                  <a:cubicBezTo>
                    <a:pt x="15709" y="10258"/>
                    <a:pt x="16149" y="9818"/>
                    <a:pt x="16691" y="9818"/>
                  </a:cubicBezTo>
                  <a:cubicBezTo>
                    <a:pt x="17233" y="9818"/>
                    <a:pt x="17673" y="10258"/>
                    <a:pt x="17673" y="10800"/>
                  </a:cubicBezTo>
                  <a:cubicBezTo>
                    <a:pt x="17673" y="11342"/>
                    <a:pt x="17233" y="11782"/>
                    <a:pt x="16691" y="11782"/>
                  </a:cubicBezTo>
                  <a:moveTo>
                    <a:pt x="16691" y="8836"/>
                  </a:moveTo>
                  <a:cubicBezTo>
                    <a:pt x="15606" y="8836"/>
                    <a:pt x="14727" y="9716"/>
                    <a:pt x="14727" y="10800"/>
                  </a:cubicBezTo>
                  <a:cubicBezTo>
                    <a:pt x="14727" y="11884"/>
                    <a:pt x="15606" y="12764"/>
                    <a:pt x="16691" y="12764"/>
                  </a:cubicBezTo>
                  <a:cubicBezTo>
                    <a:pt x="17775" y="12764"/>
                    <a:pt x="18655" y="11884"/>
                    <a:pt x="18655" y="10800"/>
                  </a:cubicBezTo>
                  <a:cubicBezTo>
                    <a:pt x="18655" y="9716"/>
                    <a:pt x="17775" y="8836"/>
                    <a:pt x="16691" y="883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Shape 2960">
              <a:extLst>
                <a:ext uri="{FF2B5EF4-FFF2-40B4-BE49-F238E27FC236}">
                  <a16:creationId xmlns:a16="http://schemas.microsoft.com/office/drawing/2014/main" id="{400CB6B9-6791-4659-AFC5-D8FBEE60CAE7}"/>
                </a:ext>
              </a:extLst>
            </p:cNvPr>
            <p:cNvSpPr/>
            <p:nvPr/>
          </p:nvSpPr>
          <p:spPr bwMode="gray">
            <a:xfrm>
              <a:off x="8323371" y="2930060"/>
              <a:ext cx="289992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6" h="21600" extrusionOk="0">
                  <a:moveTo>
                    <a:pt x="17140" y="11946"/>
                  </a:moveTo>
                  <a:cubicBezTo>
                    <a:pt x="15736" y="13192"/>
                    <a:pt x="13853" y="14375"/>
                    <a:pt x="11542" y="15211"/>
                  </a:cubicBezTo>
                  <a:cubicBezTo>
                    <a:pt x="9755" y="15857"/>
                    <a:pt x="7947" y="16197"/>
                    <a:pt x="6315" y="16197"/>
                  </a:cubicBezTo>
                  <a:cubicBezTo>
                    <a:pt x="5843" y="16197"/>
                    <a:pt x="5401" y="16158"/>
                    <a:pt x="4974" y="16102"/>
                  </a:cubicBezTo>
                  <a:cubicBezTo>
                    <a:pt x="4247" y="14590"/>
                    <a:pt x="3822" y="12766"/>
                    <a:pt x="3822" y="10800"/>
                  </a:cubicBezTo>
                  <a:cubicBezTo>
                    <a:pt x="3822" y="5581"/>
                    <a:pt x="6815" y="1350"/>
                    <a:pt x="10508" y="1350"/>
                  </a:cubicBezTo>
                  <a:cubicBezTo>
                    <a:pt x="14201" y="1350"/>
                    <a:pt x="17194" y="5581"/>
                    <a:pt x="17194" y="10800"/>
                  </a:cubicBezTo>
                  <a:cubicBezTo>
                    <a:pt x="17194" y="11189"/>
                    <a:pt x="17172" y="11570"/>
                    <a:pt x="17140" y="11946"/>
                  </a:cubicBezTo>
                  <a:moveTo>
                    <a:pt x="10508" y="20250"/>
                  </a:moveTo>
                  <a:cubicBezTo>
                    <a:pt x="8681" y="20250"/>
                    <a:pt x="7028" y="19212"/>
                    <a:pt x="5821" y="17534"/>
                  </a:cubicBezTo>
                  <a:cubicBezTo>
                    <a:pt x="5984" y="17541"/>
                    <a:pt x="6147" y="17547"/>
                    <a:pt x="6315" y="17547"/>
                  </a:cubicBezTo>
                  <a:cubicBezTo>
                    <a:pt x="7976" y="17547"/>
                    <a:pt x="9848" y="17215"/>
                    <a:pt x="11778" y="16518"/>
                  </a:cubicBezTo>
                  <a:cubicBezTo>
                    <a:pt x="13697" y="15824"/>
                    <a:pt x="15425" y="14854"/>
                    <a:pt x="16859" y="13742"/>
                  </a:cubicBezTo>
                  <a:cubicBezTo>
                    <a:pt x="15984" y="17519"/>
                    <a:pt x="13473" y="20250"/>
                    <a:pt x="10508" y="20250"/>
                  </a:cubicBezTo>
                  <a:moveTo>
                    <a:pt x="20938" y="6356"/>
                  </a:moveTo>
                  <a:cubicBezTo>
                    <a:pt x="20592" y="4617"/>
                    <a:pt x="19141" y="3452"/>
                    <a:pt x="17072" y="2964"/>
                  </a:cubicBezTo>
                  <a:cubicBezTo>
                    <a:pt x="17380" y="3481"/>
                    <a:pt x="17660" y="4034"/>
                    <a:pt x="17905" y="4620"/>
                  </a:cubicBezTo>
                  <a:cubicBezTo>
                    <a:pt x="19058" y="5088"/>
                    <a:pt x="19838" y="5815"/>
                    <a:pt x="20018" y="6721"/>
                  </a:cubicBezTo>
                  <a:cubicBezTo>
                    <a:pt x="20123" y="7246"/>
                    <a:pt x="20033" y="7861"/>
                    <a:pt x="19752" y="8549"/>
                  </a:cubicBezTo>
                  <a:cubicBezTo>
                    <a:pt x="19449" y="9292"/>
                    <a:pt x="18904" y="10122"/>
                    <a:pt x="18143" y="10958"/>
                  </a:cubicBezTo>
                  <a:cubicBezTo>
                    <a:pt x="18144" y="10905"/>
                    <a:pt x="18149" y="10853"/>
                    <a:pt x="18149" y="10800"/>
                  </a:cubicBezTo>
                  <a:cubicBezTo>
                    <a:pt x="18149" y="4835"/>
                    <a:pt x="14728" y="0"/>
                    <a:pt x="10508" y="0"/>
                  </a:cubicBezTo>
                  <a:cubicBezTo>
                    <a:pt x="6288" y="0"/>
                    <a:pt x="2867" y="4835"/>
                    <a:pt x="2867" y="10800"/>
                  </a:cubicBezTo>
                  <a:cubicBezTo>
                    <a:pt x="2867" y="12627"/>
                    <a:pt x="3190" y="14345"/>
                    <a:pt x="3756" y="15853"/>
                  </a:cubicBezTo>
                  <a:cubicBezTo>
                    <a:pt x="2245" y="15418"/>
                    <a:pt x="1209" y="14595"/>
                    <a:pt x="997" y="13528"/>
                  </a:cubicBezTo>
                  <a:cubicBezTo>
                    <a:pt x="893" y="13003"/>
                    <a:pt x="982" y="12389"/>
                    <a:pt x="1263" y="11700"/>
                  </a:cubicBezTo>
                  <a:cubicBezTo>
                    <a:pt x="1416" y="11327"/>
                    <a:pt x="1650" y="10926"/>
                    <a:pt x="1922" y="10518"/>
                  </a:cubicBezTo>
                  <a:cubicBezTo>
                    <a:pt x="1933" y="9817"/>
                    <a:pt x="1982" y="9128"/>
                    <a:pt x="2074" y="8461"/>
                  </a:cubicBezTo>
                  <a:cubicBezTo>
                    <a:pt x="528" y="10248"/>
                    <a:pt x="-261" y="12188"/>
                    <a:pt x="78" y="13893"/>
                  </a:cubicBezTo>
                  <a:cubicBezTo>
                    <a:pt x="452" y="15777"/>
                    <a:pt x="2118" y="16988"/>
                    <a:pt x="4465" y="17394"/>
                  </a:cubicBezTo>
                  <a:cubicBezTo>
                    <a:pt x="5863" y="19948"/>
                    <a:pt x="8046" y="21600"/>
                    <a:pt x="10508" y="21600"/>
                  </a:cubicBezTo>
                  <a:cubicBezTo>
                    <a:pt x="14255" y="21600"/>
                    <a:pt x="17365" y="17785"/>
                    <a:pt x="18017" y="12755"/>
                  </a:cubicBezTo>
                  <a:cubicBezTo>
                    <a:pt x="20167" y="10724"/>
                    <a:pt x="21339" y="8374"/>
                    <a:pt x="20938" y="6356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Shape 2961">
              <a:extLst>
                <a:ext uri="{FF2B5EF4-FFF2-40B4-BE49-F238E27FC236}">
                  <a16:creationId xmlns:a16="http://schemas.microsoft.com/office/drawing/2014/main" id="{E2040A8D-AD60-4852-85B5-33EE226C5C2F}"/>
                </a:ext>
              </a:extLst>
            </p:cNvPr>
            <p:cNvSpPr/>
            <p:nvPr/>
          </p:nvSpPr>
          <p:spPr bwMode="gray">
            <a:xfrm>
              <a:off x="8916462" y="2890520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581" y="20618"/>
                    <a:pt x="1350" y="17422"/>
                    <a:pt x="1350" y="13478"/>
                  </a:cubicBezTo>
                  <a:cubicBezTo>
                    <a:pt x="1350" y="8836"/>
                    <a:pt x="10125" y="1166"/>
                    <a:pt x="10800" y="1166"/>
                  </a:cubicBezTo>
                  <a:cubicBezTo>
                    <a:pt x="11475" y="1166"/>
                    <a:pt x="20250" y="8836"/>
                    <a:pt x="20250" y="13478"/>
                  </a:cubicBezTo>
                  <a:cubicBezTo>
                    <a:pt x="20250" y="17422"/>
                    <a:pt x="16019" y="20618"/>
                    <a:pt x="10800" y="20618"/>
                  </a:cubicBezTo>
                  <a:moveTo>
                    <a:pt x="10800" y="0"/>
                  </a:moveTo>
                  <a:cubicBezTo>
                    <a:pt x="9450" y="0"/>
                    <a:pt x="0" y="8345"/>
                    <a:pt x="0" y="13745"/>
                  </a:cubicBezTo>
                  <a:cubicBezTo>
                    <a:pt x="0" y="18083"/>
                    <a:pt x="4836" y="21600"/>
                    <a:pt x="10800" y="21600"/>
                  </a:cubicBezTo>
                  <a:cubicBezTo>
                    <a:pt x="16765" y="21600"/>
                    <a:pt x="21600" y="18083"/>
                    <a:pt x="21600" y="13745"/>
                  </a:cubicBezTo>
                  <a:cubicBezTo>
                    <a:pt x="21600" y="8345"/>
                    <a:pt x="12150" y="0"/>
                    <a:pt x="10800" y="0"/>
                  </a:cubicBezTo>
                  <a:moveTo>
                    <a:pt x="10800" y="18655"/>
                  </a:moveTo>
                  <a:cubicBezTo>
                    <a:pt x="7072" y="18655"/>
                    <a:pt x="4050" y="16456"/>
                    <a:pt x="4050" y="13745"/>
                  </a:cubicBezTo>
                  <a:cubicBezTo>
                    <a:pt x="4050" y="13474"/>
                    <a:pt x="3748" y="13255"/>
                    <a:pt x="3375" y="13255"/>
                  </a:cubicBezTo>
                  <a:cubicBezTo>
                    <a:pt x="3002" y="13255"/>
                    <a:pt x="2700" y="13474"/>
                    <a:pt x="2700" y="13745"/>
                  </a:cubicBezTo>
                  <a:cubicBezTo>
                    <a:pt x="2700" y="16999"/>
                    <a:pt x="6327" y="19636"/>
                    <a:pt x="10800" y="19636"/>
                  </a:cubicBezTo>
                  <a:cubicBezTo>
                    <a:pt x="11173" y="19636"/>
                    <a:pt x="11475" y="19417"/>
                    <a:pt x="11475" y="19145"/>
                  </a:cubicBezTo>
                  <a:cubicBezTo>
                    <a:pt x="11475" y="18875"/>
                    <a:pt x="11173" y="18655"/>
                    <a:pt x="10800" y="186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Shape 2962">
              <a:extLst>
                <a:ext uri="{FF2B5EF4-FFF2-40B4-BE49-F238E27FC236}">
                  <a16:creationId xmlns:a16="http://schemas.microsoft.com/office/drawing/2014/main" id="{F8F432F1-2D4D-42E3-BEEC-F31985272239}"/>
                </a:ext>
              </a:extLst>
            </p:cNvPr>
            <p:cNvSpPr/>
            <p:nvPr/>
          </p:nvSpPr>
          <p:spPr bwMode="gray">
            <a:xfrm>
              <a:off x="9430474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45" y="3927"/>
                  </a:moveTo>
                  <a:cubicBezTo>
                    <a:pt x="13204" y="3927"/>
                    <a:pt x="12764" y="4367"/>
                    <a:pt x="12764" y="4909"/>
                  </a:cubicBezTo>
                  <a:cubicBezTo>
                    <a:pt x="12764" y="5451"/>
                    <a:pt x="13204" y="5891"/>
                    <a:pt x="13745" y="5891"/>
                  </a:cubicBezTo>
                  <a:cubicBezTo>
                    <a:pt x="14287" y="5891"/>
                    <a:pt x="14727" y="5451"/>
                    <a:pt x="14727" y="4909"/>
                  </a:cubicBezTo>
                  <a:cubicBezTo>
                    <a:pt x="14727" y="4367"/>
                    <a:pt x="14287" y="3927"/>
                    <a:pt x="13745" y="3927"/>
                  </a:cubicBezTo>
                  <a:moveTo>
                    <a:pt x="16691" y="7855"/>
                  </a:moveTo>
                  <a:cubicBezTo>
                    <a:pt x="16149" y="7855"/>
                    <a:pt x="15709" y="8295"/>
                    <a:pt x="15709" y="8836"/>
                  </a:cubicBezTo>
                  <a:cubicBezTo>
                    <a:pt x="15709" y="9378"/>
                    <a:pt x="16149" y="9818"/>
                    <a:pt x="16691" y="9818"/>
                  </a:cubicBezTo>
                  <a:cubicBezTo>
                    <a:pt x="17233" y="9818"/>
                    <a:pt x="17673" y="9378"/>
                    <a:pt x="17673" y="8836"/>
                  </a:cubicBezTo>
                  <a:cubicBezTo>
                    <a:pt x="17673" y="8295"/>
                    <a:pt x="17233" y="7855"/>
                    <a:pt x="16691" y="7855"/>
                  </a:cubicBezTo>
                  <a:moveTo>
                    <a:pt x="7855" y="4909"/>
                  </a:moveTo>
                  <a:cubicBezTo>
                    <a:pt x="7313" y="4909"/>
                    <a:pt x="6873" y="5349"/>
                    <a:pt x="6873" y="5891"/>
                  </a:cubicBezTo>
                  <a:cubicBezTo>
                    <a:pt x="6873" y="6433"/>
                    <a:pt x="7313" y="6873"/>
                    <a:pt x="7855" y="6873"/>
                  </a:cubicBezTo>
                  <a:cubicBezTo>
                    <a:pt x="8396" y="6873"/>
                    <a:pt x="8836" y="6433"/>
                    <a:pt x="8836" y="5891"/>
                  </a:cubicBezTo>
                  <a:cubicBezTo>
                    <a:pt x="8836" y="5349"/>
                    <a:pt x="8396" y="4909"/>
                    <a:pt x="7855" y="4909"/>
                  </a:cubicBezTo>
                  <a:moveTo>
                    <a:pt x="3927" y="7855"/>
                  </a:moveTo>
                  <a:cubicBezTo>
                    <a:pt x="3385" y="7855"/>
                    <a:pt x="2945" y="8295"/>
                    <a:pt x="2945" y="8836"/>
                  </a:cubicBezTo>
                  <a:cubicBezTo>
                    <a:pt x="2945" y="9378"/>
                    <a:pt x="3385" y="9818"/>
                    <a:pt x="3927" y="9818"/>
                  </a:cubicBezTo>
                  <a:cubicBezTo>
                    <a:pt x="4469" y="9818"/>
                    <a:pt x="4909" y="9378"/>
                    <a:pt x="4909" y="8836"/>
                  </a:cubicBezTo>
                  <a:cubicBezTo>
                    <a:pt x="4909" y="8295"/>
                    <a:pt x="4469" y="7855"/>
                    <a:pt x="3927" y="7855"/>
                  </a:cubicBezTo>
                  <a:moveTo>
                    <a:pt x="1008" y="10800"/>
                  </a:moveTo>
                  <a:cubicBezTo>
                    <a:pt x="1278" y="5878"/>
                    <a:pt x="5552" y="1964"/>
                    <a:pt x="10800" y="1964"/>
                  </a:cubicBezTo>
                  <a:cubicBezTo>
                    <a:pt x="16048" y="1964"/>
                    <a:pt x="20322" y="5878"/>
                    <a:pt x="20592" y="10800"/>
                  </a:cubicBezTo>
                  <a:cubicBezTo>
                    <a:pt x="20592" y="10800"/>
                    <a:pt x="1008" y="10800"/>
                    <a:pt x="1008" y="10800"/>
                  </a:cubicBezTo>
                  <a:close/>
                  <a:moveTo>
                    <a:pt x="11291" y="1005"/>
                  </a:moveTo>
                  <a:lnTo>
                    <a:pt x="11291" y="491"/>
                  </a:lnTo>
                  <a:cubicBezTo>
                    <a:pt x="11291" y="220"/>
                    <a:pt x="11071" y="0"/>
                    <a:pt x="10800" y="0"/>
                  </a:cubicBezTo>
                  <a:cubicBezTo>
                    <a:pt x="10529" y="0"/>
                    <a:pt x="10309" y="220"/>
                    <a:pt x="10309" y="491"/>
                  </a:cubicBezTo>
                  <a:lnTo>
                    <a:pt x="10309" y="1005"/>
                  </a:lnTo>
                  <a:cubicBezTo>
                    <a:pt x="4574" y="1252"/>
                    <a:pt x="0" y="5756"/>
                    <a:pt x="0" y="11291"/>
                  </a:cubicBezTo>
                  <a:cubicBezTo>
                    <a:pt x="0" y="11562"/>
                    <a:pt x="220" y="11782"/>
                    <a:pt x="491" y="11782"/>
                  </a:cubicBezTo>
                  <a:lnTo>
                    <a:pt x="10309" y="11782"/>
                  </a:lnTo>
                  <a:lnTo>
                    <a:pt x="10309" y="18655"/>
                  </a:lnTo>
                  <a:cubicBezTo>
                    <a:pt x="10309" y="19739"/>
                    <a:pt x="9430" y="20618"/>
                    <a:pt x="8345" y="20618"/>
                  </a:cubicBezTo>
                  <a:cubicBezTo>
                    <a:pt x="7261" y="20618"/>
                    <a:pt x="6382" y="19739"/>
                    <a:pt x="6382" y="18655"/>
                  </a:cubicBezTo>
                  <a:cubicBezTo>
                    <a:pt x="6382" y="18383"/>
                    <a:pt x="6162" y="18164"/>
                    <a:pt x="5891" y="18164"/>
                  </a:cubicBezTo>
                  <a:cubicBezTo>
                    <a:pt x="5620" y="18164"/>
                    <a:pt x="5400" y="18383"/>
                    <a:pt x="5400" y="18655"/>
                  </a:cubicBezTo>
                  <a:cubicBezTo>
                    <a:pt x="5400" y="20281"/>
                    <a:pt x="6719" y="21600"/>
                    <a:pt x="8345" y="21600"/>
                  </a:cubicBezTo>
                  <a:cubicBezTo>
                    <a:pt x="9804" y="21600"/>
                    <a:pt x="11007" y="20537"/>
                    <a:pt x="11242" y="19145"/>
                  </a:cubicBezTo>
                  <a:lnTo>
                    <a:pt x="11291" y="19145"/>
                  </a:lnTo>
                  <a:lnTo>
                    <a:pt x="11291" y="11782"/>
                  </a:lnTo>
                  <a:lnTo>
                    <a:pt x="21109" y="11782"/>
                  </a:lnTo>
                  <a:cubicBezTo>
                    <a:pt x="21380" y="11782"/>
                    <a:pt x="21600" y="11562"/>
                    <a:pt x="21600" y="11291"/>
                  </a:cubicBezTo>
                  <a:cubicBezTo>
                    <a:pt x="21600" y="5756"/>
                    <a:pt x="17026" y="1252"/>
                    <a:pt x="11291" y="1005"/>
                  </a:cubicBezTo>
                  <a:moveTo>
                    <a:pt x="10800" y="6873"/>
                  </a:moveTo>
                  <a:cubicBezTo>
                    <a:pt x="10258" y="6873"/>
                    <a:pt x="9818" y="7313"/>
                    <a:pt x="9818" y="7855"/>
                  </a:cubicBezTo>
                  <a:cubicBezTo>
                    <a:pt x="9818" y="8396"/>
                    <a:pt x="10258" y="8836"/>
                    <a:pt x="10800" y="8836"/>
                  </a:cubicBezTo>
                  <a:cubicBezTo>
                    <a:pt x="11342" y="8836"/>
                    <a:pt x="11782" y="8396"/>
                    <a:pt x="11782" y="7855"/>
                  </a:cubicBezTo>
                  <a:cubicBezTo>
                    <a:pt x="11782" y="7313"/>
                    <a:pt x="11342" y="6873"/>
                    <a:pt x="10800" y="687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Shape 2963">
              <a:extLst>
                <a:ext uri="{FF2B5EF4-FFF2-40B4-BE49-F238E27FC236}">
                  <a16:creationId xmlns:a16="http://schemas.microsoft.com/office/drawing/2014/main" id="{86CF99F9-9725-45FD-91AE-64F83CCAE818}"/>
                </a:ext>
              </a:extLst>
            </p:cNvPr>
            <p:cNvSpPr/>
            <p:nvPr/>
          </p:nvSpPr>
          <p:spPr bwMode="gray">
            <a:xfrm>
              <a:off x="9984025" y="2956419"/>
              <a:ext cx="289956" cy="158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2" y="19800"/>
                  </a:moveTo>
                  <a:cubicBezTo>
                    <a:pt x="18391" y="11772"/>
                    <a:pt x="14982" y="5400"/>
                    <a:pt x="10800" y="5400"/>
                  </a:cubicBezTo>
                  <a:cubicBezTo>
                    <a:pt x="6618" y="5400"/>
                    <a:pt x="3209" y="11772"/>
                    <a:pt x="2968" y="19800"/>
                  </a:cubicBezTo>
                  <a:lnTo>
                    <a:pt x="1005" y="19800"/>
                  </a:lnTo>
                  <a:cubicBezTo>
                    <a:pt x="1251" y="9783"/>
                    <a:pt x="5535" y="1800"/>
                    <a:pt x="10800" y="1800"/>
                  </a:cubicBezTo>
                  <a:cubicBezTo>
                    <a:pt x="16065" y="1800"/>
                    <a:pt x="20349" y="9783"/>
                    <a:pt x="20595" y="19800"/>
                  </a:cubicBezTo>
                  <a:cubicBezTo>
                    <a:pt x="20595" y="19800"/>
                    <a:pt x="18632" y="19800"/>
                    <a:pt x="18632" y="19800"/>
                  </a:cubicBezTo>
                  <a:close/>
                  <a:moveTo>
                    <a:pt x="15687" y="19800"/>
                  </a:moveTo>
                  <a:cubicBezTo>
                    <a:pt x="15461" y="14755"/>
                    <a:pt x="13360" y="10800"/>
                    <a:pt x="10800" y="10800"/>
                  </a:cubicBezTo>
                  <a:cubicBezTo>
                    <a:pt x="8240" y="10800"/>
                    <a:pt x="6139" y="14755"/>
                    <a:pt x="5913" y="19800"/>
                  </a:cubicBezTo>
                  <a:lnTo>
                    <a:pt x="3950" y="19800"/>
                  </a:lnTo>
                  <a:cubicBezTo>
                    <a:pt x="4187" y="12767"/>
                    <a:pt x="7159" y="7200"/>
                    <a:pt x="10800" y="7200"/>
                  </a:cubicBezTo>
                  <a:cubicBezTo>
                    <a:pt x="14441" y="7200"/>
                    <a:pt x="17413" y="12767"/>
                    <a:pt x="17650" y="19800"/>
                  </a:cubicBezTo>
                  <a:cubicBezTo>
                    <a:pt x="17650" y="19800"/>
                    <a:pt x="15687" y="19800"/>
                    <a:pt x="15687" y="19800"/>
                  </a:cubicBezTo>
                  <a:close/>
                  <a:moveTo>
                    <a:pt x="12724" y="19800"/>
                  </a:moveTo>
                  <a:cubicBezTo>
                    <a:pt x="12542" y="17747"/>
                    <a:pt x="11750" y="16200"/>
                    <a:pt x="10800" y="16200"/>
                  </a:cubicBezTo>
                  <a:cubicBezTo>
                    <a:pt x="9850" y="16200"/>
                    <a:pt x="9058" y="17747"/>
                    <a:pt x="8876" y="19800"/>
                  </a:cubicBezTo>
                  <a:lnTo>
                    <a:pt x="6899" y="19800"/>
                  </a:lnTo>
                  <a:cubicBezTo>
                    <a:pt x="7115" y="15751"/>
                    <a:pt x="8779" y="12600"/>
                    <a:pt x="10800" y="12600"/>
                  </a:cubicBezTo>
                  <a:cubicBezTo>
                    <a:pt x="12821" y="12600"/>
                    <a:pt x="14485" y="15751"/>
                    <a:pt x="14701" y="19800"/>
                  </a:cubicBezTo>
                  <a:cubicBezTo>
                    <a:pt x="14701" y="19800"/>
                    <a:pt x="12724" y="19800"/>
                    <a:pt x="12724" y="19800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9268"/>
                    <a:pt x="0" y="20700"/>
                  </a:cubicBezTo>
                  <a:cubicBezTo>
                    <a:pt x="0" y="21197"/>
                    <a:pt x="220" y="21600"/>
                    <a:pt x="491" y="21600"/>
                  </a:cubicBezTo>
                  <a:lnTo>
                    <a:pt x="9327" y="21600"/>
                  </a:lnTo>
                  <a:cubicBezTo>
                    <a:pt x="9599" y="21600"/>
                    <a:pt x="9818" y="21197"/>
                    <a:pt x="9818" y="20700"/>
                  </a:cubicBezTo>
                  <a:cubicBezTo>
                    <a:pt x="9818" y="19209"/>
                    <a:pt x="10258" y="18000"/>
                    <a:pt x="10800" y="18000"/>
                  </a:cubicBezTo>
                  <a:cubicBezTo>
                    <a:pt x="11342" y="18000"/>
                    <a:pt x="11782" y="19209"/>
                    <a:pt x="11782" y="20700"/>
                  </a:cubicBezTo>
                  <a:cubicBezTo>
                    <a:pt x="11782" y="21197"/>
                    <a:pt x="12001" y="21600"/>
                    <a:pt x="12273" y="21600"/>
                  </a:cubicBezTo>
                  <a:lnTo>
                    <a:pt x="21109" y="21600"/>
                  </a:lnTo>
                  <a:cubicBezTo>
                    <a:pt x="21380" y="21600"/>
                    <a:pt x="21600" y="21197"/>
                    <a:pt x="21600" y="20700"/>
                  </a:cubicBezTo>
                  <a:cubicBezTo>
                    <a:pt x="21600" y="9268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Shape 2964">
              <a:extLst>
                <a:ext uri="{FF2B5EF4-FFF2-40B4-BE49-F238E27FC236}">
                  <a16:creationId xmlns:a16="http://schemas.microsoft.com/office/drawing/2014/main" id="{A5A9FA1F-D69E-4124-8066-7E4EE9555A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37577" y="2930060"/>
              <a:ext cx="289956" cy="210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20250"/>
                  </a:moveTo>
                  <a:lnTo>
                    <a:pt x="4418" y="20250"/>
                  </a:lnTo>
                  <a:cubicBezTo>
                    <a:pt x="2524" y="20250"/>
                    <a:pt x="982" y="18130"/>
                    <a:pt x="982" y="15525"/>
                  </a:cubicBezTo>
                  <a:cubicBezTo>
                    <a:pt x="982" y="13489"/>
                    <a:pt x="1926" y="11690"/>
                    <a:pt x="3333" y="11045"/>
                  </a:cubicBezTo>
                  <a:lnTo>
                    <a:pt x="4165" y="10664"/>
                  </a:lnTo>
                  <a:lnTo>
                    <a:pt x="3982" y="9484"/>
                  </a:lnTo>
                  <a:cubicBezTo>
                    <a:pt x="3946" y="9247"/>
                    <a:pt x="3927" y="9008"/>
                    <a:pt x="3927" y="8775"/>
                  </a:cubicBezTo>
                  <a:cubicBezTo>
                    <a:pt x="3927" y="6914"/>
                    <a:pt x="5028" y="5400"/>
                    <a:pt x="6382" y="5400"/>
                  </a:cubicBezTo>
                  <a:cubicBezTo>
                    <a:pt x="6662" y="5400"/>
                    <a:pt x="6942" y="5470"/>
                    <a:pt x="7215" y="5605"/>
                  </a:cubicBezTo>
                  <a:lnTo>
                    <a:pt x="8019" y="6006"/>
                  </a:lnTo>
                  <a:lnTo>
                    <a:pt x="8418" y="4965"/>
                  </a:lnTo>
                  <a:cubicBezTo>
                    <a:pt x="9272" y="2735"/>
                    <a:pt x="10937" y="1350"/>
                    <a:pt x="12764" y="1350"/>
                  </a:cubicBezTo>
                  <a:cubicBezTo>
                    <a:pt x="15470" y="1350"/>
                    <a:pt x="17673" y="4378"/>
                    <a:pt x="17673" y="8100"/>
                  </a:cubicBezTo>
                  <a:cubicBezTo>
                    <a:pt x="17673" y="8218"/>
                    <a:pt x="17666" y="8333"/>
                    <a:pt x="17660" y="8449"/>
                  </a:cubicBezTo>
                  <a:lnTo>
                    <a:pt x="17655" y="8565"/>
                  </a:lnTo>
                  <a:lnTo>
                    <a:pt x="17610" y="9515"/>
                  </a:lnTo>
                  <a:lnTo>
                    <a:pt x="18245" y="9892"/>
                  </a:lnTo>
                  <a:cubicBezTo>
                    <a:pt x="19687" y="10747"/>
                    <a:pt x="20618" y="12693"/>
                    <a:pt x="20618" y="14850"/>
                  </a:cubicBezTo>
                  <a:cubicBezTo>
                    <a:pt x="20618" y="17828"/>
                    <a:pt x="18856" y="20250"/>
                    <a:pt x="16691" y="20250"/>
                  </a:cubicBezTo>
                  <a:moveTo>
                    <a:pt x="18634" y="8652"/>
                  </a:moveTo>
                  <a:cubicBezTo>
                    <a:pt x="18643" y="8469"/>
                    <a:pt x="18655" y="8287"/>
                    <a:pt x="18655" y="8100"/>
                  </a:cubicBezTo>
                  <a:cubicBezTo>
                    <a:pt x="18655" y="3627"/>
                    <a:pt x="16017" y="0"/>
                    <a:pt x="12764" y="0"/>
                  </a:cubicBezTo>
                  <a:cubicBezTo>
                    <a:pt x="10499" y="0"/>
                    <a:pt x="8536" y="1759"/>
                    <a:pt x="7550" y="4336"/>
                  </a:cubicBezTo>
                  <a:cubicBezTo>
                    <a:pt x="7185" y="4154"/>
                    <a:pt x="6793" y="4050"/>
                    <a:pt x="6382" y="4050"/>
                  </a:cubicBezTo>
                  <a:cubicBezTo>
                    <a:pt x="4484" y="4050"/>
                    <a:pt x="2945" y="6165"/>
                    <a:pt x="2945" y="8775"/>
                  </a:cubicBezTo>
                  <a:cubicBezTo>
                    <a:pt x="2945" y="9114"/>
                    <a:pt x="2973" y="9445"/>
                    <a:pt x="3022" y="9764"/>
                  </a:cubicBezTo>
                  <a:cubicBezTo>
                    <a:pt x="1267" y="10569"/>
                    <a:pt x="0" y="12841"/>
                    <a:pt x="0" y="15525"/>
                  </a:cubicBezTo>
                  <a:cubicBezTo>
                    <a:pt x="0" y="18880"/>
                    <a:pt x="1978" y="21600"/>
                    <a:pt x="4418" y="21600"/>
                  </a:cubicBezTo>
                  <a:lnTo>
                    <a:pt x="16691" y="21600"/>
                  </a:lnTo>
                  <a:cubicBezTo>
                    <a:pt x="19401" y="21600"/>
                    <a:pt x="21600" y="18578"/>
                    <a:pt x="21600" y="14850"/>
                  </a:cubicBezTo>
                  <a:cubicBezTo>
                    <a:pt x="21600" y="12072"/>
                    <a:pt x="20378" y="9687"/>
                    <a:pt x="18634" y="8652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Shape 2965">
              <a:extLst>
                <a:ext uri="{FF2B5EF4-FFF2-40B4-BE49-F238E27FC236}">
                  <a16:creationId xmlns:a16="http://schemas.microsoft.com/office/drawing/2014/main" id="{B507CFD1-AB02-4167-AEEB-A9D481B887DF}"/>
                </a:ext>
              </a:extLst>
            </p:cNvPr>
            <p:cNvSpPr/>
            <p:nvPr/>
          </p:nvSpPr>
          <p:spPr bwMode="gray">
            <a:xfrm>
              <a:off x="5555613" y="3586633"/>
              <a:ext cx="289956" cy="171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9938"/>
                  </a:moveTo>
                  <a:lnTo>
                    <a:pt x="3927" y="19938"/>
                  </a:lnTo>
                  <a:cubicBezTo>
                    <a:pt x="2303" y="19938"/>
                    <a:pt x="982" y="17703"/>
                    <a:pt x="982" y="14954"/>
                  </a:cubicBezTo>
                  <a:cubicBezTo>
                    <a:pt x="982" y="12638"/>
                    <a:pt x="1912" y="10647"/>
                    <a:pt x="3244" y="10110"/>
                  </a:cubicBezTo>
                  <a:cubicBezTo>
                    <a:pt x="3634" y="9954"/>
                    <a:pt x="3929" y="9410"/>
                    <a:pt x="3988" y="8739"/>
                  </a:cubicBezTo>
                  <a:cubicBezTo>
                    <a:pt x="4343" y="4704"/>
                    <a:pt x="6427" y="1662"/>
                    <a:pt x="8836" y="1662"/>
                  </a:cubicBezTo>
                  <a:cubicBezTo>
                    <a:pt x="10501" y="1662"/>
                    <a:pt x="12038" y="3081"/>
                    <a:pt x="12948" y="5461"/>
                  </a:cubicBezTo>
                  <a:cubicBezTo>
                    <a:pt x="13103" y="5866"/>
                    <a:pt x="13354" y="6137"/>
                    <a:pt x="13636" y="6203"/>
                  </a:cubicBezTo>
                  <a:cubicBezTo>
                    <a:pt x="13682" y="6215"/>
                    <a:pt x="13727" y="6219"/>
                    <a:pt x="13773" y="6219"/>
                  </a:cubicBezTo>
                  <a:cubicBezTo>
                    <a:pt x="14009" y="6219"/>
                    <a:pt x="14238" y="6076"/>
                    <a:pt x="14419" y="5809"/>
                  </a:cubicBezTo>
                  <a:cubicBezTo>
                    <a:pt x="14777" y="5278"/>
                    <a:pt x="15236" y="4985"/>
                    <a:pt x="15709" y="4985"/>
                  </a:cubicBezTo>
                  <a:cubicBezTo>
                    <a:pt x="16792" y="4985"/>
                    <a:pt x="17673" y="6476"/>
                    <a:pt x="17671" y="8326"/>
                  </a:cubicBezTo>
                  <a:lnTo>
                    <a:pt x="17667" y="8447"/>
                  </a:lnTo>
                  <a:cubicBezTo>
                    <a:pt x="17646" y="9234"/>
                    <a:pt x="17953" y="9937"/>
                    <a:pt x="18404" y="10132"/>
                  </a:cubicBezTo>
                  <a:cubicBezTo>
                    <a:pt x="19708" y="10697"/>
                    <a:pt x="20618" y="12680"/>
                    <a:pt x="20618" y="14954"/>
                  </a:cubicBezTo>
                  <a:cubicBezTo>
                    <a:pt x="20618" y="17703"/>
                    <a:pt x="19297" y="19938"/>
                    <a:pt x="17673" y="19938"/>
                  </a:cubicBezTo>
                  <a:moveTo>
                    <a:pt x="18648" y="8523"/>
                  </a:moveTo>
                  <a:cubicBezTo>
                    <a:pt x="18650" y="8451"/>
                    <a:pt x="18655" y="8381"/>
                    <a:pt x="18655" y="8308"/>
                  </a:cubicBezTo>
                  <a:cubicBezTo>
                    <a:pt x="18655" y="5556"/>
                    <a:pt x="17335" y="3323"/>
                    <a:pt x="15709" y="3323"/>
                  </a:cubicBezTo>
                  <a:cubicBezTo>
                    <a:pt x="14967" y="3323"/>
                    <a:pt x="14290" y="3791"/>
                    <a:pt x="13773" y="4558"/>
                  </a:cubicBezTo>
                  <a:cubicBezTo>
                    <a:pt x="12724" y="1819"/>
                    <a:pt x="10909" y="0"/>
                    <a:pt x="8836" y="0"/>
                  </a:cubicBezTo>
                  <a:cubicBezTo>
                    <a:pt x="5880" y="0"/>
                    <a:pt x="3439" y="3690"/>
                    <a:pt x="3017" y="8494"/>
                  </a:cubicBezTo>
                  <a:cubicBezTo>
                    <a:pt x="1288" y="9190"/>
                    <a:pt x="0" y="11814"/>
                    <a:pt x="0" y="14954"/>
                  </a:cubicBezTo>
                  <a:cubicBezTo>
                    <a:pt x="0" y="18624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8624"/>
                    <a:pt x="21600" y="14954"/>
                  </a:cubicBezTo>
                  <a:cubicBezTo>
                    <a:pt x="21600" y="11855"/>
                    <a:pt x="20344" y="9259"/>
                    <a:pt x="18648" y="8523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Shape 2966">
              <a:extLst>
                <a:ext uri="{FF2B5EF4-FFF2-40B4-BE49-F238E27FC236}">
                  <a16:creationId xmlns:a16="http://schemas.microsoft.com/office/drawing/2014/main" id="{5ED32417-E893-4550-8E21-50C891D6F5A5}"/>
                </a:ext>
              </a:extLst>
            </p:cNvPr>
            <p:cNvSpPr/>
            <p:nvPr/>
          </p:nvSpPr>
          <p:spPr bwMode="gray">
            <a:xfrm>
              <a:off x="6109165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20400"/>
                  </a:moveTo>
                  <a:lnTo>
                    <a:pt x="3927" y="20400"/>
                  </a:lnTo>
                  <a:cubicBezTo>
                    <a:pt x="2303" y="20400"/>
                    <a:pt x="982" y="18785"/>
                    <a:pt x="982" y="16800"/>
                  </a:cubicBezTo>
                  <a:cubicBezTo>
                    <a:pt x="982" y="15128"/>
                    <a:pt x="1912" y="13690"/>
                    <a:pt x="3244" y="13302"/>
                  </a:cubicBezTo>
                  <a:cubicBezTo>
                    <a:pt x="3634" y="13189"/>
                    <a:pt x="3929" y="12796"/>
                    <a:pt x="3988" y="12312"/>
                  </a:cubicBezTo>
                  <a:cubicBezTo>
                    <a:pt x="4343" y="9397"/>
                    <a:pt x="6427" y="7200"/>
                    <a:pt x="8836" y="7200"/>
                  </a:cubicBezTo>
                  <a:cubicBezTo>
                    <a:pt x="10501" y="7200"/>
                    <a:pt x="11547" y="7626"/>
                    <a:pt x="12457" y="9344"/>
                  </a:cubicBezTo>
                  <a:cubicBezTo>
                    <a:pt x="12612" y="9636"/>
                    <a:pt x="13354" y="10432"/>
                    <a:pt x="13636" y="10480"/>
                  </a:cubicBezTo>
                  <a:cubicBezTo>
                    <a:pt x="13682" y="10488"/>
                    <a:pt x="13773" y="10492"/>
                    <a:pt x="13773" y="10492"/>
                  </a:cubicBezTo>
                  <a:cubicBezTo>
                    <a:pt x="14009" y="10492"/>
                    <a:pt x="14238" y="10388"/>
                    <a:pt x="14419" y="10195"/>
                  </a:cubicBezTo>
                  <a:cubicBezTo>
                    <a:pt x="14777" y="9812"/>
                    <a:pt x="15236" y="9600"/>
                    <a:pt x="15709" y="9600"/>
                  </a:cubicBezTo>
                  <a:cubicBezTo>
                    <a:pt x="16792" y="9600"/>
                    <a:pt x="17673" y="10677"/>
                    <a:pt x="17671" y="12013"/>
                  </a:cubicBezTo>
                  <a:lnTo>
                    <a:pt x="17667" y="12101"/>
                  </a:lnTo>
                  <a:cubicBezTo>
                    <a:pt x="17646" y="12669"/>
                    <a:pt x="17953" y="13177"/>
                    <a:pt x="18404" y="13318"/>
                  </a:cubicBezTo>
                  <a:cubicBezTo>
                    <a:pt x="19708" y="13726"/>
                    <a:pt x="20618" y="15158"/>
                    <a:pt x="20618" y="16800"/>
                  </a:cubicBezTo>
                  <a:cubicBezTo>
                    <a:pt x="20618" y="18785"/>
                    <a:pt x="19297" y="20400"/>
                    <a:pt x="17673" y="20400"/>
                  </a:cubicBezTo>
                  <a:moveTo>
                    <a:pt x="15709" y="1200"/>
                  </a:moveTo>
                  <a:cubicBezTo>
                    <a:pt x="18420" y="1200"/>
                    <a:pt x="20618" y="3887"/>
                    <a:pt x="20618" y="7200"/>
                  </a:cubicBezTo>
                  <a:cubicBezTo>
                    <a:pt x="20618" y="9162"/>
                    <a:pt x="19844" y="10898"/>
                    <a:pt x="18654" y="11992"/>
                  </a:cubicBezTo>
                  <a:cubicBezTo>
                    <a:pt x="18651" y="10008"/>
                    <a:pt x="17334" y="8400"/>
                    <a:pt x="15709" y="8400"/>
                  </a:cubicBezTo>
                  <a:cubicBezTo>
                    <a:pt x="14967" y="8400"/>
                    <a:pt x="14290" y="8738"/>
                    <a:pt x="13773" y="9292"/>
                  </a:cubicBezTo>
                  <a:cubicBezTo>
                    <a:pt x="13082" y="7989"/>
                    <a:pt x="12054" y="6984"/>
                    <a:pt x="10843" y="6443"/>
                  </a:cubicBezTo>
                  <a:cubicBezTo>
                    <a:pt x="11149" y="3488"/>
                    <a:pt x="13208" y="1200"/>
                    <a:pt x="15709" y="1200"/>
                  </a:cubicBezTo>
                  <a:moveTo>
                    <a:pt x="19575" y="12625"/>
                  </a:moveTo>
                  <a:cubicBezTo>
                    <a:pt x="20814" y="11304"/>
                    <a:pt x="21600" y="9367"/>
                    <a:pt x="21600" y="7200"/>
                  </a:cubicBezTo>
                  <a:cubicBezTo>
                    <a:pt x="21600" y="3224"/>
                    <a:pt x="18962" y="0"/>
                    <a:pt x="15709" y="0"/>
                  </a:cubicBezTo>
                  <a:cubicBezTo>
                    <a:pt x="12754" y="0"/>
                    <a:pt x="10314" y="2663"/>
                    <a:pt x="9890" y="6130"/>
                  </a:cubicBezTo>
                  <a:cubicBezTo>
                    <a:pt x="9547" y="6053"/>
                    <a:pt x="9198" y="6000"/>
                    <a:pt x="8836" y="6000"/>
                  </a:cubicBezTo>
                  <a:cubicBezTo>
                    <a:pt x="5880" y="6000"/>
                    <a:pt x="3439" y="8665"/>
                    <a:pt x="3017" y="12135"/>
                  </a:cubicBezTo>
                  <a:cubicBezTo>
                    <a:pt x="1288" y="12638"/>
                    <a:pt x="0" y="14532"/>
                    <a:pt x="0" y="16800"/>
                  </a:cubicBezTo>
                  <a:cubicBezTo>
                    <a:pt x="0" y="19451"/>
                    <a:pt x="1758" y="21600"/>
                    <a:pt x="3927" y="21600"/>
                  </a:cubicBezTo>
                  <a:lnTo>
                    <a:pt x="17673" y="21600"/>
                  </a:lnTo>
                  <a:cubicBezTo>
                    <a:pt x="19842" y="21600"/>
                    <a:pt x="21600" y="19451"/>
                    <a:pt x="21600" y="16800"/>
                  </a:cubicBezTo>
                  <a:cubicBezTo>
                    <a:pt x="21600" y="14997"/>
                    <a:pt x="20778" y="13443"/>
                    <a:pt x="19575" y="1262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Shape 2967">
              <a:extLst>
                <a:ext uri="{FF2B5EF4-FFF2-40B4-BE49-F238E27FC236}">
                  <a16:creationId xmlns:a16="http://schemas.microsoft.com/office/drawing/2014/main" id="{78DC9766-81B8-4307-9287-0A6AFCFD654E}"/>
                </a:ext>
              </a:extLst>
            </p:cNvPr>
            <p:cNvSpPr/>
            <p:nvPr/>
          </p:nvSpPr>
          <p:spPr bwMode="gray">
            <a:xfrm>
              <a:off x="6662716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727" y="19440"/>
                  </a:moveTo>
                  <a:cubicBezTo>
                    <a:pt x="14727" y="20036"/>
                    <a:pt x="15167" y="20520"/>
                    <a:pt x="15709" y="20520"/>
                  </a:cubicBezTo>
                  <a:cubicBezTo>
                    <a:pt x="16251" y="20520"/>
                    <a:pt x="16691" y="20036"/>
                    <a:pt x="16691" y="19440"/>
                  </a:cubicBezTo>
                  <a:cubicBezTo>
                    <a:pt x="16691" y="18360"/>
                    <a:pt x="15709" y="17280"/>
                    <a:pt x="15709" y="17280"/>
                  </a:cubicBezTo>
                  <a:cubicBezTo>
                    <a:pt x="15709" y="17280"/>
                    <a:pt x="14727" y="18360"/>
                    <a:pt x="14727" y="19440"/>
                  </a:cubicBezTo>
                  <a:moveTo>
                    <a:pt x="4909" y="20520"/>
                  </a:moveTo>
                  <a:cubicBezTo>
                    <a:pt x="4909" y="21117"/>
                    <a:pt x="5349" y="21600"/>
                    <a:pt x="5891" y="21600"/>
                  </a:cubicBezTo>
                  <a:cubicBezTo>
                    <a:pt x="6433" y="21600"/>
                    <a:pt x="6873" y="21117"/>
                    <a:pt x="6873" y="20520"/>
                  </a:cubicBezTo>
                  <a:cubicBezTo>
                    <a:pt x="6873" y="19440"/>
                    <a:pt x="5891" y="18360"/>
                    <a:pt x="5891" y="18360"/>
                  </a:cubicBezTo>
                  <a:cubicBezTo>
                    <a:pt x="5891" y="18360"/>
                    <a:pt x="4909" y="19440"/>
                    <a:pt x="4909" y="20520"/>
                  </a:cubicBezTo>
                  <a:moveTo>
                    <a:pt x="9818" y="17280"/>
                  </a:moveTo>
                  <a:cubicBezTo>
                    <a:pt x="9818" y="17876"/>
                    <a:pt x="10258" y="18360"/>
                    <a:pt x="10800" y="18360"/>
                  </a:cubicBezTo>
                  <a:cubicBezTo>
                    <a:pt x="11342" y="18360"/>
                    <a:pt x="11782" y="17876"/>
                    <a:pt x="11782" y="17280"/>
                  </a:cubicBezTo>
                  <a:cubicBezTo>
                    <a:pt x="11782" y="16200"/>
                    <a:pt x="10800" y="15120"/>
                    <a:pt x="10800" y="15120"/>
                  </a:cubicBezTo>
                  <a:cubicBezTo>
                    <a:pt x="10800" y="15120"/>
                    <a:pt x="9818" y="16200"/>
                    <a:pt x="9818" y="1728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Shape 2968">
              <a:extLst>
                <a:ext uri="{FF2B5EF4-FFF2-40B4-BE49-F238E27FC236}">
                  <a16:creationId xmlns:a16="http://schemas.microsoft.com/office/drawing/2014/main" id="{9CD13275-184F-4FA4-A08E-50B34B551188}"/>
                </a:ext>
              </a:extLst>
            </p:cNvPr>
            <p:cNvSpPr/>
            <p:nvPr/>
          </p:nvSpPr>
          <p:spPr bwMode="gray">
            <a:xfrm>
              <a:off x="7216268" y="3547093"/>
              <a:ext cx="289956" cy="23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4400"/>
                  </a:moveTo>
                  <a:lnTo>
                    <a:pt x="3927" y="14400"/>
                  </a:lnTo>
                  <a:cubicBezTo>
                    <a:pt x="2303" y="14400"/>
                    <a:pt x="982" y="12785"/>
                    <a:pt x="982" y="10800"/>
                  </a:cubicBezTo>
                  <a:cubicBezTo>
                    <a:pt x="982" y="9128"/>
                    <a:pt x="1912" y="7690"/>
                    <a:pt x="3244" y="7302"/>
                  </a:cubicBezTo>
                  <a:cubicBezTo>
                    <a:pt x="3634" y="7189"/>
                    <a:pt x="3929" y="6796"/>
                    <a:pt x="3988" y="6312"/>
                  </a:cubicBezTo>
                  <a:cubicBezTo>
                    <a:pt x="4343" y="3397"/>
                    <a:pt x="6427" y="1200"/>
                    <a:pt x="8836" y="1200"/>
                  </a:cubicBezTo>
                  <a:cubicBezTo>
                    <a:pt x="10501" y="1200"/>
                    <a:pt x="11547" y="1626"/>
                    <a:pt x="12457" y="3344"/>
                  </a:cubicBezTo>
                  <a:cubicBezTo>
                    <a:pt x="12612" y="3636"/>
                    <a:pt x="13354" y="4432"/>
                    <a:pt x="13636" y="4480"/>
                  </a:cubicBezTo>
                  <a:cubicBezTo>
                    <a:pt x="13682" y="4488"/>
                    <a:pt x="13773" y="4492"/>
                    <a:pt x="13773" y="4492"/>
                  </a:cubicBezTo>
                  <a:cubicBezTo>
                    <a:pt x="14009" y="4492"/>
                    <a:pt x="14238" y="4388"/>
                    <a:pt x="14419" y="4195"/>
                  </a:cubicBezTo>
                  <a:cubicBezTo>
                    <a:pt x="14777" y="3812"/>
                    <a:pt x="15236" y="3600"/>
                    <a:pt x="15709" y="3600"/>
                  </a:cubicBezTo>
                  <a:cubicBezTo>
                    <a:pt x="16792" y="3600"/>
                    <a:pt x="17673" y="4676"/>
                    <a:pt x="17671" y="6013"/>
                  </a:cubicBezTo>
                  <a:lnTo>
                    <a:pt x="17667" y="6101"/>
                  </a:lnTo>
                  <a:cubicBezTo>
                    <a:pt x="17646" y="6669"/>
                    <a:pt x="17953" y="7177"/>
                    <a:pt x="18404" y="7318"/>
                  </a:cubicBezTo>
                  <a:cubicBezTo>
                    <a:pt x="19708" y="7726"/>
                    <a:pt x="20618" y="9158"/>
                    <a:pt x="20618" y="10800"/>
                  </a:cubicBezTo>
                  <a:cubicBezTo>
                    <a:pt x="20618" y="12785"/>
                    <a:pt x="19297" y="14400"/>
                    <a:pt x="17673" y="14400"/>
                  </a:cubicBezTo>
                  <a:moveTo>
                    <a:pt x="18648" y="6156"/>
                  </a:moveTo>
                  <a:cubicBezTo>
                    <a:pt x="18650" y="6104"/>
                    <a:pt x="18655" y="6053"/>
                    <a:pt x="18655" y="6000"/>
                  </a:cubicBezTo>
                  <a:cubicBezTo>
                    <a:pt x="18655" y="4012"/>
                    <a:pt x="17335" y="2400"/>
                    <a:pt x="15709" y="2400"/>
                  </a:cubicBezTo>
                  <a:cubicBezTo>
                    <a:pt x="14967" y="2400"/>
                    <a:pt x="14290" y="2738"/>
                    <a:pt x="13773" y="3292"/>
                  </a:cubicBezTo>
                  <a:cubicBezTo>
                    <a:pt x="12724" y="1314"/>
                    <a:pt x="10909" y="0"/>
                    <a:pt x="8836" y="0"/>
                  </a:cubicBezTo>
                  <a:cubicBezTo>
                    <a:pt x="5880" y="0"/>
                    <a:pt x="3439" y="2665"/>
                    <a:pt x="3017" y="6135"/>
                  </a:cubicBezTo>
                  <a:cubicBezTo>
                    <a:pt x="1288" y="6638"/>
                    <a:pt x="0" y="8532"/>
                    <a:pt x="0" y="10800"/>
                  </a:cubicBezTo>
                  <a:cubicBezTo>
                    <a:pt x="0" y="13451"/>
                    <a:pt x="1758" y="15600"/>
                    <a:pt x="3927" y="15600"/>
                  </a:cubicBezTo>
                  <a:lnTo>
                    <a:pt x="17673" y="15600"/>
                  </a:lnTo>
                  <a:cubicBezTo>
                    <a:pt x="19842" y="15600"/>
                    <a:pt x="21600" y="13451"/>
                    <a:pt x="21600" y="10800"/>
                  </a:cubicBezTo>
                  <a:cubicBezTo>
                    <a:pt x="21600" y="8562"/>
                    <a:pt x="20344" y="6687"/>
                    <a:pt x="18648" y="6156"/>
                  </a:cubicBezTo>
                  <a:moveTo>
                    <a:pt x="15218" y="16800"/>
                  </a:moveTo>
                  <a:cubicBezTo>
                    <a:pt x="15083" y="16800"/>
                    <a:pt x="14960" y="16867"/>
                    <a:pt x="14871" y="16976"/>
                  </a:cubicBezTo>
                  <a:lnTo>
                    <a:pt x="11926" y="20575"/>
                  </a:lnTo>
                  <a:cubicBezTo>
                    <a:pt x="11837" y="20685"/>
                    <a:pt x="11782" y="20835"/>
                    <a:pt x="11782" y="21000"/>
                  </a:cubicBezTo>
                  <a:cubicBezTo>
                    <a:pt x="11782" y="21332"/>
                    <a:pt x="12002" y="21600"/>
                    <a:pt x="12273" y="21600"/>
                  </a:cubicBezTo>
                  <a:cubicBezTo>
                    <a:pt x="12408" y="21600"/>
                    <a:pt x="12531" y="21533"/>
                    <a:pt x="12620" y="21424"/>
                  </a:cubicBezTo>
                  <a:lnTo>
                    <a:pt x="15565" y="17824"/>
                  </a:lnTo>
                  <a:cubicBezTo>
                    <a:pt x="15654" y="17716"/>
                    <a:pt x="15709" y="17566"/>
                    <a:pt x="15709" y="17400"/>
                  </a:cubicBezTo>
                  <a:cubicBezTo>
                    <a:pt x="15709" y="17069"/>
                    <a:pt x="15489" y="16800"/>
                    <a:pt x="15218" y="16800"/>
                  </a:cubicBezTo>
                  <a:moveTo>
                    <a:pt x="12764" y="17400"/>
                  </a:moveTo>
                  <a:cubicBezTo>
                    <a:pt x="12764" y="17069"/>
                    <a:pt x="12544" y="16800"/>
                    <a:pt x="12273" y="16800"/>
                  </a:cubicBezTo>
                  <a:cubicBezTo>
                    <a:pt x="12137" y="16800"/>
                    <a:pt x="12015" y="16867"/>
                    <a:pt x="11925" y="16976"/>
                  </a:cubicBezTo>
                  <a:lnTo>
                    <a:pt x="8981" y="20575"/>
                  </a:lnTo>
                  <a:cubicBezTo>
                    <a:pt x="8891" y="20685"/>
                    <a:pt x="8836" y="20835"/>
                    <a:pt x="8836" y="21000"/>
                  </a:cubicBezTo>
                  <a:cubicBezTo>
                    <a:pt x="8836" y="21332"/>
                    <a:pt x="9056" y="21600"/>
                    <a:pt x="9327" y="21600"/>
                  </a:cubicBezTo>
                  <a:cubicBezTo>
                    <a:pt x="9463" y="21600"/>
                    <a:pt x="9585" y="21533"/>
                    <a:pt x="9674" y="21424"/>
                  </a:cubicBezTo>
                  <a:lnTo>
                    <a:pt x="12620" y="17824"/>
                  </a:lnTo>
                  <a:cubicBezTo>
                    <a:pt x="12709" y="17716"/>
                    <a:pt x="12764" y="17566"/>
                    <a:pt x="12764" y="17400"/>
                  </a:cubicBezTo>
                  <a:moveTo>
                    <a:pt x="6873" y="17400"/>
                  </a:moveTo>
                  <a:cubicBezTo>
                    <a:pt x="6873" y="17069"/>
                    <a:pt x="6653" y="16800"/>
                    <a:pt x="6382" y="16800"/>
                  </a:cubicBezTo>
                  <a:cubicBezTo>
                    <a:pt x="6246" y="16800"/>
                    <a:pt x="6124" y="16867"/>
                    <a:pt x="6034" y="16976"/>
                  </a:cubicBezTo>
                  <a:lnTo>
                    <a:pt x="3090" y="20575"/>
                  </a:lnTo>
                  <a:cubicBezTo>
                    <a:pt x="3000" y="20685"/>
                    <a:pt x="2945" y="20835"/>
                    <a:pt x="2945" y="21000"/>
                  </a:cubicBezTo>
                  <a:cubicBezTo>
                    <a:pt x="2945" y="21332"/>
                    <a:pt x="3166" y="21600"/>
                    <a:pt x="3436" y="21600"/>
                  </a:cubicBezTo>
                  <a:cubicBezTo>
                    <a:pt x="3572" y="21600"/>
                    <a:pt x="3695" y="21533"/>
                    <a:pt x="3783" y="21424"/>
                  </a:cubicBezTo>
                  <a:lnTo>
                    <a:pt x="6729" y="17824"/>
                  </a:lnTo>
                  <a:cubicBezTo>
                    <a:pt x="6818" y="17716"/>
                    <a:pt x="6873" y="17566"/>
                    <a:pt x="6873" y="17400"/>
                  </a:cubicBezTo>
                  <a:moveTo>
                    <a:pt x="9818" y="17400"/>
                  </a:moveTo>
                  <a:cubicBezTo>
                    <a:pt x="9818" y="17069"/>
                    <a:pt x="9598" y="16800"/>
                    <a:pt x="9327" y="16800"/>
                  </a:cubicBezTo>
                  <a:cubicBezTo>
                    <a:pt x="9192" y="16800"/>
                    <a:pt x="9069" y="16867"/>
                    <a:pt x="8980" y="16976"/>
                  </a:cubicBezTo>
                  <a:lnTo>
                    <a:pt x="6035" y="20575"/>
                  </a:lnTo>
                  <a:cubicBezTo>
                    <a:pt x="5946" y="20685"/>
                    <a:pt x="5891" y="20835"/>
                    <a:pt x="5891" y="21000"/>
                  </a:cubicBezTo>
                  <a:cubicBezTo>
                    <a:pt x="5891" y="21332"/>
                    <a:pt x="6111" y="21600"/>
                    <a:pt x="6382" y="21600"/>
                  </a:cubicBezTo>
                  <a:cubicBezTo>
                    <a:pt x="6517" y="21600"/>
                    <a:pt x="6640" y="21533"/>
                    <a:pt x="6729" y="21424"/>
                  </a:cubicBezTo>
                  <a:lnTo>
                    <a:pt x="9674" y="17824"/>
                  </a:lnTo>
                  <a:cubicBezTo>
                    <a:pt x="9763" y="17716"/>
                    <a:pt x="9818" y="17566"/>
                    <a:pt x="9818" y="1740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Shape 2969">
              <a:extLst>
                <a:ext uri="{FF2B5EF4-FFF2-40B4-BE49-F238E27FC236}">
                  <a16:creationId xmlns:a16="http://schemas.microsoft.com/office/drawing/2014/main" id="{035D9418-BC75-4329-8D9D-B93A3F628247}"/>
                </a:ext>
              </a:extLst>
            </p:cNvPr>
            <p:cNvSpPr/>
            <p:nvPr/>
          </p:nvSpPr>
          <p:spPr bwMode="gray">
            <a:xfrm>
              <a:off x="7769819" y="3533914"/>
              <a:ext cx="289956" cy="263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4" y="15120"/>
                  </a:moveTo>
                  <a:cubicBezTo>
                    <a:pt x="17893" y="15120"/>
                    <a:pt x="17673" y="15362"/>
                    <a:pt x="17673" y="15660"/>
                  </a:cubicBezTo>
                  <a:lnTo>
                    <a:pt x="17673" y="17820"/>
                  </a:lnTo>
                  <a:cubicBezTo>
                    <a:pt x="17673" y="18118"/>
                    <a:pt x="17893" y="18360"/>
                    <a:pt x="18164" y="18360"/>
                  </a:cubicBezTo>
                  <a:cubicBezTo>
                    <a:pt x="18434" y="18360"/>
                    <a:pt x="18655" y="18118"/>
                    <a:pt x="18655" y="17820"/>
                  </a:cubicBezTo>
                  <a:lnTo>
                    <a:pt x="18655" y="15660"/>
                  </a:lnTo>
                  <a:cubicBezTo>
                    <a:pt x="18655" y="15362"/>
                    <a:pt x="18434" y="15120"/>
                    <a:pt x="18164" y="15120"/>
                  </a:cubicBezTo>
                  <a:moveTo>
                    <a:pt x="15218" y="15120"/>
                  </a:moveTo>
                  <a:cubicBezTo>
                    <a:pt x="14947" y="15120"/>
                    <a:pt x="14727" y="15362"/>
                    <a:pt x="14727" y="15660"/>
                  </a:cubicBezTo>
                  <a:lnTo>
                    <a:pt x="14727" y="18900"/>
                  </a:lnTo>
                  <a:cubicBezTo>
                    <a:pt x="14727" y="19198"/>
                    <a:pt x="14947" y="19440"/>
                    <a:pt x="15218" y="19440"/>
                  </a:cubicBezTo>
                  <a:cubicBezTo>
                    <a:pt x="15489" y="19440"/>
                    <a:pt x="15709" y="19198"/>
                    <a:pt x="15709" y="18900"/>
                  </a:cubicBezTo>
                  <a:lnTo>
                    <a:pt x="15709" y="15660"/>
                  </a:lnTo>
                  <a:cubicBezTo>
                    <a:pt x="15709" y="15362"/>
                    <a:pt x="15489" y="15120"/>
                    <a:pt x="15218" y="15120"/>
                  </a:cubicBezTo>
                  <a:moveTo>
                    <a:pt x="17673" y="12960"/>
                  </a:moveTo>
                  <a:lnTo>
                    <a:pt x="3927" y="12960"/>
                  </a:lnTo>
                  <a:cubicBezTo>
                    <a:pt x="2303" y="12960"/>
                    <a:pt x="982" y="11507"/>
                    <a:pt x="982" y="9720"/>
                  </a:cubicBezTo>
                  <a:cubicBezTo>
                    <a:pt x="982" y="8215"/>
                    <a:pt x="1912" y="6920"/>
                    <a:pt x="3244" y="6572"/>
                  </a:cubicBezTo>
                  <a:cubicBezTo>
                    <a:pt x="3634" y="6470"/>
                    <a:pt x="3929" y="6117"/>
                    <a:pt x="3988" y="5681"/>
                  </a:cubicBezTo>
                  <a:cubicBezTo>
                    <a:pt x="4343" y="3058"/>
                    <a:pt x="6427" y="1080"/>
                    <a:pt x="8836" y="1080"/>
                  </a:cubicBezTo>
                  <a:cubicBezTo>
                    <a:pt x="10501" y="1080"/>
                    <a:pt x="11547" y="1463"/>
                    <a:pt x="12457" y="3010"/>
                  </a:cubicBezTo>
                  <a:cubicBezTo>
                    <a:pt x="12612" y="3273"/>
                    <a:pt x="13354" y="3989"/>
                    <a:pt x="13636" y="4032"/>
                  </a:cubicBezTo>
                  <a:cubicBezTo>
                    <a:pt x="13682" y="4039"/>
                    <a:pt x="13773" y="4043"/>
                    <a:pt x="13773" y="4043"/>
                  </a:cubicBezTo>
                  <a:cubicBezTo>
                    <a:pt x="14009" y="4043"/>
                    <a:pt x="14238" y="3949"/>
                    <a:pt x="14419" y="3776"/>
                  </a:cubicBezTo>
                  <a:cubicBezTo>
                    <a:pt x="14777" y="3431"/>
                    <a:pt x="15236" y="3240"/>
                    <a:pt x="15709" y="3240"/>
                  </a:cubicBezTo>
                  <a:cubicBezTo>
                    <a:pt x="16792" y="3240"/>
                    <a:pt x="17673" y="4209"/>
                    <a:pt x="17671" y="5412"/>
                  </a:cubicBezTo>
                  <a:lnTo>
                    <a:pt x="17667" y="5491"/>
                  </a:lnTo>
                  <a:cubicBezTo>
                    <a:pt x="17646" y="6002"/>
                    <a:pt x="17953" y="6459"/>
                    <a:pt x="18404" y="6586"/>
                  </a:cubicBezTo>
                  <a:cubicBezTo>
                    <a:pt x="19708" y="6954"/>
                    <a:pt x="20618" y="8242"/>
                    <a:pt x="20618" y="9720"/>
                  </a:cubicBezTo>
                  <a:cubicBezTo>
                    <a:pt x="20618" y="11507"/>
                    <a:pt x="19297" y="12960"/>
                    <a:pt x="17673" y="12960"/>
                  </a:cubicBezTo>
                  <a:moveTo>
                    <a:pt x="18648" y="5540"/>
                  </a:moveTo>
                  <a:cubicBezTo>
                    <a:pt x="18650" y="5493"/>
                    <a:pt x="18655" y="5447"/>
                    <a:pt x="18655" y="5400"/>
                  </a:cubicBezTo>
                  <a:cubicBezTo>
                    <a:pt x="18655" y="3611"/>
                    <a:pt x="17335" y="2160"/>
                    <a:pt x="15709" y="2160"/>
                  </a:cubicBezTo>
                  <a:cubicBezTo>
                    <a:pt x="14967" y="2160"/>
                    <a:pt x="14290" y="2464"/>
                    <a:pt x="13773" y="2963"/>
                  </a:cubicBezTo>
                  <a:cubicBezTo>
                    <a:pt x="12724" y="1182"/>
                    <a:pt x="10909" y="0"/>
                    <a:pt x="8836" y="0"/>
                  </a:cubicBezTo>
                  <a:cubicBezTo>
                    <a:pt x="5880" y="0"/>
                    <a:pt x="3439" y="2398"/>
                    <a:pt x="3017" y="5521"/>
                  </a:cubicBezTo>
                  <a:cubicBezTo>
                    <a:pt x="1288" y="5974"/>
                    <a:pt x="0" y="7679"/>
                    <a:pt x="0" y="9720"/>
                  </a:cubicBezTo>
                  <a:cubicBezTo>
                    <a:pt x="0" y="12106"/>
                    <a:pt x="1758" y="14040"/>
                    <a:pt x="3927" y="14040"/>
                  </a:cubicBezTo>
                  <a:lnTo>
                    <a:pt x="17673" y="14040"/>
                  </a:lnTo>
                  <a:cubicBezTo>
                    <a:pt x="19842" y="14040"/>
                    <a:pt x="21600" y="12106"/>
                    <a:pt x="21600" y="9720"/>
                  </a:cubicBezTo>
                  <a:cubicBezTo>
                    <a:pt x="21600" y="7706"/>
                    <a:pt x="20344" y="6018"/>
                    <a:pt x="18648" y="5540"/>
                  </a:cubicBezTo>
                  <a:moveTo>
                    <a:pt x="6382" y="16200"/>
                  </a:moveTo>
                  <a:cubicBezTo>
                    <a:pt x="6111" y="16200"/>
                    <a:pt x="5891" y="16442"/>
                    <a:pt x="5891" y="16740"/>
                  </a:cubicBezTo>
                  <a:lnTo>
                    <a:pt x="5891" y="18900"/>
                  </a:lnTo>
                  <a:cubicBezTo>
                    <a:pt x="5891" y="19198"/>
                    <a:pt x="6111" y="19440"/>
                    <a:pt x="6382" y="19440"/>
                  </a:cubicBezTo>
                  <a:cubicBezTo>
                    <a:pt x="6653" y="19440"/>
                    <a:pt x="6873" y="19198"/>
                    <a:pt x="6873" y="18900"/>
                  </a:cubicBezTo>
                  <a:lnTo>
                    <a:pt x="6873" y="16740"/>
                  </a:lnTo>
                  <a:cubicBezTo>
                    <a:pt x="6873" y="16442"/>
                    <a:pt x="6653" y="16200"/>
                    <a:pt x="6382" y="16200"/>
                  </a:cubicBezTo>
                  <a:moveTo>
                    <a:pt x="3436" y="15120"/>
                  </a:moveTo>
                  <a:cubicBezTo>
                    <a:pt x="3166" y="15120"/>
                    <a:pt x="2945" y="15362"/>
                    <a:pt x="2945" y="15660"/>
                  </a:cubicBezTo>
                  <a:lnTo>
                    <a:pt x="2945" y="18900"/>
                  </a:lnTo>
                  <a:cubicBezTo>
                    <a:pt x="2945" y="19198"/>
                    <a:pt x="3166" y="19440"/>
                    <a:pt x="3436" y="19440"/>
                  </a:cubicBezTo>
                  <a:cubicBezTo>
                    <a:pt x="3707" y="19440"/>
                    <a:pt x="3927" y="19198"/>
                    <a:pt x="3927" y="18900"/>
                  </a:cubicBezTo>
                  <a:lnTo>
                    <a:pt x="3927" y="15660"/>
                  </a:lnTo>
                  <a:cubicBezTo>
                    <a:pt x="3927" y="15362"/>
                    <a:pt x="3707" y="15120"/>
                    <a:pt x="3436" y="15120"/>
                  </a:cubicBezTo>
                  <a:moveTo>
                    <a:pt x="12273" y="16200"/>
                  </a:moveTo>
                  <a:cubicBezTo>
                    <a:pt x="12002" y="16200"/>
                    <a:pt x="11782" y="16442"/>
                    <a:pt x="11782" y="16740"/>
                  </a:cubicBezTo>
                  <a:lnTo>
                    <a:pt x="11782" y="19980"/>
                  </a:lnTo>
                  <a:cubicBezTo>
                    <a:pt x="11782" y="20278"/>
                    <a:pt x="12002" y="20520"/>
                    <a:pt x="12273" y="20520"/>
                  </a:cubicBezTo>
                  <a:cubicBezTo>
                    <a:pt x="12544" y="20520"/>
                    <a:pt x="12764" y="20278"/>
                    <a:pt x="12764" y="19980"/>
                  </a:cubicBezTo>
                  <a:lnTo>
                    <a:pt x="12764" y="16740"/>
                  </a:lnTo>
                  <a:cubicBezTo>
                    <a:pt x="12764" y="16442"/>
                    <a:pt x="12544" y="16200"/>
                    <a:pt x="12273" y="16200"/>
                  </a:cubicBezTo>
                  <a:moveTo>
                    <a:pt x="9327" y="17280"/>
                  </a:moveTo>
                  <a:cubicBezTo>
                    <a:pt x="9056" y="17280"/>
                    <a:pt x="8836" y="17522"/>
                    <a:pt x="8836" y="17820"/>
                  </a:cubicBezTo>
                  <a:lnTo>
                    <a:pt x="8836" y="21060"/>
                  </a:lnTo>
                  <a:cubicBezTo>
                    <a:pt x="8836" y="21358"/>
                    <a:pt x="9056" y="21600"/>
                    <a:pt x="9327" y="21600"/>
                  </a:cubicBezTo>
                  <a:cubicBezTo>
                    <a:pt x="9598" y="21600"/>
                    <a:pt x="9818" y="21358"/>
                    <a:pt x="9818" y="21060"/>
                  </a:cubicBezTo>
                  <a:lnTo>
                    <a:pt x="9818" y="17820"/>
                  </a:lnTo>
                  <a:cubicBezTo>
                    <a:pt x="9818" y="17522"/>
                    <a:pt x="9598" y="17280"/>
                    <a:pt x="9327" y="1728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Shape 2970">
              <a:extLst>
                <a:ext uri="{FF2B5EF4-FFF2-40B4-BE49-F238E27FC236}">
                  <a16:creationId xmlns:a16="http://schemas.microsoft.com/office/drawing/2014/main" id="{37FC0A87-1C99-4EED-A8C1-B400E7D2394D}"/>
                </a:ext>
              </a:extLst>
            </p:cNvPr>
            <p:cNvSpPr/>
            <p:nvPr/>
          </p:nvSpPr>
          <p:spPr bwMode="gray">
            <a:xfrm>
              <a:off x="8323371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19636"/>
                  </a:moveTo>
                  <a:cubicBezTo>
                    <a:pt x="15167" y="19636"/>
                    <a:pt x="14727" y="20076"/>
                    <a:pt x="14727" y="20618"/>
                  </a:cubicBezTo>
                  <a:cubicBezTo>
                    <a:pt x="14727" y="21160"/>
                    <a:pt x="15167" y="21600"/>
                    <a:pt x="15709" y="21600"/>
                  </a:cubicBezTo>
                  <a:cubicBezTo>
                    <a:pt x="16251" y="21600"/>
                    <a:pt x="16691" y="21160"/>
                    <a:pt x="16691" y="20618"/>
                  </a:cubicBezTo>
                  <a:cubicBezTo>
                    <a:pt x="16691" y="20076"/>
                    <a:pt x="16251" y="19636"/>
                    <a:pt x="15709" y="19636"/>
                  </a:cubicBezTo>
                  <a:moveTo>
                    <a:pt x="18655" y="16691"/>
                  </a:moveTo>
                  <a:cubicBezTo>
                    <a:pt x="18113" y="16691"/>
                    <a:pt x="17673" y="17131"/>
                    <a:pt x="17673" y="17673"/>
                  </a:cubicBezTo>
                  <a:cubicBezTo>
                    <a:pt x="17673" y="18215"/>
                    <a:pt x="18113" y="18655"/>
                    <a:pt x="18655" y="18655"/>
                  </a:cubicBezTo>
                  <a:cubicBezTo>
                    <a:pt x="19196" y="18655"/>
                    <a:pt x="19636" y="18215"/>
                    <a:pt x="19636" y="17673"/>
                  </a:cubicBezTo>
                  <a:cubicBezTo>
                    <a:pt x="19636" y="17131"/>
                    <a:pt x="19196" y="16691"/>
                    <a:pt x="18655" y="16691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6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7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6"/>
                  </a:cubicBezTo>
                  <a:moveTo>
                    <a:pt x="15709" y="15709"/>
                  </a:moveTo>
                  <a:cubicBezTo>
                    <a:pt x="15709" y="15167"/>
                    <a:pt x="15269" y="14727"/>
                    <a:pt x="14727" y="14727"/>
                  </a:cubicBezTo>
                  <a:cubicBezTo>
                    <a:pt x="14186" y="14727"/>
                    <a:pt x="13745" y="15167"/>
                    <a:pt x="13745" y="15709"/>
                  </a:cubicBezTo>
                  <a:cubicBezTo>
                    <a:pt x="13745" y="16252"/>
                    <a:pt x="14186" y="16691"/>
                    <a:pt x="14727" y="16691"/>
                  </a:cubicBezTo>
                  <a:cubicBezTo>
                    <a:pt x="15269" y="16691"/>
                    <a:pt x="15709" y="16252"/>
                    <a:pt x="15709" y="15709"/>
                  </a:cubicBezTo>
                  <a:moveTo>
                    <a:pt x="10800" y="17673"/>
                  </a:moveTo>
                  <a:cubicBezTo>
                    <a:pt x="10258" y="17673"/>
                    <a:pt x="9818" y="18113"/>
                    <a:pt x="9818" y="18655"/>
                  </a:cubicBezTo>
                  <a:cubicBezTo>
                    <a:pt x="9818" y="19196"/>
                    <a:pt x="10258" y="19636"/>
                    <a:pt x="10800" y="19636"/>
                  </a:cubicBezTo>
                  <a:cubicBezTo>
                    <a:pt x="11342" y="19636"/>
                    <a:pt x="11782" y="19196"/>
                    <a:pt x="11782" y="18655"/>
                  </a:cubicBezTo>
                  <a:cubicBezTo>
                    <a:pt x="11782" y="18113"/>
                    <a:pt x="11342" y="17673"/>
                    <a:pt x="10800" y="17673"/>
                  </a:cubicBezTo>
                  <a:moveTo>
                    <a:pt x="2945" y="15709"/>
                  </a:moveTo>
                  <a:cubicBezTo>
                    <a:pt x="2404" y="15709"/>
                    <a:pt x="1964" y="16149"/>
                    <a:pt x="1964" y="16691"/>
                  </a:cubicBezTo>
                  <a:cubicBezTo>
                    <a:pt x="1964" y="17233"/>
                    <a:pt x="2404" y="17673"/>
                    <a:pt x="2945" y="17673"/>
                  </a:cubicBezTo>
                  <a:cubicBezTo>
                    <a:pt x="3487" y="17673"/>
                    <a:pt x="3927" y="17233"/>
                    <a:pt x="3927" y="16691"/>
                  </a:cubicBezTo>
                  <a:cubicBezTo>
                    <a:pt x="3927" y="16149"/>
                    <a:pt x="3487" y="15709"/>
                    <a:pt x="2945" y="15709"/>
                  </a:cubicBezTo>
                  <a:moveTo>
                    <a:pt x="4909" y="18655"/>
                  </a:moveTo>
                  <a:cubicBezTo>
                    <a:pt x="4367" y="18655"/>
                    <a:pt x="3927" y="19095"/>
                    <a:pt x="3927" y="19636"/>
                  </a:cubicBezTo>
                  <a:cubicBezTo>
                    <a:pt x="3927" y="20179"/>
                    <a:pt x="4367" y="20618"/>
                    <a:pt x="4909" y="20618"/>
                  </a:cubicBezTo>
                  <a:cubicBezTo>
                    <a:pt x="5451" y="20618"/>
                    <a:pt x="5891" y="20179"/>
                    <a:pt x="5891" y="19636"/>
                  </a:cubicBezTo>
                  <a:cubicBezTo>
                    <a:pt x="5891" y="19095"/>
                    <a:pt x="5451" y="18655"/>
                    <a:pt x="4909" y="18655"/>
                  </a:cubicBezTo>
                  <a:moveTo>
                    <a:pt x="7855" y="13745"/>
                  </a:moveTo>
                  <a:cubicBezTo>
                    <a:pt x="7313" y="13745"/>
                    <a:pt x="6873" y="14186"/>
                    <a:pt x="6873" y="14727"/>
                  </a:cubicBezTo>
                  <a:cubicBezTo>
                    <a:pt x="6873" y="15270"/>
                    <a:pt x="7313" y="15709"/>
                    <a:pt x="7855" y="15709"/>
                  </a:cubicBezTo>
                  <a:cubicBezTo>
                    <a:pt x="8396" y="15709"/>
                    <a:pt x="8836" y="15270"/>
                    <a:pt x="8836" y="14727"/>
                  </a:cubicBezTo>
                  <a:cubicBezTo>
                    <a:pt x="8836" y="14186"/>
                    <a:pt x="8396" y="13745"/>
                    <a:pt x="7855" y="1374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Shape 2971">
              <a:extLst>
                <a:ext uri="{FF2B5EF4-FFF2-40B4-BE49-F238E27FC236}">
                  <a16:creationId xmlns:a16="http://schemas.microsoft.com/office/drawing/2014/main" id="{946498D1-A278-467E-ADCC-A5EB2F5C2B5A}"/>
                </a:ext>
              </a:extLst>
            </p:cNvPr>
            <p:cNvSpPr/>
            <p:nvPr/>
          </p:nvSpPr>
          <p:spPr bwMode="gray">
            <a:xfrm>
              <a:off x="8876922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91" y="15709"/>
                  </a:moveTo>
                  <a:cubicBezTo>
                    <a:pt x="16555" y="15709"/>
                    <a:pt x="16433" y="15764"/>
                    <a:pt x="16344" y="15853"/>
                  </a:cubicBezTo>
                  <a:lnTo>
                    <a:pt x="13399" y="18798"/>
                  </a:lnTo>
                  <a:cubicBezTo>
                    <a:pt x="13310" y="18888"/>
                    <a:pt x="13255" y="19010"/>
                    <a:pt x="13255" y="19145"/>
                  </a:cubicBezTo>
                  <a:cubicBezTo>
                    <a:pt x="13255" y="19417"/>
                    <a:pt x="13474" y="19636"/>
                    <a:pt x="13745" y="19636"/>
                  </a:cubicBezTo>
                  <a:cubicBezTo>
                    <a:pt x="13881" y="19636"/>
                    <a:pt x="14003" y="19582"/>
                    <a:pt x="14093" y="19493"/>
                  </a:cubicBezTo>
                  <a:lnTo>
                    <a:pt x="17038" y="16547"/>
                  </a:lnTo>
                  <a:cubicBezTo>
                    <a:pt x="17127" y="16458"/>
                    <a:pt x="17182" y="16336"/>
                    <a:pt x="17182" y="16200"/>
                  </a:cubicBezTo>
                  <a:cubicBezTo>
                    <a:pt x="17182" y="15929"/>
                    <a:pt x="16962" y="15709"/>
                    <a:pt x="16691" y="15709"/>
                  </a:cubicBezTo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7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6382" y="15709"/>
                  </a:moveTo>
                  <a:cubicBezTo>
                    <a:pt x="6246" y="15709"/>
                    <a:pt x="6123" y="15764"/>
                    <a:pt x="6035" y="15853"/>
                  </a:cubicBezTo>
                  <a:lnTo>
                    <a:pt x="3090" y="18798"/>
                  </a:lnTo>
                  <a:cubicBezTo>
                    <a:pt x="3001" y="18888"/>
                    <a:pt x="2945" y="19010"/>
                    <a:pt x="2945" y="19145"/>
                  </a:cubicBezTo>
                  <a:cubicBezTo>
                    <a:pt x="2945" y="19417"/>
                    <a:pt x="3165" y="19636"/>
                    <a:pt x="3436" y="19636"/>
                  </a:cubicBezTo>
                  <a:cubicBezTo>
                    <a:pt x="3572" y="19636"/>
                    <a:pt x="3695" y="19582"/>
                    <a:pt x="3783" y="19493"/>
                  </a:cubicBezTo>
                  <a:lnTo>
                    <a:pt x="6729" y="16547"/>
                  </a:lnTo>
                  <a:cubicBezTo>
                    <a:pt x="6818" y="16458"/>
                    <a:pt x="6873" y="16336"/>
                    <a:pt x="6873" y="16200"/>
                  </a:cubicBezTo>
                  <a:cubicBezTo>
                    <a:pt x="6873" y="15929"/>
                    <a:pt x="6653" y="15709"/>
                    <a:pt x="6382" y="15709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10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4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Shape 2972">
              <a:extLst>
                <a:ext uri="{FF2B5EF4-FFF2-40B4-BE49-F238E27FC236}">
                  <a16:creationId xmlns:a16="http://schemas.microsoft.com/office/drawing/2014/main" id="{03881730-8774-4C79-9CCA-708CD59EB337}"/>
                </a:ext>
              </a:extLst>
            </p:cNvPr>
            <p:cNvSpPr/>
            <p:nvPr/>
          </p:nvSpPr>
          <p:spPr bwMode="gray">
            <a:xfrm>
              <a:off x="9430474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73" y="11782"/>
                  </a:moveTo>
                  <a:lnTo>
                    <a:pt x="3927" y="11782"/>
                  </a:lnTo>
                  <a:cubicBezTo>
                    <a:pt x="2303" y="11782"/>
                    <a:pt x="982" y="10461"/>
                    <a:pt x="982" y="8836"/>
                  </a:cubicBezTo>
                  <a:cubicBezTo>
                    <a:pt x="982" y="7468"/>
                    <a:pt x="1911" y="6292"/>
                    <a:pt x="3244" y="5975"/>
                  </a:cubicBezTo>
                  <a:cubicBezTo>
                    <a:pt x="3634" y="5882"/>
                    <a:pt x="3929" y="5561"/>
                    <a:pt x="3988" y="5164"/>
                  </a:cubicBezTo>
                  <a:cubicBezTo>
                    <a:pt x="4342" y="2780"/>
                    <a:pt x="6427" y="982"/>
                    <a:pt x="8836" y="982"/>
                  </a:cubicBezTo>
                  <a:cubicBezTo>
                    <a:pt x="10501" y="982"/>
                    <a:pt x="11547" y="1330"/>
                    <a:pt x="12457" y="2736"/>
                  </a:cubicBezTo>
                  <a:cubicBezTo>
                    <a:pt x="12612" y="2975"/>
                    <a:pt x="13354" y="3626"/>
                    <a:pt x="13636" y="3666"/>
                  </a:cubicBezTo>
                  <a:cubicBezTo>
                    <a:pt x="13682" y="3672"/>
                    <a:pt x="13772" y="3675"/>
                    <a:pt x="13772" y="3675"/>
                  </a:cubicBezTo>
                  <a:cubicBezTo>
                    <a:pt x="14009" y="3675"/>
                    <a:pt x="14238" y="3590"/>
                    <a:pt x="14419" y="3433"/>
                  </a:cubicBezTo>
                  <a:cubicBezTo>
                    <a:pt x="14777" y="3119"/>
                    <a:pt x="15236" y="2945"/>
                    <a:pt x="15709" y="2945"/>
                  </a:cubicBezTo>
                  <a:cubicBezTo>
                    <a:pt x="16792" y="2945"/>
                    <a:pt x="17673" y="3826"/>
                    <a:pt x="17671" y="4920"/>
                  </a:cubicBezTo>
                  <a:lnTo>
                    <a:pt x="17667" y="4992"/>
                  </a:lnTo>
                  <a:cubicBezTo>
                    <a:pt x="17646" y="5457"/>
                    <a:pt x="17954" y="5872"/>
                    <a:pt x="18404" y="5987"/>
                  </a:cubicBezTo>
                  <a:cubicBezTo>
                    <a:pt x="19708" y="6321"/>
                    <a:pt x="20618" y="7493"/>
                    <a:pt x="20618" y="8836"/>
                  </a:cubicBezTo>
                  <a:cubicBezTo>
                    <a:pt x="20618" y="10461"/>
                    <a:pt x="19297" y="11782"/>
                    <a:pt x="17673" y="11782"/>
                  </a:cubicBezTo>
                  <a:moveTo>
                    <a:pt x="18648" y="5037"/>
                  </a:moveTo>
                  <a:cubicBezTo>
                    <a:pt x="18650" y="4994"/>
                    <a:pt x="18655" y="4952"/>
                    <a:pt x="18655" y="4909"/>
                  </a:cubicBezTo>
                  <a:cubicBezTo>
                    <a:pt x="18655" y="3283"/>
                    <a:pt x="17335" y="1964"/>
                    <a:pt x="15709" y="1964"/>
                  </a:cubicBezTo>
                  <a:cubicBezTo>
                    <a:pt x="14967" y="1964"/>
                    <a:pt x="14291" y="2240"/>
                    <a:pt x="13772" y="2693"/>
                  </a:cubicBezTo>
                  <a:cubicBezTo>
                    <a:pt x="12724" y="1075"/>
                    <a:pt x="10909" y="0"/>
                    <a:pt x="8836" y="0"/>
                  </a:cubicBezTo>
                  <a:cubicBezTo>
                    <a:pt x="5879" y="0"/>
                    <a:pt x="3439" y="2180"/>
                    <a:pt x="3016" y="5019"/>
                  </a:cubicBezTo>
                  <a:cubicBezTo>
                    <a:pt x="1288" y="5431"/>
                    <a:pt x="0" y="6981"/>
                    <a:pt x="0" y="8836"/>
                  </a:cubicBezTo>
                  <a:cubicBezTo>
                    <a:pt x="0" y="11005"/>
                    <a:pt x="1758" y="12764"/>
                    <a:pt x="3927" y="12764"/>
                  </a:cubicBezTo>
                  <a:lnTo>
                    <a:pt x="17673" y="12764"/>
                  </a:lnTo>
                  <a:cubicBezTo>
                    <a:pt x="19842" y="12764"/>
                    <a:pt x="21600" y="11005"/>
                    <a:pt x="21600" y="8836"/>
                  </a:cubicBezTo>
                  <a:cubicBezTo>
                    <a:pt x="21600" y="7005"/>
                    <a:pt x="20344" y="5471"/>
                    <a:pt x="18648" y="5037"/>
                  </a:cubicBezTo>
                  <a:moveTo>
                    <a:pt x="11782" y="15218"/>
                  </a:moveTo>
                  <a:cubicBezTo>
                    <a:pt x="11782" y="14947"/>
                    <a:pt x="11562" y="14727"/>
                    <a:pt x="11291" y="14727"/>
                  </a:cubicBezTo>
                  <a:cubicBezTo>
                    <a:pt x="11155" y="14727"/>
                    <a:pt x="11032" y="14782"/>
                    <a:pt x="10944" y="14872"/>
                  </a:cubicBezTo>
                  <a:lnTo>
                    <a:pt x="7999" y="17816"/>
                  </a:lnTo>
                  <a:cubicBezTo>
                    <a:pt x="7910" y="17906"/>
                    <a:pt x="7855" y="18028"/>
                    <a:pt x="7855" y="18164"/>
                  </a:cubicBezTo>
                  <a:cubicBezTo>
                    <a:pt x="7855" y="18435"/>
                    <a:pt x="8074" y="18655"/>
                    <a:pt x="8345" y="18655"/>
                  </a:cubicBezTo>
                  <a:lnTo>
                    <a:pt x="10106" y="18655"/>
                  </a:lnTo>
                  <a:lnTo>
                    <a:pt x="7998" y="20762"/>
                  </a:lnTo>
                  <a:cubicBezTo>
                    <a:pt x="7909" y="20851"/>
                    <a:pt x="7855" y="20974"/>
                    <a:pt x="7855" y="21109"/>
                  </a:cubicBezTo>
                  <a:cubicBezTo>
                    <a:pt x="7855" y="21380"/>
                    <a:pt x="8074" y="21600"/>
                    <a:pt x="8345" y="21600"/>
                  </a:cubicBezTo>
                  <a:cubicBezTo>
                    <a:pt x="8481" y="21600"/>
                    <a:pt x="8603" y="21545"/>
                    <a:pt x="8693" y="21456"/>
                  </a:cubicBezTo>
                  <a:lnTo>
                    <a:pt x="11638" y="18511"/>
                  </a:lnTo>
                  <a:cubicBezTo>
                    <a:pt x="11727" y="18422"/>
                    <a:pt x="11782" y="18299"/>
                    <a:pt x="11782" y="18164"/>
                  </a:cubicBezTo>
                  <a:cubicBezTo>
                    <a:pt x="11782" y="17892"/>
                    <a:pt x="11562" y="17673"/>
                    <a:pt x="11291" y="17673"/>
                  </a:cubicBezTo>
                  <a:lnTo>
                    <a:pt x="11290" y="17673"/>
                  </a:lnTo>
                  <a:lnTo>
                    <a:pt x="9531" y="17673"/>
                  </a:lnTo>
                  <a:lnTo>
                    <a:pt x="11638" y="15565"/>
                  </a:lnTo>
                  <a:cubicBezTo>
                    <a:pt x="11727" y="15477"/>
                    <a:pt x="11782" y="15354"/>
                    <a:pt x="11782" y="15218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Shape 2973">
              <a:extLst>
                <a:ext uri="{FF2B5EF4-FFF2-40B4-BE49-F238E27FC236}">
                  <a16:creationId xmlns:a16="http://schemas.microsoft.com/office/drawing/2014/main" id="{BC6AD4E1-9C8C-4050-8AF3-FB621E1DBA74}"/>
                </a:ext>
              </a:extLst>
            </p:cNvPr>
            <p:cNvSpPr/>
            <p:nvPr/>
          </p:nvSpPr>
          <p:spPr bwMode="gray">
            <a:xfrm>
              <a:off x="9984025" y="3540504"/>
              <a:ext cx="289956" cy="2504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82" y="12505"/>
                  </a:moveTo>
                  <a:lnTo>
                    <a:pt x="4418" y="12505"/>
                  </a:lnTo>
                  <a:cubicBezTo>
                    <a:pt x="4147" y="12505"/>
                    <a:pt x="3927" y="12759"/>
                    <a:pt x="3927" y="13074"/>
                  </a:cubicBezTo>
                  <a:cubicBezTo>
                    <a:pt x="3927" y="13388"/>
                    <a:pt x="4147" y="13642"/>
                    <a:pt x="4418" y="13642"/>
                  </a:cubicBezTo>
                  <a:lnTo>
                    <a:pt x="11782" y="13642"/>
                  </a:lnTo>
                  <a:cubicBezTo>
                    <a:pt x="13408" y="13642"/>
                    <a:pt x="14727" y="15170"/>
                    <a:pt x="14727" y="17053"/>
                  </a:cubicBezTo>
                  <a:cubicBezTo>
                    <a:pt x="14727" y="18937"/>
                    <a:pt x="13408" y="20463"/>
                    <a:pt x="11782" y="20463"/>
                  </a:cubicBezTo>
                  <a:lnTo>
                    <a:pt x="11291" y="20463"/>
                  </a:lnTo>
                  <a:cubicBezTo>
                    <a:pt x="11020" y="20463"/>
                    <a:pt x="10800" y="20717"/>
                    <a:pt x="10800" y="21032"/>
                  </a:cubicBezTo>
                  <a:cubicBezTo>
                    <a:pt x="10800" y="21346"/>
                    <a:pt x="11020" y="21600"/>
                    <a:pt x="11291" y="21600"/>
                  </a:cubicBezTo>
                  <a:lnTo>
                    <a:pt x="11782" y="21600"/>
                  </a:lnTo>
                  <a:cubicBezTo>
                    <a:pt x="13951" y="21600"/>
                    <a:pt x="15709" y="19564"/>
                    <a:pt x="15709" y="17053"/>
                  </a:cubicBezTo>
                  <a:cubicBezTo>
                    <a:pt x="15709" y="14541"/>
                    <a:pt x="13951" y="12505"/>
                    <a:pt x="11782" y="12505"/>
                  </a:cubicBezTo>
                  <a:moveTo>
                    <a:pt x="18655" y="10232"/>
                  </a:moveTo>
                  <a:lnTo>
                    <a:pt x="2455" y="10232"/>
                  </a:lnTo>
                  <a:cubicBezTo>
                    <a:pt x="2183" y="10232"/>
                    <a:pt x="1964" y="10486"/>
                    <a:pt x="1964" y="10800"/>
                  </a:cubicBezTo>
                  <a:cubicBezTo>
                    <a:pt x="1964" y="11114"/>
                    <a:pt x="2183" y="11368"/>
                    <a:pt x="2455" y="11368"/>
                  </a:cubicBezTo>
                  <a:lnTo>
                    <a:pt x="18655" y="11368"/>
                  </a:lnTo>
                  <a:cubicBezTo>
                    <a:pt x="19739" y="11368"/>
                    <a:pt x="20618" y="12386"/>
                    <a:pt x="20618" y="13642"/>
                  </a:cubicBezTo>
                  <a:cubicBezTo>
                    <a:pt x="20618" y="14898"/>
                    <a:pt x="19739" y="15916"/>
                    <a:pt x="18655" y="15916"/>
                  </a:cubicBezTo>
                  <a:lnTo>
                    <a:pt x="18164" y="15916"/>
                  </a:lnTo>
                  <a:cubicBezTo>
                    <a:pt x="17892" y="15916"/>
                    <a:pt x="17673" y="16170"/>
                    <a:pt x="17673" y="16484"/>
                  </a:cubicBezTo>
                  <a:cubicBezTo>
                    <a:pt x="17673" y="16798"/>
                    <a:pt x="17892" y="17053"/>
                    <a:pt x="18164" y="17053"/>
                  </a:cubicBezTo>
                  <a:lnTo>
                    <a:pt x="18655" y="17053"/>
                  </a:lnTo>
                  <a:cubicBezTo>
                    <a:pt x="20281" y="17053"/>
                    <a:pt x="21600" y="15526"/>
                    <a:pt x="21600" y="13642"/>
                  </a:cubicBezTo>
                  <a:cubicBezTo>
                    <a:pt x="21600" y="11759"/>
                    <a:pt x="20281" y="10232"/>
                    <a:pt x="18655" y="10232"/>
                  </a:cubicBezTo>
                  <a:moveTo>
                    <a:pt x="17673" y="6821"/>
                  </a:moveTo>
                  <a:cubicBezTo>
                    <a:pt x="17673" y="5565"/>
                    <a:pt x="16794" y="4547"/>
                    <a:pt x="15709" y="4547"/>
                  </a:cubicBezTo>
                  <a:lnTo>
                    <a:pt x="15218" y="4547"/>
                  </a:lnTo>
                  <a:cubicBezTo>
                    <a:pt x="14947" y="4547"/>
                    <a:pt x="14727" y="4802"/>
                    <a:pt x="14727" y="5116"/>
                  </a:cubicBezTo>
                  <a:cubicBezTo>
                    <a:pt x="14727" y="5430"/>
                    <a:pt x="14947" y="5684"/>
                    <a:pt x="15218" y="5684"/>
                  </a:cubicBezTo>
                  <a:lnTo>
                    <a:pt x="15709" y="5684"/>
                  </a:lnTo>
                  <a:cubicBezTo>
                    <a:pt x="16251" y="5684"/>
                    <a:pt x="16691" y="6194"/>
                    <a:pt x="16691" y="6821"/>
                  </a:cubicBezTo>
                  <a:cubicBezTo>
                    <a:pt x="16691" y="7448"/>
                    <a:pt x="16251" y="7958"/>
                    <a:pt x="15709" y="7958"/>
                  </a:cubicBezTo>
                  <a:lnTo>
                    <a:pt x="491" y="7958"/>
                  </a:lnTo>
                  <a:cubicBezTo>
                    <a:pt x="220" y="7958"/>
                    <a:pt x="0" y="8212"/>
                    <a:pt x="0" y="8526"/>
                  </a:cubicBezTo>
                  <a:cubicBezTo>
                    <a:pt x="0" y="8841"/>
                    <a:pt x="220" y="9095"/>
                    <a:pt x="491" y="9095"/>
                  </a:cubicBezTo>
                  <a:lnTo>
                    <a:pt x="15709" y="9095"/>
                  </a:lnTo>
                  <a:cubicBezTo>
                    <a:pt x="16794" y="9095"/>
                    <a:pt x="17673" y="8077"/>
                    <a:pt x="17673" y="6821"/>
                  </a:cubicBezTo>
                  <a:moveTo>
                    <a:pt x="2455" y="6821"/>
                  </a:moveTo>
                  <a:lnTo>
                    <a:pt x="9818" y="6821"/>
                  </a:lnTo>
                  <a:cubicBezTo>
                    <a:pt x="11444" y="6821"/>
                    <a:pt x="12764" y="5294"/>
                    <a:pt x="12764" y="3411"/>
                  </a:cubicBezTo>
                  <a:cubicBezTo>
                    <a:pt x="12764" y="1528"/>
                    <a:pt x="11444" y="0"/>
                    <a:pt x="9818" y="0"/>
                  </a:cubicBezTo>
                  <a:lnTo>
                    <a:pt x="9327" y="0"/>
                  </a:lnTo>
                  <a:cubicBezTo>
                    <a:pt x="9056" y="0"/>
                    <a:pt x="8836" y="254"/>
                    <a:pt x="8836" y="568"/>
                  </a:cubicBezTo>
                  <a:cubicBezTo>
                    <a:pt x="8836" y="883"/>
                    <a:pt x="9056" y="1137"/>
                    <a:pt x="9327" y="1137"/>
                  </a:cubicBezTo>
                  <a:lnTo>
                    <a:pt x="9818" y="1137"/>
                  </a:lnTo>
                  <a:cubicBezTo>
                    <a:pt x="10903" y="1137"/>
                    <a:pt x="11782" y="2155"/>
                    <a:pt x="11782" y="3411"/>
                  </a:cubicBezTo>
                  <a:cubicBezTo>
                    <a:pt x="11782" y="4666"/>
                    <a:pt x="10903" y="5684"/>
                    <a:pt x="9818" y="5684"/>
                  </a:cubicBezTo>
                  <a:lnTo>
                    <a:pt x="2455" y="5684"/>
                  </a:lnTo>
                  <a:cubicBezTo>
                    <a:pt x="2183" y="5684"/>
                    <a:pt x="1964" y="5938"/>
                    <a:pt x="1964" y="6253"/>
                  </a:cubicBezTo>
                  <a:cubicBezTo>
                    <a:pt x="1964" y="6567"/>
                    <a:pt x="2183" y="6821"/>
                    <a:pt x="2455" y="6821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Shape 2974">
              <a:extLst>
                <a:ext uri="{FF2B5EF4-FFF2-40B4-BE49-F238E27FC236}">
                  <a16:creationId xmlns:a16="http://schemas.microsoft.com/office/drawing/2014/main" id="{58B28581-F570-4B4F-A205-387D8159FABE}"/>
                </a:ext>
              </a:extLst>
            </p:cNvPr>
            <p:cNvSpPr/>
            <p:nvPr/>
          </p:nvSpPr>
          <p:spPr bwMode="gray">
            <a:xfrm>
              <a:off x="10537577" y="352073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14480" y="13937"/>
                  </a:moveTo>
                  <a:cubicBezTo>
                    <a:pt x="14147" y="14117"/>
                    <a:pt x="13804" y="14208"/>
                    <a:pt x="13451" y="14208"/>
                  </a:cubicBezTo>
                  <a:cubicBezTo>
                    <a:pt x="12999" y="14208"/>
                    <a:pt x="12590" y="14119"/>
                    <a:pt x="12225" y="13943"/>
                  </a:cubicBezTo>
                  <a:cubicBezTo>
                    <a:pt x="11859" y="13768"/>
                    <a:pt x="11545" y="13525"/>
                    <a:pt x="11282" y="13217"/>
                  </a:cubicBezTo>
                  <a:cubicBezTo>
                    <a:pt x="11020" y="12909"/>
                    <a:pt x="10816" y="12544"/>
                    <a:pt x="10672" y="12121"/>
                  </a:cubicBezTo>
                  <a:cubicBezTo>
                    <a:pt x="10529" y="11698"/>
                    <a:pt x="10457" y="11236"/>
                    <a:pt x="10457" y="10734"/>
                  </a:cubicBezTo>
                  <a:cubicBezTo>
                    <a:pt x="10457" y="10268"/>
                    <a:pt x="10529" y="9832"/>
                    <a:pt x="10672" y="9427"/>
                  </a:cubicBezTo>
                  <a:cubicBezTo>
                    <a:pt x="10816" y="9022"/>
                    <a:pt x="11020" y="8668"/>
                    <a:pt x="11282" y="8364"/>
                  </a:cubicBezTo>
                  <a:cubicBezTo>
                    <a:pt x="11545" y="8060"/>
                    <a:pt x="11859" y="7823"/>
                    <a:pt x="12225" y="7651"/>
                  </a:cubicBezTo>
                  <a:cubicBezTo>
                    <a:pt x="12590" y="7479"/>
                    <a:pt x="12999" y="7393"/>
                    <a:pt x="13451" y="7393"/>
                  </a:cubicBezTo>
                  <a:cubicBezTo>
                    <a:pt x="13755" y="7393"/>
                    <a:pt x="14057" y="7456"/>
                    <a:pt x="14357" y="7579"/>
                  </a:cubicBezTo>
                  <a:cubicBezTo>
                    <a:pt x="14656" y="7702"/>
                    <a:pt x="14966" y="7948"/>
                    <a:pt x="15287" y="8318"/>
                  </a:cubicBezTo>
                  <a:lnTo>
                    <a:pt x="16494" y="7367"/>
                  </a:lnTo>
                  <a:cubicBezTo>
                    <a:pt x="16059" y="6830"/>
                    <a:pt x="15589" y="6449"/>
                    <a:pt x="15083" y="6225"/>
                  </a:cubicBezTo>
                  <a:cubicBezTo>
                    <a:pt x="14578" y="6000"/>
                    <a:pt x="14030" y="5888"/>
                    <a:pt x="13439" y="5888"/>
                  </a:cubicBezTo>
                  <a:cubicBezTo>
                    <a:pt x="12765" y="5888"/>
                    <a:pt x="12147" y="6005"/>
                    <a:pt x="11584" y="6238"/>
                  </a:cubicBezTo>
                  <a:cubicBezTo>
                    <a:pt x="11021" y="6471"/>
                    <a:pt x="10537" y="6804"/>
                    <a:pt x="10131" y="7235"/>
                  </a:cubicBezTo>
                  <a:cubicBezTo>
                    <a:pt x="9724" y="7666"/>
                    <a:pt x="9405" y="8188"/>
                    <a:pt x="9176" y="8800"/>
                  </a:cubicBezTo>
                  <a:cubicBezTo>
                    <a:pt x="8946" y="9412"/>
                    <a:pt x="8831" y="10092"/>
                    <a:pt x="8831" y="10840"/>
                  </a:cubicBezTo>
                  <a:cubicBezTo>
                    <a:pt x="8831" y="11571"/>
                    <a:pt x="8946" y="12235"/>
                    <a:pt x="9176" y="12835"/>
                  </a:cubicBezTo>
                  <a:cubicBezTo>
                    <a:pt x="9405" y="13433"/>
                    <a:pt x="9724" y="13946"/>
                    <a:pt x="10131" y="14373"/>
                  </a:cubicBezTo>
                  <a:cubicBezTo>
                    <a:pt x="10537" y="14800"/>
                    <a:pt x="11021" y="15130"/>
                    <a:pt x="11584" y="15363"/>
                  </a:cubicBezTo>
                  <a:cubicBezTo>
                    <a:pt x="12147" y="15597"/>
                    <a:pt x="12765" y="15713"/>
                    <a:pt x="13439" y="15713"/>
                  </a:cubicBezTo>
                  <a:cubicBezTo>
                    <a:pt x="14079" y="15713"/>
                    <a:pt x="14683" y="15581"/>
                    <a:pt x="15250" y="15317"/>
                  </a:cubicBezTo>
                  <a:cubicBezTo>
                    <a:pt x="15816" y="15053"/>
                    <a:pt x="16297" y="14630"/>
                    <a:pt x="16691" y="14049"/>
                  </a:cubicBezTo>
                  <a:lnTo>
                    <a:pt x="15410" y="13072"/>
                  </a:lnTo>
                  <a:cubicBezTo>
                    <a:pt x="15122" y="13468"/>
                    <a:pt x="14813" y="13756"/>
                    <a:pt x="14480" y="13937"/>
                  </a:cubicBezTo>
                  <a:moveTo>
                    <a:pt x="5891" y="6873"/>
                  </a:moveTo>
                  <a:cubicBezTo>
                    <a:pt x="5349" y="6873"/>
                    <a:pt x="4909" y="6433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3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Shape 2975">
              <a:extLst>
                <a:ext uri="{FF2B5EF4-FFF2-40B4-BE49-F238E27FC236}">
                  <a16:creationId xmlns:a16="http://schemas.microsoft.com/office/drawing/2014/main" id="{2BC585BA-28BF-4505-A964-BB955EFE5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25375" y="2890520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19636"/>
                  </a:moveTo>
                  <a:cubicBezTo>
                    <a:pt x="20618" y="20178"/>
                    <a:pt x="20178" y="20618"/>
                    <a:pt x="19636" y="20618"/>
                  </a:cubicBezTo>
                  <a:lnTo>
                    <a:pt x="1964" y="20618"/>
                  </a:lnTo>
                  <a:cubicBezTo>
                    <a:pt x="1422" y="20618"/>
                    <a:pt x="982" y="20178"/>
                    <a:pt x="982" y="19636"/>
                  </a:cubicBezTo>
                  <a:lnTo>
                    <a:pt x="982" y="1964"/>
                  </a:lnTo>
                  <a:cubicBezTo>
                    <a:pt x="982" y="1422"/>
                    <a:pt x="1422" y="982"/>
                    <a:pt x="1964" y="982"/>
                  </a:cubicBezTo>
                  <a:lnTo>
                    <a:pt x="19636" y="982"/>
                  </a:lnTo>
                  <a:cubicBezTo>
                    <a:pt x="20178" y="982"/>
                    <a:pt x="20618" y="1422"/>
                    <a:pt x="20618" y="1964"/>
                  </a:cubicBezTo>
                  <a:cubicBezTo>
                    <a:pt x="20618" y="1964"/>
                    <a:pt x="20618" y="19636"/>
                    <a:pt x="20618" y="19636"/>
                  </a:cubicBezTo>
                  <a:close/>
                  <a:moveTo>
                    <a:pt x="19636" y="0"/>
                  </a:moveTo>
                  <a:lnTo>
                    <a:pt x="1964" y="0"/>
                  </a:lnTo>
                  <a:cubicBezTo>
                    <a:pt x="879" y="0"/>
                    <a:pt x="0" y="879"/>
                    <a:pt x="0" y="1964"/>
                  </a:cubicBezTo>
                  <a:lnTo>
                    <a:pt x="0" y="19636"/>
                  </a:lnTo>
                  <a:cubicBezTo>
                    <a:pt x="0" y="20721"/>
                    <a:pt x="879" y="21600"/>
                    <a:pt x="1964" y="21600"/>
                  </a:cubicBezTo>
                  <a:lnTo>
                    <a:pt x="19636" y="21600"/>
                  </a:lnTo>
                  <a:cubicBezTo>
                    <a:pt x="20721" y="21600"/>
                    <a:pt x="21600" y="20721"/>
                    <a:pt x="21600" y="19636"/>
                  </a:cubicBezTo>
                  <a:lnTo>
                    <a:pt x="21600" y="1964"/>
                  </a:lnTo>
                  <a:cubicBezTo>
                    <a:pt x="21600" y="879"/>
                    <a:pt x="20721" y="0"/>
                    <a:pt x="19636" y="0"/>
                  </a:cubicBezTo>
                  <a:moveTo>
                    <a:pt x="9825" y="15704"/>
                  </a:moveTo>
                  <a:lnTo>
                    <a:pt x="11291" y="15709"/>
                  </a:lnTo>
                  <a:lnTo>
                    <a:pt x="11291" y="11782"/>
                  </a:lnTo>
                  <a:lnTo>
                    <a:pt x="15218" y="11782"/>
                  </a:lnTo>
                  <a:lnTo>
                    <a:pt x="15218" y="10309"/>
                  </a:lnTo>
                  <a:lnTo>
                    <a:pt x="11291" y="10309"/>
                  </a:lnTo>
                  <a:lnTo>
                    <a:pt x="11291" y="7364"/>
                  </a:lnTo>
                  <a:lnTo>
                    <a:pt x="15709" y="7364"/>
                  </a:lnTo>
                  <a:lnTo>
                    <a:pt x="15711" y="5897"/>
                  </a:lnTo>
                  <a:lnTo>
                    <a:pt x="9825" y="5897"/>
                  </a:lnTo>
                  <a:cubicBezTo>
                    <a:pt x="9825" y="5897"/>
                    <a:pt x="9825" y="15704"/>
                    <a:pt x="9825" y="15704"/>
                  </a:cubicBezTo>
                  <a:close/>
                  <a:moveTo>
                    <a:pt x="5891" y="6873"/>
                  </a:moveTo>
                  <a:cubicBezTo>
                    <a:pt x="5349" y="6873"/>
                    <a:pt x="4909" y="6434"/>
                    <a:pt x="4909" y="5891"/>
                  </a:cubicBezTo>
                  <a:cubicBezTo>
                    <a:pt x="4909" y="5349"/>
                    <a:pt x="5349" y="4909"/>
                    <a:pt x="5891" y="4909"/>
                  </a:cubicBezTo>
                  <a:cubicBezTo>
                    <a:pt x="6433" y="4909"/>
                    <a:pt x="6873" y="5349"/>
                    <a:pt x="6873" y="5891"/>
                  </a:cubicBezTo>
                  <a:cubicBezTo>
                    <a:pt x="6873" y="6434"/>
                    <a:pt x="6433" y="6873"/>
                    <a:pt x="5891" y="6873"/>
                  </a:cubicBezTo>
                  <a:moveTo>
                    <a:pt x="5891" y="3927"/>
                  </a:moveTo>
                  <a:cubicBezTo>
                    <a:pt x="4806" y="3927"/>
                    <a:pt x="3927" y="4806"/>
                    <a:pt x="3927" y="5891"/>
                  </a:cubicBezTo>
                  <a:cubicBezTo>
                    <a:pt x="3927" y="6975"/>
                    <a:pt x="4806" y="7855"/>
                    <a:pt x="5891" y="7855"/>
                  </a:cubicBezTo>
                  <a:cubicBezTo>
                    <a:pt x="6975" y="7855"/>
                    <a:pt x="7855" y="6975"/>
                    <a:pt x="7855" y="5891"/>
                  </a:cubicBezTo>
                  <a:cubicBezTo>
                    <a:pt x="7855" y="4806"/>
                    <a:pt x="6975" y="3927"/>
                    <a:pt x="5891" y="392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Shape 2976">
              <a:extLst>
                <a:ext uri="{FF2B5EF4-FFF2-40B4-BE49-F238E27FC236}">
                  <a16:creationId xmlns:a16="http://schemas.microsoft.com/office/drawing/2014/main" id="{6AEEC4B0-2B0E-4166-AB6B-4A4D1DD7B643}"/>
                </a:ext>
              </a:extLst>
            </p:cNvPr>
            <p:cNvSpPr/>
            <p:nvPr/>
          </p:nvSpPr>
          <p:spPr bwMode="gray">
            <a:xfrm>
              <a:off x="607895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Shape 2977">
              <a:extLst>
                <a:ext uri="{FF2B5EF4-FFF2-40B4-BE49-F238E27FC236}">
                  <a16:creationId xmlns:a16="http://schemas.microsoft.com/office/drawing/2014/main" id="{A200BDDF-8FE4-4B77-A27F-DDEF706C4FAE}"/>
                </a:ext>
              </a:extLst>
            </p:cNvPr>
            <p:cNvSpPr/>
            <p:nvPr/>
          </p:nvSpPr>
          <p:spPr bwMode="gray">
            <a:xfrm>
              <a:off x="116144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86" y="20524"/>
                  </a:moveTo>
                  <a:cubicBezTo>
                    <a:pt x="11664" y="20580"/>
                    <a:pt x="11237" y="20618"/>
                    <a:pt x="10800" y="20618"/>
                  </a:cubicBez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8"/>
                    <a:pt x="5377" y="982"/>
                    <a:pt x="10800" y="982"/>
                  </a:cubicBezTo>
                  <a:cubicBezTo>
                    <a:pt x="11237" y="982"/>
                    <a:pt x="11665" y="1020"/>
                    <a:pt x="12086" y="1076"/>
                  </a:cubicBezTo>
                  <a:cubicBezTo>
                    <a:pt x="14339" y="3664"/>
                    <a:pt x="15709" y="7100"/>
                    <a:pt x="15709" y="10800"/>
                  </a:cubicBezTo>
                  <a:cubicBezTo>
                    <a:pt x="15709" y="14500"/>
                    <a:pt x="14339" y="17936"/>
                    <a:pt x="12086" y="20524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Shape 2978">
              <a:extLst>
                <a:ext uri="{FF2B5EF4-FFF2-40B4-BE49-F238E27FC236}">
                  <a16:creationId xmlns:a16="http://schemas.microsoft.com/office/drawing/2014/main" id="{DCED46B9-704A-40F8-B2CE-2B2255FDF7F9}"/>
                </a:ext>
              </a:extLst>
            </p:cNvPr>
            <p:cNvSpPr/>
            <p:nvPr/>
          </p:nvSpPr>
          <p:spPr bwMode="gray">
            <a:xfrm>
              <a:off x="1714998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0800" y="982"/>
                    <a:pt x="10800" y="20618"/>
                    <a:pt x="10800" y="20618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Shape 2979">
              <a:extLst>
                <a:ext uri="{FF2B5EF4-FFF2-40B4-BE49-F238E27FC236}">
                  <a16:creationId xmlns:a16="http://schemas.microsoft.com/office/drawing/2014/main" id="{9950B9A6-BC16-4E72-A515-E23382EE8B40}"/>
                </a:ext>
              </a:extLst>
            </p:cNvPr>
            <p:cNvSpPr/>
            <p:nvPr/>
          </p:nvSpPr>
          <p:spPr bwMode="gray">
            <a:xfrm>
              <a:off x="2268550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70" y="20533"/>
                  </a:moveTo>
                  <a:cubicBezTo>
                    <a:pt x="4730" y="19927"/>
                    <a:pt x="982" y="15805"/>
                    <a:pt x="982" y="10800"/>
                  </a:cubicBezTo>
                  <a:cubicBezTo>
                    <a:pt x="982" y="5795"/>
                    <a:pt x="4730" y="1673"/>
                    <a:pt x="9570" y="1067"/>
                  </a:cubicBezTo>
                  <a:cubicBezTo>
                    <a:pt x="7282" y="3663"/>
                    <a:pt x="5891" y="7068"/>
                    <a:pt x="5891" y="10800"/>
                  </a:cubicBezTo>
                  <a:cubicBezTo>
                    <a:pt x="5891" y="14532"/>
                    <a:pt x="7282" y="17937"/>
                    <a:pt x="9570" y="2053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Shape 2980">
              <a:extLst>
                <a:ext uri="{FF2B5EF4-FFF2-40B4-BE49-F238E27FC236}">
                  <a16:creationId xmlns:a16="http://schemas.microsoft.com/office/drawing/2014/main" id="{9F08661E-2649-43B6-89C9-4D3D522DFCA9}"/>
                </a:ext>
              </a:extLst>
            </p:cNvPr>
            <p:cNvSpPr/>
            <p:nvPr/>
          </p:nvSpPr>
          <p:spPr bwMode="gray">
            <a:xfrm>
              <a:off x="2822101" y="3521164"/>
              <a:ext cx="289956" cy="289956"/>
            </a:xfrm>
            <a:prstGeom prst="ellipse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Shape 2981">
              <a:extLst>
                <a:ext uri="{FF2B5EF4-FFF2-40B4-BE49-F238E27FC236}">
                  <a16:creationId xmlns:a16="http://schemas.microsoft.com/office/drawing/2014/main" id="{589FB6F1-2824-43E7-80EA-52786464FDAF}"/>
                </a:ext>
              </a:extLst>
            </p:cNvPr>
            <p:cNvSpPr/>
            <p:nvPr/>
          </p:nvSpPr>
          <p:spPr bwMode="gray">
            <a:xfrm>
              <a:off x="3375653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30" y="20533"/>
                  </a:moveTo>
                  <a:cubicBezTo>
                    <a:pt x="14318" y="17937"/>
                    <a:pt x="15709" y="14532"/>
                    <a:pt x="15709" y="10800"/>
                  </a:cubicBezTo>
                  <a:cubicBezTo>
                    <a:pt x="15709" y="7068"/>
                    <a:pt x="14318" y="3663"/>
                    <a:pt x="12030" y="1067"/>
                  </a:cubicBezTo>
                  <a:cubicBezTo>
                    <a:pt x="16870" y="1673"/>
                    <a:pt x="20618" y="5795"/>
                    <a:pt x="20618" y="10800"/>
                  </a:cubicBezTo>
                  <a:cubicBezTo>
                    <a:pt x="20618" y="15805"/>
                    <a:pt x="16870" y="19927"/>
                    <a:pt x="12030" y="20533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Shape 2982">
              <a:extLst>
                <a:ext uri="{FF2B5EF4-FFF2-40B4-BE49-F238E27FC236}">
                  <a16:creationId xmlns:a16="http://schemas.microsoft.com/office/drawing/2014/main" id="{A1E45CDE-66B9-4694-B1A8-077815504E66}"/>
                </a:ext>
              </a:extLst>
            </p:cNvPr>
            <p:cNvSpPr/>
            <p:nvPr/>
          </p:nvSpPr>
          <p:spPr bwMode="gray">
            <a:xfrm>
              <a:off x="3929204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lnTo>
                    <a:pt x="10800" y="982"/>
                  </a:ln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Shape 2983">
              <a:extLst>
                <a:ext uri="{FF2B5EF4-FFF2-40B4-BE49-F238E27FC236}">
                  <a16:creationId xmlns:a16="http://schemas.microsoft.com/office/drawing/2014/main" id="{38887806-BF55-4AD0-A1A1-A7DB2937978D}"/>
                </a:ext>
              </a:extLst>
            </p:cNvPr>
            <p:cNvSpPr/>
            <p:nvPr/>
          </p:nvSpPr>
          <p:spPr bwMode="gray">
            <a:xfrm>
              <a:off x="4482756" y="3521164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10378" y="20618"/>
                    <a:pt x="9964" y="20583"/>
                    <a:pt x="9556" y="20531"/>
                  </a:cubicBezTo>
                  <a:cubicBezTo>
                    <a:pt x="7276" y="17937"/>
                    <a:pt x="5891" y="14524"/>
                    <a:pt x="5891" y="10800"/>
                  </a:cubicBezTo>
                  <a:cubicBezTo>
                    <a:pt x="5891" y="7076"/>
                    <a:pt x="7276" y="3663"/>
                    <a:pt x="9556" y="1069"/>
                  </a:cubicBezTo>
                  <a:cubicBezTo>
                    <a:pt x="9964" y="1017"/>
                    <a:pt x="10378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Shape 2984">
              <a:extLst>
                <a:ext uri="{FF2B5EF4-FFF2-40B4-BE49-F238E27FC236}">
                  <a16:creationId xmlns:a16="http://schemas.microsoft.com/office/drawing/2014/main" id="{A72DB949-CC37-4E01-8D6B-F7AAEFB21836}"/>
                </a:ext>
              </a:extLst>
            </p:cNvPr>
            <p:cNvSpPr/>
            <p:nvPr/>
          </p:nvSpPr>
          <p:spPr bwMode="gray">
            <a:xfrm>
              <a:off x="5115386" y="3521164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6029" y="20618"/>
                    <a:pt x="2160" y="18860"/>
                    <a:pt x="2160" y="16691"/>
                  </a:cubicBezTo>
                  <a:cubicBezTo>
                    <a:pt x="2160" y="15238"/>
                    <a:pt x="3900" y="13973"/>
                    <a:pt x="6480" y="13293"/>
                  </a:cubicBezTo>
                  <a:lnTo>
                    <a:pt x="6480" y="2945"/>
                  </a:lnTo>
                  <a:cubicBezTo>
                    <a:pt x="6480" y="1861"/>
                    <a:pt x="8414" y="982"/>
                    <a:pt x="10800" y="982"/>
                  </a:cubicBezTo>
                  <a:cubicBezTo>
                    <a:pt x="13186" y="982"/>
                    <a:pt x="15120" y="1861"/>
                    <a:pt x="15120" y="2945"/>
                  </a:cubicBezTo>
                  <a:lnTo>
                    <a:pt x="15120" y="13293"/>
                  </a:lnTo>
                  <a:cubicBezTo>
                    <a:pt x="17700" y="13973"/>
                    <a:pt x="19440" y="15238"/>
                    <a:pt x="19440" y="16691"/>
                  </a:cubicBezTo>
                  <a:cubicBezTo>
                    <a:pt x="19440" y="18860"/>
                    <a:pt x="15571" y="20618"/>
                    <a:pt x="10800" y="20618"/>
                  </a:cubicBezTo>
                  <a:moveTo>
                    <a:pt x="17280" y="12770"/>
                  </a:moveTo>
                  <a:lnTo>
                    <a:pt x="17280" y="2945"/>
                  </a:lnTo>
                  <a:cubicBezTo>
                    <a:pt x="17280" y="1318"/>
                    <a:pt x="14378" y="0"/>
                    <a:pt x="10800" y="0"/>
                  </a:cubicBezTo>
                  <a:cubicBezTo>
                    <a:pt x="7221" y="0"/>
                    <a:pt x="4320" y="1318"/>
                    <a:pt x="4320" y="2945"/>
                  </a:cubicBezTo>
                  <a:lnTo>
                    <a:pt x="4320" y="12770"/>
                  </a:lnTo>
                  <a:cubicBezTo>
                    <a:pt x="1701" y="13666"/>
                    <a:pt x="0" y="15087"/>
                    <a:pt x="0" y="16691"/>
                  </a:cubicBezTo>
                  <a:cubicBezTo>
                    <a:pt x="0" y="19402"/>
                    <a:pt x="4835" y="21600"/>
                    <a:pt x="10800" y="21600"/>
                  </a:cubicBezTo>
                  <a:cubicBezTo>
                    <a:pt x="16763" y="21600"/>
                    <a:pt x="21600" y="19402"/>
                    <a:pt x="21600" y="16691"/>
                  </a:cubicBezTo>
                  <a:cubicBezTo>
                    <a:pt x="21600" y="15087"/>
                    <a:pt x="19899" y="13666"/>
                    <a:pt x="17280" y="12770"/>
                  </a:cubicBezTo>
                  <a:moveTo>
                    <a:pt x="12960" y="13917"/>
                  </a:moveTo>
                  <a:lnTo>
                    <a:pt x="12960" y="7855"/>
                  </a:lnTo>
                  <a:cubicBezTo>
                    <a:pt x="12960" y="7313"/>
                    <a:pt x="11992" y="6873"/>
                    <a:pt x="10800" y="6873"/>
                  </a:cubicBezTo>
                  <a:cubicBezTo>
                    <a:pt x="9608" y="6873"/>
                    <a:pt x="8640" y="7313"/>
                    <a:pt x="8640" y="7855"/>
                  </a:cubicBezTo>
                  <a:lnTo>
                    <a:pt x="8640" y="13917"/>
                  </a:lnTo>
                  <a:cubicBezTo>
                    <a:pt x="6126" y="14322"/>
                    <a:pt x="4320" y="15409"/>
                    <a:pt x="4320" y="16691"/>
                  </a:cubicBezTo>
                  <a:cubicBezTo>
                    <a:pt x="4320" y="18318"/>
                    <a:pt x="7221" y="19636"/>
                    <a:pt x="10800" y="19636"/>
                  </a:cubicBezTo>
                  <a:cubicBezTo>
                    <a:pt x="14378" y="19636"/>
                    <a:pt x="17280" y="18318"/>
                    <a:pt x="17280" y="16691"/>
                  </a:cubicBezTo>
                  <a:cubicBezTo>
                    <a:pt x="17280" y="15409"/>
                    <a:pt x="15475" y="14322"/>
                    <a:pt x="12960" y="13917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634A9FB-4E5B-45F7-BAD9-090D1325D9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90308733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B634C71-1657-4FDC-8AA8-185E4FF96B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428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B634C71-1657-4FDC-8AA8-185E4FF96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A10D2C-7949-4596-A4D8-B4D11AFF05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(5/5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FF0833-9F4E-4957-B31D-70AC58AE0D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Targe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CDF9CF-3D3D-4449-A9E3-3F57275A999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56ABB78-CF66-4BEF-B7F0-8DCFF811A6D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CFF4B8-131A-4AEA-8687-B5FE257C6C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2</a:t>
            </a:fld>
            <a:endParaRPr lang="de-DE" dirty="0"/>
          </a:p>
        </p:txBody>
      </p: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6DC58C24-0B70-4EC9-BD1E-A4B9DB84A264}"/>
              </a:ext>
            </a:extLst>
          </p:cNvPr>
          <p:cNvGrpSpPr/>
          <p:nvPr/>
        </p:nvGrpSpPr>
        <p:grpSpPr bwMode="gray">
          <a:xfrm>
            <a:off x="647434" y="1743382"/>
            <a:ext cx="5759574" cy="296763"/>
            <a:chOff x="647434" y="5025201"/>
            <a:chExt cx="5759574" cy="296763"/>
          </a:xfrm>
        </p:grpSpPr>
        <p:sp>
          <p:nvSpPr>
            <p:cNvPr id="107" name="Shape 2934">
              <a:extLst>
                <a:ext uri="{FF2B5EF4-FFF2-40B4-BE49-F238E27FC236}">
                  <a16:creationId xmlns:a16="http://schemas.microsoft.com/office/drawing/2014/main" id="{6393AC50-1AD6-4E86-A009-0E7B0B6D31FD}"/>
                </a:ext>
              </a:extLst>
            </p:cNvPr>
            <p:cNvSpPr/>
            <p:nvPr/>
          </p:nvSpPr>
          <p:spPr bwMode="gray">
            <a:xfrm>
              <a:off x="647434" y="5032008"/>
              <a:ext cx="21087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0800"/>
                  </a:moveTo>
                  <a:cubicBezTo>
                    <a:pt x="8563" y="10800"/>
                    <a:pt x="6750" y="9481"/>
                    <a:pt x="6750" y="7855"/>
                  </a:cubicBezTo>
                  <a:cubicBezTo>
                    <a:pt x="6750" y="6228"/>
                    <a:pt x="8563" y="4909"/>
                    <a:pt x="10800" y="4909"/>
                  </a:cubicBezTo>
                  <a:cubicBezTo>
                    <a:pt x="13037" y="4909"/>
                    <a:pt x="14850" y="6228"/>
                    <a:pt x="14850" y="7855"/>
                  </a:cubicBezTo>
                  <a:cubicBezTo>
                    <a:pt x="14850" y="9481"/>
                    <a:pt x="13037" y="10800"/>
                    <a:pt x="10800" y="10800"/>
                  </a:cubicBezTo>
                  <a:moveTo>
                    <a:pt x="10800" y="3927"/>
                  </a:moveTo>
                  <a:cubicBezTo>
                    <a:pt x="7817" y="3927"/>
                    <a:pt x="5400" y="5686"/>
                    <a:pt x="5400" y="7855"/>
                  </a:cubicBezTo>
                  <a:cubicBezTo>
                    <a:pt x="5400" y="10023"/>
                    <a:pt x="7817" y="11782"/>
                    <a:pt x="10800" y="11782"/>
                  </a:cubicBezTo>
                  <a:cubicBezTo>
                    <a:pt x="13783" y="11782"/>
                    <a:pt x="16200" y="10023"/>
                    <a:pt x="16200" y="7855"/>
                  </a:cubicBezTo>
                  <a:cubicBezTo>
                    <a:pt x="16200" y="5686"/>
                    <a:pt x="13783" y="3927"/>
                    <a:pt x="10800" y="3927"/>
                  </a:cubicBezTo>
                  <a:moveTo>
                    <a:pt x="10800" y="20127"/>
                  </a:moveTo>
                  <a:cubicBezTo>
                    <a:pt x="10800" y="20127"/>
                    <a:pt x="1350" y="13745"/>
                    <a:pt x="1350" y="7855"/>
                  </a:cubicBezTo>
                  <a:cubicBezTo>
                    <a:pt x="1350" y="4059"/>
                    <a:pt x="5581" y="982"/>
                    <a:pt x="10800" y="982"/>
                  </a:cubicBezTo>
                  <a:cubicBezTo>
                    <a:pt x="16019" y="982"/>
                    <a:pt x="20250" y="4059"/>
                    <a:pt x="20250" y="7855"/>
                  </a:cubicBezTo>
                  <a:cubicBezTo>
                    <a:pt x="20250" y="13745"/>
                    <a:pt x="10800" y="20127"/>
                    <a:pt x="10800" y="20127"/>
                  </a:cubicBezTo>
                  <a:moveTo>
                    <a:pt x="10800" y="0"/>
                  </a:moveTo>
                  <a:cubicBezTo>
                    <a:pt x="4836" y="0"/>
                    <a:pt x="0" y="3517"/>
                    <a:pt x="0" y="7855"/>
                  </a:cubicBezTo>
                  <a:cubicBezTo>
                    <a:pt x="0" y="14236"/>
                    <a:pt x="10800" y="21600"/>
                    <a:pt x="10800" y="21600"/>
                  </a:cubicBezTo>
                  <a:cubicBezTo>
                    <a:pt x="10800" y="21600"/>
                    <a:pt x="21600" y="14236"/>
                    <a:pt x="21600" y="7855"/>
                  </a:cubicBezTo>
                  <a:cubicBezTo>
                    <a:pt x="21600" y="3517"/>
                    <a:pt x="16764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Shape 2935">
              <a:extLst>
                <a:ext uri="{FF2B5EF4-FFF2-40B4-BE49-F238E27FC236}">
                  <a16:creationId xmlns:a16="http://schemas.microsoft.com/office/drawing/2014/main" id="{62440D70-92B0-4006-91E6-4E3BA13CC020}"/>
                </a:ext>
              </a:extLst>
            </p:cNvPr>
            <p:cNvSpPr/>
            <p:nvPr/>
          </p:nvSpPr>
          <p:spPr bwMode="gray">
            <a:xfrm>
              <a:off x="1161447" y="5032008"/>
              <a:ext cx="289746" cy="2897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600" extrusionOk="0">
                  <a:moveTo>
                    <a:pt x="6365" y="15409"/>
                  </a:moveTo>
                  <a:cubicBezTo>
                    <a:pt x="5782" y="14888"/>
                    <a:pt x="4858" y="14006"/>
                    <a:pt x="3935" y="12895"/>
                  </a:cubicBezTo>
                  <a:cubicBezTo>
                    <a:pt x="2587" y="11273"/>
                    <a:pt x="979" y="8835"/>
                    <a:pt x="979" y="6430"/>
                  </a:cubicBezTo>
                  <a:cubicBezTo>
                    <a:pt x="979" y="3427"/>
                    <a:pt x="3396" y="982"/>
                    <a:pt x="6366" y="982"/>
                  </a:cubicBezTo>
                  <a:cubicBezTo>
                    <a:pt x="9336" y="982"/>
                    <a:pt x="11752" y="3427"/>
                    <a:pt x="11752" y="6430"/>
                  </a:cubicBezTo>
                  <a:cubicBezTo>
                    <a:pt x="11752" y="10208"/>
                    <a:pt x="7888" y="14044"/>
                    <a:pt x="6365" y="15409"/>
                  </a:cubicBezTo>
                  <a:moveTo>
                    <a:pt x="6366" y="0"/>
                  </a:moveTo>
                  <a:cubicBezTo>
                    <a:pt x="2850" y="0"/>
                    <a:pt x="0" y="2879"/>
                    <a:pt x="0" y="6430"/>
                  </a:cubicBezTo>
                  <a:cubicBezTo>
                    <a:pt x="0" y="11655"/>
                    <a:pt x="6366" y="16701"/>
                    <a:pt x="6366" y="16701"/>
                  </a:cubicBezTo>
                  <a:cubicBezTo>
                    <a:pt x="6366" y="16701"/>
                    <a:pt x="12732" y="11655"/>
                    <a:pt x="12732" y="6430"/>
                  </a:cubicBezTo>
                  <a:cubicBezTo>
                    <a:pt x="12732" y="2879"/>
                    <a:pt x="9882" y="0"/>
                    <a:pt x="6366" y="0"/>
                  </a:cubicBezTo>
                  <a:moveTo>
                    <a:pt x="17357" y="19604"/>
                  </a:moveTo>
                  <a:cubicBezTo>
                    <a:pt x="17127" y="19764"/>
                    <a:pt x="16856" y="19909"/>
                    <a:pt x="16554" y="20033"/>
                  </a:cubicBezTo>
                  <a:cubicBezTo>
                    <a:pt x="16304" y="20137"/>
                    <a:pt x="16185" y="20424"/>
                    <a:pt x="16288" y="20675"/>
                  </a:cubicBezTo>
                  <a:cubicBezTo>
                    <a:pt x="16365" y="20865"/>
                    <a:pt x="16548" y="20979"/>
                    <a:pt x="16740" y="20979"/>
                  </a:cubicBezTo>
                  <a:cubicBezTo>
                    <a:pt x="16802" y="20979"/>
                    <a:pt x="16866" y="20967"/>
                    <a:pt x="16926" y="20942"/>
                  </a:cubicBezTo>
                  <a:cubicBezTo>
                    <a:pt x="17294" y="20790"/>
                    <a:pt x="17627" y="20611"/>
                    <a:pt x="17915" y="20411"/>
                  </a:cubicBezTo>
                  <a:cubicBezTo>
                    <a:pt x="18138" y="20256"/>
                    <a:pt x="18193" y="19950"/>
                    <a:pt x="18039" y="19727"/>
                  </a:cubicBezTo>
                  <a:cubicBezTo>
                    <a:pt x="17885" y="19505"/>
                    <a:pt x="17579" y="19449"/>
                    <a:pt x="17357" y="19604"/>
                  </a:cubicBezTo>
                  <a:moveTo>
                    <a:pt x="16249" y="13042"/>
                  </a:moveTo>
                  <a:cubicBezTo>
                    <a:pt x="16109" y="12790"/>
                    <a:pt x="16024" y="12529"/>
                    <a:pt x="15995" y="12265"/>
                  </a:cubicBezTo>
                  <a:cubicBezTo>
                    <a:pt x="15966" y="11995"/>
                    <a:pt x="15731" y="11801"/>
                    <a:pt x="15456" y="11829"/>
                  </a:cubicBezTo>
                  <a:cubicBezTo>
                    <a:pt x="15187" y="11859"/>
                    <a:pt x="14992" y="12100"/>
                    <a:pt x="15022" y="12370"/>
                  </a:cubicBezTo>
                  <a:cubicBezTo>
                    <a:pt x="15064" y="12767"/>
                    <a:pt x="15190" y="13154"/>
                    <a:pt x="15395" y="13522"/>
                  </a:cubicBezTo>
                  <a:cubicBezTo>
                    <a:pt x="15484" y="13682"/>
                    <a:pt x="15651" y="13773"/>
                    <a:pt x="15822" y="13773"/>
                  </a:cubicBezTo>
                  <a:cubicBezTo>
                    <a:pt x="15904" y="13773"/>
                    <a:pt x="15985" y="13753"/>
                    <a:pt x="16061" y="13710"/>
                  </a:cubicBezTo>
                  <a:cubicBezTo>
                    <a:pt x="16297" y="13578"/>
                    <a:pt x="16382" y="13279"/>
                    <a:pt x="16249" y="13042"/>
                  </a:cubicBezTo>
                  <a:moveTo>
                    <a:pt x="18249" y="15254"/>
                  </a:moveTo>
                  <a:cubicBezTo>
                    <a:pt x="18041" y="14981"/>
                    <a:pt x="17803" y="14708"/>
                    <a:pt x="17538" y="14439"/>
                  </a:cubicBezTo>
                  <a:cubicBezTo>
                    <a:pt x="17349" y="14246"/>
                    <a:pt x="17039" y="14244"/>
                    <a:pt x="16845" y="14434"/>
                  </a:cubicBezTo>
                  <a:cubicBezTo>
                    <a:pt x="16653" y="14624"/>
                    <a:pt x="16651" y="14935"/>
                    <a:pt x="16841" y="15129"/>
                  </a:cubicBezTo>
                  <a:cubicBezTo>
                    <a:pt x="17076" y="15368"/>
                    <a:pt x="17288" y="15612"/>
                    <a:pt x="17471" y="15851"/>
                  </a:cubicBezTo>
                  <a:cubicBezTo>
                    <a:pt x="17568" y="15977"/>
                    <a:pt x="17713" y="16043"/>
                    <a:pt x="17860" y="16043"/>
                  </a:cubicBezTo>
                  <a:cubicBezTo>
                    <a:pt x="17964" y="16043"/>
                    <a:pt x="18068" y="16011"/>
                    <a:pt x="18157" y="15942"/>
                  </a:cubicBezTo>
                  <a:cubicBezTo>
                    <a:pt x="18373" y="15777"/>
                    <a:pt x="18413" y="15469"/>
                    <a:pt x="18249" y="15254"/>
                  </a:cubicBezTo>
                  <a:moveTo>
                    <a:pt x="21476" y="5928"/>
                  </a:moveTo>
                  <a:cubicBezTo>
                    <a:pt x="21352" y="5687"/>
                    <a:pt x="21057" y="5592"/>
                    <a:pt x="20817" y="5717"/>
                  </a:cubicBezTo>
                  <a:cubicBezTo>
                    <a:pt x="20817" y="5717"/>
                    <a:pt x="20650" y="5803"/>
                    <a:pt x="20371" y="5962"/>
                  </a:cubicBezTo>
                  <a:cubicBezTo>
                    <a:pt x="20136" y="6096"/>
                    <a:pt x="20054" y="6396"/>
                    <a:pt x="20188" y="6632"/>
                  </a:cubicBezTo>
                  <a:cubicBezTo>
                    <a:pt x="20278" y="6791"/>
                    <a:pt x="20444" y="6880"/>
                    <a:pt x="20614" y="6880"/>
                  </a:cubicBezTo>
                  <a:cubicBezTo>
                    <a:pt x="20697" y="6880"/>
                    <a:pt x="20780" y="6859"/>
                    <a:pt x="20856" y="6815"/>
                  </a:cubicBezTo>
                  <a:cubicBezTo>
                    <a:pt x="21108" y="6672"/>
                    <a:pt x="21261" y="6592"/>
                    <a:pt x="21265" y="6590"/>
                  </a:cubicBezTo>
                  <a:cubicBezTo>
                    <a:pt x="21506" y="6466"/>
                    <a:pt x="21600" y="6170"/>
                    <a:pt x="21476" y="5928"/>
                  </a:cubicBezTo>
                  <a:moveTo>
                    <a:pt x="18659" y="16886"/>
                  </a:moveTo>
                  <a:cubicBezTo>
                    <a:pt x="18395" y="16941"/>
                    <a:pt x="18225" y="17201"/>
                    <a:pt x="18280" y="17467"/>
                  </a:cubicBezTo>
                  <a:cubicBezTo>
                    <a:pt x="18312" y="17625"/>
                    <a:pt x="18330" y="17781"/>
                    <a:pt x="18330" y="17929"/>
                  </a:cubicBezTo>
                  <a:cubicBezTo>
                    <a:pt x="18330" y="18050"/>
                    <a:pt x="18318" y="18171"/>
                    <a:pt x="18296" y="18287"/>
                  </a:cubicBezTo>
                  <a:cubicBezTo>
                    <a:pt x="18244" y="18554"/>
                    <a:pt x="18418" y="18811"/>
                    <a:pt x="18683" y="18862"/>
                  </a:cubicBezTo>
                  <a:cubicBezTo>
                    <a:pt x="18715" y="18869"/>
                    <a:pt x="18746" y="18871"/>
                    <a:pt x="18777" y="18871"/>
                  </a:cubicBezTo>
                  <a:cubicBezTo>
                    <a:pt x="19007" y="18871"/>
                    <a:pt x="19212" y="18708"/>
                    <a:pt x="19257" y="18473"/>
                  </a:cubicBezTo>
                  <a:cubicBezTo>
                    <a:pt x="19292" y="18296"/>
                    <a:pt x="19309" y="18114"/>
                    <a:pt x="19309" y="17929"/>
                  </a:cubicBezTo>
                  <a:cubicBezTo>
                    <a:pt x="19309" y="17715"/>
                    <a:pt x="19285" y="17492"/>
                    <a:pt x="19239" y="17267"/>
                  </a:cubicBezTo>
                  <a:cubicBezTo>
                    <a:pt x="19183" y="17001"/>
                    <a:pt x="18923" y="16832"/>
                    <a:pt x="18659" y="16886"/>
                  </a:cubicBezTo>
                  <a:moveTo>
                    <a:pt x="18590" y="7106"/>
                  </a:moveTo>
                  <a:cubicBezTo>
                    <a:pt x="18317" y="7303"/>
                    <a:pt x="18035" y="7518"/>
                    <a:pt x="17756" y="7745"/>
                  </a:cubicBezTo>
                  <a:cubicBezTo>
                    <a:pt x="17546" y="7917"/>
                    <a:pt x="17515" y="8226"/>
                    <a:pt x="17686" y="8436"/>
                  </a:cubicBezTo>
                  <a:cubicBezTo>
                    <a:pt x="17783" y="8556"/>
                    <a:pt x="17924" y="8617"/>
                    <a:pt x="18066" y="8617"/>
                  </a:cubicBezTo>
                  <a:cubicBezTo>
                    <a:pt x="18174" y="8617"/>
                    <a:pt x="18284" y="8581"/>
                    <a:pt x="18374" y="8507"/>
                  </a:cubicBezTo>
                  <a:cubicBezTo>
                    <a:pt x="18637" y="8292"/>
                    <a:pt x="18903" y="8090"/>
                    <a:pt x="19161" y="7905"/>
                  </a:cubicBezTo>
                  <a:cubicBezTo>
                    <a:pt x="19380" y="7747"/>
                    <a:pt x="19431" y="7440"/>
                    <a:pt x="19273" y="7220"/>
                  </a:cubicBezTo>
                  <a:cubicBezTo>
                    <a:pt x="19116" y="6999"/>
                    <a:pt x="18810" y="6949"/>
                    <a:pt x="18590" y="7106"/>
                  </a:cubicBezTo>
                  <a:moveTo>
                    <a:pt x="14704" y="20512"/>
                  </a:moveTo>
                  <a:cubicBezTo>
                    <a:pt x="14393" y="20556"/>
                    <a:pt x="14065" y="20590"/>
                    <a:pt x="13729" y="20611"/>
                  </a:cubicBezTo>
                  <a:cubicBezTo>
                    <a:pt x="13459" y="20629"/>
                    <a:pt x="13254" y="20863"/>
                    <a:pt x="13272" y="21134"/>
                  </a:cubicBezTo>
                  <a:cubicBezTo>
                    <a:pt x="13289" y="21394"/>
                    <a:pt x="13504" y="21593"/>
                    <a:pt x="13760" y="21593"/>
                  </a:cubicBezTo>
                  <a:cubicBezTo>
                    <a:pt x="13771" y="21593"/>
                    <a:pt x="13781" y="21592"/>
                    <a:pt x="13792" y="21592"/>
                  </a:cubicBezTo>
                  <a:cubicBezTo>
                    <a:pt x="14152" y="21568"/>
                    <a:pt x="14506" y="21533"/>
                    <a:pt x="14842" y="21485"/>
                  </a:cubicBezTo>
                  <a:cubicBezTo>
                    <a:pt x="15110" y="21447"/>
                    <a:pt x="15296" y="21198"/>
                    <a:pt x="15258" y="20929"/>
                  </a:cubicBezTo>
                  <a:cubicBezTo>
                    <a:pt x="15220" y="20661"/>
                    <a:pt x="14973" y="20472"/>
                    <a:pt x="14704" y="20512"/>
                  </a:cubicBezTo>
                  <a:moveTo>
                    <a:pt x="8893" y="20109"/>
                  </a:moveTo>
                  <a:cubicBezTo>
                    <a:pt x="8582" y="19997"/>
                    <a:pt x="8299" y="19866"/>
                    <a:pt x="8052" y="19721"/>
                  </a:cubicBezTo>
                  <a:cubicBezTo>
                    <a:pt x="7818" y="19582"/>
                    <a:pt x="7519" y="19663"/>
                    <a:pt x="7382" y="19896"/>
                  </a:cubicBezTo>
                  <a:cubicBezTo>
                    <a:pt x="7244" y="20130"/>
                    <a:pt x="7323" y="20432"/>
                    <a:pt x="7556" y="20568"/>
                  </a:cubicBezTo>
                  <a:cubicBezTo>
                    <a:pt x="7856" y="20744"/>
                    <a:pt x="8194" y="20901"/>
                    <a:pt x="8562" y="21034"/>
                  </a:cubicBezTo>
                  <a:cubicBezTo>
                    <a:pt x="8617" y="21053"/>
                    <a:pt x="8672" y="21062"/>
                    <a:pt x="8728" y="21062"/>
                  </a:cubicBezTo>
                  <a:cubicBezTo>
                    <a:pt x="8928" y="21062"/>
                    <a:pt x="9117" y="20938"/>
                    <a:pt x="9189" y="20737"/>
                  </a:cubicBezTo>
                  <a:cubicBezTo>
                    <a:pt x="9280" y="20482"/>
                    <a:pt x="9148" y="20200"/>
                    <a:pt x="8893" y="20109"/>
                  </a:cubicBezTo>
                  <a:moveTo>
                    <a:pt x="11751" y="20618"/>
                  </a:moveTo>
                  <a:cubicBezTo>
                    <a:pt x="11412" y="20600"/>
                    <a:pt x="11082" y="20572"/>
                    <a:pt x="10771" y="20533"/>
                  </a:cubicBezTo>
                  <a:cubicBezTo>
                    <a:pt x="10502" y="20493"/>
                    <a:pt x="10258" y="20690"/>
                    <a:pt x="10225" y="20959"/>
                  </a:cubicBezTo>
                  <a:cubicBezTo>
                    <a:pt x="10191" y="21229"/>
                    <a:pt x="10382" y="21474"/>
                    <a:pt x="10650" y="21507"/>
                  </a:cubicBezTo>
                  <a:cubicBezTo>
                    <a:pt x="10984" y="21549"/>
                    <a:pt x="11337" y="21580"/>
                    <a:pt x="11699" y="21600"/>
                  </a:cubicBezTo>
                  <a:cubicBezTo>
                    <a:pt x="11708" y="21600"/>
                    <a:pt x="11716" y="21600"/>
                    <a:pt x="11725" y="21600"/>
                  </a:cubicBezTo>
                  <a:cubicBezTo>
                    <a:pt x="11984" y="21600"/>
                    <a:pt x="12200" y="21397"/>
                    <a:pt x="12214" y="21135"/>
                  </a:cubicBezTo>
                  <a:cubicBezTo>
                    <a:pt x="12228" y="20863"/>
                    <a:pt x="12021" y="20632"/>
                    <a:pt x="11751" y="20618"/>
                  </a:cubicBezTo>
                  <a:moveTo>
                    <a:pt x="6840" y="18180"/>
                  </a:moveTo>
                  <a:cubicBezTo>
                    <a:pt x="6836" y="17912"/>
                    <a:pt x="6619" y="17696"/>
                    <a:pt x="6351" y="17696"/>
                  </a:cubicBezTo>
                  <a:cubicBezTo>
                    <a:pt x="6080" y="17696"/>
                    <a:pt x="5861" y="17916"/>
                    <a:pt x="5861" y="18188"/>
                  </a:cubicBezTo>
                  <a:cubicBezTo>
                    <a:pt x="5861" y="18234"/>
                    <a:pt x="5867" y="18484"/>
                    <a:pt x="5997" y="18834"/>
                  </a:cubicBezTo>
                  <a:cubicBezTo>
                    <a:pt x="6070" y="19033"/>
                    <a:pt x="6257" y="19155"/>
                    <a:pt x="6456" y="19155"/>
                  </a:cubicBezTo>
                  <a:cubicBezTo>
                    <a:pt x="6512" y="19155"/>
                    <a:pt x="6570" y="19145"/>
                    <a:pt x="6626" y="19124"/>
                  </a:cubicBezTo>
                  <a:cubicBezTo>
                    <a:pt x="6880" y="19030"/>
                    <a:pt x="7009" y="18748"/>
                    <a:pt x="6915" y="18493"/>
                  </a:cubicBezTo>
                  <a:cubicBezTo>
                    <a:pt x="6849" y="18314"/>
                    <a:pt x="6841" y="18191"/>
                    <a:pt x="6840" y="18180"/>
                  </a:cubicBezTo>
                  <a:moveTo>
                    <a:pt x="15760" y="10798"/>
                  </a:moveTo>
                  <a:cubicBezTo>
                    <a:pt x="15838" y="10844"/>
                    <a:pt x="15924" y="10866"/>
                    <a:pt x="16008" y="10866"/>
                  </a:cubicBezTo>
                  <a:cubicBezTo>
                    <a:pt x="16176" y="10866"/>
                    <a:pt x="16339" y="10780"/>
                    <a:pt x="16431" y="10625"/>
                  </a:cubicBezTo>
                  <a:cubicBezTo>
                    <a:pt x="16577" y="10376"/>
                    <a:pt x="16761" y="10120"/>
                    <a:pt x="16977" y="9861"/>
                  </a:cubicBezTo>
                  <a:cubicBezTo>
                    <a:pt x="17151" y="9653"/>
                    <a:pt x="17124" y="9343"/>
                    <a:pt x="16917" y="9169"/>
                  </a:cubicBezTo>
                  <a:cubicBezTo>
                    <a:pt x="16709" y="8994"/>
                    <a:pt x="16400" y="9022"/>
                    <a:pt x="16227" y="9230"/>
                  </a:cubicBezTo>
                  <a:cubicBezTo>
                    <a:pt x="15976" y="9529"/>
                    <a:pt x="15761" y="9832"/>
                    <a:pt x="15587" y="10125"/>
                  </a:cubicBezTo>
                  <a:cubicBezTo>
                    <a:pt x="15450" y="10359"/>
                    <a:pt x="15527" y="10659"/>
                    <a:pt x="15760" y="10798"/>
                  </a:cubicBezTo>
                  <a:moveTo>
                    <a:pt x="6366" y="8841"/>
                  </a:moveTo>
                  <a:cubicBezTo>
                    <a:pt x="5014" y="8841"/>
                    <a:pt x="3917" y="7741"/>
                    <a:pt x="3917" y="6384"/>
                  </a:cubicBezTo>
                  <a:cubicBezTo>
                    <a:pt x="3917" y="5027"/>
                    <a:pt x="5014" y="3927"/>
                    <a:pt x="6366" y="3927"/>
                  </a:cubicBezTo>
                  <a:cubicBezTo>
                    <a:pt x="7719" y="3927"/>
                    <a:pt x="8814" y="5027"/>
                    <a:pt x="8814" y="6384"/>
                  </a:cubicBezTo>
                  <a:cubicBezTo>
                    <a:pt x="8814" y="7741"/>
                    <a:pt x="7719" y="8841"/>
                    <a:pt x="6366" y="8841"/>
                  </a:cubicBezTo>
                  <a:moveTo>
                    <a:pt x="6366" y="2955"/>
                  </a:moveTo>
                  <a:cubicBezTo>
                    <a:pt x="4473" y="2955"/>
                    <a:pt x="2938" y="4494"/>
                    <a:pt x="2938" y="6392"/>
                  </a:cubicBezTo>
                  <a:cubicBezTo>
                    <a:pt x="2938" y="8291"/>
                    <a:pt x="4473" y="9831"/>
                    <a:pt x="6366" y="9831"/>
                  </a:cubicBezTo>
                  <a:cubicBezTo>
                    <a:pt x="8259" y="9831"/>
                    <a:pt x="9794" y="8291"/>
                    <a:pt x="9794" y="6392"/>
                  </a:cubicBezTo>
                  <a:cubicBezTo>
                    <a:pt x="9794" y="4494"/>
                    <a:pt x="8259" y="2955"/>
                    <a:pt x="6366" y="29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Shape 2936">
              <a:extLst>
                <a:ext uri="{FF2B5EF4-FFF2-40B4-BE49-F238E27FC236}">
                  <a16:creationId xmlns:a16="http://schemas.microsoft.com/office/drawing/2014/main" id="{C07058E6-D4F3-4693-855A-AC3B3DF26F55}"/>
                </a:ext>
              </a:extLst>
            </p:cNvPr>
            <p:cNvSpPr/>
            <p:nvPr/>
          </p:nvSpPr>
          <p:spPr bwMode="gray">
            <a:xfrm>
              <a:off x="1794077" y="5032008"/>
              <a:ext cx="131799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964"/>
                  </a:moveTo>
                  <a:cubicBezTo>
                    <a:pt x="10800" y="1964"/>
                    <a:pt x="4320" y="1964"/>
                    <a:pt x="4320" y="4909"/>
                  </a:cubicBezTo>
                  <a:cubicBezTo>
                    <a:pt x="4320" y="5180"/>
                    <a:pt x="4804" y="5400"/>
                    <a:pt x="5400" y="5400"/>
                  </a:cubicBezTo>
                  <a:cubicBezTo>
                    <a:pt x="5996" y="5400"/>
                    <a:pt x="6480" y="5180"/>
                    <a:pt x="6480" y="4909"/>
                  </a:cubicBezTo>
                  <a:cubicBezTo>
                    <a:pt x="6480" y="2945"/>
                    <a:pt x="10800" y="2945"/>
                    <a:pt x="10800" y="2945"/>
                  </a:cubicBezTo>
                  <a:cubicBezTo>
                    <a:pt x="11396" y="2945"/>
                    <a:pt x="11880" y="2726"/>
                    <a:pt x="11880" y="2455"/>
                  </a:cubicBezTo>
                  <a:cubicBezTo>
                    <a:pt x="11880" y="2183"/>
                    <a:pt x="11396" y="1964"/>
                    <a:pt x="10800" y="1964"/>
                  </a:cubicBezTo>
                  <a:moveTo>
                    <a:pt x="10800" y="8836"/>
                  </a:moveTo>
                  <a:cubicBezTo>
                    <a:pt x="6029" y="8836"/>
                    <a:pt x="2160" y="7078"/>
                    <a:pt x="2160" y="4909"/>
                  </a:cubicBezTo>
                  <a:cubicBezTo>
                    <a:pt x="2160" y="2740"/>
                    <a:pt x="6029" y="982"/>
                    <a:pt x="10800" y="982"/>
                  </a:cubicBezTo>
                  <a:cubicBezTo>
                    <a:pt x="15571" y="982"/>
                    <a:pt x="19440" y="2740"/>
                    <a:pt x="19440" y="4909"/>
                  </a:cubicBezTo>
                  <a:cubicBezTo>
                    <a:pt x="19440" y="7078"/>
                    <a:pt x="15571" y="8836"/>
                    <a:pt x="10800" y="8836"/>
                  </a:cubicBezTo>
                  <a:moveTo>
                    <a:pt x="10800" y="17182"/>
                  </a:moveTo>
                  <a:lnTo>
                    <a:pt x="8154" y="9664"/>
                  </a:lnTo>
                  <a:cubicBezTo>
                    <a:pt x="9002" y="9761"/>
                    <a:pt x="9885" y="9818"/>
                    <a:pt x="10800" y="9818"/>
                  </a:cubicBezTo>
                  <a:cubicBezTo>
                    <a:pt x="11715" y="9818"/>
                    <a:pt x="12598" y="9761"/>
                    <a:pt x="13446" y="9664"/>
                  </a:cubicBezTo>
                  <a:cubicBezTo>
                    <a:pt x="13446" y="9664"/>
                    <a:pt x="10800" y="17182"/>
                    <a:pt x="10800" y="17182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2199"/>
                    <a:pt x="0" y="4909"/>
                  </a:cubicBezTo>
                  <a:cubicBezTo>
                    <a:pt x="0" y="6830"/>
                    <a:pt x="2431" y="8487"/>
                    <a:pt x="5966" y="9295"/>
                  </a:cubicBezTo>
                  <a:lnTo>
                    <a:pt x="10800" y="21600"/>
                  </a:lnTo>
                  <a:lnTo>
                    <a:pt x="15635" y="9295"/>
                  </a:lnTo>
                  <a:cubicBezTo>
                    <a:pt x="19169" y="8487"/>
                    <a:pt x="21600" y="6830"/>
                    <a:pt x="21600" y="4909"/>
                  </a:cubicBezTo>
                  <a:cubicBezTo>
                    <a:pt x="21600" y="2199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Shape 2937">
              <a:extLst>
                <a:ext uri="{FF2B5EF4-FFF2-40B4-BE49-F238E27FC236}">
                  <a16:creationId xmlns:a16="http://schemas.microsoft.com/office/drawing/2014/main" id="{C693BFDD-9BFB-48D1-A46F-9E9BD7E200A6}"/>
                </a:ext>
              </a:extLst>
            </p:cNvPr>
            <p:cNvSpPr/>
            <p:nvPr/>
          </p:nvSpPr>
          <p:spPr bwMode="gray">
            <a:xfrm>
              <a:off x="2268550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9145"/>
                  </a:lnTo>
                  <a:cubicBezTo>
                    <a:pt x="11291" y="18875"/>
                    <a:pt x="11071" y="18655"/>
                    <a:pt x="10800" y="18655"/>
                  </a:cubicBezTo>
                  <a:cubicBezTo>
                    <a:pt x="10529" y="18655"/>
                    <a:pt x="10309" y="18875"/>
                    <a:pt x="10309" y="19145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2455" y="11291"/>
                  </a:lnTo>
                  <a:cubicBezTo>
                    <a:pt x="2725" y="11291"/>
                    <a:pt x="2945" y="11071"/>
                    <a:pt x="2945" y="10800"/>
                  </a:cubicBezTo>
                  <a:cubicBezTo>
                    <a:pt x="2945" y="10529"/>
                    <a:pt x="2725" y="10309"/>
                    <a:pt x="2455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2455"/>
                  </a:lnTo>
                  <a:cubicBezTo>
                    <a:pt x="10309" y="2726"/>
                    <a:pt x="10529" y="2945"/>
                    <a:pt x="10800" y="2945"/>
                  </a:cubicBezTo>
                  <a:cubicBezTo>
                    <a:pt x="11071" y="2945"/>
                    <a:pt x="11291" y="2726"/>
                    <a:pt x="11291" y="2455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9145" y="10309"/>
                  </a:lnTo>
                  <a:cubicBezTo>
                    <a:pt x="18875" y="10309"/>
                    <a:pt x="18655" y="10529"/>
                    <a:pt x="18655" y="10800"/>
                  </a:cubicBezTo>
                  <a:cubicBezTo>
                    <a:pt x="18655" y="11071"/>
                    <a:pt x="18875" y="11291"/>
                    <a:pt x="19145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moveTo>
                    <a:pt x="14965" y="6634"/>
                  </a:moveTo>
                  <a:lnTo>
                    <a:pt x="12189" y="12188"/>
                  </a:lnTo>
                  <a:lnTo>
                    <a:pt x="6635" y="14966"/>
                  </a:lnTo>
                  <a:lnTo>
                    <a:pt x="9411" y="9412"/>
                  </a:lnTo>
                  <a:cubicBezTo>
                    <a:pt x="9411" y="9412"/>
                    <a:pt x="14965" y="6634"/>
                    <a:pt x="14965" y="6634"/>
                  </a:cubicBezTo>
                  <a:close/>
                  <a:moveTo>
                    <a:pt x="4552" y="17048"/>
                  </a:moveTo>
                  <a:lnTo>
                    <a:pt x="12883" y="12883"/>
                  </a:lnTo>
                  <a:lnTo>
                    <a:pt x="17048" y="4551"/>
                  </a:lnTo>
                  <a:lnTo>
                    <a:pt x="8717" y="8717"/>
                  </a:lnTo>
                  <a:cubicBezTo>
                    <a:pt x="8717" y="8717"/>
                    <a:pt x="4552" y="17048"/>
                    <a:pt x="4552" y="17048"/>
                  </a:cubicBezTo>
                  <a:close/>
                  <a:moveTo>
                    <a:pt x="11494" y="11494"/>
                  </a:moveTo>
                  <a:cubicBezTo>
                    <a:pt x="11877" y="11111"/>
                    <a:pt x="11877" y="10489"/>
                    <a:pt x="11494" y="10106"/>
                  </a:cubicBezTo>
                  <a:cubicBezTo>
                    <a:pt x="11111" y="9722"/>
                    <a:pt x="10489" y="9722"/>
                    <a:pt x="10106" y="10106"/>
                  </a:cubicBezTo>
                  <a:cubicBezTo>
                    <a:pt x="9723" y="10489"/>
                    <a:pt x="9723" y="11111"/>
                    <a:pt x="10106" y="11494"/>
                  </a:cubicBezTo>
                  <a:cubicBezTo>
                    <a:pt x="10489" y="11878"/>
                    <a:pt x="11111" y="11878"/>
                    <a:pt x="11494" y="11494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Shape 2938">
              <a:extLst>
                <a:ext uri="{FF2B5EF4-FFF2-40B4-BE49-F238E27FC236}">
                  <a16:creationId xmlns:a16="http://schemas.microsoft.com/office/drawing/2014/main" id="{437A9C9B-EAA7-44CC-ADB1-C42ECCBD9065}"/>
                </a:ext>
              </a:extLst>
            </p:cNvPr>
            <p:cNvSpPr/>
            <p:nvPr/>
          </p:nvSpPr>
          <p:spPr bwMode="gray">
            <a:xfrm>
              <a:off x="2822101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20458"/>
                  </a:moveTo>
                  <a:lnTo>
                    <a:pt x="14727" y="18775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2" y="1990"/>
                  </a:moveTo>
                  <a:lnTo>
                    <a:pt x="21244" y="1983"/>
                  </a:lnTo>
                  <a:lnTo>
                    <a:pt x="14371" y="19"/>
                  </a:lnTo>
                  <a:lnTo>
                    <a:pt x="14369" y="27"/>
                  </a:lnTo>
                  <a:cubicBezTo>
                    <a:pt x="14326" y="14"/>
                    <a:pt x="14284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1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8" y="19610"/>
                  </a:cubicBezTo>
                  <a:lnTo>
                    <a:pt x="356" y="19618"/>
                  </a:lnTo>
                  <a:lnTo>
                    <a:pt x="7229" y="21581"/>
                  </a:lnTo>
                  <a:lnTo>
                    <a:pt x="7231" y="21573"/>
                  </a:lnTo>
                  <a:cubicBezTo>
                    <a:pt x="7274" y="21586"/>
                    <a:pt x="7316" y="21600"/>
                    <a:pt x="7364" y="21600"/>
                  </a:cubicBezTo>
                  <a:cubicBezTo>
                    <a:pt x="7411" y="21600"/>
                    <a:pt x="7454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2" y="199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Shape 2939">
              <a:extLst>
                <a:ext uri="{FF2B5EF4-FFF2-40B4-BE49-F238E27FC236}">
                  <a16:creationId xmlns:a16="http://schemas.microsoft.com/office/drawing/2014/main" id="{677BF2B6-4F10-4733-89A0-B597090F53E0}"/>
                </a:ext>
              </a:extLst>
            </p:cNvPr>
            <p:cNvSpPr/>
            <p:nvPr/>
          </p:nvSpPr>
          <p:spPr bwMode="gray">
            <a:xfrm>
              <a:off x="3375653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Shape 2940">
              <a:extLst>
                <a:ext uri="{FF2B5EF4-FFF2-40B4-BE49-F238E27FC236}">
                  <a16:creationId xmlns:a16="http://schemas.microsoft.com/office/drawing/2014/main" id="{D781F62C-ADFE-4871-9EF9-F10465606242}"/>
                </a:ext>
              </a:extLst>
            </p:cNvPr>
            <p:cNvSpPr/>
            <p:nvPr/>
          </p:nvSpPr>
          <p:spPr bwMode="gray">
            <a:xfrm>
              <a:off x="3929204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8345"/>
                  </a:moveTo>
                  <a:cubicBezTo>
                    <a:pt x="9444" y="8345"/>
                    <a:pt x="8345" y="9444"/>
                    <a:pt x="8345" y="10800"/>
                  </a:cubicBezTo>
                  <a:cubicBezTo>
                    <a:pt x="8345" y="12156"/>
                    <a:pt x="9444" y="13255"/>
                    <a:pt x="10800" y="13255"/>
                  </a:cubicBezTo>
                  <a:cubicBezTo>
                    <a:pt x="12156" y="13255"/>
                    <a:pt x="13255" y="12156"/>
                    <a:pt x="13255" y="10800"/>
                  </a:cubicBezTo>
                  <a:cubicBezTo>
                    <a:pt x="13255" y="9444"/>
                    <a:pt x="12156" y="8345"/>
                    <a:pt x="10800" y="8345"/>
                  </a:cubicBezTo>
                  <a:moveTo>
                    <a:pt x="11291" y="20593"/>
                  </a:moveTo>
                  <a:lnTo>
                    <a:pt x="11291" y="17182"/>
                  </a:lnTo>
                  <a:cubicBezTo>
                    <a:pt x="11291" y="16910"/>
                    <a:pt x="11071" y="16691"/>
                    <a:pt x="10800" y="16691"/>
                  </a:cubicBezTo>
                  <a:cubicBezTo>
                    <a:pt x="10529" y="16691"/>
                    <a:pt x="10309" y="16910"/>
                    <a:pt x="10309" y="17182"/>
                  </a:cubicBezTo>
                  <a:lnTo>
                    <a:pt x="10309" y="20593"/>
                  </a:lnTo>
                  <a:cubicBezTo>
                    <a:pt x="5280" y="20344"/>
                    <a:pt x="1255" y="16319"/>
                    <a:pt x="1006" y="11291"/>
                  </a:cubicBezTo>
                  <a:lnTo>
                    <a:pt x="4418" y="11291"/>
                  </a:lnTo>
                  <a:cubicBezTo>
                    <a:pt x="4690" y="11291"/>
                    <a:pt x="4909" y="11071"/>
                    <a:pt x="4909" y="10800"/>
                  </a:cubicBezTo>
                  <a:cubicBezTo>
                    <a:pt x="4909" y="10529"/>
                    <a:pt x="4690" y="10309"/>
                    <a:pt x="4418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lnTo>
                    <a:pt x="10309" y="4418"/>
                  </a:lnTo>
                  <a:cubicBezTo>
                    <a:pt x="10309" y="4690"/>
                    <a:pt x="10529" y="4909"/>
                    <a:pt x="10800" y="4909"/>
                  </a:cubicBezTo>
                  <a:cubicBezTo>
                    <a:pt x="11071" y="4909"/>
                    <a:pt x="11291" y="4690"/>
                    <a:pt x="11291" y="4418"/>
                  </a:cubicBezTo>
                  <a:lnTo>
                    <a:pt x="11291" y="1007"/>
                  </a:lnTo>
                  <a:cubicBezTo>
                    <a:pt x="16320" y="1256"/>
                    <a:pt x="20345" y="5281"/>
                    <a:pt x="20594" y="10309"/>
                  </a:cubicBezTo>
                  <a:lnTo>
                    <a:pt x="17182" y="10309"/>
                  </a:lnTo>
                  <a:cubicBezTo>
                    <a:pt x="16910" y="10309"/>
                    <a:pt x="16691" y="10529"/>
                    <a:pt x="16691" y="10800"/>
                  </a:cubicBezTo>
                  <a:cubicBezTo>
                    <a:pt x="16691" y="11071"/>
                    <a:pt x="16910" y="11291"/>
                    <a:pt x="17182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0800" y="0"/>
                  </a:moveTo>
                  <a:cubicBezTo>
                    <a:pt x="10800" y="0"/>
                    <a:pt x="10800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2941">
              <a:extLst>
                <a:ext uri="{FF2B5EF4-FFF2-40B4-BE49-F238E27FC236}">
                  <a16:creationId xmlns:a16="http://schemas.microsoft.com/office/drawing/2014/main" id="{B7DAFDC9-C10A-4CD5-AAFD-B3B87EAB6ABE}"/>
                </a:ext>
              </a:extLst>
            </p:cNvPr>
            <p:cNvSpPr/>
            <p:nvPr/>
          </p:nvSpPr>
          <p:spPr bwMode="gray">
            <a:xfrm>
              <a:off x="4482756" y="5032008"/>
              <a:ext cx="289956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20593"/>
                  </a:moveTo>
                  <a:lnTo>
                    <a:pt x="11291" y="17648"/>
                  </a:lnTo>
                  <a:cubicBezTo>
                    <a:pt x="14694" y="17407"/>
                    <a:pt x="17408" y="14693"/>
                    <a:pt x="17649" y="11291"/>
                  </a:cubicBezTo>
                  <a:lnTo>
                    <a:pt x="20594" y="11291"/>
                  </a:lnTo>
                  <a:cubicBezTo>
                    <a:pt x="20345" y="16319"/>
                    <a:pt x="16320" y="20344"/>
                    <a:pt x="11291" y="20593"/>
                  </a:cubicBezTo>
                  <a:moveTo>
                    <a:pt x="11291" y="13205"/>
                  </a:moveTo>
                  <a:cubicBezTo>
                    <a:pt x="12252" y="13010"/>
                    <a:pt x="13005" y="12252"/>
                    <a:pt x="13201" y="11291"/>
                  </a:cubicBezTo>
                  <a:lnTo>
                    <a:pt x="16667" y="11291"/>
                  </a:lnTo>
                  <a:cubicBezTo>
                    <a:pt x="16431" y="14152"/>
                    <a:pt x="14152" y="16429"/>
                    <a:pt x="11291" y="16666"/>
                  </a:cubicBezTo>
                  <a:cubicBezTo>
                    <a:pt x="11291" y="16666"/>
                    <a:pt x="11291" y="13205"/>
                    <a:pt x="11291" y="13205"/>
                  </a:cubicBezTo>
                  <a:close/>
                  <a:moveTo>
                    <a:pt x="11291" y="4934"/>
                  </a:moveTo>
                  <a:cubicBezTo>
                    <a:pt x="12233" y="5012"/>
                    <a:pt x="13111" y="5315"/>
                    <a:pt x="13875" y="5784"/>
                  </a:cubicBezTo>
                  <a:cubicBezTo>
                    <a:pt x="13793" y="5967"/>
                    <a:pt x="13745" y="6168"/>
                    <a:pt x="13745" y="6382"/>
                  </a:cubicBezTo>
                  <a:cubicBezTo>
                    <a:pt x="13745" y="7195"/>
                    <a:pt x="14405" y="7855"/>
                    <a:pt x="15218" y="7855"/>
                  </a:cubicBezTo>
                  <a:cubicBezTo>
                    <a:pt x="15432" y="7855"/>
                    <a:pt x="15633" y="7807"/>
                    <a:pt x="15816" y="7725"/>
                  </a:cubicBezTo>
                  <a:cubicBezTo>
                    <a:pt x="16286" y="8489"/>
                    <a:pt x="16589" y="9367"/>
                    <a:pt x="16667" y="10309"/>
                  </a:cubicBezTo>
                  <a:lnTo>
                    <a:pt x="13201" y="10309"/>
                  </a:lnTo>
                  <a:cubicBezTo>
                    <a:pt x="13005" y="9348"/>
                    <a:pt x="12252" y="8590"/>
                    <a:pt x="11291" y="8395"/>
                  </a:cubicBezTo>
                  <a:cubicBezTo>
                    <a:pt x="11291" y="8395"/>
                    <a:pt x="11291" y="4934"/>
                    <a:pt x="11291" y="4934"/>
                  </a:cubicBezTo>
                  <a:close/>
                  <a:moveTo>
                    <a:pt x="11291" y="1007"/>
                  </a:moveTo>
                  <a:cubicBezTo>
                    <a:pt x="16320" y="1256"/>
                    <a:pt x="20345" y="5281"/>
                    <a:pt x="20594" y="10309"/>
                  </a:cubicBezTo>
                  <a:lnTo>
                    <a:pt x="17649" y="10309"/>
                  </a:lnTo>
                  <a:cubicBezTo>
                    <a:pt x="17563" y="9102"/>
                    <a:pt x="17162" y="7985"/>
                    <a:pt x="16534" y="7031"/>
                  </a:cubicBezTo>
                  <a:cubicBezTo>
                    <a:pt x="16631" y="6835"/>
                    <a:pt x="16691" y="6616"/>
                    <a:pt x="16691" y="6382"/>
                  </a:cubicBezTo>
                  <a:cubicBezTo>
                    <a:pt x="16691" y="5569"/>
                    <a:pt x="16032" y="4909"/>
                    <a:pt x="15218" y="4909"/>
                  </a:cubicBezTo>
                  <a:cubicBezTo>
                    <a:pt x="14984" y="4909"/>
                    <a:pt x="14765" y="4969"/>
                    <a:pt x="14568" y="5066"/>
                  </a:cubicBezTo>
                  <a:cubicBezTo>
                    <a:pt x="13614" y="4439"/>
                    <a:pt x="12498" y="4038"/>
                    <a:pt x="11291" y="3952"/>
                  </a:cubicBezTo>
                  <a:cubicBezTo>
                    <a:pt x="11291" y="3952"/>
                    <a:pt x="11291" y="1007"/>
                    <a:pt x="11291" y="1007"/>
                  </a:cubicBezTo>
                  <a:close/>
                  <a:moveTo>
                    <a:pt x="10309" y="3949"/>
                  </a:moveTo>
                  <a:cubicBezTo>
                    <a:pt x="7225" y="4167"/>
                    <a:pt x="4703" y="6417"/>
                    <a:pt x="4078" y="9370"/>
                  </a:cubicBezTo>
                  <a:cubicBezTo>
                    <a:pt x="3590" y="9486"/>
                    <a:pt x="3196" y="9843"/>
                    <a:pt x="3030" y="10309"/>
                  </a:cubicBezTo>
                  <a:lnTo>
                    <a:pt x="1006" y="10309"/>
                  </a:lnTo>
                  <a:cubicBezTo>
                    <a:pt x="1255" y="5281"/>
                    <a:pt x="5280" y="1256"/>
                    <a:pt x="10309" y="1007"/>
                  </a:cubicBezTo>
                  <a:cubicBezTo>
                    <a:pt x="10309" y="1007"/>
                    <a:pt x="10309" y="3949"/>
                    <a:pt x="10309" y="3949"/>
                  </a:cubicBezTo>
                  <a:close/>
                  <a:moveTo>
                    <a:pt x="10309" y="8395"/>
                  </a:moveTo>
                  <a:cubicBezTo>
                    <a:pt x="9348" y="8590"/>
                    <a:pt x="8595" y="9348"/>
                    <a:pt x="8399" y="10309"/>
                  </a:cubicBezTo>
                  <a:lnTo>
                    <a:pt x="5796" y="10309"/>
                  </a:lnTo>
                  <a:cubicBezTo>
                    <a:pt x="5666" y="9948"/>
                    <a:pt x="5405" y="9649"/>
                    <a:pt x="5062" y="9482"/>
                  </a:cubicBezTo>
                  <a:cubicBezTo>
                    <a:pt x="5626" y="7018"/>
                    <a:pt x="7730" y="5144"/>
                    <a:pt x="10309" y="4930"/>
                  </a:cubicBezTo>
                  <a:cubicBezTo>
                    <a:pt x="10309" y="4930"/>
                    <a:pt x="10309" y="8395"/>
                    <a:pt x="10309" y="8395"/>
                  </a:cubicBezTo>
                  <a:close/>
                  <a:moveTo>
                    <a:pt x="10309" y="16670"/>
                  </a:moveTo>
                  <a:cubicBezTo>
                    <a:pt x="7730" y="16456"/>
                    <a:pt x="5626" y="14582"/>
                    <a:pt x="5062" y="12118"/>
                  </a:cubicBezTo>
                  <a:cubicBezTo>
                    <a:pt x="5405" y="11951"/>
                    <a:pt x="5666" y="11652"/>
                    <a:pt x="5796" y="11291"/>
                  </a:cubicBezTo>
                  <a:lnTo>
                    <a:pt x="8399" y="11291"/>
                  </a:lnTo>
                  <a:cubicBezTo>
                    <a:pt x="8595" y="12252"/>
                    <a:pt x="9348" y="13010"/>
                    <a:pt x="10309" y="13205"/>
                  </a:cubicBezTo>
                  <a:cubicBezTo>
                    <a:pt x="10309" y="13205"/>
                    <a:pt x="10309" y="16670"/>
                    <a:pt x="10309" y="16670"/>
                  </a:cubicBezTo>
                  <a:close/>
                  <a:moveTo>
                    <a:pt x="10309" y="20593"/>
                  </a:moveTo>
                  <a:cubicBezTo>
                    <a:pt x="5280" y="20344"/>
                    <a:pt x="1255" y="16319"/>
                    <a:pt x="1006" y="11291"/>
                  </a:cubicBezTo>
                  <a:lnTo>
                    <a:pt x="3030" y="11291"/>
                  </a:lnTo>
                  <a:cubicBezTo>
                    <a:pt x="3196" y="11757"/>
                    <a:pt x="3590" y="12114"/>
                    <a:pt x="4078" y="12230"/>
                  </a:cubicBezTo>
                  <a:cubicBezTo>
                    <a:pt x="4703" y="15183"/>
                    <a:pt x="7225" y="17434"/>
                    <a:pt x="10309" y="17651"/>
                  </a:cubicBezTo>
                  <a:cubicBezTo>
                    <a:pt x="10309" y="17651"/>
                    <a:pt x="10309" y="20593"/>
                    <a:pt x="10309" y="2059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Shape 2942">
              <a:extLst>
                <a:ext uri="{FF2B5EF4-FFF2-40B4-BE49-F238E27FC236}">
                  <a16:creationId xmlns:a16="http://schemas.microsoft.com/office/drawing/2014/main" id="{6635C0A1-5A4F-492D-93FE-CA99C23F4EE7}"/>
                </a:ext>
              </a:extLst>
            </p:cNvPr>
            <p:cNvSpPr/>
            <p:nvPr/>
          </p:nvSpPr>
          <p:spPr bwMode="gray">
            <a:xfrm>
              <a:off x="5062667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0" y="12524"/>
                  </a:moveTo>
                  <a:cubicBezTo>
                    <a:pt x="19362" y="12218"/>
                    <a:pt x="17455" y="11782"/>
                    <a:pt x="15000" y="11782"/>
                  </a:cubicBezTo>
                  <a:cubicBezTo>
                    <a:pt x="12625" y="11782"/>
                    <a:pt x="11514" y="12089"/>
                    <a:pt x="10534" y="12360"/>
                  </a:cubicBezTo>
                  <a:cubicBezTo>
                    <a:pt x="9751" y="12577"/>
                    <a:pt x="9076" y="12764"/>
                    <a:pt x="7800" y="12764"/>
                  </a:cubicBezTo>
                  <a:cubicBezTo>
                    <a:pt x="6097" y="12764"/>
                    <a:pt x="5268" y="12537"/>
                    <a:pt x="4390" y="12298"/>
                  </a:cubicBezTo>
                  <a:cubicBezTo>
                    <a:pt x="3564" y="12073"/>
                    <a:pt x="2709" y="11842"/>
                    <a:pt x="1200" y="11792"/>
                  </a:cubicBezTo>
                  <a:lnTo>
                    <a:pt x="1200" y="992"/>
                  </a:lnTo>
                  <a:cubicBezTo>
                    <a:pt x="2511" y="1038"/>
                    <a:pt x="3242" y="1238"/>
                    <a:pt x="4010" y="1448"/>
                  </a:cubicBezTo>
                  <a:cubicBezTo>
                    <a:pt x="4941" y="1701"/>
                    <a:pt x="5903" y="1964"/>
                    <a:pt x="7800" y="1964"/>
                  </a:cubicBezTo>
                  <a:cubicBezTo>
                    <a:pt x="9273" y="1964"/>
                    <a:pt x="10109" y="1733"/>
                    <a:pt x="10918" y="1508"/>
                  </a:cubicBezTo>
                  <a:cubicBezTo>
                    <a:pt x="11854" y="1250"/>
                    <a:pt x="12823" y="982"/>
                    <a:pt x="15000" y="982"/>
                  </a:cubicBezTo>
                  <a:cubicBezTo>
                    <a:pt x="17661" y="982"/>
                    <a:pt x="19648" y="1545"/>
                    <a:pt x="20400" y="1794"/>
                  </a:cubicBezTo>
                  <a:cubicBezTo>
                    <a:pt x="20400" y="1794"/>
                    <a:pt x="20400" y="12524"/>
                    <a:pt x="20400" y="12524"/>
                  </a:cubicBezTo>
                  <a:close/>
                  <a:moveTo>
                    <a:pt x="21594" y="1473"/>
                  </a:moveTo>
                  <a:cubicBezTo>
                    <a:pt x="21594" y="1293"/>
                    <a:pt x="21478" y="1120"/>
                    <a:pt x="21268" y="1034"/>
                  </a:cubicBezTo>
                  <a:cubicBezTo>
                    <a:pt x="21165" y="991"/>
                    <a:pt x="18699" y="0"/>
                    <a:pt x="15000" y="0"/>
                  </a:cubicBezTo>
                  <a:cubicBezTo>
                    <a:pt x="12625" y="0"/>
                    <a:pt x="11514" y="308"/>
                    <a:pt x="10534" y="579"/>
                  </a:cubicBezTo>
                  <a:cubicBezTo>
                    <a:pt x="9751" y="795"/>
                    <a:pt x="9076" y="982"/>
                    <a:pt x="7800" y="982"/>
                  </a:cubicBezTo>
                  <a:cubicBezTo>
                    <a:pt x="6097" y="982"/>
                    <a:pt x="5268" y="756"/>
                    <a:pt x="4390" y="516"/>
                  </a:cubicBezTo>
                  <a:cubicBezTo>
                    <a:pt x="3459" y="263"/>
                    <a:pt x="2497" y="0"/>
                    <a:pt x="600" y="0"/>
                  </a:cubicBez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2774"/>
                  </a:lnTo>
                  <a:cubicBezTo>
                    <a:pt x="2511" y="12820"/>
                    <a:pt x="3242" y="13020"/>
                    <a:pt x="4010" y="13230"/>
                  </a:cubicBezTo>
                  <a:cubicBezTo>
                    <a:pt x="4941" y="13483"/>
                    <a:pt x="5903" y="13745"/>
                    <a:pt x="7800" y="13745"/>
                  </a:cubicBezTo>
                  <a:cubicBezTo>
                    <a:pt x="9273" y="13745"/>
                    <a:pt x="10109" y="13514"/>
                    <a:pt x="10918" y="13291"/>
                  </a:cubicBezTo>
                  <a:cubicBezTo>
                    <a:pt x="11854" y="13031"/>
                    <a:pt x="12823" y="12764"/>
                    <a:pt x="15000" y="12764"/>
                  </a:cubicBezTo>
                  <a:cubicBezTo>
                    <a:pt x="18400" y="12764"/>
                    <a:pt x="20709" y="13685"/>
                    <a:pt x="20733" y="13694"/>
                  </a:cubicBezTo>
                  <a:cubicBezTo>
                    <a:pt x="21029" y="13814"/>
                    <a:pt x="21389" y="13716"/>
                    <a:pt x="21537" y="13473"/>
                  </a:cubicBezTo>
                  <a:cubicBezTo>
                    <a:pt x="21580" y="13403"/>
                    <a:pt x="21594" y="13328"/>
                    <a:pt x="21594" y="13255"/>
                  </a:cubicBezTo>
                  <a:lnTo>
                    <a:pt x="21600" y="13255"/>
                  </a:lnTo>
                  <a:lnTo>
                    <a:pt x="21600" y="1473"/>
                  </a:lnTo>
                  <a:cubicBezTo>
                    <a:pt x="21600" y="1473"/>
                    <a:pt x="21594" y="1473"/>
                    <a:pt x="21594" y="14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Shape 2943">
              <a:extLst>
                <a:ext uri="{FF2B5EF4-FFF2-40B4-BE49-F238E27FC236}">
                  <a16:creationId xmlns:a16="http://schemas.microsoft.com/office/drawing/2014/main" id="{335D42A1-050A-4101-9D4E-A68A0363C60E}"/>
                </a:ext>
              </a:extLst>
            </p:cNvPr>
            <p:cNvSpPr/>
            <p:nvPr/>
          </p:nvSpPr>
          <p:spPr bwMode="gray">
            <a:xfrm>
              <a:off x="5616219" y="5032008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6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0"/>
                  </a:moveTo>
                  <a:lnTo>
                    <a:pt x="18100" y="7364"/>
                  </a:lnTo>
                  <a:lnTo>
                    <a:pt x="21514" y="2707"/>
                  </a:lnTo>
                  <a:lnTo>
                    <a:pt x="21506" y="2703"/>
                  </a:lnTo>
                  <a:cubicBezTo>
                    <a:pt x="21560" y="2629"/>
                    <a:pt x="21600" y="2547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0"/>
                    <a:pt x="21514" y="12020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Shape 2949">
              <a:extLst>
                <a:ext uri="{FF2B5EF4-FFF2-40B4-BE49-F238E27FC236}">
                  <a16:creationId xmlns:a16="http://schemas.microsoft.com/office/drawing/2014/main" id="{D8546150-CAB0-4176-B637-02BA561DD2AC}"/>
                </a:ext>
              </a:extLst>
            </p:cNvPr>
            <p:cNvSpPr/>
            <p:nvPr/>
          </p:nvSpPr>
          <p:spPr bwMode="gray">
            <a:xfrm>
              <a:off x="6169771" y="5025201"/>
              <a:ext cx="237237" cy="289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52" y="16691"/>
                  </a:moveTo>
                  <a:lnTo>
                    <a:pt x="3600" y="16691"/>
                  </a:lnTo>
                  <a:lnTo>
                    <a:pt x="3600" y="11782"/>
                  </a:lnTo>
                  <a:lnTo>
                    <a:pt x="17152" y="11782"/>
                  </a:lnTo>
                  <a:lnTo>
                    <a:pt x="20152" y="14236"/>
                  </a:lnTo>
                  <a:cubicBezTo>
                    <a:pt x="20152" y="14236"/>
                    <a:pt x="17152" y="16691"/>
                    <a:pt x="17152" y="16691"/>
                  </a:cubicBezTo>
                  <a:close/>
                  <a:moveTo>
                    <a:pt x="11400" y="20618"/>
                  </a:moveTo>
                  <a:lnTo>
                    <a:pt x="10200" y="20618"/>
                  </a:lnTo>
                  <a:lnTo>
                    <a:pt x="10200" y="17673"/>
                  </a:lnTo>
                  <a:lnTo>
                    <a:pt x="11400" y="17673"/>
                  </a:lnTo>
                  <a:cubicBezTo>
                    <a:pt x="11400" y="17673"/>
                    <a:pt x="11400" y="20618"/>
                    <a:pt x="11400" y="20618"/>
                  </a:cubicBezTo>
                  <a:close/>
                  <a:moveTo>
                    <a:pt x="11400" y="10800"/>
                  </a:moveTo>
                  <a:lnTo>
                    <a:pt x="10200" y="10800"/>
                  </a:lnTo>
                  <a:lnTo>
                    <a:pt x="10200" y="8836"/>
                  </a:lnTo>
                  <a:lnTo>
                    <a:pt x="11400" y="8836"/>
                  </a:lnTo>
                  <a:cubicBezTo>
                    <a:pt x="11400" y="8836"/>
                    <a:pt x="11400" y="10800"/>
                    <a:pt x="11400" y="10800"/>
                  </a:cubicBezTo>
                  <a:close/>
                  <a:moveTo>
                    <a:pt x="4448" y="7855"/>
                  </a:moveTo>
                  <a:lnTo>
                    <a:pt x="1448" y="5400"/>
                  </a:lnTo>
                  <a:lnTo>
                    <a:pt x="4448" y="2945"/>
                  </a:lnTo>
                  <a:lnTo>
                    <a:pt x="18000" y="2945"/>
                  </a:lnTo>
                  <a:lnTo>
                    <a:pt x="18000" y="7855"/>
                  </a:lnTo>
                  <a:cubicBezTo>
                    <a:pt x="18000" y="7855"/>
                    <a:pt x="4448" y="7855"/>
                    <a:pt x="4448" y="7855"/>
                  </a:cubicBezTo>
                  <a:close/>
                  <a:moveTo>
                    <a:pt x="10200" y="982"/>
                  </a:moveTo>
                  <a:lnTo>
                    <a:pt x="11400" y="982"/>
                  </a:lnTo>
                  <a:lnTo>
                    <a:pt x="11400" y="1964"/>
                  </a:lnTo>
                  <a:lnTo>
                    <a:pt x="10200" y="1964"/>
                  </a:lnTo>
                  <a:cubicBezTo>
                    <a:pt x="10200" y="1964"/>
                    <a:pt x="10200" y="982"/>
                    <a:pt x="10200" y="982"/>
                  </a:cubicBezTo>
                  <a:close/>
                  <a:moveTo>
                    <a:pt x="21424" y="13889"/>
                  </a:moveTo>
                  <a:lnTo>
                    <a:pt x="17824" y="10944"/>
                  </a:lnTo>
                  <a:cubicBezTo>
                    <a:pt x="17715" y="10855"/>
                    <a:pt x="17565" y="10800"/>
                    <a:pt x="17400" y="10800"/>
                  </a:cubicBezTo>
                  <a:lnTo>
                    <a:pt x="12600" y="10800"/>
                  </a:lnTo>
                  <a:lnTo>
                    <a:pt x="12600" y="8836"/>
                  </a:lnTo>
                  <a:lnTo>
                    <a:pt x="18600" y="8836"/>
                  </a:lnTo>
                  <a:cubicBezTo>
                    <a:pt x="18932" y="8836"/>
                    <a:pt x="19200" y="8616"/>
                    <a:pt x="19200" y="8345"/>
                  </a:cubicBezTo>
                  <a:lnTo>
                    <a:pt x="19200" y="2455"/>
                  </a:lnTo>
                  <a:cubicBezTo>
                    <a:pt x="19200" y="2184"/>
                    <a:pt x="18932" y="1964"/>
                    <a:pt x="18600" y="1964"/>
                  </a:cubicBezTo>
                  <a:lnTo>
                    <a:pt x="12600" y="1964"/>
                  </a:lnTo>
                  <a:lnTo>
                    <a:pt x="12600" y="982"/>
                  </a:lnTo>
                  <a:cubicBezTo>
                    <a:pt x="12600" y="440"/>
                    <a:pt x="12063" y="0"/>
                    <a:pt x="11400" y="0"/>
                  </a:cubicBezTo>
                  <a:lnTo>
                    <a:pt x="10200" y="0"/>
                  </a:lnTo>
                  <a:cubicBezTo>
                    <a:pt x="9537" y="0"/>
                    <a:pt x="9000" y="440"/>
                    <a:pt x="9000" y="982"/>
                  </a:cubicBezTo>
                  <a:lnTo>
                    <a:pt x="9000" y="1964"/>
                  </a:lnTo>
                  <a:lnTo>
                    <a:pt x="4200" y="1964"/>
                  </a:lnTo>
                  <a:cubicBezTo>
                    <a:pt x="4034" y="1964"/>
                    <a:pt x="3885" y="2019"/>
                    <a:pt x="3776" y="2107"/>
                  </a:cubicBezTo>
                  <a:lnTo>
                    <a:pt x="176" y="5053"/>
                  </a:lnTo>
                  <a:cubicBezTo>
                    <a:pt x="67" y="5142"/>
                    <a:pt x="0" y="5265"/>
                    <a:pt x="0" y="5400"/>
                  </a:cubicBezTo>
                  <a:cubicBezTo>
                    <a:pt x="0" y="5536"/>
                    <a:pt x="67" y="5658"/>
                    <a:pt x="176" y="5747"/>
                  </a:cubicBezTo>
                  <a:lnTo>
                    <a:pt x="3776" y="8693"/>
                  </a:lnTo>
                  <a:cubicBezTo>
                    <a:pt x="3885" y="8782"/>
                    <a:pt x="4034" y="8836"/>
                    <a:pt x="4200" y="8836"/>
                  </a:cubicBezTo>
                  <a:lnTo>
                    <a:pt x="9000" y="8836"/>
                  </a:lnTo>
                  <a:lnTo>
                    <a:pt x="9000" y="10800"/>
                  </a:lnTo>
                  <a:lnTo>
                    <a:pt x="3000" y="10800"/>
                  </a:lnTo>
                  <a:cubicBezTo>
                    <a:pt x="2668" y="10800"/>
                    <a:pt x="2400" y="11020"/>
                    <a:pt x="2400" y="11291"/>
                  </a:cubicBezTo>
                  <a:lnTo>
                    <a:pt x="2400" y="17182"/>
                  </a:lnTo>
                  <a:cubicBezTo>
                    <a:pt x="2400" y="17453"/>
                    <a:pt x="2668" y="17673"/>
                    <a:pt x="3000" y="17673"/>
                  </a:cubicBezTo>
                  <a:lnTo>
                    <a:pt x="9000" y="17673"/>
                  </a:lnTo>
                  <a:lnTo>
                    <a:pt x="9000" y="20618"/>
                  </a:lnTo>
                  <a:cubicBezTo>
                    <a:pt x="9000" y="21160"/>
                    <a:pt x="9537" y="21600"/>
                    <a:pt x="10200" y="21600"/>
                  </a:cubicBezTo>
                  <a:lnTo>
                    <a:pt x="11400" y="21600"/>
                  </a:lnTo>
                  <a:cubicBezTo>
                    <a:pt x="12063" y="21600"/>
                    <a:pt x="12600" y="21160"/>
                    <a:pt x="12600" y="20618"/>
                  </a:cubicBezTo>
                  <a:lnTo>
                    <a:pt x="12600" y="17673"/>
                  </a:lnTo>
                  <a:lnTo>
                    <a:pt x="17400" y="17673"/>
                  </a:lnTo>
                  <a:cubicBezTo>
                    <a:pt x="17565" y="17673"/>
                    <a:pt x="17715" y="17618"/>
                    <a:pt x="17824" y="17529"/>
                  </a:cubicBezTo>
                  <a:lnTo>
                    <a:pt x="21424" y="14583"/>
                  </a:lnTo>
                  <a:cubicBezTo>
                    <a:pt x="21533" y="14495"/>
                    <a:pt x="21600" y="14372"/>
                    <a:pt x="21600" y="14236"/>
                  </a:cubicBezTo>
                  <a:cubicBezTo>
                    <a:pt x="21600" y="14101"/>
                    <a:pt x="21533" y="13978"/>
                    <a:pt x="21424" y="13889"/>
                  </a:cubicBezTo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defTabSz="457200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Arial"/>
                  <a:ea typeface="Arial"/>
                  <a:cs typeface="Arial"/>
                  <a:sym typeface="Arial"/>
                </a:defRPr>
              </a:pP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B5E30A9-F574-49B9-9AC7-B725D81927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7952443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C6ADB68-A1EA-454F-AFC7-5E43F3645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C6ADB68-A1EA-454F-AFC7-5E43F3645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CED9E4-2235-4585-AB0F-68F0030FFF0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Icons OBI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FD3F61-2F67-4BBE-B27D-8C506652ACF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39FC510F-77C8-44A3-9348-3D2A6329D54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2B1004-8769-4178-87C2-C5B9039EB3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3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79A704-FAD0-43CA-A771-C9B8DD4066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4048113"/>
            <a:ext cx="1032764" cy="103276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CC7295E-7379-43F2-B448-98714E0920B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5275962"/>
            <a:ext cx="1032764" cy="103276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F9F655E-86FF-4700-9DF1-68F1A10493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5275962"/>
            <a:ext cx="1032764" cy="103276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28A854C-6848-43F6-B9CB-4D72670A577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5275962"/>
            <a:ext cx="1032764" cy="103276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FC91ADA-DE4C-4DFD-8686-3015D02F72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1576" y="1592264"/>
            <a:ext cx="1032764" cy="103276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14434A6-6E61-4552-B797-CEDF9D7193F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5680" y="2820264"/>
            <a:ext cx="1032764" cy="103276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15A8D7E-4734-4465-907C-9A067F466E6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2820264"/>
            <a:ext cx="1032764" cy="103276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CD794A9-43B9-4B18-A5D2-AA2FA173F1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2820264"/>
            <a:ext cx="1032764" cy="103276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E4CA03D-4147-409A-A56E-761028068EF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4050274"/>
            <a:ext cx="1032764" cy="103276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2D6F622-AAA7-48FE-8771-273CD64EAA8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4050274"/>
            <a:ext cx="1032764" cy="103276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FCFEE91-81C1-4B00-A65F-1C933AD4569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80340" y="1592264"/>
            <a:ext cx="1032764" cy="103276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9C9EFA6-606D-4A39-A5B1-DB503F77C06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129104" y="1592264"/>
            <a:ext cx="1032764" cy="1032764"/>
          </a:xfrm>
          <a:prstGeom prst="rect">
            <a:avLst/>
          </a:prstGeom>
        </p:spPr>
      </p:pic>
      <p:pic>
        <p:nvPicPr>
          <p:cNvPr id="23" name="Picture 3">
            <a:extLst>
              <a:ext uri="{FF2B5EF4-FFF2-40B4-BE49-F238E27FC236}">
                <a16:creationId xmlns:a16="http://schemas.microsoft.com/office/drawing/2014/main" id="{68C3E8A0-DD2F-48CB-9F74-448C3023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1797089"/>
            <a:ext cx="1143789" cy="53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8">
            <a:extLst>
              <a:ext uri="{FF2B5EF4-FFF2-40B4-BE49-F238E27FC236}">
                <a16:creationId xmlns:a16="http://schemas.microsoft.com/office/drawing/2014/main" id="{B790ED6E-5C39-48DF-8F87-C022F3247C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-11189" r="-6760" b="-7805"/>
          <a:stretch>
            <a:fillRect/>
          </a:stretch>
        </p:blipFill>
        <p:spPr bwMode="gray">
          <a:xfrm>
            <a:off x="7456127" y="1797089"/>
            <a:ext cx="1380943" cy="565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DC1A1116-5823-4F90-A255-A2DD7CC4561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6522" b="97826" l="665" r="79987">
                        <a14:foregroundMark x1="17753" y1="10190" x2="44016" y2="8832"/>
                        <a14:foregroundMark x1="45346" y1="10326" x2="43684" y2="56929"/>
                        <a14:foregroundMark x1="16024" y1="49592" x2="39561" y2="45245"/>
                        <a14:foregroundMark x1="17686" y1="48641" x2="17753" y2="8832"/>
                        <a14:foregroundMark x1="17952" y1="11685" x2="37434" y2="42663"/>
                        <a14:foregroundMark x1="21343" y1="13995" x2="36237" y2="13995"/>
                        <a14:foregroundMark x1="36503" y1="20380" x2="37965" y2="37636"/>
                        <a14:foregroundMark x1="35372" y1="11413" x2="39761" y2="11005"/>
                        <a14:foregroundMark x1="42952" y1="11821" x2="43617" y2="22554"/>
                        <a14:foregroundMark x1="18684" y1="15082" x2="19348" y2="49049"/>
                        <a14:foregroundMark x1="20080" y1="41168" x2="35173" y2="41712"/>
                        <a14:foregroundMark x1="29322" y1="26766" x2="26729" y2="44158"/>
                        <a14:foregroundMark x1="28524" y1="48505" x2="42952" y2="48913"/>
                        <a14:foregroundMark x1="20612" y1="77989" x2="58710" y2="77989"/>
                        <a14:foregroundMark x1="35040" y1="75543" x2="35173" y2="85326"/>
                        <a14:foregroundMark x1="34043" y1="86413" x2="31649" y2="94837"/>
                        <a14:foregroundMark x1="35705" y1="85870" x2="35505" y2="94837"/>
                        <a14:foregroundMark x1="27261" y1="85326" x2="28923" y2="91033"/>
                        <a14:foregroundMark x1="29322" y1="73098" x2="29854" y2="85734"/>
                        <a14:foregroundMark x1="38630" y1="75543" x2="38098" y2="87636"/>
                        <a14:foregroundMark x1="39827" y1="89946" x2="39827" y2="89946"/>
                        <a14:foregroundMark x1="37434" y1="88859" x2="37035" y2="89538"/>
                        <a14:foregroundMark x1="23404" y1="82065" x2="23404" y2="88451"/>
                        <a14:foregroundMark x1="23737" y1="88043" x2="23471" y2="90217"/>
                        <a14:foregroundMark x1="68418" y1="71603" x2="73604" y2="63315"/>
                        <a14:foregroundMark x1="33045" y1="66984" x2="35372" y2="78397"/>
                        <a14:foregroundMark x1="30053" y1="89266" x2="30186" y2="90761"/>
                        <a14:foregroundMark x1="30718" y1="89402" x2="30785" y2="90489"/>
                        <a14:foregroundMark x1="38497" y1="88587" x2="39428" y2="90489"/>
                        <a14:foregroundMark x1="40824" y1="87092" x2="40226" y2="90489"/>
                        <a14:foregroundMark x1="36769" y1="87772" x2="37566" y2="89810"/>
                        <a14:foregroundMark x1="45412" y1="10054" x2="78191" y2="8424"/>
                        <a14:foregroundMark x1="46277" y1="9375" x2="66489" y2="8967"/>
                        <a14:foregroundMark x1="18019" y1="8424" x2="44614" y2="8152"/>
                        <a14:foregroundMark x1="45346" y1="8152" x2="45412" y2="14130"/>
                        <a14:foregroundMark x1="17354" y1="7745" x2="17154" y2="33152"/>
                        <a14:foregroundMark x1="1330" y1="42799" x2="17886" y2="25408"/>
                        <a14:foregroundMark x1="2593" y1="37772" x2="3590" y2="66033"/>
                        <a14:foregroundMark x1="2793" y1="39402" x2="3723" y2="64402"/>
                        <a14:foregroundMark x1="2726" y1="43614" x2="3790" y2="89130"/>
                        <a14:foregroundMark x1="3657" y1="89402" x2="4255" y2="90217"/>
                        <a14:foregroundMark x1="4122" y1="90761" x2="22407" y2="90761"/>
                        <a14:foregroundMark x1="22473" y1="91304" x2="24003" y2="88451"/>
                        <a14:foregroundMark x1="22274" y1="89674" x2="24867" y2="90082"/>
                        <a14:foregroundMark x1="24402" y1="89538" x2="24136" y2="92391"/>
                        <a14:foregroundMark x1="24136" y1="92391" x2="24535" y2="92935"/>
                        <a14:foregroundMark x1="24601" y1="92935" x2="25066" y2="93071"/>
                        <a14:foregroundMark x1="25066" y1="93071" x2="26197" y2="92120"/>
                        <a14:foregroundMark x1="26263" y1="92391" x2="26263" y2="91168"/>
                        <a14:foregroundMark x1="26263" y1="91168" x2="25266" y2="90489"/>
                        <a14:foregroundMark x1="25731" y1="91576" x2="27327" y2="86549"/>
                        <a14:foregroundMark x1="26928" y1="86413" x2="27859" y2="92391"/>
                        <a14:foregroundMark x1="27859" y1="92391" x2="29255" y2="92663"/>
                        <a14:foregroundMark x1="29255" y1="92663" x2="30452" y2="91168"/>
                        <a14:foregroundMark x1="30519" y1="91168" x2="32447" y2="87772"/>
                        <a14:foregroundMark x1="31981" y1="90761" x2="31184" y2="94701"/>
                        <a14:foregroundMark x1="31184" y1="94701" x2="31848" y2="96603"/>
                        <a14:foregroundMark x1="31848" y1="96603" x2="32979" y2="95516"/>
                        <a14:foregroundMark x1="32979" y1="95516" x2="34641" y2="86821"/>
                        <a14:foregroundMark x1="33976" y1="88179" x2="35306" y2="95245"/>
                        <a14:foregroundMark x1="35306" y1="95245" x2="36370" y2="93071"/>
                        <a14:foregroundMark x1="36503" y1="93478" x2="36104" y2="89538"/>
                        <a14:foregroundMark x1="36104" y1="89538" x2="38896" y2="89810"/>
                        <a14:foregroundMark x1="38098" y1="88179" x2="39960" y2="91304"/>
                        <a14:foregroundMark x1="39960" y1="91304" x2="41489" y2="87908"/>
                        <a14:foregroundMark x1="38165" y1="88587" x2="39428" y2="91168"/>
                        <a14:foregroundMark x1="41090" y1="89402" x2="41489" y2="91033"/>
                        <a14:foregroundMark x1="41489" y1="91168" x2="56516" y2="91440"/>
                        <a14:foregroundMark x1="56715" y1="91576" x2="64894" y2="78804"/>
                        <a14:foregroundMark x1="64295" y1="79484" x2="56915" y2="91440"/>
                        <a14:foregroundMark x1="64894" y1="78533" x2="62633" y2="75272"/>
                        <a14:foregroundMark x1="64096" y1="78397" x2="63697" y2="69701"/>
                        <a14:foregroundMark x1="63630" y1="74728" x2="69747" y2="62772"/>
                        <a14:foregroundMark x1="66622" y1="66168" x2="71277" y2="66576"/>
                        <a14:foregroundMark x1="68351" y1="70788" x2="68351" y2="72011"/>
                        <a14:foregroundMark x1="68418" y1="72418" x2="70811" y2="68886"/>
                        <a14:foregroundMark x1="70678" y1="69158" x2="79255" y2="54484"/>
                        <a14:foregroundMark x1="79521" y1="54891" x2="78191" y2="8560"/>
                        <a14:foregroundMark x1="78391" y1="11277" x2="79521" y2="53940"/>
                        <a14:foregroundMark x1="78723" y1="28940" x2="79455" y2="51902"/>
                        <a14:foregroundMark x1="79056" y1="34783" x2="79654" y2="50679"/>
                        <a14:foregroundMark x1="2593" y1="41984" x2="3657" y2="8994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318" r="19417" b="2152"/>
          <a:stretch/>
        </p:blipFill>
        <p:spPr bwMode="gray">
          <a:xfrm>
            <a:off x="6224900" y="1831539"/>
            <a:ext cx="836074" cy="43484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C936FC6C-6519-42FC-B013-F360DCFB36B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021413" y="2643024"/>
            <a:ext cx="909693" cy="1646320"/>
          </a:xfrm>
          <a:prstGeom prst="rect">
            <a:avLst/>
          </a:prstGeom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C1A9A521-E665-4D04-AA51-37E006D617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94200" y="2629313"/>
            <a:ext cx="864558" cy="1673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3354C8F-99C3-48EB-9A83-A6D0FD5CD89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0" b="100000" l="0" r="100000">
                        <a14:foregroundMark x1="43438" y1="7753" x2="65625" y2="6171"/>
                        <a14:foregroundMark x1="53750" y1="93829" x2="40000" y2="90981"/>
                        <a14:foregroundMark x1="46563" y1="90190" x2="15313" y2="94304"/>
                        <a14:foregroundMark x1="14063" y1="94778" x2="36875" y2="97310"/>
                        <a14:foregroundMark x1="37188" y1="97943" x2="75313" y2="95570"/>
                        <a14:foregroundMark x1="72500" y1="96519" x2="83438" y2="93671"/>
                        <a14:foregroundMark x1="82188" y1="90190" x2="83750" y2="93354"/>
                        <a14:foregroundMark x1="80625" y1="90348" x2="80625" y2="93196"/>
                        <a14:foregroundMark x1="13438" y1="94778" x2="21250" y2="92089"/>
                        <a14:foregroundMark x1="20625" y1="92247" x2="44688" y2="89873"/>
                        <a14:foregroundMark x1="44688" y1="89873" x2="46875" y2="89557"/>
                        <a14:foregroundMark x1="46875" y1="89557" x2="50625" y2="90981"/>
                        <a14:foregroundMark x1="51563" y1="90981" x2="45938" y2="82595"/>
                        <a14:foregroundMark x1="45625" y1="82595" x2="43438" y2="76266"/>
                        <a14:foregroundMark x1="43438" y1="76266" x2="41250" y2="65348"/>
                        <a14:foregroundMark x1="41250" y1="65348" x2="43125" y2="56487"/>
                        <a14:foregroundMark x1="43125" y1="57911" x2="40000" y2="57120"/>
                        <a14:foregroundMark x1="40938" y1="41930" x2="39063" y2="56804"/>
                        <a14:foregroundMark x1="38750" y1="45095" x2="31250" y2="48892"/>
                        <a14:foregroundMark x1="31563" y1="48892" x2="29688" y2="49051"/>
                        <a14:foregroundMark x1="29688" y1="49209" x2="12812" y2="41772"/>
                        <a14:foregroundMark x1="11563" y1="41297" x2="9375" y2="40032"/>
                        <a14:foregroundMark x1="11250" y1="36234" x2="8750" y2="40190"/>
                        <a14:foregroundMark x1="11563" y1="36867" x2="3750" y2="34652"/>
                        <a14:foregroundMark x1="4063" y1="34652" x2="3438" y2="30222"/>
                        <a14:foregroundMark x1="3438" y1="30063" x2="4375" y2="27532"/>
                        <a14:foregroundMark x1="3438" y1="28006" x2="5313" y2="26582"/>
                        <a14:foregroundMark x1="5313" y1="26741" x2="15625" y2="27057"/>
                        <a14:foregroundMark x1="5938" y1="26424" x2="15937" y2="26741"/>
                        <a14:foregroundMark x1="15313" y1="26899" x2="14375" y2="24842"/>
                        <a14:foregroundMark x1="14375" y1="25000" x2="15313" y2="22152"/>
                        <a14:foregroundMark x1="15313" y1="22152" x2="16875" y2="21361"/>
                        <a14:foregroundMark x1="16875" y1="21361" x2="20000" y2="22468"/>
                        <a14:foregroundMark x1="20000" y1="22627" x2="21250" y2="24209"/>
                        <a14:foregroundMark x1="21250" y1="24525" x2="18750" y2="28165"/>
                        <a14:foregroundMark x1="18750" y1="28165" x2="19375" y2="31804"/>
                        <a14:foregroundMark x1="19375" y1="31804" x2="17188" y2="34652"/>
                        <a14:foregroundMark x1="16875" y1="34652" x2="19375" y2="36234"/>
                        <a14:foregroundMark x1="19063" y1="35601" x2="25000" y2="37500"/>
                        <a14:foregroundMark x1="25000" y1="37500" x2="30938" y2="39873"/>
                        <a14:foregroundMark x1="29063" y1="39873" x2="41875" y2="31487"/>
                        <a14:foregroundMark x1="42188" y1="31013" x2="43438" y2="30696"/>
                        <a14:foregroundMark x1="43750" y1="30696" x2="49375" y2="31962"/>
                        <a14:foregroundMark x1="44375" y1="31646" x2="47813" y2="29589"/>
                        <a14:foregroundMark x1="47813" y1="29589" x2="59062" y2="31329"/>
                        <a14:foregroundMark x1="43750" y1="26741" x2="42188" y2="23576"/>
                        <a14:foregroundMark x1="41875" y1="23734" x2="45938" y2="15981"/>
                        <a14:foregroundMark x1="43750" y1="1899" x2="42188" y2="8703"/>
                        <a14:foregroundMark x1="42188" y1="8703" x2="45000" y2="12342"/>
                        <a14:foregroundMark x1="43750" y1="1741" x2="47500" y2="4430"/>
                        <a14:foregroundMark x1="47500" y1="5063" x2="51563" y2="1108"/>
                        <a14:foregroundMark x1="52500" y1="1108" x2="55313" y2="2532"/>
                        <a14:foregroundMark x1="55313" y1="2373" x2="57813" y2="4589"/>
                        <a14:foregroundMark x1="56250" y1="5222" x2="61875" y2="949"/>
                        <a14:foregroundMark x1="61875" y1="949" x2="65000" y2="4430"/>
                        <a14:foregroundMark x1="64063" y1="4430" x2="69063" y2="791"/>
                        <a14:foregroundMark x1="69063" y1="791" x2="66250" y2="9335"/>
                        <a14:foregroundMark x1="69063" y1="633" x2="68438" y2="3639"/>
                        <a14:foregroundMark x1="69375" y1="949" x2="69375" y2="1741"/>
                        <a14:foregroundMark x1="66563" y1="8861" x2="65938" y2="11076"/>
                        <a14:foregroundMark x1="65625" y1="11234" x2="61563" y2="14082"/>
                        <a14:foregroundMark x1="64375" y1="11551" x2="69063" y2="12342"/>
                        <a14:foregroundMark x1="69063" y1="12342" x2="71250" y2="13766"/>
                        <a14:foregroundMark x1="71250" y1="13766" x2="70938" y2="15190"/>
                        <a14:foregroundMark x1="70938" y1="15190" x2="69375" y2="16456"/>
                        <a14:foregroundMark x1="69375" y1="16456" x2="65312" y2="17247"/>
                        <a14:foregroundMark x1="65312" y1="16772" x2="66250" y2="18513"/>
                        <a14:foregroundMark x1="65938" y1="18354" x2="65625" y2="19937"/>
                        <a14:foregroundMark x1="65938" y1="20095" x2="64375" y2="21994"/>
                        <a14:foregroundMark x1="64063" y1="21835" x2="56875" y2="26108"/>
                        <a14:foregroundMark x1="64375" y1="22468" x2="58125" y2="25791"/>
                        <a14:foregroundMark x1="57188" y1="25791" x2="56250" y2="29589"/>
                        <a14:foregroundMark x1="57188" y1="28006" x2="57813" y2="27848"/>
                        <a14:foregroundMark x1="57813" y1="28006" x2="58438" y2="29114"/>
                        <a14:foregroundMark x1="57188" y1="29114" x2="65625" y2="28323"/>
                        <a14:foregroundMark x1="65625" y1="28323" x2="64375" y2="30063"/>
                        <a14:foregroundMark x1="59375" y1="28323" x2="63438" y2="28323"/>
                        <a14:foregroundMark x1="63438" y1="29589" x2="70313" y2="31013"/>
                        <a14:foregroundMark x1="70313" y1="31013" x2="73438" y2="33386"/>
                        <a14:foregroundMark x1="73438" y1="33386" x2="78750" y2="42563"/>
                        <a14:foregroundMark x1="74375" y1="33703" x2="76563" y2="36867"/>
                        <a14:foregroundMark x1="76563" y1="36867" x2="78125" y2="40190"/>
                        <a14:foregroundMark x1="78125" y1="40190" x2="79688" y2="46994"/>
                        <a14:foregroundMark x1="79375" y1="45411" x2="81563" y2="47152"/>
                        <a14:foregroundMark x1="81563" y1="47152" x2="83125" y2="59177"/>
                        <a14:foregroundMark x1="83438" y1="59019" x2="79688" y2="60918"/>
                        <a14:foregroundMark x1="80313" y1="60127" x2="83438" y2="61076"/>
                        <a14:foregroundMark x1="84063" y1="60759" x2="83438" y2="63449"/>
                        <a14:foregroundMark x1="83438" y1="63291" x2="82188" y2="64082"/>
                        <a14:foregroundMark x1="82188" y1="63924" x2="80313" y2="65032"/>
                        <a14:foregroundMark x1="73438" y1="64557" x2="80938" y2="65506"/>
                        <a14:foregroundMark x1="75938" y1="64082" x2="75625" y2="67880"/>
                        <a14:foregroundMark x1="74063" y1="67247" x2="78750" y2="75316"/>
                        <a14:foregroundMark x1="75313" y1="67880" x2="78125" y2="73418"/>
                        <a14:foregroundMark x1="78438" y1="72468" x2="80625" y2="78956"/>
                        <a14:foregroundMark x1="80000" y1="78481" x2="80313" y2="79114"/>
                        <a14:foregroundMark x1="79375" y1="90981" x2="80625" y2="83703"/>
                        <a14:foregroundMark x1="80625" y1="79272" x2="80313" y2="84810"/>
                        <a14:foregroundMark x1="80938" y1="81487" x2="81250" y2="84494"/>
                        <a14:foregroundMark x1="80625" y1="90348" x2="80938" y2="84494"/>
                        <a14:backgroundMark x1="42188" y1="949" x2="47188" y2="1108"/>
                        <a14:backgroundMark x1="47813" y1="2848" x2="50938" y2="0"/>
                        <a14:backgroundMark x1="51563" y1="633" x2="57500" y2="633"/>
                        <a14:backgroundMark x1="55625" y1="949" x2="57188" y2="2057"/>
                        <a14:backgroundMark x1="57813" y1="3006" x2="61563" y2="0"/>
                        <a14:backgroundMark x1="61563" y1="316" x2="65312" y2="1741"/>
                        <a14:backgroundMark x1="65000" y1="3165" x2="65938" y2="791"/>
                        <a14:backgroundMark x1="47500" y1="3481" x2="45938" y2="1582"/>
                        <a14:backgroundMark x1="65938" y1="21835" x2="58438" y2="26582"/>
                        <a14:backgroundMark x1="58438" y1="27057" x2="59062" y2="27532"/>
                        <a14:backgroundMark x1="40938" y1="22310" x2="42500" y2="27532"/>
                        <a14:backgroundMark x1="39688" y1="27057" x2="47813" y2="27532"/>
                        <a14:backgroundMark x1="42813" y1="29747" x2="30000" y2="37658"/>
                        <a14:backgroundMark x1="21563" y1="31013" x2="18750" y2="34335"/>
                        <a14:backgroundMark x1="1250" y1="25949" x2="2500" y2="37342"/>
                        <a14:backgroundMark x1="3750" y1="35601" x2="8438" y2="36867"/>
                        <a14:backgroundMark x1="12188" y1="24842" x2="12812" y2="26108"/>
                        <a14:backgroundMark x1="34375" y1="49684" x2="38438" y2="46835"/>
                        <a14:backgroundMark x1="37188" y1="48892" x2="39375" y2="45570"/>
                        <a14:backgroundMark x1="78438" y1="70728" x2="80000" y2="74842"/>
                        <a14:backgroundMark x1="82188" y1="66772" x2="77813" y2="65823"/>
                        <a14:backgroundMark x1="75625" y1="97152" x2="50000" y2="97785"/>
                        <a14:backgroundMark x1="16563" y1="96677" x2="50000" y2="98259"/>
                        <a14:backgroundMark x1="33438" y1="98576" x2="46250" y2="97468"/>
                        <a14:backgroundMark x1="38750" y1="99209" x2="37500" y2="97785"/>
                        <a14:backgroundMark x1="35000" y1="98101" x2="43125" y2="97785"/>
                        <a14:backgroundMark x1="4040" y1="39286" x2="44444" y2="908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22913" y="4751013"/>
            <a:ext cx="716101" cy="1414299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1D2B840D-37EE-4688-A25F-F4E8C41C8BCB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20805" b="71812" l="77151" r="89875">
                        <a14:foregroundMark x1="82348" y1="57383" x2="84677" y2="67366"/>
                        <a14:foregroundMark x1="82751" y1="56711" x2="82885" y2="65520"/>
                        <a14:foregroundMark x1="83154" y1="61409" x2="84319" y2="66611"/>
                        <a14:foregroundMark x1="81944" y1="68289" x2="83647" y2="62836"/>
                        <a14:foregroundMark x1="81452" y1="64765" x2="79659" y2="68289"/>
                        <a14:foregroundMark x1="79570" y1="68372" x2="81631" y2="68708"/>
                        <a14:foregroundMark x1="80556" y1="37248" x2="81810" y2="43037"/>
                        <a14:foregroundMark x1="85484" y1="43960" x2="82841" y2="50755"/>
                        <a14:backgroundMark x1="82706" y1="70470" x2="83199" y2="65688"/>
                        <a14:backgroundMark x1="80735" y1="65185" x2="79570" y2="68205"/>
                        <a14:backgroundMark x1="79435" y1="67366" x2="80780" y2="66443"/>
                        <a14:backgroundMark x1="79391" y1="67617" x2="80511" y2="67282"/>
                        <a14:backgroundMark x1="83513" y1="66191" x2="83065" y2="625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704" t="21393" r="12131" b="27895"/>
          <a:stretch/>
        </p:blipFill>
        <p:spPr bwMode="gray">
          <a:xfrm flipH="1">
            <a:off x="5812555" y="4784070"/>
            <a:ext cx="521750" cy="139009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67C5E00-A4F7-4A1C-9365-91AAA563BEA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99030" y="4811595"/>
            <a:ext cx="646763" cy="1318724"/>
          </a:xfrm>
          <a:prstGeom prst="rect">
            <a:avLst/>
          </a:prstGeom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DCEDBDCE-DFD6-48BA-AD12-232BF11F2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488"/>
          <a:stretch/>
        </p:blipFill>
        <p:spPr bwMode="gray">
          <a:xfrm>
            <a:off x="7184883" y="4879194"/>
            <a:ext cx="597225" cy="710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20">
            <a:extLst>
              <a:ext uri="{FF2B5EF4-FFF2-40B4-BE49-F238E27FC236}">
                <a16:creationId xmlns:a16="http://schemas.microsoft.com/office/drawing/2014/main" id="{CDB97401-CCBA-49E4-9C61-359131EB5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8596" y="2861652"/>
            <a:ext cx="569045" cy="1373401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33" name="Group 942">
            <a:extLst>
              <a:ext uri="{FF2B5EF4-FFF2-40B4-BE49-F238E27FC236}">
                <a16:creationId xmlns:a16="http://schemas.microsoft.com/office/drawing/2014/main" id="{31C63149-3A93-4F4C-81DA-14DA7418E106}"/>
              </a:ext>
            </a:extLst>
          </p:cNvPr>
          <p:cNvGrpSpPr/>
          <p:nvPr/>
        </p:nvGrpSpPr>
        <p:grpSpPr bwMode="gray">
          <a:xfrm flipH="1">
            <a:off x="5768713" y="2903849"/>
            <a:ext cx="516624" cy="1289006"/>
            <a:chOff x="3863420" y="2553347"/>
            <a:chExt cx="1107357" cy="2771102"/>
          </a:xfrm>
        </p:grpSpPr>
        <p:sp>
          <p:nvSpPr>
            <p:cNvPr id="34" name="Freeform: Shape 946">
              <a:extLst>
                <a:ext uri="{FF2B5EF4-FFF2-40B4-BE49-F238E27FC236}">
                  <a16:creationId xmlns:a16="http://schemas.microsoft.com/office/drawing/2014/main" id="{2C96BA6D-B7F4-42EE-AB18-6434BE8FA21A}"/>
                </a:ext>
              </a:extLst>
            </p:cNvPr>
            <p:cNvSpPr/>
            <p:nvPr/>
          </p:nvSpPr>
          <p:spPr bwMode="gray">
            <a:xfrm>
              <a:off x="4542139" y="3534808"/>
              <a:ext cx="259461" cy="406882"/>
            </a:xfrm>
            <a:custGeom>
              <a:avLst/>
              <a:gdLst>
                <a:gd name="connsiteX0" fmla="*/ 100673 w 259460"/>
                <a:gd name="connsiteY0" fmla="*/ 34510 h 406881"/>
                <a:gd name="connsiteX1" fmla="*/ 259888 w 259460"/>
                <a:gd name="connsiteY1" fmla="*/ 378944 h 406881"/>
                <a:gd name="connsiteX2" fmla="*/ 220792 w 259460"/>
                <a:gd name="connsiteY2" fmla="*/ 406423 h 406881"/>
                <a:gd name="connsiteX3" fmla="*/ 4732 w 259460"/>
                <a:gd name="connsiteY3" fmla="*/ 28141 h 406881"/>
                <a:gd name="connsiteX4" fmla="*/ 4732 w 259460"/>
                <a:gd name="connsiteY4" fmla="*/ 28141 h 406881"/>
                <a:gd name="connsiteX5" fmla="*/ 100673 w 259460"/>
                <a:gd name="connsiteY5" fmla="*/ 34510 h 40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460" h="406881">
                  <a:moveTo>
                    <a:pt x="100673" y="34510"/>
                  </a:moveTo>
                  <a:lnTo>
                    <a:pt x="259888" y="378944"/>
                  </a:lnTo>
                  <a:lnTo>
                    <a:pt x="220792" y="406423"/>
                  </a:lnTo>
                  <a:cubicBezTo>
                    <a:pt x="220792" y="406423"/>
                    <a:pt x="-21686" y="108279"/>
                    <a:pt x="4732" y="28141"/>
                  </a:cubicBezTo>
                  <a:lnTo>
                    <a:pt x="4732" y="28141"/>
                  </a:lnTo>
                  <a:cubicBezTo>
                    <a:pt x="28024" y="-8478"/>
                    <a:pt x="82511" y="-4822"/>
                    <a:pt x="100673" y="34510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eform: Shape 947">
              <a:extLst>
                <a:ext uri="{FF2B5EF4-FFF2-40B4-BE49-F238E27FC236}">
                  <a16:creationId xmlns:a16="http://schemas.microsoft.com/office/drawing/2014/main" id="{93FC5BBC-99C6-4A2C-9DC8-A5C0F736AF6B}"/>
                </a:ext>
              </a:extLst>
            </p:cNvPr>
            <p:cNvSpPr/>
            <p:nvPr/>
          </p:nvSpPr>
          <p:spPr bwMode="gray">
            <a:xfrm>
              <a:off x="4758491" y="3863326"/>
              <a:ext cx="212286" cy="123834"/>
            </a:xfrm>
            <a:custGeom>
              <a:avLst/>
              <a:gdLst>
                <a:gd name="connsiteX0" fmla="*/ 83988 w 212286"/>
                <a:gd name="connsiteY0" fmla="*/ 105561 h 123833"/>
                <a:gd name="connsiteX1" fmla="*/ 58042 w 212286"/>
                <a:gd name="connsiteY1" fmla="*/ 78317 h 123833"/>
                <a:gd name="connsiteX2" fmla="*/ 142661 w 212286"/>
                <a:gd name="connsiteY2" fmla="*/ 42465 h 123833"/>
                <a:gd name="connsiteX3" fmla="*/ 154691 w 212286"/>
                <a:gd name="connsiteY3" fmla="*/ 110927 h 123833"/>
                <a:gd name="connsiteX4" fmla="*/ 157521 w 212286"/>
                <a:gd name="connsiteY4" fmla="*/ 35388 h 123833"/>
                <a:gd name="connsiteX5" fmla="*/ 184706 w 212286"/>
                <a:gd name="connsiteY5" fmla="*/ 126318 h 123833"/>
                <a:gd name="connsiteX6" fmla="*/ 171143 w 212286"/>
                <a:gd name="connsiteY6" fmla="*/ 29609 h 123833"/>
                <a:gd name="connsiteX7" fmla="*/ 211418 w 212286"/>
                <a:gd name="connsiteY7" fmla="*/ 121364 h 123833"/>
                <a:gd name="connsiteX8" fmla="*/ 185590 w 212286"/>
                <a:gd name="connsiteY8" fmla="*/ 19172 h 123833"/>
                <a:gd name="connsiteX9" fmla="*/ 158229 w 212286"/>
                <a:gd name="connsiteY9" fmla="*/ 13806 h 123833"/>
                <a:gd name="connsiteX10" fmla="*/ 123614 w 212286"/>
                <a:gd name="connsiteY10" fmla="*/ 2720 h 123833"/>
                <a:gd name="connsiteX11" fmla="*/ 29914 w 212286"/>
                <a:gd name="connsiteY11" fmla="*/ 42406 h 123833"/>
                <a:gd name="connsiteX12" fmla="*/ 2788 w 212286"/>
                <a:gd name="connsiteY12" fmla="*/ 74130 h 123833"/>
                <a:gd name="connsiteX13" fmla="*/ 57747 w 212286"/>
                <a:gd name="connsiteY13" fmla="*/ 124077 h 123833"/>
                <a:gd name="connsiteX14" fmla="*/ 83988 w 212286"/>
                <a:gd name="connsiteY14" fmla="*/ 105561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286" h="123833">
                  <a:moveTo>
                    <a:pt x="83988" y="105561"/>
                  </a:moveTo>
                  <a:cubicBezTo>
                    <a:pt x="58042" y="78317"/>
                    <a:pt x="58042" y="78317"/>
                    <a:pt x="58042" y="78317"/>
                  </a:cubicBezTo>
                  <a:cubicBezTo>
                    <a:pt x="58042" y="78317"/>
                    <a:pt x="142071" y="40872"/>
                    <a:pt x="142661" y="42465"/>
                  </a:cubicBezTo>
                  <a:cubicBezTo>
                    <a:pt x="143192" y="44057"/>
                    <a:pt x="132106" y="105738"/>
                    <a:pt x="154691" y="110927"/>
                  </a:cubicBezTo>
                  <a:cubicBezTo>
                    <a:pt x="177276" y="116057"/>
                    <a:pt x="157521" y="35388"/>
                    <a:pt x="157521" y="35388"/>
                  </a:cubicBezTo>
                  <a:cubicBezTo>
                    <a:pt x="157521" y="35388"/>
                    <a:pt x="161885" y="130504"/>
                    <a:pt x="184706" y="126318"/>
                  </a:cubicBezTo>
                  <a:cubicBezTo>
                    <a:pt x="207526" y="122190"/>
                    <a:pt x="171143" y="29609"/>
                    <a:pt x="171143" y="29609"/>
                  </a:cubicBezTo>
                  <a:cubicBezTo>
                    <a:pt x="171143" y="29609"/>
                    <a:pt x="204106" y="141237"/>
                    <a:pt x="211418" y="121364"/>
                  </a:cubicBezTo>
                  <a:cubicBezTo>
                    <a:pt x="220794" y="95890"/>
                    <a:pt x="185590" y="19172"/>
                    <a:pt x="185590" y="19172"/>
                  </a:cubicBezTo>
                  <a:cubicBezTo>
                    <a:pt x="185590" y="19172"/>
                    <a:pt x="176155" y="15398"/>
                    <a:pt x="158229" y="13806"/>
                  </a:cubicBezTo>
                  <a:cubicBezTo>
                    <a:pt x="140361" y="12214"/>
                    <a:pt x="123614" y="2720"/>
                    <a:pt x="123614" y="2720"/>
                  </a:cubicBezTo>
                  <a:lnTo>
                    <a:pt x="29914" y="42406"/>
                  </a:lnTo>
                  <a:cubicBezTo>
                    <a:pt x="29914" y="42406"/>
                    <a:pt x="1137" y="69354"/>
                    <a:pt x="2788" y="74130"/>
                  </a:cubicBezTo>
                  <a:cubicBezTo>
                    <a:pt x="3909" y="77433"/>
                    <a:pt x="31211" y="92293"/>
                    <a:pt x="57747" y="124077"/>
                  </a:cubicBezTo>
                  <a:lnTo>
                    <a:pt x="83988" y="105561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eform: Shape 948">
              <a:extLst>
                <a:ext uri="{FF2B5EF4-FFF2-40B4-BE49-F238E27FC236}">
                  <a16:creationId xmlns:a16="http://schemas.microsoft.com/office/drawing/2014/main" id="{36F703AE-0136-4780-93C0-FF6219490C12}"/>
                </a:ext>
              </a:extLst>
            </p:cNvPr>
            <p:cNvSpPr/>
            <p:nvPr/>
          </p:nvSpPr>
          <p:spPr bwMode="gray">
            <a:xfrm>
              <a:off x="4434882" y="3140626"/>
              <a:ext cx="218183" cy="536612"/>
            </a:xfrm>
            <a:custGeom>
              <a:avLst/>
              <a:gdLst>
                <a:gd name="connsiteX0" fmla="*/ 35624 w 218182"/>
                <a:gd name="connsiteY0" fmla="*/ 2822 h 536612"/>
                <a:gd name="connsiteX1" fmla="*/ 150259 w 218182"/>
                <a:gd name="connsiteY1" fmla="*/ 121112 h 536612"/>
                <a:gd name="connsiteX2" fmla="*/ 219369 w 218182"/>
                <a:gd name="connsiteY2" fmla="*/ 425094 h 536612"/>
                <a:gd name="connsiteX3" fmla="*/ 166475 w 218182"/>
                <a:gd name="connsiteY3" fmla="*/ 530942 h 536612"/>
                <a:gd name="connsiteX4" fmla="*/ 73423 w 218182"/>
                <a:gd name="connsiteY4" fmla="*/ 443374 h 536612"/>
                <a:gd name="connsiteX5" fmla="*/ 2720 w 218182"/>
                <a:gd name="connsiteY5" fmla="*/ 214577 h 536612"/>
                <a:gd name="connsiteX6" fmla="*/ 35624 w 218182"/>
                <a:gd name="connsiteY6" fmla="*/ 2822 h 53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182" h="536612">
                  <a:moveTo>
                    <a:pt x="35624" y="2822"/>
                  </a:moveTo>
                  <a:cubicBezTo>
                    <a:pt x="35624" y="2822"/>
                    <a:pt x="149374" y="-5198"/>
                    <a:pt x="150259" y="121112"/>
                  </a:cubicBezTo>
                  <a:cubicBezTo>
                    <a:pt x="151438" y="293477"/>
                    <a:pt x="219369" y="425094"/>
                    <a:pt x="219369" y="425094"/>
                  </a:cubicBezTo>
                  <a:lnTo>
                    <a:pt x="166475" y="530942"/>
                  </a:lnTo>
                  <a:cubicBezTo>
                    <a:pt x="114111" y="552348"/>
                    <a:pt x="105561" y="489841"/>
                    <a:pt x="73423" y="443374"/>
                  </a:cubicBezTo>
                  <a:cubicBezTo>
                    <a:pt x="42111" y="398087"/>
                    <a:pt x="38808" y="302440"/>
                    <a:pt x="2720" y="214577"/>
                  </a:cubicBezTo>
                  <a:lnTo>
                    <a:pt x="35624" y="2822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eform: Shape 949">
              <a:extLst>
                <a:ext uri="{FF2B5EF4-FFF2-40B4-BE49-F238E27FC236}">
                  <a16:creationId xmlns:a16="http://schemas.microsoft.com/office/drawing/2014/main" id="{AD932E1E-754D-4977-B239-16923B7FE7C3}"/>
                </a:ext>
              </a:extLst>
            </p:cNvPr>
            <p:cNvSpPr/>
            <p:nvPr/>
          </p:nvSpPr>
          <p:spPr bwMode="gray">
            <a:xfrm>
              <a:off x="4437764" y="5208458"/>
              <a:ext cx="288945" cy="112040"/>
            </a:xfrm>
            <a:custGeom>
              <a:avLst/>
              <a:gdLst>
                <a:gd name="connsiteX0" fmla="*/ 110286 w 288944"/>
                <a:gd name="connsiteY0" fmla="*/ 9674 h 112039"/>
                <a:gd name="connsiteX1" fmla="*/ 282415 w 288944"/>
                <a:gd name="connsiteY1" fmla="*/ 74067 h 112039"/>
                <a:gd name="connsiteX2" fmla="*/ 279113 w 288944"/>
                <a:gd name="connsiteY2" fmla="*/ 113930 h 112039"/>
                <a:gd name="connsiteX3" fmla="*/ 5676 w 288944"/>
                <a:gd name="connsiteY3" fmla="*/ 113930 h 112039"/>
                <a:gd name="connsiteX4" fmla="*/ 4202 w 288944"/>
                <a:gd name="connsiteY4" fmla="*/ 38627 h 112039"/>
                <a:gd name="connsiteX5" fmla="*/ 3200 w 288944"/>
                <a:gd name="connsiteY5" fmla="*/ 13153 h 112039"/>
                <a:gd name="connsiteX6" fmla="*/ 110286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0286" y="9674"/>
                  </a:moveTo>
                  <a:lnTo>
                    <a:pt x="282415" y="74067"/>
                  </a:lnTo>
                  <a:cubicBezTo>
                    <a:pt x="297570" y="81320"/>
                    <a:pt x="279113" y="113930"/>
                    <a:pt x="279113" y="113930"/>
                  </a:cubicBezTo>
                  <a:lnTo>
                    <a:pt x="5676" y="113930"/>
                  </a:lnTo>
                  <a:lnTo>
                    <a:pt x="4202" y="38627"/>
                  </a:lnTo>
                  <a:lnTo>
                    <a:pt x="3200" y="13153"/>
                  </a:lnTo>
                  <a:cubicBezTo>
                    <a:pt x="-5469" y="2303"/>
                    <a:pt x="106099" y="-2002"/>
                    <a:pt x="110286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eform: Shape 950">
              <a:extLst>
                <a:ext uri="{FF2B5EF4-FFF2-40B4-BE49-F238E27FC236}">
                  <a16:creationId xmlns:a16="http://schemas.microsoft.com/office/drawing/2014/main" id="{0E1917B1-501F-47A2-8E3F-E718FF185404}"/>
                </a:ext>
              </a:extLst>
            </p:cNvPr>
            <p:cNvSpPr/>
            <p:nvPr/>
          </p:nvSpPr>
          <p:spPr bwMode="gray">
            <a:xfrm>
              <a:off x="4438892" y="5172955"/>
              <a:ext cx="200492" cy="106143"/>
            </a:xfrm>
            <a:custGeom>
              <a:avLst/>
              <a:gdLst>
                <a:gd name="connsiteX0" fmla="*/ 195723 w 200492"/>
                <a:gd name="connsiteY0" fmla="*/ 106091 h 106143"/>
                <a:gd name="connsiteX1" fmla="*/ 2720 w 200492"/>
                <a:gd name="connsiteY1" fmla="*/ 45767 h 106143"/>
                <a:gd name="connsiteX2" fmla="*/ 16165 w 200492"/>
                <a:gd name="connsiteY2" fmla="*/ 2720 h 106143"/>
                <a:gd name="connsiteX3" fmla="*/ 96421 w 200492"/>
                <a:gd name="connsiteY3" fmla="*/ 20882 h 106143"/>
                <a:gd name="connsiteX4" fmla="*/ 181866 w 200492"/>
                <a:gd name="connsiteY4" fmla="*/ 74838 h 106143"/>
                <a:gd name="connsiteX5" fmla="*/ 198849 w 200492"/>
                <a:gd name="connsiteY5" fmla="*/ 99546 h 106143"/>
                <a:gd name="connsiteX6" fmla="*/ 195723 w 200492"/>
                <a:gd name="connsiteY6" fmla="*/ 106091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492" h="106143">
                  <a:moveTo>
                    <a:pt x="195723" y="106091"/>
                  </a:moveTo>
                  <a:cubicBezTo>
                    <a:pt x="80735" y="109099"/>
                    <a:pt x="2602" y="53197"/>
                    <a:pt x="2720" y="45767"/>
                  </a:cubicBezTo>
                  <a:cubicBezTo>
                    <a:pt x="3192" y="20410"/>
                    <a:pt x="14691" y="18641"/>
                    <a:pt x="16165" y="2720"/>
                  </a:cubicBezTo>
                  <a:lnTo>
                    <a:pt x="96421" y="20882"/>
                  </a:lnTo>
                  <a:cubicBezTo>
                    <a:pt x="96421" y="20882"/>
                    <a:pt x="119064" y="48361"/>
                    <a:pt x="181866" y="74838"/>
                  </a:cubicBezTo>
                  <a:cubicBezTo>
                    <a:pt x="192185" y="79202"/>
                    <a:pt x="198790" y="88755"/>
                    <a:pt x="198849" y="99546"/>
                  </a:cubicBezTo>
                  <a:cubicBezTo>
                    <a:pt x="198790" y="99487"/>
                    <a:pt x="199497" y="105973"/>
                    <a:pt x="195723" y="106091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eform: Shape 951">
              <a:extLst>
                <a:ext uri="{FF2B5EF4-FFF2-40B4-BE49-F238E27FC236}">
                  <a16:creationId xmlns:a16="http://schemas.microsoft.com/office/drawing/2014/main" id="{AEA563C2-65AF-460E-A3E5-6EF69FE8A2C7}"/>
                </a:ext>
              </a:extLst>
            </p:cNvPr>
            <p:cNvSpPr/>
            <p:nvPr/>
          </p:nvSpPr>
          <p:spPr bwMode="gray">
            <a:xfrm>
              <a:off x="4062497" y="5212409"/>
              <a:ext cx="288945" cy="112040"/>
            </a:xfrm>
            <a:custGeom>
              <a:avLst/>
              <a:gdLst>
                <a:gd name="connsiteX0" fmla="*/ 114052 w 288944"/>
                <a:gd name="connsiteY0" fmla="*/ 9674 h 112039"/>
                <a:gd name="connsiteX1" fmla="*/ 282053 w 288944"/>
                <a:gd name="connsiteY1" fmla="*/ 74303 h 112039"/>
                <a:gd name="connsiteX2" fmla="*/ 276156 w 288944"/>
                <a:gd name="connsiteY2" fmla="*/ 114284 h 112039"/>
                <a:gd name="connsiteX3" fmla="*/ 2720 w 288944"/>
                <a:gd name="connsiteY3" fmla="*/ 114284 h 112039"/>
                <a:gd name="connsiteX4" fmla="*/ 6081 w 288944"/>
                <a:gd name="connsiteY4" fmla="*/ 38745 h 112039"/>
                <a:gd name="connsiteX5" fmla="*/ 6730 w 288944"/>
                <a:gd name="connsiteY5" fmla="*/ 13153 h 112039"/>
                <a:gd name="connsiteX6" fmla="*/ 114052 w 288944"/>
                <a:gd name="connsiteY6" fmla="*/ 9674 h 11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944" h="112039">
                  <a:moveTo>
                    <a:pt x="114052" y="9674"/>
                  </a:moveTo>
                  <a:lnTo>
                    <a:pt x="282053" y="74303"/>
                  </a:lnTo>
                  <a:cubicBezTo>
                    <a:pt x="296795" y="81556"/>
                    <a:pt x="276156" y="114284"/>
                    <a:pt x="276156" y="114284"/>
                  </a:cubicBezTo>
                  <a:lnTo>
                    <a:pt x="2720" y="114284"/>
                  </a:lnTo>
                  <a:lnTo>
                    <a:pt x="6081" y="38745"/>
                  </a:lnTo>
                  <a:lnTo>
                    <a:pt x="6730" y="13153"/>
                  </a:lnTo>
                  <a:cubicBezTo>
                    <a:pt x="-1172" y="2303"/>
                    <a:pt x="110632" y="-2002"/>
                    <a:pt x="114052" y="9674"/>
                  </a:cubicBezTo>
                  <a:close/>
                </a:path>
              </a:pathLst>
            </a:custGeom>
            <a:solidFill>
              <a:srgbClr val="754F4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eform: Shape 952">
              <a:extLst>
                <a:ext uri="{FF2B5EF4-FFF2-40B4-BE49-F238E27FC236}">
                  <a16:creationId xmlns:a16="http://schemas.microsoft.com/office/drawing/2014/main" id="{C5A70B8F-599F-49CE-B69A-E980ABCDA2ED}"/>
                </a:ext>
              </a:extLst>
            </p:cNvPr>
            <p:cNvSpPr/>
            <p:nvPr/>
          </p:nvSpPr>
          <p:spPr bwMode="gray">
            <a:xfrm>
              <a:off x="4067329" y="5176670"/>
              <a:ext cx="194596" cy="106143"/>
            </a:xfrm>
            <a:custGeom>
              <a:avLst/>
              <a:gdLst>
                <a:gd name="connsiteX0" fmla="*/ 191835 w 194595"/>
                <a:gd name="connsiteY0" fmla="*/ 106504 h 106143"/>
                <a:gd name="connsiteX1" fmla="*/ 2724 w 194595"/>
                <a:gd name="connsiteY1" fmla="*/ 45944 h 106143"/>
                <a:gd name="connsiteX2" fmla="*/ 18940 w 194595"/>
                <a:gd name="connsiteY2" fmla="*/ 2720 h 106143"/>
                <a:gd name="connsiteX3" fmla="*/ 98017 w 194595"/>
                <a:gd name="connsiteY3" fmla="*/ 20941 h 106143"/>
                <a:gd name="connsiteX4" fmla="*/ 179983 w 194595"/>
                <a:gd name="connsiteY4" fmla="*/ 75074 h 106143"/>
                <a:gd name="connsiteX5" fmla="*/ 195374 w 194595"/>
                <a:gd name="connsiteY5" fmla="*/ 99841 h 106143"/>
                <a:gd name="connsiteX6" fmla="*/ 191835 w 194595"/>
                <a:gd name="connsiteY6" fmla="*/ 106504 h 10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595" h="106143">
                  <a:moveTo>
                    <a:pt x="191835" y="106504"/>
                  </a:moveTo>
                  <a:cubicBezTo>
                    <a:pt x="76670" y="109570"/>
                    <a:pt x="2075" y="53433"/>
                    <a:pt x="2724" y="45944"/>
                  </a:cubicBezTo>
                  <a:cubicBezTo>
                    <a:pt x="4788" y="20528"/>
                    <a:pt x="16405" y="18700"/>
                    <a:pt x="18940" y="2720"/>
                  </a:cubicBezTo>
                  <a:lnTo>
                    <a:pt x="98017" y="20941"/>
                  </a:lnTo>
                  <a:cubicBezTo>
                    <a:pt x="98017" y="20941"/>
                    <a:pt x="118951" y="48479"/>
                    <a:pt x="179983" y="75074"/>
                  </a:cubicBezTo>
                  <a:cubicBezTo>
                    <a:pt x="190007" y="79438"/>
                    <a:pt x="195963" y="89050"/>
                    <a:pt x="195374" y="99841"/>
                  </a:cubicBezTo>
                  <a:cubicBezTo>
                    <a:pt x="195374" y="99900"/>
                    <a:pt x="195668" y="106445"/>
                    <a:pt x="191835" y="106504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1" name="Freeform: Shape 953">
              <a:extLst>
                <a:ext uri="{FF2B5EF4-FFF2-40B4-BE49-F238E27FC236}">
                  <a16:creationId xmlns:a16="http://schemas.microsoft.com/office/drawing/2014/main" id="{F09E78B7-946B-4413-B837-C0D4A71C14A4}"/>
                </a:ext>
              </a:extLst>
            </p:cNvPr>
            <p:cNvSpPr/>
            <p:nvPr/>
          </p:nvSpPr>
          <p:spPr bwMode="gray">
            <a:xfrm>
              <a:off x="4372224" y="3936860"/>
              <a:ext cx="241770" cy="1279613"/>
            </a:xfrm>
            <a:custGeom>
              <a:avLst/>
              <a:gdLst>
                <a:gd name="connsiteX0" fmla="*/ 240102 w 241770"/>
                <a:gd name="connsiteY0" fmla="*/ 54140 h 1279613"/>
                <a:gd name="connsiteX1" fmla="*/ 214215 w 241770"/>
                <a:gd name="connsiteY1" fmla="*/ 514447 h 1279613"/>
                <a:gd name="connsiteX2" fmla="*/ 147050 w 241770"/>
                <a:gd name="connsiteY2" fmla="*/ 1053300 h 1279613"/>
                <a:gd name="connsiteX3" fmla="*/ 188622 w 241770"/>
                <a:gd name="connsiteY3" fmla="*/ 1274314 h 1279613"/>
                <a:gd name="connsiteX4" fmla="*/ 67619 w 241770"/>
                <a:gd name="connsiteY4" fmla="*/ 1281862 h 1279613"/>
                <a:gd name="connsiteX5" fmla="*/ 64966 w 241770"/>
                <a:gd name="connsiteY5" fmla="*/ 497052 h 1279613"/>
                <a:gd name="connsiteX6" fmla="*/ 45447 w 241770"/>
                <a:gd name="connsiteY6" fmla="*/ 2720 h 1279613"/>
                <a:gd name="connsiteX7" fmla="*/ 106420 w 241770"/>
                <a:gd name="connsiteY7" fmla="*/ 5196 h 1279613"/>
                <a:gd name="connsiteX8" fmla="*/ 240102 w 241770"/>
                <a:gd name="connsiteY8" fmla="*/ 54140 h 127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770" h="1279613">
                  <a:moveTo>
                    <a:pt x="240102" y="54140"/>
                  </a:moveTo>
                  <a:cubicBezTo>
                    <a:pt x="240102" y="54140"/>
                    <a:pt x="212151" y="487440"/>
                    <a:pt x="214215" y="514447"/>
                  </a:cubicBezTo>
                  <a:cubicBezTo>
                    <a:pt x="216220" y="541455"/>
                    <a:pt x="165684" y="839068"/>
                    <a:pt x="147050" y="1053300"/>
                  </a:cubicBezTo>
                  <a:cubicBezTo>
                    <a:pt x="129123" y="1259218"/>
                    <a:pt x="188622" y="1274314"/>
                    <a:pt x="188622" y="1274314"/>
                  </a:cubicBezTo>
                  <a:lnTo>
                    <a:pt x="67619" y="1281862"/>
                  </a:lnTo>
                  <a:cubicBezTo>
                    <a:pt x="22332" y="931000"/>
                    <a:pt x="-51084" y="917437"/>
                    <a:pt x="64966" y="497052"/>
                  </a:cubicBezTo>
                  <a:cubicBezTo>
                    <a:pt x="64966" y="497052"/>
                    <a:pt x="50224" y="337188"/>
                    <a:pt x="45447" y="2720"/>
                  </a:cubicBezTo>
                  <a:lnTo>
                    <a:pt x="106420" y="5196"/>
                  </a:lnTo>
                  <a:lnTo>
                    <a:pt x="240102" y="54140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2" name="Freeform: Shape 954">
              <a:extLst>
                <a:ext uri="{FF2B5EF4-FFF2-40B4-BE49-F238E27FC236}">
                  <a16:creationId xmlns:a16="http://schemas.microsoft.com/office/drawing/2014/main" id="{845AD223-1CA7-4CE8-AB59-E3BF9792F382}"/>
                </a:ext>
              </a:extLst>
            </p:cNvPr>
            <p:cNvSpPr/>
            <p:nvPr/>
          </p:nvSpPr>
          <p:spPr bwMode="gray">
            <a:xfrm>
              <a:off x="4065564" y="3959740"/>
              <a:ext cx="418675" cy="1261923"/>
            </a:xfrm>
            <a:custGeom>
              <a:avLst/>
              <a:gdLst>
                <a:gd name="connsiteX0" fmla="*/ 419508 w 418675"/>
                <a:gd name="connsiteY0" fmla="*/ 11329 h 1261922"/>
                <a:gd name="connsiteX1" fmla="*/ 286122 w 418675"/>
                <a:gd name="connsiteY1" fmla="*/ 506958 h 1261922"/>
                <a:gd name="connsiteX2" fmla="*/ 123015 w 418675"/>
                <a:gd name="connsiteY2" fmla="*/ 1037791 h 1261922"/>
                <a:gd name="connsiteX3" fmla="*/ 126082 w 418675"/>
                <a:gd name="connsiteY3" fmla="*/ 1262461 h 1261922"/>
                <a:gd name="connsiteX4" fmla="*/ 2720 w 418675"/>
                <a:gd name="connsiteY4" fmla="*/ 1262933 h 1261922"/>
                <a:gd name="connsiteX5" fmla="*/ 139526 w 418675"/>
                <a:gd name="connsiteY5" fmla="*/ 489739 h 1261922"/>
                <a:gd name="connsiteX6" fmla="*/ 207812 w 418675"/>
                <a:gd name="connsiteY6" fmla="*/ 2720 h 1261922"/>
                <a:gd name="connsiteX7" fmla="*/ 268549 w 418675"/>
                <a:gd name="connsiteY7" fmla="*/ 5196 h 1261922"/>
                <a:gd name="connsiteX8" fmla="*/ 419508 w 418675"/>
                <a:gd name="connsiteY8" fmla="*/ 11329 h 126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675" h="1261922">
                  <a:moveTo>
                    <a:pt x="419508" y="11329"/>
                  </a:moveTo>
                  <a:cubicBezTo>
                    <a:pt x="419508" y="11329"/>
                    <a:pt x="288893" y="480364"/>
                    <a:pt x="286122" y="506958"/>
                  </a:cubicBezTo>
                  <a:cubicBezTo>
                    <a:pt x="283350" y="533553"/>
                    <a:pt x="179802" y="826744"/>
                    <a:pt x="123015" y="1037791"/>
                  </a:cubicBezTo>
                  <a:cubicBezTo>
                    <a:pt x="68470" y="1240643"/>
                    <a:pt x="126082" y="1262461"/>
                    <a:pt x="126082" y="1262461"/>
                  </a:cubicBezTo>
                  <a:lnTo>
                    <a:pt x="2720" y="1262933"/>
                  </a:lnTo>
                  <a:cubicBezTo>
                    <a:pt x="19644" y="917260"/>
                    <a:pt x="-51531" y="903815"/>
                    <a:pt x="139526" y="489739"/>
                  </a:cubicBezTo>
                  <a:cubicBezTo>
                    <a:pt x="139526" y="489739"/>
                    <a:pt x="153148" y="332235"/>
                    <a:pt x="207812" y="2720"/>
                  </a:cubicBezTo>
                  <a:lnTo>
                    <a:pt x="268549" y="5196"/>
                  </a:lnTo>
                  <a:lnTo>
                    <a:pt x="419508" y="11329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eform: Shape 955">
              <a:extLst>
                <a:ext uri="{FF2B5EF4-FFF2-40B4-BE49-F238E27FC236}">
                  <a16:creationId xmlns:a16="http://schemas.microsoft.com/office/drawing/2014/main" id="{BCE230C2-CF47-4356-870E-98E928569BE0}"/>
                </a:ext>
              </a:extLst>
            </p:cNvPr>
            <p:cNvSpPr/>
            <p:nvPr/>
          </p:nvSpPr>
          <p:spPr bwMode="gray">
            <a:xfrm>
              <a:off x="4343430" y="2580879"/>
              <a:ext cx="218183" cy="554303"/>
            </a:xfrm>
            <a:custGeom>
              <a:avLst/>
              <a:gdLst>
                <a:gd name="connsiteX0" fmla="*/ 25828 w 218182"/>
                <a:gd name="connsiteY0" fmla="*/ 6674 h 554302"/>
                <a:gd name="connsiteX1" fmla="*/ 214409 w 218182"/>
                <a:gd name="connsiteY1" fmla="*/ 214656 h 554302"/>
                <a:gd name="connsiteX2" fmla="*/ 214822 w 218182"/>
                <a:gd name="connsiteY2" fmla="*/ 496996 h 554302"/>
                <a:gd name="connsiteX3" fmla="*/ 4423 w 218182"/>
                <a:gd name="connsiteY3" fmla="*/ 549065 h 554302"/>
                <a:gd name="connsiteX4" fmla="*/ 11853 w 218182"/>
                <a:gd name="connsiteY4" fmla="*/ 48601 h 554302"/>
                <a:gd name="connsiteX5" fmla="*/ 25828 w 218182"/>
                <a:gd name="connsiteY5" fmla="*/ 6674 h 55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182" h="554302">
                  <a:moveTo>
                    <a:pt x="25828" y="6674"/>
                  </a:moveTo>
                  <a:cubicBezTo>
                    <a:pt x="25828" y="6674"/>
                    <a:pt x="183981" y="-32363"/>
                    <a:pt x="214409" y="214656"/>
                  </a:cubicBezTo>
                  <a:cubicBezTo>
                    <a:pt x="219362" y="254931"/>
                    <a:pt x="190114" y="476652"/>
                    <a:pt x="214822" y="496996"/>
                  </a:cubicBezTo>
                  <a:cubicBezTo>
                    <a:pt x="148777" y="572594"/>
                    <a:pt x="84502" y="553724"/>
                    <a:pt x="4423" y="549065"/>
                  </a:cubicBezTo>
                  <a:lnTo>
                    <a:pt x="11853" y="48601"/>
                  </a:lnTo>
                  <a:lnTo>
                    <a:pt x="25828" y="6674"/>
                  </a:lnTo>
                  <a:close/>
                </a:path>
              </a:pathLst>
            </a:custGeom>
            <a:solidFill>
              <a:srgbClr val="AB662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eform: Shape 956">
              <a:extLst>
                <a:ext uri="{FF2B5EF4-FFF2-40B4-BE49-F238E27FC236}">
                  <a16:creationId xmlns:a16="http://schemas.microsoft.com/office/drawing/2014/main" id="{02D3EF7F-962D-4399-9475-255427EB7683}"/>
                </a:ext>
              </a:extLst>
            </p:cNvPr>
            <p:cNvSpPr/>
            <p:nvPr/>
          </p:nvSpPr>
          <p:spPr bwMode="gray">
            <a:xfrm>
              <a:off x="4229319" y="2965710"/>
              <a:ext cx="129730" cy="218183"/>
            </a:xfrm>
            <a:custGeom>
              <a:avLst/>
              <a:gdLst>
                <a:gd name="connsiteX0" fmla="*/ 127261 w 129730"/>
                <a:gd name="connsiteY0" fmla="*/ 213001 h 218182"/>
                <a:gd name="connsiteX1" fmla="*/ 123192 w 129730"/>
                <a:gd name="connsiteY1" fmla="*/ 73187 h 218182"/>
                <a:gd name="connsiteX2" fmla="*/ 2720 w 129730"/>
                <a:gd name="connsiteY2" fmla="*/ 2720 h 218182"/>
                <a:gd name="connsiteX3" fmla="*/ 2720 w 129730"/>
                <a:gd name="connsiteY3" fmla="*/ 215772 h 21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730" h="218182">
                  <a:moveTo>
                    <a:pt x="127261" y="213001"/>
                  </a:moveTo>
                  <a:lnTo>
                    <a:pt x="123192" y="73187"/>
                  </a:lnTo>
                  <a:lnTo>
                    <a:pt x="2720" y="2720"/>
                  </a:lnTo>
                  <a:lnTo>
                    <a:pt x="2720" y="215772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eform: Shape 957">
              <a:extLst>
                <a:ext uri="{FF2B5EF4-FFF2-40B4-BE49-F238E27FC236}">
                  <a16:creationId xmlns:a16="http://schemas.microsoft.com/office/drawing/2014/main" id="{951D27CB-C5AF-474E-9618-4B3BAA4B294E}"/>
                </a:ext>
              </a:extLst>
            </p:cNvPr>
            <p:cNvSpPr/>
            <p:nvPr/>
          </p:nvSpPr>
          <p:spPr bwMode="gray">
            <a:xfrm>
              <a:off x="4137687" y="2558908"/>
              <a:ext cx="389191" cy="507128"/>
            </a:xfrm>
            <a:custGeom>
              <a:avLst/>
              <a:gdLst>
                <a:gd name="connsiteX0" fmla="*/ 372505 w 389191"/>
                <a:gd name="connsiteY0" fmla="*/ 95043 h 507127"/>
                <a:gd name="connsiteX1" fmla="*/ 158273 w 389191"/>
                <a:gd name="connsiteY1" fmla="*/ 6119 h 507127"/>
                <a:gd name="connsiteX2" fmla="*/ 5368 w 389191"/>
                <a:gd name="connsiteY2" fmla="*/ 139152 h 507127"/>
                <a:gd name="connsiteX3" fmla="*/ 93761 w 389191"/>
                <a:gd name="connsiteY3" fmla="*/ 432048 h 507127"/>
                <a:gd name="connsiteX4" fmla="*/ 297910 w 389191"/>
                <a:gd name="connsiteY4" fmla="*/ 508117 h 507127"/>
                <a:gd name="connsiteX5" fmla="*/ 386362 w 389191"/>
                <a:gd name="connsiteY5" fmla="*/ 355448 h 507127"/>
                <a:gd name="connsiteX6" fmla="*/ 384652 w 389191"/>
                <a:gd name="connsiteY6" fmla="*/ 311811 h 507127"/>
                <a:gd name="connsiteX7" fmla="*/ 379935 w 389191"/>
                <a:gd name="connsiteY7" fmla="*/ 278553 h 507127"/>
                <a:gd name="connsiteX8" fmla="*/ 388721 w 389191"/>
                <a:gd name="connsiteY8" fmla="*/ 209324 h 507127"/>
                <a:gd name="connsiteX9" fmla="*/ 372505 w 389191"/>
                <a:gd name="connsiteY9" fmla="*/ 95043 h 50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191" h="507127">
                  <a:moveTo>
                    <a:pt x="372505" y="95043"/>
                  </a:moveTo>
                  <a:cubicBezTo>
                    <a:pt x="351453" y="79829"/>
                    <a:pt x="237821" y="-16407"/>
                    <a:pt x="158273" y="6119"/>
                  </a:cubicBezTo>
                  <a:cubicBezTo>
                    <a:pt x="77250" y="21923"/>
                    <a:pt x="17692" y="115977"/>
                    <a:pt x="5368" y="139152"/>
                  </a:cubicBezTo>
                  <a:cubicBezTo>
                    <a:pt x="-6956" y="162326"/>
                    <a:pt x="23943" y="289285"/>
                    <a:pt x="93761" y="432048"/>
                  </a:cubicBezTo>
                  <a:cubicBezTo>
                    <a:pt x="93761" y="432048"/>
                    <a:pt x="224730" y="524156"/>
                    <a:pt x="297910" y="508117"/>
                  </a:cubicBezTo>
                  <a:cubicBezTo>
                    <a:pt x="313006" y="504814"/>
                    <a:pt x="369144" y="419192"/>
                    <a:pt x="386362" y="355448"/>
                  </a:cubicBezTo>
                  <a:cubicBezTo>
                    <a:pt x="390254" y="341118"/>
                    <a:pt x="389488" y="325904"/>
                    <a:pt x="384652" y="311811"/>
                  </a:cubicBezTo>
                  <a:lnTo>
                    <a:pt x="379935" y="278553"/>
                  </a:lnTo>
                  <a:cubicBezTo>
                    <a:pt x="379935" y="278553"/>
                    <a:pt x="388898" y="218700"/>
                    <a:pt x="388721" y="209324"/>
                  </a:cubicBezTo>
                  <a:cubicBezTo>
                    <a:pt x="387424" y="139270"/>
                    <a:pt x="385655" y="104537"/>
                    <a:pt x="372505" y="95043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6" name="Freeform: Shape 958">
              <a:extLst>
                <a:ext uri="{FF2B5EF4-FFF2-40B4-BE49-F238E27FC236}">
                  <a16:creationId xmlns:a16="http://schemas.microsoft.com/office/drawing/2014/main" id="{3353B7DB-33F3-41FE-8B6B-BD80957524CE}"/>
                </a:ext>
              </a:extLst>
            </p:cNvPr>
            <p:cNvSpPr/>
            <p:nvPr/>
          </p:nvSpPr>
          <p:spPr bwMode="gray">
            <a:xfrm>
              <a:off x="4136974" y="3727050"/>
              <a:ext cx="518921" cy="748898"/>
            </a:xfrm>
            <a:custGeom>
              <a:avLst/>
              <a:gdLst>
                <a:gd name="connsiteX0" fmla="*/ 427823 w 518921"/>
                <a:gd name="connsiteY0" fmla="*/ 15693 h 748898"/>
                <a:gd name="connsiteX1" fmla="*/ 512265 w 518921"/>
                <a:gd name="connsiteY1" fmla="*/ 688109 h 748898"/>
                <a:gd name="connsiteX2" fmla="*/ 2720 w 518921"/>
                <a:gd name="connsiteY2" fmla="*/ 723372 h 748898"/>
                <a:gd name="connsiteX3" fmla="*/ 162111 w 518921"/>
                <a:gd name="connsiteY3" fmla="*/ 2720 h 748898"/>
                <a:gd name="connsiteX4" fmla="*/ 427823 w 518921"/>
                <a:gd name="connsiteY4" fmla="*/ 15693 h 74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921" h="748898">
                  <a:moveTo>
                    <a:pt x="427823" y="15693"/>
                  </a:moveTo>
                  <a:cubicBezTo>
                    <a:pt x="546113" y="196844"/>
                    <a:pt x="516275" y="482663"/>
                    <a:pt x="512265" y="688109"/>
                  </a:cubicBezTo>
                  <a:cubicBezTo>
                    <a:pt x="474820" y="796611"/>
                    <a:pt x="2720" y="723372"/>
                    <a:pt x="2720" y="723372"/>
                  </a:cubicBezTo>
                  <a:cubicBezTo>
                    <a:pt x="57737" y="615991"/>
                    <a:pt x="-62853" y="171192"/>
                    <a:pt x="162111" y="2720"/>
                  </a:cubicBezTo>
                  <a:lnTo>
                    <a:pt x="427823" y="15693"/>
                  </a:lnTo>
                  <a:close/>
                </a:path>
              </a:pathLst>
            </a:custGeom>
            <a:solidFill>
              <a:srgbClr val="7F7F7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eform: Shape 959">
              <a:extLst>
                <a:ext uri="{FF2B5EF4-FFF2-40B4-BE49-F238E27FC236}">
                  <a16:creationId xmlns:a16="http://schemas.microsoft.com/office/drawing/2014/main" id="{D208C369-74B5-48DE-93D8-486C726F1866}"/>
                </a:ext>
              </a:extLst>
            </p:cNvPr>
            <p:cNvSpPr/>
            <p:nvPr/>
          </p:nvSpPr>
          <p:spPr bwMode="gray">
            <a:xfrm>
              <a:off x="4084846" y="3125396"/>
              <a:ext cx="501231" cy="636858"/>
            </a:xfrm>
            <a:custGeom>
              <a:avLst/>
              <a:gdLst>
                <a:gd name="connsiteX0" fmla="*/ 428589 w 501230"/>
                <a:gd name="connsiteY0" fmla="*/ 117826 h 636858"/>
                <a:gd name="connsiteX1" fmla="*/ 471459 w 501230"/>
                <a:gd name="connsiteY1" fmla="*/ 347095 h 636858"/>
                <a:gd name="connsiteX2" fmla="*/ 500118 w 501230"/>
                <a:gd name="connsiteY2" fmla="*/ 638870 h 636858"/>
                <a:gd name="connsiteX3" fmla="*/ 163291 w 501230"/>
                <a:gd name="connsiteY3" fmla="*/ 638870 h 636858"/>
                <a:gd name="connsiteX4" fmla="*/ 214239 w 501230"/>
                <a:gd name="connsiteY4" fmla="*/ 559086 h 636858"/>
                <a:gd name="connsiteX5" fmla="*/ 2720 w 501230"/>
                <a:gd name="connsiteY5" fmla="*/ 207812 h 636858"/>
                <a:gd name="connsiteX6" fmla="*/ 62868 w 501230"/>
                <a:gd name="connsiteY6" fmla="*/ 2720 h 636858"/>
                <a:gd name="connsiteX7" fmla="*/ 385660 w 501230"/>
                <a:gd name="connsiteY7" fmla="*/ 18111 h 636858"/>
                <a:gd name="connsiteX8" fmla="*/ 428589 w 501230"/>
                <a:gd name="connsiteY8" fmla="*/ 117826 h 63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1230" h="636858">
                  <a:moveTo>
                    <a:pt x="428589" y="117826"/>
                  </a:moveTo>
                  <a:cubicBezTo>
                    <a:pt x="428589" y="117826"/>
                    <a:pt x="555194" y="251448"/>
                    <a:pt x="471459" y="347095"/>
                  </a:cubicBezTo>
                  <a:cubicBezTo>
                    <a:pt x="416501" y="409837"/>
                    <a:pt x="500118" y="638870"/>
                    <a:pt x="500118" y="638870"/>
                  </a:cubicBezTo>
                  <a:lnTo>
                    <a:pt x="163291" y="638870"/>
                  </a:lnTo>
                  <a:lnTo>
                    <a:pt x="214239" y="559086"/>
                  </a:lnTo>
                  <a:lnTo>
                    <a:pt x="2720" y="207812"/>
                  </a:lnTo>
                  <a:lnTo>
                    <a:pt x="62868" y="2720"/>
                  </a:lnTo>
                  <a:lnTo>
                    <a:pt x="385660" y="18111"/>
                  </a:lnTo>
                  <a:lnTo>
                    <a:pt x="428589" y="11782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8" name="Freeform: Shape 960">
              <a:extLst>
                <a:ext uri="{FF2B5EF4-FFF2-40B4-BE49-F238E27FC236}">
                  <a16:creationId xmlns:a16="http://schemas.microsoft.com/office/drawing/2014/main" id="{72067425-4E37-41D6-972D-8CD5874592B1}"/>
                </a:ext>
              </a:extLst>
            </p:cNvPr>
            <p:cNvSpPr/>
            <p:nvPr/>
          </p:nvSpPr>
          <p:spPr bwMode="gray">
            <a:xfrm>
              <a:off x="3863420" y="3125191"/>
              <a:ext cx="342016" cy="778382"/>
            </a:xfrm>
            <a:custGeom>
              <a:avLst/>
              <a:gdLst>
                <a:gd name="connsiteX0" fmla="*/ 284294 w 342016"/>
                <a:gd name="connsiteY0" fmla="*/ 2925 h 778382"/>
                <a:gd name="connsiteX1" fmla="*/ 2720 w 342016"/>
                <a:gd name="connsiteY1" fmla="*/ 515950 h 778382"/>
                <a:gd name="connsiteX2" fmla="*/ 333532 w 342016"/>
                <a:gd name="connsiteY2" fmla="*/ 780246 h 778382"/>
                <a:gd name="connsiteX3" fmla="*/ 344913 w 342016"/>
                <a:gd name="connsiteY3" fmla="*/ 721278 h 778382"/>
                <a:gd name="connsiteX4" fmla="*/ 100136 w 342016"/>
                <a:gd name="connsiteY4" fmla="*/ 486407 h 778382"/>
                <a:gd name="connsiteX5" fmla="*/ 320205 w 342016"/>
                <a:gd name="connsiteY5" fmla="*/ 217098 h 778382"/>
                <a:gd name="connsiteX6" fmla="*/ 284294 w 342016"/>
                <a:gd name="connsiteY6" fmla="*/ 2925 h 77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2016" h="778382">
                  <a:moveTo>
                    <a:pt x="284294" y="2925"/>
                  </a:moveTo>
                  <a:cubicBezTo>
                    <a:pt x="181866" y="-9163"/>
                    <a:pt x="2720" y="515950"/>
                    <a:pt x="2720" y="515950"/>
                  </a:cubicBezTo>
                  <a:cubicBezTo>
                    <a:pt x="2720" y="515950"/>
                    <a:pt x="333532" y="785966"/>
                    <a:pt x="333532" y="780246"/>
                  </a:cubicBezTo>
                  <a:cubicBezTo>
                    <a:pt x="333532" y="774526"/>
                    <a:pt x="344913" y="726998"/>
                    <a:pt x="344913" y="721278"/>
                  </a:cubicBezTo>
                  <a:cubicBezTo>
                    <a:pt x="344913" y="715558"/>
                    <a:pt x="173787" y="460461"/>
                    <a:pt x="100136" y="486407"/>
                  </a:cubicBezTo>
                  <a:lnTo>
                    <a:pt x="320205" y="217098"/>
                  </a:lnTo>
                  <a:cubicBezTo>
                    <a:pt x="320264" y="217098"/>
                    <a:pt x="386722" y="15014"/>
                    <a:pt x="284294" y="2925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9" name="Freeform: Shape 961">
              <a:extLst>
                <a:ext uri="{FF2B5EF4-FFF2-40B4-BE49-F238E27FC236}">
                  <a16:creationId xmlns:a16="http://schemas.microsoft.com/office/drawing/2014/main" id="{18DF3AFA-F2AF-4B12-9673-ED48F4882932}"/>
                </a:ext>
              </a:extLst>
            </p:cNvPr>
            <p:cNvSpPr/>
            <p:nvPr/>
          </p:nvSpPr>
          <p:spPr bwMode="gray">
            <a:xfrm>
              <a:off x="3863420" y="3107955"/>
              <a:ext cx="436366" cy="530715"/>
            </a:xfrm>
            <a:custGeom>
              <a:avLst/>
              <a:gdLst>
                <a:gd name="connsiteX0" fmla="*/ 100194 w 436365"/>
                <a:gd name="connsiteY0" fmla="*/ 503643 h 530715"/>
                <a:gd name="connsiteX1" fmla="*/ 2720 w 436365"/>
                <a:gd name="connsiteY1" fmla="*/ 533186 h 530715"/>
                <a:gd name="connsiteX2" fmla="*/ 316726 w 436365"/>
                <a:gd name="connsiteY2" fmla="*/ 3355 h 530715"/>
                <a:gd name="connsiteX3" fmla="*/ 418918 w 436365"/>
                <a:gd name="connsiteY3" fmla="*/ 302148 h 530715"/>
                <a:gd name="connsiteX4" fmla="*/ 320264 w 436365"/>
                <a:gd name="connsiteY4" fmla="*/ 234334 h 530715"/>
                <a:gd name="connsiteX5" fmla="*/ 100194 w 436365"/>
                <a:gd name="connsiteY5" fmla="*/ 503643 h 53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6365" h="530715">
                  <a:moveTo>
                    <a:pt x="100194" y="503643"/>
                  </a:moveTo>
                  <a:lnTo>
                    <a:pt x="2720" y="533186"/>
                  </a:lnTo>
                  <a:cubicBezTo>
                    <a:pt x="2720" y="533186"/>
                    <a:pt x="136578" y="19984"/>
                    <a:pt x="316726" y="3355"/>
                  </a:cubicBezTo>
                  <a:cubicBezTo>
                    <a:pt x="496875" y="-13274"/>
                    <a:pt x="418918" y="302148"/>
                    <a:pt x="418918" y="302148"/>
                  </a:cubicBezTo>
                  <a:lnTo>
                    <a:pt x="320264" y="234334"/>
                  </a:lnTo>
                  <a:lnTo>
                    <a:pt x="100194" y="503643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0" name="Freeform: Shape 962">
              <a:extLst>
                <a:ext uri="{FF2B5EF4-FFF2-40B4-BE49-F238E27FC236}">
                  <a16:creationId xmlns:a16="http://schemas.microsoft.com/office/drawing/2014/main" id="{3DD8BD2C-9E36-4BC2-B79A-5889E23545C1}"/>
                </a:ext>
              </a:extLst>
            </p:cNvPr>
            <p:cNvSpPr/>
            <p:nvPr/>
          </p:nvSpPr>
          <p:spPr bwMode="gray">
            <a:xfrm>
              <a:off x="4180965" y="3727758"/>
              <a:ext cx="188699" cy="188699"/>
            </a:xfrm>
            <a:custGeom>
              <a:avLst/>
              <a:gdLst>
                <a:gd name="connsiteX0" fmla="*/ 190947 w 188698"/>
                <a:gd name="connsiteY0" fmla="*/ 35034 h 188698"/>
                <a:gd name="connsiteX1" fmla="*/ 90170 w 188698"/>
                <a:gd name="connsiteY1" fmla="*/ 2720 h 188698"/>
                <a:gd name="connsiteX2" fmla="*/ 25541 w 188698"/>
                <a:gd name="connsiteY2" fmla="*/ 128204 h 188698"/>
                <a:gd name="connsiteX3" fmla="*/ 2720 w 188698"/>
                <a:gd name="connsiteY3" fmla="*/ 164352 h 188698"/>
                <a:gd name="connsiteX4" fmla="*/ 69295 w 188698"/>
                <a:gd name="connsiteY4" fmla="*/ 164352 h 188698"/>
                <a:gd name="connsiteX5" fmla="*/ 105443 w 188698"/>
                <a:gd name="connsiteY5" fmla="*/ 94946 h 188698"/>
                <a:gd name="connsiteX6" fmla="*/ 175792 w 188698"/>
                <a:gd name="connsiteY6" fmla="*/ 160519 h 188698"/>
                <a:gd name="connsiteX7" fmla="*/ 141590 w 188698"/>
                <a:gd name="connsiteY7" fmla="*/ 40754 h 188698"/>
                <a:gd name="connsiteX8" fmla="*/ 190947 w 188698"/>
                <a:gd name="connsiteY8" fmla="*/ 35034 h 18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98" h="188698">
                  <a:moveTo>
                    <a:pt x="190947" y="35034"/>
                  </a:moveTo>
                  <a:lnTo>
                    <a:pt x="90170" y="2720"/>
                  </a:lnTo>
                  <a:lnTo>
                    <a:pt x="25541" y="128204"/>
                  </a:lnTo>
                  <a:lnTo>
                    <a:pt x="2720" y="164352"/>
                  </a:lnTo>
                  <a:cubicBezTo>
                    <a:pt x="2720" y="164352"/>
                    <a:pt x="40754" y="215713"/>
                    <a:pt x="69295" y="164352"/>
                  </a:cubicBezTo>
                  <a:cubicBezTo>
                    <a:pt x="97836" y="112991"/>
                    <a:pt x="105443" y="94946"/>
                    <a:pt x="105443" y="94946"/>
                  </a:cubicBezTo>
                  <a:lnTo>
                    <a:pt x="175792" y="160519"/>
                  </a:lnTo>
                  <a:cubicBezTo>
                    <a:pt x="175792" y="160519"/>
                    <a:pt x="182632" y="75487"/>
                    <a:pt x="141590" y="40754"/>
                  </a:cubicBezTo>
                  <a:lnTo>
                    <a:pt x="190947" y="35034"/>
                  </a:ln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1" name="Freeform: Shape 963">
              <a:extLst>
                <a:ext uri="{FF2B5EF4-FFF2-40B4-BE49-F238E27FC236}">
                  <a16:creationId xmlns:a16="http://schemas.microsoft.com/office/drawing/2014/main" id="{1502BB35-77B0-4E9E-B185-9BD20B628BC6}"/>
                </a:ext>
              </a:extLst>
            </p:cNvPr>
            <p:cNvSpPr/>
            <p:nvPr/>
          </p:nvSpPr>
          <p:spPr bwMode="gray">
            <a:xfrm>
              <a:off x="4124324" y="3089610"/>
              <a:ext cx="281517" cy="431319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49872"/>
                <a:gd name="connsiteY0" fmla="*/ 252679 h 422749"/>
                <a:gd name="connsiteX1" fmla="*/ 0 w 249872"/>
                <a:gd name="connsiteY1" fmla="*/ 31430 h 422749"/>
                <a:gd name="connsiteX2" fmla="*/ 46231 w 249872"/>
                <a:gd name="connsiteY2" fmla="*/ 0 h 422749"/>
                <a:gd name="connsiteX3" fmla="*/ 203617 w 249872"/>
                <a:gd name="connsiteY3" fmla="*/ 123774 h 422749"/>
                <a:gd name="connsiteX4" fmla="*/ 249872 w 249872"/>
                <a:gd name="connsiteY4" fmla="*/ 422749 h 422749"/>
                <a:gd name="connsiteX5" fmla="*/ 76128 w 249872"/>
                <a:gd name="connsiteY5" fmla="*/ 328925 h 422749"/>
                <a:gd name="connsiteX6" fmla="*/ 27715 w 249872"/>
                <a:gd name="connsiteY6" fmla="*/ 252679 h 42274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27715 w 249872"/>
                <a:gd name="connsiteY6" fmla="*/ 252679 h 431319"/>
                <a:gd name="connsiteX0" fmla="*/ 27715 w 249872"/>
                <a:gd name="connsiteY0" fmla="*/ 252679 h 431319"/>
                <a:gd name="connsiteX1" fmla="*/ 0 w 249872"/>
                <a:gd name="connsiteY1" fmla="*/ 31430 h 431319"/>
                <a:gd name="connsiteX2" fmla="*/ 46231 w 249872"/>
                <a:gd name="connsiteY2" fmla="*/ 0 h 431319"/>
                <a:gd name="connsiteX3" fmla="*/ 203617 w 249872"/>
                <a:gd name="connsiteY3" fmla="*/ 123774 h 431319"/>
                <a:gd name="connsiteX4" fmla="*/ 249872 w 249872"/>
                <a:gd name="connsiteY4" fmla="*/ 422749 h 431319"/>
                <a:gd name="connsiteX5" fmla="*/ 42791 w 249872"/>
                <a:gd name="connsiteY5" fmla="*/ 431319 h 431319"/>
                <a:gd name="connsiteX6" fmla="*/ 35029 w 249872"/>
                <a:gd name="connsiteY6" fmla="*/ 329865 h 431319"/>
                <a:gd name="connsiteX7" fmla="*/ 27715 w 249872"/>
                <a:gd name="connsiteY7" fmla="*/ 252679 h 431319"/>
                <a:gd name="connsiteX0" fmla="*/ 45073 w 267230"/>
                <a:gd name="connsiteY0" fmla="*/ 252679 h 431319"/>
                <a:gd name="connsiteX1" fmla="*/ 17358 w 267230"/>
                <a:gd name="connsiteY1" fmla="*/ 31430 h 431319"/>
                <a:gd name="connsiteX2" fmla="*/ 63589 w 267230"/>
                <a:gd name="connsiteY2" fmla="*/ 0 h 431319"/>
                <a:gd name="connsiteX3" fmla="*/ 220975 w 267230"/>
                <a:gd name="connsiteY3" fmla="*/ 123774 h 431319"/>
                <a:gd name="connsiteX4" fmla="*/ 267230 w 267230"/>
                <a:gd name="connsiteY4" fmla="*/ 422749 h 431319"/>
                <a:gd name="connsiteX5" fmla="*/ 60149 w 267230"/>
                <a:gd name="connsiteY5" fmla="*/ 431319 h 431319"/>
                <a:gd name="connsiteX6" fmla="*/ 0 w 267230"/>
                <a:gd name="connsiteY6" fmla="*/ 320340 h 431319"/>
                <a:gd name="connsiteX7" fmla="*/ 45073 w 267230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13196 h 431319"/>
                <a:gd name="connsiteX7" fmla="*/ 47454 w 269611"/>
                <a:gd name="connsiteY7" fmla="*/ 252679 h 431319"/>
                <a:gd name="connsiteX0" fmla="*/ 47454 w 269611"/>
                <a:gd name="connsiteY0" fmla="*/ 252679 h 431319"/>
                <a:gd name="connsiteX1" fmla="*/ 19739 w 269611"/>
                <a:gd name="connsiteY1" fmla="*/ 31430 h 431319"/>
                <a:gd name="connsiteX2" fmla="*/ 65970 w 269611"/>
                <a:gd name="connsiteY2" fmla="*/ 0 h 431319"/>
                <a:gd name="connsiteX3" fmla="*/ 223356 w 269611"/>
                <a:gd name="connsiteY3" fmla="*/ 123774 h 431319"/>
                <a:gd name="connsiteX4" fmla="*/ 269611 w 269611"/>
                <a:gd name="connsiteY4" fmla="*/ 422749 h 431319"/>
                <a:gd name="connsiteX5" fmla="*/ 62530 w 269611"/>
                <a:gd name="connsiteY5" fmla="*/ 431319 h 431319"/>
                <a:gd name="connsiteX6" fmla="*/ 0 w 269611"/>
                <a:gd name="connsiteY6" fmla="*/ 320340 h 431319"/>
                <a:gd name="connsiteX7" fmla="*/ 47454 w 269611"/>
                <a:gd name="connsiteY7" fmla="*/ 252679 h 431319"/>
                <a:gd name="connsiteX0" fmla="*/ 49835 w 271992"/>
                <a:gd name="connsiteY0" fmla="*/ 252679 h 431319"/>
                <a:gd name="connsiteX1" fmla="*/ 22120 w 271992"/>
                <a:gd name="connsiteY1" fmla="*/ 31430 h 431319"/>
                <a:gd name="connsiteX2" fmla="*/ 68351 w 271992"/>
                <a:gd name="connsiteY2" fmla="*/ 0 h 431319"/>
                <a:gd name="connsiteX3" fmla="*/ 225737 w 271992"/>
                <a:gd name="connsiteY3" fmla="*/ 123774 h 431319"/>
                <a:gd name="connsiteX4" fmla="*/ 271992 w 271992"/>
                <a:gd name="connsiteY4" fmla="*/ 422749 h 431319"/>
                <a:gd name="connsiteX5" fmla="*/ 64911 w 271992"/>
                <a:gd name="connsiteY5" fmla="*/ 431319 h 431319"/>
                <a:gd name="connsiteX6" fmla="*/ 0 w 271992"/>
                <a:gd name="connsiteY6" fmla="*/ 317959 h 431319"/>
                <a:gd name="connsiteX7" fmla="*/ 49835 w 271992"/>
                <a:gd name="connsiteY7" fmla="*/ 252679 h 431319"/>
                <a:gd name="connsiteX0" fmla="*/ 59360 w 281517"/>
                <a:gd name="connsiteY0" fmla="*/ 252679 h 431319"/>
                <a:gd name="connsiteX1" fmla="*/ 31645 w 281517"/>
                <a:gd name="connsiteY1" fmla="*/ 31430 h 431319"/>
                <a:gd name="connsiteX2" fmla="*/ 77876 w 281517"/>
                <a:gd name="connsiteY2" fmla="*/ 0 h 431319"/>
                <a:gd name="connsiteX3" fmla="*/ 235262 w 281517"/>
                <a:gd name="connsiteY3" fmla="*/ 123774 h 431319"/>
                <a:gd name="connsiteX4" fmla="*/ 281517 w 281517"/>
                <a:gd name="connsiteY4" fmla="*/ 422749 h 431319"/>
                <a:gd name="connsiteX5" fmla="*/ 74436 w 281517"/>
                <a:gd name="connsiteY5" fmla="*/ 431319 h 431319"/>
                <a:gd name="connsiteX6" fmla="*/ 0 w 281517"/>
                <a:gd name="connsiteY6" fmla="*/ 317959 h 431319"/>
                <a:gd name="connsiteX7" fmla="*/ 59360 w 281517"/>
                <a:gd name="connsiteY7" fmla="*/ 252679 h 43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517" h="431319">
                  <a:moveTo>
                    <a:pt x="59360" y="252679"/>
                  </a:moveTo>
                  <a:cubicBezTo>
                    <a:pt x="59360" y="252679"/>
                    <a:pt x="125935" y="24531"/>
                    <a:pt x="31645" y="31430"/>
                  </a:cubicBezTo>
                  <a:lnTo>
                    <a:pt x="77876" y="0"/>
                  </a:lnTo>
                  <a:lnTo>
                    <a:pt x="235262" y="123774"/>
                  </a:lnTo>
                  <a:lnTo>
                    <a:pt x="281517" y="422749"/>
                  </a:lnTo>
                  <a:lnTo>
                    <a:pt x="74436" y="431319"/>
                  </a:lnTo>
                  <a:lnTo>
                    <a:pt x="0" y="317959"/>
                  </a:lnTo>
                  <a:lnTo>
                    <a:pt x="59360" y="252679"/>
                  </a:ln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2" name="Freeform: Shape 964">
              <a:extLst>
                <a:ext uri="{FF2B5EF4-FFF2-40B4-BE49-F238E27FC236}">
                  <a16:creationId xmlns:a16="http://schemas.microsoft.com/office/drawing/2014/main" id="{201D6A81-CBEE-4F8A-9F1B-2EC0E287B0C2}"/>
                </a:ext>
              </a:extLst>
            </p:cNvPr>
            <p:cNvSpPr/>
            <p:nvPr/>
          </p:nvSpPr>
          <p:spPr bwMode="gray">
            <a:xfrm>
              <a:off x="4239359" y="3286157"/>
              <a:ext cx="112040" cy="29484"/>
            </a:xfrm>
            <a:custGeom>
              <a:avLst/>
              <a:gdLst>
                <a:gd name="connsiteX0" fmla="*/ 2720 w 112039"/>
                <a:gd name="connsiteY0" fmla="*/ 2720 h 29484"/>
                <a:gd name="connsiteX1" fmla="*/ 113462 w 112039"/>
                <a:gd name="connsiteY1" fmla="*/ 2720 h 29484"/>
                <a:gd name="connsiteX2" fmla="*/ 113462 w 112039"/>
                <a:gd name="connsiteY2" fmla="*/ 32145 h 29484"/>
                <a:gd name="connsiteX3" fmla="*/ 2720 w 112039"/>
                <a:gd name="connsiteY3" fmla="*/ 32145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039" h="29484">
                  <a:moveTo>
                    <a:pt x="2720" y="2720"/>
                  </a:moveTo>
                  <a:lnTo>
                    <a:pt x="113462" y="2720"/>
                  </a:lnTo>
                  <a:lnTo>
                    <a:pt x="113462" y="32145"/>
                  </a:lnTo>
                  <a:lnTo>
                    <a:pt x="2720" y="32145"/>
                  </a:lnTo>
                  <a:close/>
                </a:path>
              </a:pathLst>
            </a:custGeom>
            <a:solidFill>
              <a:srgbClr val="FFFFF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3" name="Freeform: Shape 965">
              <a:extLst>
                <a:ext uri="{FF2B5EF4-FFF2-40B4-BE49-F238E27FC236}">
                  <a16:creationId xmlns:a16="http://schemas.microsoft.com/office/drawing/2014/main" id="{F2D10E4D-6A07-45A3-9B12-E41B31224D49}"/>
                </a:ext>
              </a:extLst>
            </p:cNvPr>
            <p:cNvSpPr/>
            <p:nvPr/>
          </p:nvSpPr>
          <p:spPr bwMode="gray">
            <a:xfrm flipH="1">
              <a:off x="4374830" y="3136105"/>
              <a:ext cx="211458" cy="376621"/>
            </a:xfrm>
            <a:custGeom>
              <a:avLst/>
              <a:gdLst>
                <a:gd name="connsiteX0" fmla="*/ 30435 w 206389"/>
                <a:gd name="connsiteY0" fmla="*/ 255399 h 353810"/>
                <a:gd name="connsiteX1" fmla="*/ 2720 w 206389"/>
                <a:gd name="connsiteY1" fmla="*/ 34150 h 353810"/>
                <a:gd name="connsiteX2" fmla="*/ 48951 w 206389"/>
                <a:gd name="connsiteY2" fmla="*/ 2720 h 353810"/>
                <a:gd name="connsiteX3" fmla="*/ 206337 w 206389"/>
                <a:gd name="connsiteY3" fmla="*/ 126494 h 353810"/>
                <a:gd name="connsiteX4" fmla="*/ 200205 w 206389"/>
                <a:gd name="connsiteY4" fmla="*/ 356412 h 353810"/>
                <a:gd name="connsiteX5" fmla="*/ 78848 w 206389"/>
                <a:gd name="connsiteY5" fmla="*/ 331645 h 353810"/>
                <a:gd name="connsiteX6" fmla="*/ 30435 w 206389"/>
                <a:gd name="connsiteY6" fmla="*/ 255399 h 353810"/>
                <a:gd name="connsiteX0" fmla="*/ 27715 w 203617"/>
                <a:gd name="connsiteY0" fmla="*/ 221403 h 322416"/>
                <a:gd name="connsiteX1" fmla="*/ 0 w 203617"/>
                <a:gd name="connsiteY1" fmla="*/ 154 h 322416"/>
                <a:gd name="connsiteX2" fmla="*/ 182709 w 203617"/>
                <a:gd name="connsiteY2" fmla="*/ 23315 h 322416"/>
                <a:gd name="connsiteX3" fmla="*/ 203617 w 203617"/>
                <a:gd name="connsiteY3" fmla="*/ 92498 h 322416"/>
                <a:gd name="connsiteX4" fmla="*/ 197485 w 203617"/>
                <a:gd name="connsiteY4" fmla="*/ 322416 h 322416"/>
                <a:gd name="connsiteX5" fmla="*/ 76128 w 203617"/>
                <a:gd name="connsiteY5" fmla="*/ 297649 h 322416"/>
                <a:gd name="connsiteX6" fmla="*/ 27715 w 203617"/>
                <a:gd name="connsiteY6" fmla="*/ 221403 h 322416"/>
                <a:gd name="connsiteX0" fmla="*/ 0 w 175902"/>
                <a:gd name="connsiteY0" fmla="*/ 198088 h 299101"/>
                <a:gd name="connsiteX1" fmla="*/ 99664 w 175902"/>
                <a:gd name="connsiteY1" fmla="*/ 19520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088 h 299101"/>
                <a:gd name="connsiteX1" fmla="*/ 81467 w 175902"/>
                <a:gd name="connsiteY1" fmla="*/ 13233 h 299101"/>
                <a:gd name="connsiteX2" fmla="*/ 154994 w 175902"/>
                <a:gd name="connsiteY2" fmla="*/ 0 h 299101"/>
                <a:gd name="connsiteX3" fmla="*/ 175902 w 175902"/>
                <a:gd name="connsiteY3" fmla="*/ 69183 h 299101"/>
                <a:gd name="connsiteX4" fmla="*/ 169770 w 175902"/>
                <a:gd name="connsiteY4" fmla="*/ 299101 h 299101"/>
                <a:gd name="connsiteX5" fmla="*/ 48413 w 175902"/>
                <a:gd name="connsiteY5" fmla="*/ 274334 h 299101"/>
                <a:gd name="connsiteX6" fmla="*/ 0 w 175902"/>
                <a:gd name="connsiteY6" fmla="*/ 198088 h 299101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54994 w 175902"/>
                <a:gd name="connsiteY2" fmla="*/ 583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299684"/>
                <a:gd name="connsiteX1" fmla="*/ 72368 w 175902"/>
                <a:gd name="connsiteY1" fmla="*/ 169 h 299684"/>
                <a:gd name="connsiteX2" fmla="*/ 107369 w 175902"/>
                <a:gd name="connsiteY2" fmla="*/ 74402 h 299684"/>
                <a:gd name="connsiteX3" fmla="*/ 175902 w 175902"/>
                <a:gd name="connsiteY3" fmla="*/ 69766 h 299684"/>
                <a:gd name="connsiteX4" fmla="*/ 169770 w 175902"/>
                <a:gd name="connsiteY4" fmla="*/ 299684 h 299684"/>
                <a:gd name="connsiteX5" fmla="*/ 48413 w 175902"/>
                <a:gd name="connsiteY5" fmla="*/ 274917 h 299684"/>
                <a:gd name="connsiteX6" fmla="*/ 0 w 175902"/>
                <a:gd name="connsiteY6" fmla="*/ 198671 h 299684"/>
                <a:gd name="connsiteX0" fmla="*/ 0 w 175902"/>
                <a:gd name="connsiteY0" fmla="*/ 198671 h 363023"/>
                <a:gd name="connsiteX1" fmla="*/ 72368 w 175902"/>
                <a:gd name="connsiteY1" fmla="*/ 169 h 363023"/>
                <a:gd name="connsiteX2" fmla="*/ 107369 w 175902"/>
                <a:gd name="connsiteY2" fmla="*/ 74402 h 363023"/>
                <a:gd name="connsiteX3" fmla="*/ 175902 w 175902"/>
                <a:gd name="connsiteY3" fmla="*/ 69766 h 363023"/>
                <a:gd name="connsiteX4" fmla="*/ 169770 w 175902"/>
                <a:gd name="connsiteY4" fmla="*/ 299684 h 363023"/>
                <a:gd name="connsiteX5" fmla="*/ 46032 w 175902"/>
                <a:gd name="connsiteY5" fmla="*/ 363023 h 363023"/>
                <a:gd name="connsiteX6" fmla="*/ 0 w 175902"/>
                <a:gd name="connsiteY6" fmla="*/ 198671 h 363023"/>
                <a:gd name="connsiteX0" fmla="*/ 0 w 152089"/>
                <a:gd name="connsiteY0" fmla="*/ 260546 h 362986"/>
                <a:gd name="connsiteX1" fmla="*/ 48555 w 152089"/>
                <a:gd name="connsiteY1" fmla="*/ 132 h 362986"/>
                <a:gd name="connsiteX2" fmla="*/ 83556 w 152089"/>
                <a:gd name="connsiteY2" fmla="*/ 74365 h 362986"/>
                <a:gd name="connsiteX3" fmla="*/ 152089 w 152089"/>
                <a:gd name="connsiteY3" fmla="*/ 69729 h 362986"/>
                <a:gd name="connsiteX4" fmla="*/ 145957 w 152089"/>
                <a:gd name="connsiteY4" fmla="*/ 299647 h 362986"/>
                <a:gd name="connsiteX5" fmla="*/ 22219 w 152089"/>
                <a:gd name="connsiteY5" fmla="*/ 362986 h 362986"/>
                <a:gd name="connsiteX6" fmla="*/ 0 w 152089"/>
                <a:gd name="connsiteY6" fmla="*/ 260546 h 362986"/>
                <a:gd name="connsiteX0" fmla="*/ 0 w 185426"/>
                <a:gd name="connsiteY0" fmla="*/ 258164 h 362986"/>
                <a:gd name="connsiteX1" fmla="*/ 81892 w 185426"/>
                <a:gd name="connsiteY1" fmla="*/ 132 h 362986"/>
                <a:gd name="connsiteX2" fmla="*/ 116893 w 185426"/>
                <a:gd name="connsiteY2" fmla="*/ 74365 h 362986"/>
                <a:gd name="connsiteX3" fmla="*/ 185426 w 185426"/>
                <a:gd name="connsiteY3" fmla="*/ 69729 h 362986"/>
                <a:gd name="connsiteX4" fmla="*/ 179294 w 185426"/>
                <a:gd name="connsiteY4" fmla="*/ 299647 h 362986"/>
                <a:gd name="connsiteX5" fmla="*/ 55556 w 185426"/>
                <a:gd name="connsiteY5" fmla="*/ 362986 h 362986"/>
                <a:gd name="connsiteX6" fmla="*/ 0 w 185426"/>
                <a:gd name="connsiteY6" fmla="*/ 258164 h 362986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116893 w 185426"/>
                <a:gd name="connsiteY1" fmla="*/ 4636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185426"/>
                <a:gd name="connsiteY0" fmla="*/ 188435 h 293257"/>
                <a:gd name="connsiteX1" fmla="*/ 74031 w 185426"/>
                <a:gd name="connsiteY1" fmla="*/ 35592 h 293257"/>
                <a:gd name="connsiteX2" fmla="*/ 185426 w 185426"/>
                <a:gd name="connsiteY2" fmla="*/ 0 h 293257"/>
                <a:gd name="connsiteX3" fmla="*/ 179294 w 185426"/>
                <a:gd name="connsiteY3" fmla="*/ 229918 h 293257"/>
                <a:gd name="connsiteX4" fmla="*/ 55556 w 185426"/>
                <a:gd name="connsiteY4" fmla="*/ 293257 h 293257"/>
                <a:gd name="connsiteX5" fmla="*/ 0 w 185426"/>
                <a:gd name="connsiteY5" fmla="*/ 188435 h 293257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230670 w 230670"/>
                <a:gd name="connsiteY2" fmla="*/ 0 h 371839"/>
                <a:gd name="connsiteX3" fmla="*/ 179294 w 230670"/>
                <a:gd name="connsiteY3" fmla="*/ 308500 h 371839"/>
                <a:gd name="connsiteX4" fmla="*/ 55556 w 230670"/>
                <a:gd name="connsiteY4" fmla="*/ 371839 h 371839"/>
                <a:gd name="connsiteX5" fmla="*/ 0 w 230670"/>
                <a:gd name="connsiteY5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26369 w 230670"/>
                <a:gd name="connsiteY2" fmla="*/ 72374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1839"/>
                <a:gd name="connsiteX1" fmla="*/ 74031 w 230670"/>
                <a:gd name="connsiteY1" fmla="*/ 114174 h 371839"/>
                <a:gd name="connsiteX2" fmla="*/ 119225 w 230670"/>
                <a:gd name="connsiteY2" fmla="*/ 8080 h 371839"/>
                <a:gd name="connsiteX3" fmla="*/ 230670 w 230670"/>
                <a:gd name="connsiteY3" fmla="*/ 0 h 371839"/>
                <a:gd name="connsiteX4" fmla="*/ 179294 w 230670"/>
                <a:gd name="connsiteY4" fmla="*/ 308500 h 371839"/>
                <a:gd name="connsiteX5" fmla="*/ 55556 w 230670"/>
                <a:gd name="connsiteY5" fmla="*/ 371839 h 371839"/>
                <a:gd name="connsiteX6" fmla="*/ 0 w 230670"/>
                <a:gd name="connsiteY6" fmla="*/ 267017 h 371839"/>
                <a:gd name="connsiteX0" fmla="*/ 0 w 230670"/>
                <a:gd name="connsiteY0" fmla="*/ 267017 h 377556"/>
                <a:gd name="connsiteX1" fmla="*/ 74031 w 230670"/>
                <a:gd name="connsiteY1" fmla="*/ 114174 h 377556"/>
                <a:gd name="connsiteX2" fmla="*/ 119225 w 230670"/>
                <a:gd name="connsiteY2" fmla="*/ 8080 h 377556"/>
                <a:gd name="connsiteX3" fmla="*/ 230670 w 230670"/>
                <a:gd name="connsiteY3" fmla="*/ 0 h 377556"/>
                <a:gd name="connsiteX4" fmla="*/ 169769 w 230670"/>
                <a:gd name="connsiteY4" fmla="*/ 377556 h 377556"/>
                <a:gd name="connsiteX5" fmla="*/ 55556 w 230670"/>
                <a:gd name="connsiteY5" fmla="*/ 371839 h 377556"/>
                <a:gd name="connsiteX6" fmla="*/ 0 w 230670"/>
                <a:gd name="connsiteY6" fmla="*/ 267017 h 37755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218764 w 218764"/>
                <a:gd name="connsiteY3" fmla="*/ 68120 h 369476"/>
                <a:gd name="connsiteX4" fmla="*/ 169769 w 218764"/>
                <a:gd name="connsiteY4" fmla="*/ 369476 h 369476"/>
                <a:gd name="connsiteX5" fmla="*/ 55556 w 218764"/>
                <a:gd name="connsiteY5" fmla="*/ 363759 h 369476"/>
                <a:gd name="connsiteX6" fmla="*/ 0 w 218764"/>
                <a:gd name="connsiteY6" fmla="*/ 258937 h 369476"/>
                <a:gd name="connsiteX0" fmla="*/ 0 w 218764"/>
                <a:gd name="connsiteY0" fmla="*/ 258937 h 369476"/>
                <a:gd name="connsiteX1" fmla="*/ 74031 w 218764"/>
                <a:gd name="connsiteY1" fmla="*/ 106094 h 369476"/>
                <a:gd name="connsiteX2" fmla="*/ 119225 w 218764"/>
                <a:gd name="connsiteY2" fmla="*/ 0 h 369476"/>
                <a:gd name="connsiteX3" fmla="*/ 154944 w 218764"/>
                <a:gd name="connsiteY3" fmla="*/ 21430 h 369476"/>
                <a:gd name="connsiteX4" fmla="*/ 218764 w 218764"/>
                <a:gd name="connsiteY4" fmla="*/ 68120 h 369476"/>
                <a:gd name="connsiteX5" fmla="*/ 169769 w 218764"/>
                <a:gd name="connsiteY5" fmla="*/ 369476 h 369476"/>
                <a:gd name="connsiteX6" fmla="*/ 55556 w 218764"/>
                <a:gd name="connsiteY6" fmla="*/ 363759 h 369476"/>
                <a:gd name="connsiteX7" fmla="*/ 0 w 218764"/>
                <a:gd name="connsiteY7" fmla="*/ 258937 h 369476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93044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8764"/>
                <a:gd name="connsiteY0" fmla="*/ 266082 h 376621"/>
                <a:gd name="connsiteX1" fmla="*/ 74031 w 218764"/>
                <a:gd name="connsiteY1" fmla="*/ 113239 h 376621"/>
                <a:gd name="connsiteX2" fmla="*/ 119225 w 218764"/>
                <a:gd name="connsiteY2" fmla="*/ 7145 h 376621"/>
                <a:gd name="connsiteX3" fmla="*/ 188281 w 218764"/>
                <a:gd name="connsiteY3" fmla="*/ 0 h 376621"/>
                <a:gd name="connsiteX4" fmla="*/ 218764 w 218764"/>
                <a:gd name="connsiteY4" fmla="*/ 75265 h 376621"/>
                <a:gd name="connsiteX5" fmla="*/ 169769 w 218764"/>
                <a:gd name="connsiteY5" fmla="*/ 376621 h 376621"/>
                <a:gd name="connsiteX6" fmla="*/ 55556 w 218764"/>
                <a:gd name="connsiteY6" fmla="*/ 370904 h 376621"/>
                <a:gd name="connsiteX7" fmla="*/ 0 w 218764"/>
                <a:gd name="connsiteY7" fmla="*/ 266082 h 376621"/>
                <a:gd name="connsiteX0" fmla="*/ 0 w 216383"/>
                <a:gd name="connsiteY0" fmla="*/ 258938 h 376621"/>
                <a:gd name="connsiteX1" fmla="*/ 71650 w 216383"/>
                <a:gd name="connsiteY1" fmla="*/ 113239 h 376621"/>
                <a:gd name="connsiteX2" fmla="*/ 116844 w 216383"/>
                <a:gd name="connsiteY2" fmla="*/ 7145 h 376621"/>
                <a:gd name="connsiteX3" fmla="*/ 185900 w 216383"/>
                <a:gd name="connsiteY3" fmla="*/ 0 h 376621"/>
                <a:gd name="connsiteX4" fmla="*/ 216383 w 216383"/>
                <a:gd name="connsiteY4" fmla="*/ 75265 h 376621"/>
                <a:gd name="connsiteX5" fmla="*/ 167388 w 216383"/>
                <a:gd name="connsiteY5" fmla="*/ 376621 h 376621"/>
                <a:gd name="connsiteX6" fmla="*/ 53175 w 216383"/>
                <a:gd name="connsiteY6" fmla="*/ 370904 h 376621"/>
                <a:gd name="connsiteX7" fmla="*/ 0 w 216383"/>
                <a:gd name="connsiteY7" fmla="*/ 258938 h 376621"/>
                <a:gd name="connsiteX0" fmla="*/ 0 w 185427"/>
                <a:gd name="connsiteY0" fmla="*/ 266081 h 376621"/>
                <a:gd name="connsiteX1" fmla="*/ 40694 w 185427"/>
                <a:gd name="connsiteY1" fmla="*/ 113239 h 376621"/>
                <a:gd name="connsiteX2" fmla="*/ 85888 w 185427"/>
                <a:gd name="connsiteY2" fmla="*/ 7145 h 376621"/>
                <a:gd name="connsiteX3" fmla="*/ 154944 w 185427"/>
                <a:gd name="connsiteY3" fmla="*/ 0 h 376621"/>
                <a:gd name="connsiteX4" fmla="*/ 185427 w 185427"/>
                <a:gd name="connsiteY4" fmla="*/ 75265 h 376621"/>
                <a:gd name="connsiteX5" fmla="*/ 136432 w 185427"/>
                <a:gd name="connsiteY5" fmla="*/ 376621 h 376621"/>
                <a:gd name="connsiteX6" fmla="*/ 22219 w 185427"/>
                <a:gd name="connsiteY6" fmla="*/ 370904 h 376621"/>
                <a:gd name="connsiteX7" fmla="*/ 0 w 18542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0 w 204477"/>
                <a:gd name="connsiteY0" fmla="*/ 266081 h 376621"/>
                <a:gd name="connsiteX1" fmla="*/ 59744 w 204477"/>
                <a:gd name="connsiteY1" fmla="*/ 113239 h 376621"/>
                <a:gd name="connsiteX2" fmla="*/ 104938 w 204477"/>
                <a:gd name="connsiteY2" fmla="*/ 7145 h 376621"/>
                <a:gd name="connsiteX3" fmla="*/ 173994 w 204477"/>
                <a:gd name="connsiteY3" fmla="*/ 0 h 376621"/>
                <a:gd name="connsiteX4" fmla="*/ 204477 w 204477"/>
                <a:gd name="connsiteY4" fmla="*/ 75265 h 376621"/>
                <a:gd name="connsiteX5" fmla="*/ 155482 w 204477"/>
                <a:gd name="connsiteY5" fmla="*/ 376621 h 376621"/>
                <a:gd name="connsiteX6" fmla="*/ 41269 w 204477"/>
                <a:gd name="connsiteY6" fmla="*/ 370904 h 376621"/>
                <a:gd name="connsiteX7" fmla="*/ 0 w 204477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  <a:gd name="connsiteX0" fmla="*/ 341 w 204818"/>
                <a:gd name="connsiteY0" fmla="*/ 266081 h 376621"/>
                <a:gd name="connsiteX1" fmla="*/ 60085 w 204818"/>
                <a:gd name="connsiteY1" fmla="*/ 113239 h 376621"/>
                <a:gd name="connsiteX2" fmla="*/ 105279 w 204818"/>
                <a:gd name="connsiteY2" fmla="*/ 7145 h 376621"/>
                <a:gd name="connsiteX3" fmla="*/ 174335 w 204818"/>
                <a:gd name="connsiteY3" fmla="*/ 0 h 376621"/>
                <a:gd name="connsiteX4" fmla="*/ 204818 w 204818"/>
                <a:gd name="connsiteY4" fmla="*/ 75265 h 376621"/>
                <a:gd name="connsiteX5" fmla="*/ 155823 w 204818"/>
                <a:gd name="connsiteY5" fmla="*/ 376621 h 376621"/>
                <a:gd name="connsiteX6" fmla="*/ 41610 w 204818"/>
                <a:gd name="connsiteY6" fmla="*/ 370904 h 376621"/>
                <a:gd name="connsiteX7" fmla="*/ 341 w 204818"/>
                <a:gd name="connsiteY7" fmla="*/ 266081 h 37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818" h="376621">
                  <a:moveTo>
                    <a:pt x="341" y="266081"/>
                  </a:moveTo>
                  <a:cubicBezTo>
                    <a:pt x="-3724" y="208453"/>
                    <a:pt x="29181" y="144645"/>
                    <a:pt x="60085" y="113239"/>
                  </a:cubicBezTo>
                  <a:cubicBezTo>
                    <a:pt x="75150" y="77874"/>
                    <a:pt x="90214" y="63941"/>
                    <a:pt x="105279" y="7145"/>
                  </a:cubicBezTo>
                  <a:lnTo>
                    <a:pt x="174335" y="0"/>
                  </a:lnTo>
                  <a:lnTo>
                    <a:pt x="204818" y="75265"/>
                  </a:lnTo>
                  <a:lnTo>
                    <a:pt x="155823" y="376621"/>
                  </a:lnTo>
                  <a:lnTo>
                    <a:pt x="41610" y="370904"/>
                  </a:lnTo>
                  <a:cubicBezTo>
                    <a:pt x="23091" y="335963"/>
                    <a:pt x="6953" y="324835"/>
                    <a:pt x="341" y="266081"/>
                  </a:cubicBezTo>
                  <a:close/>
                </a:path>
              </a:pathLst>
            </a:custGeom>
            <a:solidFill>
              <a:srgbClr val="FA5B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4" name="Freeform: Shape 966">
              <a:extLst>
                <a:ext uri="{FF2B5EF4-FFF2-40B4-BE49-F238E27FC236}">
                  <a16:creationId xmlns:a16="http://schemas.microsoft.com/office/drawing/2014/main" id="{0B7B37B1-D661-4676-B285-1123AEB66264}"/>
                </a:ext>
              </a:extLst>
            </p:cNvPr>
            <p:cNvSpPr/>
            <p:nvPr/>
          </p:nvSpPr>
          <p:spPr bwMode="gray">
            <a:xfrm rot="5400000">
              <a:off x="4079027" y="3378113"/>
              <a:ext cx="634797" cy="141950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703441 w 703854"/>
                <a:gd name="connsiteY0" fmla="*/ 115970 h 505244"/>
                <a:gd name="connsiteX1" fmla="*/ 46788 w 703854"/>
                <a:gd name="connsiteY1" fmla="*/ 1 h 505244"/>
                <a:gd name="connsiteX2" fmla="*/ 0 w 703854"/>
                <a:gd name="connsiteY2" fmla="*/ 152836 h 505244"/>
                <a:gd name="connsiteX3" fmla="*/ 48678 w 703854"/>
                <a:gd name="connsiteY3" fmla="*/ 505244 h 505244"/>
                <a:gd name="connsiteX4" fmla="*/ 703224 w 703854"/>
                <a:gd name="connsiteY4" fmla="*/ 463335 h 505244"/>
                <a:gd name="connsiteX5" fmla="*/ 703441 w 703854"/>
                <a:gd name="connsiteY5" fmla="*/ 115970 h 505244"/>
                <a:gd name="connsiteX0" fmla="*/ 703441 w 703854"/>
                <a:gd name="connsiteY0" fmla="*/ 233141 h 622415"/>
                <a:gd name="connsiteX1" fmla="*/ 25357 w 703854"/>
                <a:gd name="connsiteY1" fmla="*/ 0 h 622415"/>
                <a:gd name="connsiteX2" fmla="*/ 0 w 703854"/>
                <a:gd name="connsiteY2" fmla="*/ 270007 h 622415"/>
                <a:gd name="connsiteX3" fmla="*/ 48678 w 703854"/>
                <a:gd name="connsiteY3" fmla="*/ 622415 h 622415"/>
                <a:gd name="connsiteX4" fmla="*/ 703224 w 703854"/>
                <a:gd name="connsiteY4" fmla="*/ 580506 h 622415"/>
                <a:gd name="connsiteX5" fmla="*/ 703441 w 703854"/>
                <a:gd name="connsiteY5" fmla="*/ 233141 h 622415"/>
                <a:gd name="connsiteX0" fmla="*/ 615334 w 703224"/>
                <a:gd name="connsiteY0" fmla="*/ 0 h 1256364"/>
                <a:gd name="connsiteX1" fmla="*/ 25357 w 703224"/>
                <a:gd name="connsiteY1" fmla="*/ 633949 h 1256364"/>
                <a:gd name="connsiteX2" fmla="*/ 0 w 703224"/>
                <a:gd name="connsiteY2" fmla="*/ 903956 h 1256364"/>
                <a:gd name="connsiteX3" fmla="*/ 48678 w 703224"/>
                <a:gd name="connsiteY3" fmla="*/ 1256364 h 1256364"/>
                <a:gd name="connsiteX4" fmla="*/ 703224 w 703224"/>
                <a:gd name="connsiteY4" fmla="*/ 1214455 h 1256364"/>
                <a:gd name="connsiteX5" fmla="*/ 615334 w 703224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524633 w 615352"/>
                <a:gd name="connsiteY4" fmla="*/ 675465 h 1256364"/>
                <a:gd name="connsiteX5" fmla="*/ 615334 w 615352"/>
                <a:gd name="connsiteY5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104434 w 615352"/>
                <a:gd name="connsiteY4" fmla="*/ 1173451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1256364"/>
                <a:gd name="connsiteX1" fmla="*/ 25357 w 615352"/>
                <a:gd name="connsiteY1" fmla="*/ 633949 h 1256364"/>
                <a:gd name="connsiteX2" fmla="*/ 0 w 615352"/>
                <a:gd name="connsiteY2" fmla="*/ 903956 h 1256364"/>
                <a:gd name="connsiteX3" fmla="*/ 48678 w 615352"/>
                <a:gd name="connsiteY3" fmla="*/ 1256364 h 1256364"/>
                <a:gd name="connsiteX4" fmla="*/ 444954 w 615352"/>
                <a:gd name="connsiteY4" fmla="*/ 564149 h 1256364"/>
                <a:gd name="connsiteX5" fmla="*/ 524633 w 615352"/>
                <a:gd name="connsiteY5" fmla="*/ 675465 h 1256364"/>
                <a:gd name="connsiteX6" fmla="*/ 615334 w 615352"/>
                <a:gd name="connsiteY6" fmla="*/ 0 h 1256364"/>
                <a:gd name="connsiteX0" fmla="*/ 615334 w 615352"/>
                <a:gd name="connsiteY0" fmla="*/ 0 h 904841"/>
                <a:gd name="connsiteX1" fmla="*/ 25357 w 615352"/>
                <a:gd name="connsiteY1" fmla="*/ 633949 h 904841"/>
                <a:gd name="connsiteX2" fmla="*/ 0 w 615352"/>
                <a:gd name="connsiteY2" fmla="*/ 903956 h 904841"/>
                <a:gd name="connsiteX3" fmla="*/ 48680 w 615352"/>
                <a:gd name="connsiteY3" fmla="*/ 904846 h 904841"/>
                <a:gd name="connsiteX4" fmla="*/ 444954 w 615352"/>
                <a:gd name="connsiteY4" fmla="*/ 564149 h 904841"/>
                <a:gd name="connsiteX5" fmla="*/ 524633 w 615352"/>
                <a:gd name="connsiteY5" fmla="*/ 675465 h 904841"/>
                <a:gd name="connsiteX6" fmla="*/ 615334 w 615352"/>
                <a:gd name="connsiteY6" fmla="*/ 0 h 90484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444954 w 615352"/>
                <a:gd name="connsiteY4" fmla="*/ 564149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232931"/>
                <a:gd name="connsiteX1" fmla="*/ 25357 w 615352"/>
                <a:gd name="connsiteY1" fmla="*/ 633949 h 1232931"/>
                <a:gd name="connsiteX2" fmla="*/ 0 w 615352"/>
                <a:gd name="connsiteY2" fmla="*/ 903956 h 1232931"/>
                <a:gd name="connsiteX3" fmla="*/ 55823 w 615352"/>
                <a:gd name="connsiteY3" fmla="*/ 1232931 h 1232931"/>
                <a:gd name="connsiteX4" fmla="*/ 102055 w 615352"/>
                <a:gd name="connsiteY4" fmla="*/ 1722 h 1232931"/>
                <a:gd name="connsiteX5" fmla="*/ 524633 w 615352"/>
                <a:gd name="connsiteY5" fmla="*/ 675465 h 1232931"/>
                <a:gd name="connsiteX6" fmla="*/ 615334 w 615352"/>
                <a:gd name="connsiteY6" fmla="*/ 0 h 1232931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102055 w 615352"/>
                <a:gd name="connsiteY4" fmla="*/ 1722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7768 w 615352"/>
                <a:gd name="connsiteY4" fmla="*/ 845370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524633 w 615352"/>
                <a:gd name="connsiteY5" fmla="*/ 675465 h 1303237"/>
                <a:gd name="connsiteX6" fmla="*/ 615334 w 615352"/>
                <a:gd name="connsiteY6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483052 w 615352"/>
                <a:gd name="connsiteY5" fmla="*/ 681325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28270 w 615352"/>
                <a:gd name="connsiteY5" fmla="*/ 446973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78243 w 615352"/>
                <a:gd name="connsiteY4" fmla="*/ 892234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25357 w 615352"/>
                <a:gd name="connsiteY1" fmla="*/ 633949 h 1303237"/>
                <a:gd name="connsiteX2" fmla="*/ 0 w 615352"/>
                <a:gd name="connsiteY2" fmla="*/ 903956 h 1303237"/>
                <a:gd name="connsiteX3" fmla="*/ 55823 w 615352"/>
                <a:gd name="connsiteY3" fmla="*/ 1303237 h 1303237"/>
                <a:gd name="connsiteX4" fmla="*/ 80624 w 615352"/>
                <a:gd name="connsiteY4" fmla="*/ 1009405 h 1303237"/>
                <a:gd name="connsiteX5" fmla="*/ 385420 w 615352"/>
                <a:gd name="connsiteY5" fmla="*/ 517280 h 1303237"/>
                <a:gd name="connsiteX6" fmla="*/ 524633 w 615352"/>
                <a:gd name="connsiteY6" fmla="*/ 675465 h 1303237"/>
                <a:gd name="connsiteX7" fmla="*/ 615334 w 615352"/>
                <a:gd name="connsiteY7" fmla="*/ 0 h 1303237"/>
                <a:gd name="connsiteX0" fmla="*/ 615334 w 615352"/>
                <a:gd name="connsiteY0" fmla="*/ 0 h 1303237"/>
                <a:gd name="connsiteX1" fmla="*/ 90147 w 615352"/>
                <a:gd name="connsiteY1" fmla="*/ 564154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03237"/>
                <a:gd name="connsiteX1" fmla="*/ 173491 w 615352"/>
                <a:gd name="connsiteY1" fmla="*/ 704757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5334 w 615352"/>
                <a:gd name="connsiteY0" fmla="*/ 0 h 1314053"/>
                <a:gd name="connsiteX1" fmla="*/ 159203 w 615352"/>
                <a:gd name="connsiteY1" fmla="*/ 1314053 h 1314053"/>
                <a:gd name="connsiteX2" fmla="*/ 25357 w 615352"/>
                <a:gd name="connsiteY2" fmla="*/ 633949 h 1314053"/>
                <a:gd name="connsiteX3" fmla="*/ 0 w 615352"/>
                <a:gd name="connsiteY3" fmla="*/ 903956 h 1314053"/>
                <a:gd name="connsiteX4" fmla="*/ 55823 w 615352"/>
                <a:gd name="connsiteY4" fmla="*/ 1303237 h 1314053"/>
                <a:gd name="connsiteX5" fmla="*/ 80624 w 615352"/>
                <a:gd name="connsiteY5" fmla="*/ 1009405 h 1314053"/>
                <a:gd name="connsiteX6" fmla="*/ 385420 w 615352"/>
                <a:gd name="connsiteY6" fmla="*/ 517280 h 1314053"/>
                <a:gd name="connsiteX7" fmla="*/ 524633 w 615352"/>
                <a:gd name="connsiteY7" fmla="*/ 675465 h 1314053"/>
                <a:gd name="connsiteX8" fmla="*/ 615334 w 615352"/>
                <a:gd name="connsiteY8" fmla="*/ 0 h 1314053"/>
                <a:gd name="connsiteX0" fmla="*/ 615334 w 615352"/>
                <a:gd name="connsiteY0" fmla="*/ 0 h 1303237"/>
                <a:gd name="connsiteX1" fmla="*/ 87767 w 615352"/>
                <a:gd name="connsiteY1" fmla="*/ 798481 h 1303237"/>
                <a:gd name="connsiteX2" fmla="*/ 25357 w 615352"/>
                <a:gd name="connsiteY2" fmla="*/ 633949 h 1303237"/>
                <a:gd name="connsiteX3" fmla="*/ 0 w 615352"/>
                <a:gd name="connsiteY3" fmla="*/ 903956 h 1303237"/>
                <a:gd name="connsiteX4" fmla="*/ 55823 w 615352"/>
                <a:gd name="connsiteY4" fmla="*/ 1303237 h 1303237"/>
                <a:gd name="connsiteX5" fmla="*/ 80624 w 615352"/>
                <a:gd name="connsiteY5" fmla="*/ 1009405 h 1303237"/>
                <a:gd name="connsiteX6" fmla="*/ 385420 w 615352"/>
                <a:gd name="connsiteY6" fmla="*/ 517280 h 1303237"/>
                <a:gd name="connsiteX7" fmla="*/ 524633 w 615352"/>
                <a:gd name="connsiteY7" fmla="*/ 675465 h 1303237"/>
                <a:gd name="connsiteX8" fmla="*/ 615334 w 615352"/>
                <a:gd name="connsiteY8" fmla="*/ 0 h 1303237"/>
                <a:gd name="connsiteX0" fmla="*/ 617715 w 617732"/>
                <a:gd name="connsiteY0" fmla="*/ 0 h 1396976"/>
                <a:gd name="connsiteX1" fmla="*/ 87767 w 617732"/>
                <a:gd name="connsiteY1" fmla="*/ 892220 h 1396976"/>
                <a:gd name="connsiteX2" fmla="*/ 25357 w 617732"/>
                <a:gd name="connsiteY2" fmla="*/ 727688 h 1396976"/>
                <a:gd name="connsiteX3" fmla="*/ 0 w 617732"/>
                <a:gd name="connsiteY3" fmla="*/ 997695 h 1396976"/>
                <a:gd name="connsiteX4" fmla="*/ 55823 w 617732"/>
                <a:gd name="connsiteY4" fmla="*/ 1396976 h 1396976"/>
                <a:gd name="connsiteX5" fmla="*/ 80624 w 617732"/>
                <a:gd name="connsiteY5" fmla="*/ 1103144 h 1396976"/>
                <a:gd name="connsiteX6" fmla="*/ 385420 w 617732"/>
                <a:gd name="connsiteY6" fmla="*/ 611019 h 1396976"/>
                <a:gd name="connsiteX7" fmla="*/ 524633 w 617732"/>
                <a:gd name="connsiteY7" fmla="*/ 769204 h 1396976"/>
                <a:gd name="connsiteX8" fmla="*/ 617715 w 617732"/>
                <a:gd name="connsiteY8" fmla="*/ 0 h 1396976"/>
                <a:gd name="connsiteX0" fmla="*/ 617715 w 624647"/>
                <a:gd name="connsiteY0" fmla="*/ 0 h 1396976"/>
                <a:gd name="connsiteX1" fmla="*/ 87767 w 624647"/>
                <a:gd name="connsiteY1" fmla="*/ 892220 h 1396976"/>
                <a:gd name="connsiteX2" fmla="*/ 25357 w 624647"/>
                <a:gd name="connsiteY2" fmla="*/ 727688 h 1396976"/>
                <a:gd name="connsiteX3" fmla="*/ 0 w 624647"/>
                <a:gd name="connsiteY3" fmla="*/ 997695 h 1396976"/>
                <a:gd name="connsiteX4" fmla="*/ 55823 w 624647"/>
                <a:gd name="connsiteY4" fmla="*/ 1396976 h 1396976"/>
                <a:gd name="connsiteX5" fmla="*/ 80624 w 624647"/>
                <a:gd name="connsiteY5" fmla="*/ 1103144 h 1396976"/>
                <a:gd name="connsiteX6" fmla="*/ 385420 w 624647"/>
                <a:gd name="connsiteY6" fmla="*/ 611019 h 1396976"/>
                <a:gd name="connsiteX7" fmla="*/ 624647 w 624647"/>
                <a:gd name="connsiteY7" fmla="*/ 323942 h 1396976"/>
                <a:gd name="connsiteX8" fmla="*/ 617715 w 624647"/>
                <a:gd name="connsiteY8" fmla="*/ 0 h 1396976"/>
                <a:gd name="connsiteX0" fmla="*/ 629621 w 629812"/>
                <a:gd name="connsiteY0" fmla="*/ 0 h 1396976"/>
                <a:gd name="connsiteX1" fmla="*/ 87767 w 629812"/>
                <a:gd name="connsiteY1" fmla="*/ 892220 h 1396976"/>
                <a:gd name="connsiteX2" fmla="*/ 25357 w 629812"/>
                <a:gd name="connsiteY2" fmla="*/ 727688 h 1396976"/>
                <a:gd name="connsiteX3" fmla="*/ 0 w 629812"/>
                <a:gd name="connsiteY3" fmla="*/ 997695 h 1396976"/>
                <a:gd name="connsiteX4" fmla="*/ 55823 w 629812"/>
                <a:gd name="connsiteY4" fmla="*/ 1396976 h 1396976"/>
                <a:gd name="connsiteX5" fmla="*/ 80624 w 629812"/>
                <a:gd name="connsiteY5" fmla="*/ 1103144 h 1396976"/>
                <a:gd name="connsiteX6" fmla="*/ 385420 w 629812"/>
                <a:gd name="connsiteY6" fmla="*/ 611019 h 1396976"/>
                <a:gd name="connsiteX7" fmla="*/ 624647 w 629812"/>
                <a:gd name="connsiteY7" fmla="*/ 323942 h 1396976"/>
                <a:gd name="connsiteX8" fmla="*/ 629621 w 629812"/>
                <a:gd name="connsiteY8" fmla="*/ 0 h 1396976"/>
                <a:gd name="connsiteX0" fmla="*/ 629621 w 631792"/>
                <a:gd name="connsiteY0" fmla="*/ 0 h 1396976"/>
                <a:gd name="connsiteX1" fmla="*/ 87767 w 631792"/>
                <a:gd name="connsiteY1" fmla="*/ 892220 h 1396976"/>
                <a:gd name="connsiteX2" fmla="*/ 25357 w 631792"/>
                <a:gd name="connsiteY2" fmla="*/ 727688 h 1396976"/>
                <a:gd name="connsiteX3" fmla="*/ 0 w 631792"/>
                <a:gd name="connsiteY3" fmla="*/ 997695 h 1396976"/>
                <a:gd name="connsiteX4" fmla="*/ 55823 w 631792"/>
                <a:gd name="connsiteY4" fmla="*/ 1396976 h 1396976"/>
                <a:gd name="connsiteX5" fmla="*/ 80624 w 631792"/>
                <a:gd name="connsiteY5" fmla="*/ 1103144 h 1396976"/>
                <a:gd name="connsiteX6" fmla="*/ 385420 w 631792"/>
                <a:gd name="connsiteY6" fmla="*/ 611019 h 1396976"/>
                <a:gd name="connsiteX7" fmla="*/ 631792 w 631792"/>
                <a:gd name="connsiteY7" fmla="*/ 206771 h 1396976"/>
                <a:gd name="connsiteX8" fmla="*/ 629621 w 631792"/>
                <a:gd name="connsiteY8" fmla="*/ 0 h 1396976"/>
                <a:gd name="connsiteX0" fmla="*/ 604264 w 606435"/>
                <a:gd name="connsiteY0" fmla="*/ 0 h 1396976"/>
                <a:gd name="connsiteX1" fmla="*/ 62410 w 606435"/>
                <a:gd name="connsiteY1" fmla="*/ 892220 h 1396976"/>
                <a:gd name="connsiteX2" fmla="*/ 0 w 606435"/>
                <a:gd name="connsiteY2" fmla="*/ 727688 h 1396976"/>
                <a:gd name="connsiteX3" fmla="*/ 15126 w 606435"/>
                <a:gd name="connsiteY3" fmla="*/ 997689 h 1396976"/>
                <a:gd name="connsiteX4" fmla="*/ 30466 w 606435"/>
                <a:gd name="connsiteY4" fmla="*/ 1396976 h 1396976"/>
                <a:gd name="connsiteX5" fmla="*/ 55267 w 606435"/>
                <a:gd name="connsiteY5" fmla="*/ 1103144 h 1396976"/>
                <a:gd name="connsiteX6" fmla="*/ 360063 w 606435"/>
                <a:gd name="connsiteY6" fmla="*/ 611019 h 1396976"/>
                <a:gd name="connsiteX7" fmla="*/ 606435 w 606435"/>
                <a:gd name="connsiteY7" fmla="*/ 206771 h 1396976"/>
                <a:gd name="connsiteX8" fmla="*/ 604264 w 606435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22974 w 629409"/>
                <a:gd name="connsiteY2" fmla="*/ 727688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27238 w 629409"/>
                <a:gd name="connsiteY0" fmla="*/ 0 h 1396976"/>
                <a:gd name="connsiteX1" fmla="*/ 85384 w 629409"/>
                <a:gd name="connsiteY1" fmla="*/ 892220 h 1396976"/>
                <a:gd name="connsiteX2" fmla="*/ 13449 w 629409"/>
                <a:gd name="connsiteY2" fmla="*/ 680813 h 1396976"/>
                <a:gd name="connsiteX3" fmla="*/ 0 w 629409"/>
                <a:gd name="connsiteY3" fmla="*/ 1044568 h 1396976"/>
                <a:gd name="connsiteX4" fmla="*/ 53440 w 629409"/>
                <a:gd name="connsiteY4" fmla="*/ 1396976 h 1396976"/>
                <a:gd name="connsiteX5" fmla="*/ 78241 w 629409"/>
                <a:gd name="connsiteY5" fmla="*/ 1103144 h 1396976"/>
                <a:gd name="connsiteX6" fmla="*/ 383037 w 629409"/>
                <a:gd name="connsiteY6" fmla="*/ 611019 h 1396976"/>
                <a:gd name="connsiteX7" fmla="*/ 629409 w 629409"/>
                <a:gd name="connsiteY7" fmla="*/ 206771 h 1396976"/>
                <a:gd name="connsiteX8" fmla="*/ 627238 w 629409"/>
                <a:gd name="connsiteY8" fmla="*/ 0 h 1396976"/>
                <a:gd name="connsiteX0" fmla="*/ 632000 w 634171"/>
                <a:gd name="connsiteY0" fmla="*/ 0 h 1396976"/>
                <a:gd name="connsiteX1" fmla="*/ 90146 w 634171"/>
                <a:gd name="connsiteY1" fmla="*/ 892220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18211 w 634171"/>
                <a:gd name="connsiteY2" fmla="*/ 680813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2000 w 634171"/>
                <a:gd name="connsiteY0" fmla="*/ 0 h 1396976"/>
                <a:gd name="connsiteX1" fmla="*/ 85383 w 634171"/>
                <a:gd name="connsiteY1" fmla="*/ 868792 h 1396976"/>
                <a:gd name="connsiteX2" fmla="*/ 20592 w 634171"/>
                <a:gd name="connsiteY2" fmla="*/ 633949 h 1396976"/>
                <a:gd name="connsiteX3" fmla="*/ 0 w 634171"/>
                <a:gd name="connsiteY3" fmla="*/ 1021136 h 1396976"/>
                <a:gd name="connsiteX4" fmla="*/ 58202 w 634171"/>
                <a:gd name="connsiteY4" fmla="*/ 1396976 h 1396976"/>
                <a:gd name="connsiteX5" fmla="*/ 83003 w 634171"/>
                <a:gd name="connsiteY5" fmla="*/ 1103144 h 1396976"/>
                <a:gd name="connsiteX6" fmla="*/ 387799 w 634171"/>
                <a:gd name="connsiteY6" fmla="*/ 611019 h 1396976"/>
                <a:gd name="connsiteX7" fmla="*/ 634171 w 634171"/>
                <a:gd name="connsiteY7" fmla="*/ 206771 h 1396976"/>
                <a:gd name="connsiteX8" fmla="*/ 632000 w 634171"/>
                <a:gd name="connsiteY8" fmla="*/ 0 h 1396976"/>
                <a:gd name="connsiteX0" fmla="*/ 634382 w 634796"/>
                <a:gd name="connsiteY0" fmla="*/ 0 h 1396976"/>
                <a:gd name="connsiteX1" fmla="*/ 85383 w 634796"/>
                <a:gd name="connsiteY1" fmla="*/ 868792 h 1396976"/>
                <a:gd name="connsiteX2" fmla="*/ 20592 w 634796"/>
                <a:gd name="connsiteY2" fmla="*/ 633949 h 1396976"/>
                <a:gd name="connsiteX3" fmla="*/ 0 w 634796"/>
                <a:gd name="connsiteY3" fmla="*/ 1021136 h 1396976"/>
                <a:gd name="connsiteX4" fmla="*/ 58202 w 634796"/>
                <a:gd name="connsiteY4" fmla="*/ 1396976 h 1396976"/>
                <a:gd name="connsiteX5" fmla="*/ 83003 w 634796"/>
                <a:gd name="connsiteY5" fmla="*/ 1103144 h 1396976"/>
                <a:gd name="connsiteX6" fmla="*/ 387799 w 634796"/>
                <a:gd name="connsiteY6" fmla="*/ 611019 h 1396976"/>
                <a:gd name="connsiteX7" fmla="*/ 634171 w 634796"/>
                <a:gd name="connsiteY7" fmla="*/ 206771 h 1396976"/>
                <a:gd name="connsiteX8" fmla="*/ 634382 w 634796"/>
                <a:gd name="connsiteY8" fmla="*/ 0 h 1396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796" h="1396976">
                  <a:moveTo>
                    <a:pt x="634382" y="0"/>
                  </a:moveTo>
                  <a:lnTo>
                    <a:pt x="85383" y="868792"/>
                  </a:lnTo>
                  <a:lnTo>
                    <a:pt x="20592" y="633949"/>
                  </a:lnTo>
                  <a:lnTo>
                    <a:pt x="0" y="1021136"/>
                  </a:lnTo>
                  <a:lnTo>
                    <a:pt x="58202" y="1396976"/>
                  </a:lnTo>
                  <a:lnTo>
                    <a:pt x="83003" y="1103144"/>
                  </a:lnTo>
                  <a:lnTo>
                    <a:pt x="387799" y="611019"/>
                  </a:lnTo>
                  <a:lnTo>
                    <a:pt x="634171" y="206771"/>
                  </a:lnTo>
                  <a:cubicBezTo>
                    <a:pt x="632656" y="114417"/>
                    <a:pt x="635897" y="92354"/>
                    <a:pt x="634382" y="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5" name="Freeform: Shape 967">
              <a:extLst>
                <a:ext uri="{FF2B5EF4-FFF2-40B4-BE49-F238E27FC236}">
                  <a16:creationId xmlns:a16="http://schemas.microsoft.com/office/drawing/2014/main" id="{7E40D7D2-19C4-4E15-9F73-3B8534B28723}"/>
                </a:ext>
              </a:extLst>
            </p:cNvPr>
            <p:cNvSpPr/>
            <p:nvPr/>
          </p:nvSpPr>
          <p:spPr bwMode="gray">
            <a:xfrm>
              <a:off x="4216481" y="3124964"/>
              <a:ext cx="139706" cy="128604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5" h="141040">
                  <a:moveTo>
                    <a:pt x="27016" y="141040"/>
                  </a:moveTo>
                  <a:lnTo>
                    <a:pt x="0" y="0"/>
                  </a:lnTo>
                  <a:lnTo>
                    <a:pt x="76205" y="94438"/>
                  </a:lnTo>
                  <a:lnTo>
                    <a:pt x="27016" y="141040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6" name="Freeform: Shape 968">
              <a:extLst>
                <a:ext uri="{FF2B5EF4-FFF2-40B4-BE49-F238E27FC236}">
                  <a16:creationId xmlns:a16="http://schemas.microsoft.com/office/drawing/2014/main" id="{AFF2E41F-2AA4-4F32-8658-1F6002F5D5BE}"/>
                </a:ext>
              </a:extLst>
            </p:cNvPr>
            <p:cNvSpPr/>
            <p:nvPr/>
          </p:nvSpPr>
          <p:spPr bwMode="gray">
            <a:xfrm>
              <a:off x="4180392" y="3080285"/>
              <a:ext cx="182802" cy="123834"/>
            </a:xfrm>
            <a:custGeom>
              <a:avLst/>
              <a:gdLst>
                <a:gd name="connsiteX0" fmla="*/ 44099 w 182801"/>
                <a:gd name="connsiteY0" fmla="*/ 2720 h 123833"/>
                <a:gd name="connsiteX1" fmla="*/ 182675 w 182801"/>
                <a:gd name="connsiteY1" fmla="*/ 54612 h 123833"/>
                <a:gd name="connsiteX2" fmla="*/ 135087 w 182801"/>
                <a:gd name="connsiteY2" fmla="*/ 121541 h 123833"/>
                <a:gd name="connsiteX3" fmla="*/ 3234 w 182801"/>
                <a:gd name="connsiteY3" fmla="*/ 21472 h 123833"/>
                <a:gd name="connsiteX4" fmla="*/ 44099 w 182801"/>
                <a:gd name="connsiteY4" fmla="*/ 2720 h 123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01" h="123833">
                  <a:moveTo>
                    <a:pt x="44099" y="2720"/>
                  </a:moveTo>
                  <a:lnTo>
                    <a:pt x="182675" y="54612"/>
                  </a:lnTo>
                  <a:lnTo>
                    <a:pt x="135087" y="121541"/>
                  </a:lnTo>
                  <a:cubicBezTo>
                    <a:pt x="135087" y="121541"/>
                    <a:pt x="9131" y="21472"/>
                    <a:pt x="3234" y="21472"/>
                  </a:cubicBezTo>
                  <a:cubicBezTo>
                    <a:pt x="-2663" y="21531"/>
                    <a:pt x="44099" y="2720"/>
                    <a:pt x="44099" y="2720"/>
                  </a:cubicBez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7" name="Freeform: Shape 969">
              <a:extLst>
                <a:ext uri="{FF2B5EF4-FFF2-40B4-BE49-F238E27FC236}">
                  <a16:creationId xmlns:a16="http://schemas.microsoft.com/office/drawing/2014/main" id="{08AB49BA-41AA-42FD-B65F-43326586D9BA}"/>
                </a:ext>
              </a:extLst>
            </p:cNvPr>
            <p:cNvSpPr/>
            <p:nvPr/>
          </p:nvSpPr>
          <p:spPr bwMode="gray">
            <a:xfrm>
              <a:off x="4311903" y="2818925"/>
              <a:ext cx="41278" cy="58968"/>
            </a:xfrm>
            <a:custGeom>
              <a:avLst/>
              <a:gdLst>
                <a:gd name="connsiteX0" fmla="*/ 22313 w 41277"/>
                <a:gd name="connsiteY0" fmla="*/ 3293 h 58968"/>
                <a:gd name="connsiteX1" fmla="*/ 39433 w 41277"/>
                <a:gd name="connsiteY1" fmla="*/ 32556 h 58968"/>
                <a:gd name="connsiteX2" fmla="*/ 20714 w 41277"/>
                <a:gd name="connsiteY2" fmla="*/ 60823 h 58968"/>
                <a:gd name="connsiteX3" fmla="*/ 3594 w 41277"/>
                <a:gd name="connsiteY3" fmla="*/ 31559 h 58968"/>
                <a:gd name="connsiteX4" fmla="*/ 22313 w 41277"/>
                <a:gd name="connsiteY4" fmla="*/ 329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77" h="58968">
                  <a:moveTo>
                    <a:pt x="22313" y="3293"/>
                  </a:moveTo>
                  <a:cubicBezTo>
                    <a:pt x="32210" y="3568"/>
                    <a:pt x="39875" y="16670"/>
                    <a:pt x="39433" y="32556"/>
                  </a:cubicBezTo>
                  <a:cubicBezTo>
                    <a:pt x="38991" y="48443"/>
                    <a:pt x="30610" y="61098"/>
                    <a:pt x="20714" y="60823"/>
                  </a:cubicBezTo>
                  <a:cubicBezTo>
                    <a:pt x="10817" y="60547"/>
                    <a:pt x="3152" y="47446"/>
                    <a:pt x="3594" y="31559"/>
                  </a:cubicBezTo>
                  <a:cubicBezTo>
                    <a:pt x="4036" y="15673"/>
                    <a:pt x="12417" y="3017"/>
                    <a:pt x="22313" y="3293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8" name="Freeform: Shape 970">
              <a:extLst>
                <a:ext uri="{FF2B5EF4-FFF2-40B4-BE49-F238E27FC236}">
                  <a16:creationId xmlns:a16="http://schemas.microsoft.com/office/drawing/2014/main" id="{11317497-F47E-4C45-9972-A632ED1277E4}"/>
                </a:ext>
              </a:extLst>
            </p:cNvPr>
            <p:cNvSpPr/>
            <p:nvPr/>
          </p:nvSpPr>
          <p:spPr bwMode="gray">
            <a:xfrm>
              <a:off x="4443486" y="2819468"/>
              <a:ext cx="35381" cy="58968"/>
            </a:xfrm>
            <a:custGeom>
              <a:avLst/>
              <a:gdLst>
                <a:gd name="connsiteX0" fmla="*/ 37045 w 35381"/>
                <a:gd name="connsiteY0" fmla="*/ 31378 h 58968"/>
                <a:gd name="connsiteX1" fmla="*/ 19472 w 35381"/>
                <a:gd name="connsiteY1" fmla="*/ 60214 h 58968"/>
                <a:gd name="connsiteX2" fmla="*/ 2725 w 35381"/>
                <a:gd name="connsiteY2" fmla="*/ 31555 h 58968"/>
                <a:gd name="connsiteX3" fmla="*/ 20298 w 35381"/>
                <a:gd name="connsiteY3" fmla="*/ 2720 h 58968"/>
                <a:gd name="connsiteX4" fmla="*/ 37045 w 35381"/>
                <a:gd name="connsiteY4" fmla="*/ 31378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81" h="58968">
                  <a:moveTo>
                    <a:pt x="37045" y="31378"/>
                  </a:moveTo>
                  <a:cubicBezTo>
                    <a:pt x="36809" y="47241"/>
                    <a:pt x="28966" y="60155"/>
                    <a:pt x="19472" y="60214"/>
                  </a:cubicBezTo>
                  <a:cubicBezTo>
                    <a:pt x="9978" y="60273"/>
                    <a:pt x="2489" y="47418"/>
                    <a:pt x="2725" y="31555"/>
                  </a:cubicBezTo>
                  <a:cubicBezTo>
                    <a:pt x="2961" y="15693"/>
                    <a:pt x="10804" y="2779"/>
                    <a:pt x="20298" y="2720"/>
                  </a:cubicBezTo>
                  <a:cubicBezTo>
                    <a:pt x="29733" y="2720"/>
                    <a:pt x="37222" y="15516"/>
                    <a:pt x="37045" y="31378"/>
                  </a:cubicBezTo>
                  <a:close/>
                </a:path>
              </a:pathLst>
            </a:custGeom>
            <a:solidFill>
              <a:srgbClr val="47291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9" name="Freeform: Shape 971">
              <a:extLst>
                <a:ext uri="{FF2B5EF4-FFF2-40B4-BE49-F238E27FC236}">
                  <a16:creationId xmlns:a16="http://schemas.microsoft.com/office/drawing/2014/main" id="{E4BBF314-9964-4486-8339-045E83903A40}"/>
                </a:ext>
              </a:extLst>
            </p:cNvPr>
            <p:cNvSpPr/>
            <p:nvPr/>
          </p:nvSpPr>
          <p:spPr bwMode="gray">
            <a:xfrm>
              <a:off x="4269594" y="2761311"/>
              <a:ext cx="100246" cy="53072"/>
            </a:xfrm>
            <a:custGeom>
              <a:avLst/>
              <a:gdLst>
                <a:gd name="connsiteX0" fmla="*/ 99546 w 100246"/>
                <a:gd name="connsiteY0" fmla="*/ 25968 h 53071"/>
                <a:gd name="connsiteX1" fmla="*/ 2720 w 100246"/>
                <a:gd name="connsiteY1" fmla="*/ 51148 h 53071"/>
                <a:gd name="connsiteX2" fmla="*/ 96362 w 100246"/>
                <a:gd name="connsiteY2" fmla="*/ 5801 h 53071"/>
                <a:gd name="connsiteX3" fmla="*/ 99546 w 100246"/>
                <a:gd name="connsiteY3" fmla="*/ 25968 h 53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3071">
                  <a:moveTo>
                    <a:pt x="99546" y="25968"/>
                  </a:moveTo>
                  <a:cubicBezTo>
                    <a:pt x="99546" y="25968"/>
                    <a:pt x="64755" y="15236"/>
                    <a:pt x="2720" y="51148"/>
                  </a:cubicBezTo>
                  <a:cubicBezTo>
                    <a:pt x="2720" y="51148"/>
                    <a:pt x="30553" y="-11713"/>
                    <a:pt x="96362" y="5801"/>
                  </a:cubicBezTo>
                  <a:lnTo>
                    <a:pt x="99546" y="25968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0" name="Freeform: Shape 972">
              <a:extLst>
                <a:ext uri="{FF2B5EF4-FFF2-40B4-BE49-F238E27FC236}">
                  <a16:creationId xmlns:a16="http://schemas.microsoft.com/office/drawing/2014/main" id="{E295670A-5DB4-4A01-9AE9-D56B32B0A7DD}"/>
                </a:ext>
              </a:extLst>
            </p:cNvPr>
            <p:cNvSpPr/>
            <p:nvPr/>
          </p:nvSpPr>
          <p:spPr bwMode="gray">
            <a:xfrm>
              <a:off x="4453988" y="2760720"/>
              <a:ext cx="64865" cy="41278"/>
            </a:xfrm>
            <a:custGeom>
              <a:avLst/>
              <a:gdLst>
                <a:gd name="connsiteX0" fmla="*/ 2720 w 64865"/>
                <a:gd name="connsiteY0" fmla="*/ 22491 h 41277"/>
                <a:gd name="connsiteX1" fmla="*/ 62691 w 64865"/>
                <a:gd name="connsiteY1" fmla="*/ 41537 h 41277"/>
                <a:gd name="connsiteX2" fmla="*/ 67585 w 64865"/>
                <a:gd name="connsiteY2" fmla="*/ 37056 h 41277"/>
                <a:gd name="connsiteX3" fmla="*/ 8145 w 64865"/>
                <a:gd name="connsiteY3" fmla="*/ 2736 h 41277"/>
                <a:gd name="connsiteX4" fmla="*/ 2720 w 64865"/>
                <a:gd name="connsiteY4" fmla="*/ 22491 h 41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65" h="41277">
                  <a:moveTo>
                    <a:pt x="2720" y="22491"/>
                  </a:moveTo>
                  <a:cubicBezTo>
                    <a:pt x="2720" y="22491"/>
                    <a:pt x="38396" y="20839"/>
                    <a:pt x="62691" y="41537"/>
                  </a:cubicBezTo>
                  <a:cubicBezTo>
                    <a:pt x="66877" y="45075"/>
                    <a:pt x="67585" y="37056"/>
                    <a:pt x="67585" y="37056"/>
                  </a:cubicBezTo>
                  <a:cubicBezTo>
                    <a:pt x="67585" y="37056"/>
                    <a:pt x="60450" y="1852"/>
                    <a:pt x="8145" y="2736"/>
                  </a:cubicBezTo>
                  <a:lnTo>
                    <a:pt x="2720" y="22491"/>
                  </a:lnTo>
                  <a:close/>
                </a:path>
              </a:pathLst>
            </a:custGeom>
            <a:solidFill>
              <a:srgbClr val="7D2E00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1" name="Freeform: Shape 973">
              <a:extLst>
                <a:ext uri="{FF2B5EF4-FFF2-40B4-BE49-F238E27FC236}">
                  <a16:creationId xmlns:a16="http://schemas.microsoft.com/office/drawing/2014/main" id="{273AC464-BB09-4F61-A3C2-DA78B9C0CBF3}"/>
                </a:ext>
              </a:extLst>
            </p:cNvPr>
            <p:cNvSpPr/>
            <p:nvPr/>
          </p:nvSpPr>
          <p:spPr bwMode="gray">
            <a:xfrm>
              <a:off x="4415102" y="2868445"/>
              <a:ext cx="53072" cy="64865"/>
            </a:xfrm>
            <a:custGeom>
              <a:avLst/>
              <a:gdLst>
                <a:gd name="connsiteX0" fmla="*/ 17606 w 53071"/>
                <a:gd name="connsiteY0" fmla="*/ 62245 h 64865"/>
                <a:gd name="connsiteX1" fmla="*/ 49154 w 53071"/>
                <a:gd name="connsiteY1" fmla="*/ 36889 h 64865"/>
                <a:gd name="connsiteX2" fmla="*/ 22559 w 53071"/>
                <a:gd name="connsiteY2" fmla="*/ 6756 h 64865"/>
                <a:gd name="connsiteX3" fmla="*/ 15306 w 53071"/>
                <a:gd name="connsiteY3" fmla="*/ 12122 h 64865"/>
                <a:gd name="connsiteX4" fmla="*/ 40190 w 53071"/>
                <a:gd name="connsiteY4" fmla="*/ 35238 h 64865"/>
                <a:gd name="connsiteX5" fmla="*/ 11119 w 53071"/>
                <a:gd name="connsiteY5" fmla="*/ 54579 h 64865"/>
                <a:gd name="connsiteX6" fmla="*/ 17606 w 53071"/>
                <a:gd name="connsiteY6" fmla="*/ 62245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071" h="64865">
                  <a:moveTo>
                    <a:pt x="17606" y="62245"/>
                  </a:moveTo>
                  <a:cubicBezTo>
                    <a:pt x="37950" y="52043"/>
                    <a:pt x="48505" y="43552"/>
                    <a:pt x="49154" y="36889"/>
                  </a:cubicBezTo>
                  <a:cubicBezTo>
                    <a:pt x="49743" y="30225"/>
                    <a:pt x="40839" y="20083"/>
                    <a:pt x="22559" y="6756"/>
                  </a:cubicBezTo>
                  <a:cubicBezTo>
                    <a:pt x="14952" y="1213"/>
                    <a:pt x="7699" y="6579"/>
                    <a:pt x="15306" y="12122"/>
                  </a:cubicBezTo>
                  <a:cubicBezTo>
                    <a:pt x="24741" y="19021"/>
                    <a:pt x="35119" y="28692"/>
                    <a:pt x="40190" y="35238"/>
                  </a:cubicBezTo>
                  <a:cubicBezTo>
                    <a:pt x="33704" y="44672"/>
                    <a:pt x="21733" y="49213"/>
                    <a:pt x="11119" y="54579"/>
                  </a:cubicBezTo>
                  <a:cubicBezTo>
                    <a:pt x="-1323" y="60830"/>
                    <a:pt x="5163" y="68496"/>
                    <a:pt x="17606" y="62245"/>
                  </a:cubicBezTo>
                  <a:close/>
                </a:path>
              </a:pathLst>
            </a:custGeom>
            <a:solidFill>
              <a:srgbClr val="D38462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Freeform: Shape 974">
              <a:extLst>
                <a:ext uri="{FF2B5EF4-FFF2-40B4-BE49-F238E27FC236}">
                  <a16:creationId xmlns:a16="http://schemas.microsoft.com/office/drawing/2014/main" id="{603E7DE4-AF63-45D9-B156-9FA2783C6E00}"/>
                </a:ext>
              </a:extLst>
            </p:cNvPr>
            <p:cNvSpPr/>
            <p:nvPr/>
          </p:nvSpPr>
          <p:spPr bwMode="gray">
            <a:xfrm>
              <a:off x="4364128" y="2950798"/>
              <a:ext cx="100246" cy="64865"/>
            </a:xfrm>
            <a:custGeom>
              <a:avLst/>
              <a:gdLst>
                <a:gd name="connsiteX0" fmla="*/ 54900 w 100246"/>
                <a:gd name="connsiteY0" fmla="*/ 4423 h 64865"/>
                <a:gd name="connsiteX1" fmla="*/ 4423 w 100246"/>
                <a:gd name="connsiteY1" fmla="*/ 12442 h 64865"/>
                <a:gd name="connsiteX2" fmla="*/ 9789 w 100246"/>
                <a:gd name="connsiteY2" fmla="*/ 28777 h 64865"/>
                <a:gd name="connsiteX3" fmla="*/ 49887 w 100246"/>
                <a:gd name="connsiteY3" fmla="*/ 60443 h 64865"/>
                <a:gd name="connsiteX4" fmla="*/ 79489 w 100246"/>
                <a:gd name="connsiteY4" fmla="*/ 49239 h 64865"/>
                <a:gd name="connsiteX5" fmla="*/ 100128 w 100246"/>
                <a:gd name="connsiteY5" fmla="*/ 18870 h 64865"/>
                <a:gd name="connsiteX6" fmla="*/ 100128 w 100246"/>
                <a:gd name="connsiteY6" fmla="*/ 8256 h 64865"/>
                <a:gd name="connsiteX7" fmla="*/ 54900 w 100246"/>
                <a:gd name="connsiteY7" fmla="*/ 4423 h 6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246" h="64865">
                  <a:moveTo>
                    <a:pt x="54900" y="4423"/>
                  </a:moveTo>
                  <a:lnTo>
                    <a:pt x="4423" y="12442"/>
                  </a:lnTo>
                  <a:lnTo>
                    <a:pt x="9789" y="28777"/>
                  </a:lnTo>
                  <a:cubicBezTo>
                    <a:pt x="9789" y="28777"/>
                    <a:pt x="50359" y="61327"/>
                    <a:pt x="49887" y="60443"/>
                  </a:cubicBezTo>
                  <a:cubicBezTo>
                    <a:pt x="49416" y="59558"/>
                    <a:pt x="79489" y="49239"/>
                    <a:pt x="79489" y="49239"/>
                  </a:cubicBezTo>
                  <a:cubicBezTo>
                    <a:pt x="79489" y="49239"/>
                    <a:pt x="99774" y="20108"/>
                    <a:pt x="100128" y="18870"/>
                  </a:cubicBezTo>
                  <a:cubicBezTo>
                    <a:pt x="100482" y="17632"/>
                    <a:pt x="100128" y="8256"/>
                    <a:pt x="100128" y="8256"/>
                  </a:cubicBezTo>
                  <a:lnTo>
                    <a:pt x="54900" y="4423"/>
                  </a:lnTo>
                  <a:close/>
                </a:path>
              </a:pathLst>
            </a:custGeom>
            <a:solidFill>
              <a:srgbClr val="A4434C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3" name="Freeform: Shape 975">
              <a:extLst>
                <a:ext uri="{FF2B5EF4-FFF2-40B4-BE49-F238E27FC236}">
                  <a16:creationId xmlns:a16="http://schemas.microsoft.com/office/drawing/2014/main" id="{A0705201-439C-4F94-97B5-03A54F501573}"/>
                </a:ext>
              </a:extLst>
            </p:cNvPr>
            <p:cNvSpPr/>
            <p:nvPr/>
          </p:nvSpPr>
          <p:spPr bwMode="gray">
            <a:xfrm>
              <a:off x="4364422" y="2952449"/>
              <a:ext cx="100246" cy="29484"/>
            </a:xfrm>
            <a:custGeom>
              <a:avLst/>
              <a:gdLst>
                <a:gd name="connsiteX0" fmla="*/ 50300 w 100246"/>
                <a:gd name="connsiteY0" fmla="*/ 9376 h 29484"/>
                <a:gd name="connsiteX1" fmla="*/ 5484 w 100246"/>
                <a:gd name="connsiteY1" fmla="*/ 8786 h 29484"/>
                <a:gd name="connsiteX2" fmla="*/ 4423 w 100246"/>
                <a:gd name="connsiteY2" fmla="*/ 14034 h 29484"/>
                <a:gd name="connsiteX3" fmla="*/ 39096 w 100246"/>
                <a:gd name="connsiteY3" fmla="*/ 25356 h 29484"/>
                <a:gd name="connsiteX4" fmla="*/ 100836 w 100246"/>
                <a:gd name="connsiteY4" fmla="*/ 9258 h 29484"/>
                <a:gd name="connsiteX5" fmla="*/ 73651 w 100246"/>
                <a:gd name="connsiteY5" fmla="*/ 4423 h 29484"/>
                <a:gd name="connsiteX6" fmla="*/ 50300 w 100246"/>
                <a:gd name="connsiteY6" fmla="*/ 9376 h 29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246" h="29484">
                  <a:moveTo>
                    <a:pt x="50300" y="9376"/>
                  </a:moveTo>
                  <a:lnTo>
                    <a:pt x="5484" y="8786"/>
                  </a:lnTo>
                  <a:lnTo>
                    <a:pt x="4423" y="14034"/>
                  </a:lnTo>
                  <a:cubicBezTo>
                    <a:pt x="4423" y="14034"/>
                    <a:pt x="9789" y="19519"/>
                    <a:pt x="39096" y="25356"/>
                  </a:cubicBezTo>
                  <a:cubicBezTo>
                    <a:pt x="77484" y="33022"/>
                    <a:pt x="98418" y="21464"/>
                    <a:pt x="100836" y="9258"/>
                  </a:cubicBezTo>
                  <a:cubicBezTo>
                    <a:pt x="100836" y="9258"/>
                    <a:pt x="74418" y="4423"/>
                    <a:pt x="73651" y="4423"/>
                  </a:cubicBezTo>
                  <a:cubicBezTo>
                    <a:pt x="72944" y="4423"/>
                    <a:pt x="50300" y="9376"/>
                    <a:pt x="50300" y="937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Freeform: Shape 976">
              <a:extLst>
                <a:ext uri="{FF2B5EF4-FFF2-40B4-BE49-F238E27FC236}">
                  <a16:creationId xmlns:a16="http://schemas.microsoft.com/office/drawing/2014/main" id="{F728D31A-F82C-4FA1-9D5D-4456A5B522C1}"/>
                </a:ext>
              </a:extLst>
            </p:cNvPr>
            <p:cNvSpPr/>
            <p:nvPr/>
          </p:nvSpPr>
          <p:spPr bwMode="gray">
            <a:xfrm>
              <a:off x="4367135" y="2945494"/>
              <a:ext cx="100246" cy="23587"/>
            </a:xfrm>
            <a:custGeom>
              <a:avLst/>
              <a:gdLst>
                <a:gd name="connsiteX0" fmla="*/ 4423 w 100246"/>
                <a:gd name="connsiteY0" fmla="*/ 15978 h 23587"/>
                <a:gd name="connsiteX1" fmla="*/ 60030 w 100246"/>
                <a:gd name="connsiteY1" fmla="*/ 7074 h 23587"/>
                <a:gd name="connsiteX2" fmla="*/ 98123 w 100246"/>
                <a:gd name="connsiteY2" fmla="*/ 16155 h 23587"/>
                <a:gd name="connsiteX3" fmla="*/ 62212 w 100246"/>
                <a:gd name="connsiteY3" fmla="*/ 20106 h 23587"/>
                <a:gd name="connsiteX4" fmla="*/ 4423 w 100246"/>
                <a:gd name="connsiteY4" fmla="*/ 15978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46" h="23587">
                  <a:moveTo>
                    <a:pt x="4423" y="15978"/>
                  </a:moveTo>
                  <a:cubicBezTo>
                    <a:pt x="4423" y="15978"/>
                    <a:pt x="21052" y="-946"/>
                    <a:pt x="60030" y="7074"/>
                  </a:cubicBezTo>
                  <a:cubicBezTo>
                    <a:pt x="60030" y="7074"/>
                    <a:pt x="69465" y="-3010"/>
                    <a:pt x="98123" y="16155"/>
                  </a:cubicBezTo>
                  <a:cubicBezTo>
                    <a:pt x="98123" y="16155"/>
                    <a:pt x="72236" y="19516"/>
                    <a:pt x="62212" y="20106"/>
                  </a:cubicBezTo>
                  <a:cubicBezTo>
                    <a:pt x="44698" y="21108"/>
                    <a:pt x="4423" y="15978"/>
                    <a:pt x="4423" y="15978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5" name="Freeform: Shape 977">
              <a:extLst>
                <a:ext uri="{FF2B5EF4-FFF2-40B4-BE49-F238E27FC236}">
                  <a16:creationId xmlns:a16="http://schemas.microsoft.com/office/drawing/2014/main" id="{1A2FCF33-4673-4F97-9354-3F1942285E09}"/>
                </a:ext>
              </a:extLst>
            </p:cNvPr>
            <p:cNvSpPr/>
            <p:nvPr/>
          </p:nvSpPr>
          <p:spPr bwMode="gray">
            <a:xfrm>
              <a:off x="4364069" y="2960705"/>
              <a:ext cx="100246" cy="58968"/>
            </a:xfrm>
            <a:custGeom>
              <a:avLst/>
              <a:gdLst>
                <a:gd name="connsiteX0" fmla="*/ 4423 w 100246"/>
                <a:gd name="connsiteY0" fmla="*/ 4423 h 58968"/>
                <a:gd name="connsiteX1" fmla="*/ 57966 w 100246"/>
                <a:gd name="connsiteY1" fmla="*/ 58261 h 58968"/>
                <a:gd name="connsiteX2" fmla="*/ 100600 w 100246"/>
                <a:gd name="connsiteY2" fmla="*/ 8079 h 58968"/>
                <a:gd name="connsiteX3" fmla="*/ 4423 w 100246"/>
                <a:gd name="connsiteY3" fmla="*/ 4423 h 5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246" h="58968">
                  <a:moveTo>
                    <a:pt x="4423" y="4423"/>
                  </a:moveTo>
                  <a:cubicBezTo>
                    <a:pt x="4423" y="4423"/>
                    <a:pt x="16747" y="62212"/>
                    <a:pt x="57966" y="58261"/>
                  </a:cubicBezTo>
                  <a:cubicBezTo>
                    <a:pt x="90575" y="55135"/>
                    <a:pt x="100600" y="8079"/>
                    <a:pt x="100600" y="8079"/>
                  </a:cubicBezTo>
                  <a:cubicBezTo>
                    <a:pt x="64511" y="79018"/>
                    <a:pt x="6781" y="14742"/>
                    <a:pt x="4423" y="4423"/>
                  </a:cubicBez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6" name="Freeform: Shape 978">
              <a:extLst>
                <a:ext uri="{FF2B5EF4-FFF2-40B4-BE49-F238E27FC236}">
                  <a16:creationId xmlns:a16="http://schemas.microsoft.com/office/drawing/2014/main" id="{44E58B1D-12B7-44B6-98BE-D1D3194DF957}"/>
                </a:ext>
              </a:extLst>
            </p:cNvPr>
            <p:cNvSpPr/>
            <p:nvPr/>
          </p:nvSpPr>
          <p:spPr bwMode="gray">
            <a:xfrm>
              <a:off x="4453433" y="2949888"/>
              <a:ext cx="17691" cy="23587"/>
            </a:xfrm>
            <a:custGeom>
              <a:avLst/>
              <a:gdLst>
                <a:gd name="connsiteX0" fmla="*/ 9880 w 17690"/>
                <a:gd name="connsiteY0" fmla="*/ 21490 h 23587"/>
                <a:gd name="connsiteX1" fmla="*/ 18017 w 17690"/>
                <a:gd name="connsiteY1" fmla="*/ 12527 h 23587"/>
                <a:gd name="connsiteX2" fmla="*/ 15128 w 17690"/>
                <a:gd name="connsiteY2" fmla="*/ 4920 h 23587"/>
                <a:gd name="connsiteX3" fmla="*/ 6931 w 17690"/>
                <a:gd name="connsiteY3" fmla="*/ 7751 h 23587"/>
                <a:gd name="connsiteX4" fmla="*/ 5988 w 17690"/>
                <a:gd name="connsiteY4" fmla="*/ 9815 h 23587"/>
                <a:gd name="connsiteX5" fmla="*/ 5516 w 17690"/>
                <a:gd name="connsiteY5" fmla="*/ 10522 h 23587"/>
                <a:gd name="connsiteX6" fmla="*/ 5103 w 17690"/>
                <a:gd name="connsiteY6" fmla="*/ 10994 h 23587"/>
                <a:gd name="connsiteX7" fmla="*/ 5634 w 17690"/>
                <a:gd name="connsiteY7" fmla="*/ 10522 h 23587"/>
                <a:gd name="connsiteX8" fmla="*/ 4985 w 17690"/>
                <a:gd name="connsiteY8" fmla="*/ 11053 h 23587"/>
                <a:gd name="connsiteX9" fmla="*/ 12061 w 17690"/>
                <a:gd name="connsiteY9" fmla="*/ 20311 h 23587"/>
                <a:gd name="connsiteX10" fmla="*/ 9880 w 17690"/>
                <a:gd name="connsiteY10" fmla="*/ 21490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90" h="23587">
                  <a:moveTo>
                    <a:pt x="9880" y="21490"/>
                  </a:moveTo>
                  <a:cubicBezTo>
                    <a:pt x="12651" y="19368"/>
                    <a:pt x="16720" y="15653"/>
                    <a:pt x="18017" y="12527"/>
                  </a:cubicBezTo>
                  <a:cubicBezTo>
                    <a:pt x="19197" y="9638"/>
                    <a:pt x="18253" y="6277"/>
                    <a:pt x="15128" y="4920"/>
                  </a:cubicBezTo>
                  <a:cubicBezTo>
                    <a:pt x="12297" y="3682"/>
                    <a:pt x="8170" y="4802"/>
                    <a:pt x="6931" y="7751"/>
                  </a:cubicBezTo>
                  <a:cubicBezTo>
                    <a:pt x="6636" y="8458"/>
                    <a:pt x="6283" y="9107"/>
                    <a:pt x="5988" y="9815"/>
                  </a:cubicBezTo>
                  <a:cubicBezTo>
                    <a:pt x="5457" y="11053"/>
                    <a:pt x="6047" y="9284"/>
                    <a:pt x="5516" y="10522"/>
                  </a:cubicBezTo>
                  <a:cubicBezTo>
                    <a:pt x="5398" y="10699"/>
                    <a:pt x="5221" y="10817"/>
                    <a:pt x="5103" y="10994"/>
                  </a:cubicBezTo>
                  <a:cubicBezTo>
                    <a:pt x="5811" y="10404"/>
                    <a:pt x="5988" y="10286"/>
                    <a:pt x="5634" y="10522"/>
                  </a:cubicBezTo>
                  <a:cubicBezTo>
                    <a:pt x="5457" y="10699"/>
                    <a:pt x="5162" y="10876"/>
                    <a:pt x="4985" y="11053"/>
                  </a:cubicBezTo>
                  <a:cubicBezTo>
                    <a:pt x="2391" y="12999"/>
                    <a:pt x="9467" y="22316"/>
                    <a:pt x="12061" y="20311"/>
                  </a:cubicBezTo>
                  <a:lnTo>
                    <a:pt x="9880" y="21490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7" name="Freeform: Shape 979">
              <a:extLst>
                <a:ext uri="{FF2B5EF4-FFF2-40B4-BE49-F238E27FC236}">
                  <a16:creationId xmlns:a16="http://schemas.microsoft.com/office/drawing/2014/main" id="{785F87E4-8B15-4AE8-A5CC-897D2D502874}"/>
                </a:ext>
              </a:extLst>
            </p:cNvPr>
            <p:cNvSpPr/>
            <p:nvPr/>
          </p:nvSpPr>
          <p:spPr bwMode="gray">
            <a:xfrm>
              <a:off x="4348994" y="2947989"/>
              <a:ext cx="29484" cy="23587"/>
            </a:xfrm>
            <a:custGeom>
              <a:avLst/>
              <a:gdLst>
                <a:gd name="connsiteX0" fmla="*/ 21738 w 29484"/>
                <a:gd name="connsiteY0" fmla="*/ 11536 h 23587"/>
                <a:gd name="connsiteX1" fmla="*/ 18730 w 29484"/>
                <a:gd name="connsiteY1" fmla="*/ 9885 h 23587"/>
                <a:gd name="connsiteX2" fmla="*/ 15015 w 29484"/>
                <a:gd name="connsiteY2" fmla="*/ 6170 h 23587"/>
                <a:gd name="connsiteX3" fmla="*/ 6288 w 29484"/>
                <a:gd name="connsiteY3" fmla="*/ 5993 h 23587"/>
                <a:gd name="connsiteX4" fmla="*/ 6052 w 29484"/>
                <a:gd name="connsiteY4" fmla="*/ 14013 h 23587"/>
                <a:gd name="connsiteX5" fmla="*/ 18259 w 29484"/>
                <a:gd name="connsiteY5" fmla="*/ 22445 h 23587"/>
                <a:gd name="connsiteX6" fmla="*/ 25925 w 29484"/>
                <a:gd name="connsiteY6" fmla="*/ 18495 h 23587"/>
                <a:gd name="connsiteX7" fmla="*/ 21738 w 29484"/>
                <a:gd name="connsiteY7" fmla="*/ 11536 h 23587"/>
                <a:gd name="connsiteX8" fmla="*/ 21738 w 29484"/>
                <a:gd name="connsiteY8" fmla="*/ 11536 h 23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84" h="23587">
                  <a:moveTo>
                    <a:pt x="21738" y="11536"/>
                  </a:moveTo>
                  <a:cubicBezTo>
                    <a:pt x="21325" y="11359"/>
                    <a:pt x="19379" y="10357"/>
                    <a:pt x="18730" y="9885"/>
                  </a:cubicBezTo>
                  <a:cubicBezTo>
                    <a:pt x="17315" y="8824"/>
                    <a:pt x="16136" y="7526"/>
                    <a:pt x="15015" y="6170"/>
                  </a:cubicBezTo>
                  <a:cubicBezTo>
                    <a:pt x="13010" y="3694"/>
                    <a:pt x="8529" y="4047"/>
                    <a:pt x="6288" y="5993"/>
                  </a:cubicBezTo>
                  <a:cubicBezTo>
                    <a:pt x="3635" y="8352"/>
                    <a:pt x="4047" y="11595"/>
                    <a:pt x="6052" y="14013"/>
                  </a:cubicBezTo>
                  <a:cubicBezTo>
                    <a:pt x="9237" y="17905"/>
                    <a:pt x="13423" y="20617"/>
                    <a:pt x="18259" y="22445"/>
                  </a:cubicBezTo>
                  <a:cubicBezTo>
                    <a:pt x="21325" y="23625"/>
                    <a:pt x="25040" y="21266"/>
                    <a:pt x="25925" y="18495"/>
                  </a:cubicBezTo>
                  <a:cubicBezTo>
                    <a:pt x="26927" y="15310"/>
                    <a:pt x="24804" y="12716"/>
                    <a:pt x="21738" y="11536"/>
                  </a:cubicBezTo>
                  <a:lnTo>
                    <a:pt x="21738" y="11536"/>
                  </a:lnTo>
                  <a:close/>
                </a:path>
              </a:pathLst>
            </a:custGeom>
            <a:solidFill>
              <a:srgbClr val="FF7E37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8" name="Freeform: Shape 980">
              <a:extLst>
                <a:ext uri="{FF2B5EF4-FFF2-40B4-BE49-F238E27FC236}">
                  <a16:creationId xmlns:a16="http://schemas.microsoft.com/office/drawing/2014/main" id="{D204EA25-79CE-4482-B10A-238A44A6E195}"/>
                </a:ext>
              </a:extLst>
            </p:cNvPr>
            <p:cNvSpPr/>
            <p:nvPr/>
          </p:nvSpPr>
          <p:spPr bwMode="gray">
            <a:xfrm>
              <a:off x="4300140" y="2553347"/>
              <a:ext cx="241770" cy="253564"/>
            </a:xfrm>
            <a:custGeom>
              <a:avLst/>
              <a:gdLst>
                <a:gd name="connsiteX0" fmla="*/ 2720 w 241770"/>
                <a:gd name="connsiteY0" fmla="*/ 98186 h 253563"/>
                <a:gd name="connsiteX1" fmla="*/ 114170 w 241770"/>
                <a:gd name="connsiteY1" fmla="*/ 171307 h 253563"/>
                <a:gd name="connsiteX2" fmla="*/ 226328 w 241770"/>
                <a:gd name="connsiteY2" fmla="*/ 256281 h 253563"/>
                <a:gd name="connsiteX3" fmla="*/ 149846 w 241770"/>
                <a:gd name="connsiteY3" fmla="*/ 27306 h 253563"/>
                <a:gd name="connsiteX4" fmla="*/ 20587 w 241770"/>
                <a:gd name="connsiteY4" fmla="*/ 8319 h 253563"/>
                <a:gd name="connsiteX5" fmla="*/ 2720 w 241770"/>
                <a:gd name="connsiteY5" fmla="*/ 98186 h 253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770" h="253563">
                  <a:moveTo>
                    <a:pt x="2720" y="98186"/>
                  </a:moveTo>
                  <a:cubicBezTo>
                    <a:pt x="2720" y="98186"/>
                    <a:pt x="42818" y="135336"/>
                    <a:pt x="114170" y="171307"/>
                  </a:cubicBezTo>
                  <a:cubicBezTo>
                    <a:pt x="185522" y="207337"/>
                    <a:pt x="226328" y="256281"/>
                    <a:pt x="226328" y="256281"/>
                  </a:cubicBezTo>
                  <a:cubicBezTo>
                    <a:pt x="226328" y="256281"/>
                    <a:pt x="297797" y="126668"/>
                    <a:pt x="149846" y="27306"/>
                  </a:cubicBezTo>
                  <a:cubicBezTo>
                    <a:pt x="89934" y="-12910"/>
                    <a:pt x="20587" y="8319"/>
                    <a:pt x="20587" y="8319"/>
                  </a:cubicBezTo>
                  <a:lnTo>
                    <a:pt x="2720" y="98186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9" name="Freeform: Shape 981">
              <a:extLst>
                <a:ext uri="{FF2B5EF4-FFF2-40B4-BE49-F238E27FC236}">
                  <a16:creationId xmlns:a16="http://schemas.microsoft.com/office/drawing/2014/main" id="{7F093367-ED77-462F-9607-55C15B62EAFC}"/>
                </a:ext>
              </a:extLst>
            </p:cNvPr>
            <p:cNvSpPr/>
            <p:nvPr/>
          </p:nvSpPr>
          <p:spPr bwMode="gray">
            <a:xfrm>
              <a:off x="4056743" y="2558089"/>
              <a:ext cx="300739" cy="566096"/>
            </a:xfrm>
            <a:custGeom>
              <a:avLst/>
              <a:gdLst>
                <a:gd name="connsiteX0" fmla="*/ 302786 w 300738"/>
                <a:gd name="connsiteY0" fmla="*/ 70329 h 566096"/>
                <a:gd name="connsiteX1" fmla="*/ 194756 w 300738"/>
                <a:gd name="connsiteY1" fmla="*/ 567904 h 566096"/>
                <a:gd name="connsiteX2" fmla="*/ 9359 w 300738"/>
                <a:gd name="connsiteY2" fmla="*/ 558351 h 566096"/>
                <a:gd name="connsiteX3" fmla="*/ 263925 w 300738"/>
                <a:gd name="connsiteY3" fmla="*/ 3636 h 566096"/>
                <a:gd name="connsiteX4" fmla="*/ 302786 w 300738"/>
                <a:gd name="connsiteY4" fmla="*/ 70329 h 56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738" h="566096">
                  <a:moveTo>
                    <a:pt x="302786" y="70329"/>
                  </a:moveTo>
                  <a:cubicBezTo>
                    <a:pt x="302786" y="70329"/>
                    <a:pt x="124112" y="211440"/>
                    <a:pt x="194756" y="567904"/>
                  </a:cubicBezTo>
                  <a:lnTo>
                    <a:pt x="9359" y="558351"/>
                  </a:lnTo>
                  <a:cubicBezTo>
                    <a:pt x="9359" y="558351"/>
                    <a:pt x="-62110" y="-23431"/>
                    <a:pt x="263925" y="3636"/>
                  </a:cubicBezTo>
                  <a:lnTo>
                    <a:pt x="302786" y="70329"/>
                  </a:lnTo>
                  <a:close/>
                </a:path>
              </a:pathLst>
            </a:custGeom>
            <a:solidFill>
              <a:srgbClr val="AB662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0" name="Freeform: Shape 982">
              <a:extLst>
                <a:ext uri="{FF2B5EF4-FFF2-40B4-BE49-F238E27FC236}">
                  <a16:creationId xmlns:a16="http://schemas.microsoft.com/office/drawing/2014/main" id="{3658A9A3-2EB6-4306-B5CC-035B6DFAA7BF}"/>
                </a:ext>
              </a:extLst>
            </p:cNvPr>
            <p:cNvSpPr/>
            <p:nvPr/>
          </p:nvSpPr>
          <p:spPr bwMode="gray">
            <a:xfrm>
              <a:off x="4166697" y="2826057"/>
              <a:ext cx="112040" cy="129730"/>
            </a:xfrm>
            <a:custGeom>
              <a:avLst/>
              <a:gdLst>
                <a:gd name="connsiteX0" fmla="*/ 87235 w 112039"/>
                <a:gd name="connsiteY0" fmla="*/ 52446 h 129730"/>
                <a:gd name="connsiteX1" fmla="*/ 77589 w 112039"/>
                <a:gd name="connsiteY1" fmla="*/ 114962 h 129730"/>
                <a:gd name="connsiteX2" fmla="*/ 25037 w 112039"/>
                <a:gd name="connsiteY2" fmla="*/ 79754 h 129730"/>
                <a:gd name="connsiteX3" fmla="*/ 34683 w 112039"/>
                <a:gd name="connsiteY3" fmla="*/ 17238 h 129730"/>
                <a:gd name="connsiteX4" fmla="*/ 87235 w 112039"/>
                <a:gd name="connsiteY4" fmla="*/ 52446 h 12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39" h="129730">
                  <a:moveTo>
                    <a:pt x="87235" y="52446"/>
                  </a:moveTo>
                  <a:cubicBezTo>
                    <a:pt x="99083" y="79432"/>
                    <a:pt x="94765" y="107421"/>
                    <a:pt x="77589" y="114962"/>
                  </a:cubicBezTo>
                  <a:cubicBezTo>
                    <a:pt x="60414" y="122503"/>
                    <a:pt x="36885" y="106740"/>
                    <a:pt x="25037" y="79754"/>
                  </a:cubicBezTo>
                  <a:cubicBezTo>
                    <a:pt x="13189" y="52768"/>
                    <a:pt x="17507" y="24779"/>
                    <a:pt x="34683" y="17238"/>
                  </a:cubicBezTo>
                  <a:cubicBezTo>
                    <a:pt x="51858" y="9697"/>
                    <a:pt x="75387" y="25460"/>
                    <a:pt x="87235" y="52446"/>
                  </a:cubicBezTo>
                  <a:close/>
                </a:path>
              </a:pathLst>
            </a:custGeom>
            <a:solidFill>
              <a:srgbClr val="FFCBAF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1" name="Freeform: Shape 983">
              <a:extLst>
                <a:ext uri="{FF2B5EF4-FFF2-40B4-BE49-F238E27FC236}">
                  <a16:creationId xmlns:a16="http://schemas.microsoft.com/office/drawing/2014/main" id="{DDCAF003-BBF0-4B36-808D-9DBCE88A6B9C}"/>
                </a:ext>
              </a:extLst>
            </p:cNvPr>
            <p:cNvSpPr/>
            <p:nvPr/>
          </p:nvSpPr>
          <p:spPr bwMode="gray">
            <a:xfrm rot="19355091" flipH="1" flipV="1">
              <a:off x="4373111" y="3134844"/>
              <a:ext cx="100227" cy="109457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  <a:gd name="connsiteX0" fmla="*/ 0 w 80362"/>
                <a:gd name="connsiteY0" fmla="*/ 274226 h 274226"/>
                <a:gd name="connsiteX1" fmla="*/ 37928 w 80362"/>
                <a:gd name="connsiteY1" fmla="*/ 0 h 274226"/>
                <a:gd name="connsiteX2" fmla="*/ 80362 w 80362"/>
                <a:gd name="connsiteY2" fmla="*/ 243294 h 274226"/>
                <a:gd name="connsiteX3" fmla="*/ 0 w 80362"/>
                <a:gd name="connsiteY3" fmla="*/ 274226 h 274226"/>
                <a:gd name="connsiteX0" fmla="*/ 0 w 112834"/>
                <a:gd name="connsiteY0" fmla="*/ 274226 h 274226"/>
                <a:gd name="connsiteX1" fmla="*/ 37928 w 112834"/>
                <a:gd name="connsiteY1" fmla="*/ 0 h 274226"/>
                <a:gd name="connsiteX2" fmla="*/ 112834 w 112834"/>
                <a:gd name="connsiteY2" fmla="*/ 94438 h 274226"/>
                <a:gd name="connsiteX3" fmla="*/ 0 w 112834"/>
                <a:gd name="connsiteY3" fmla="*/ 274226 h 274226"/>
                <a:gd name="connsiteX0" fmla="*/ 25717 w 74906"/>
                <a:gd name="connsiteY0" fmla="*/ 141040 h 141040"/>
                <a:gd name="connsiteX1" fmla="*/ 0 w 74906"/>
                <a:gd name="connsiteY1" fmla="*/ 0 h 141040"/>
                <a:gd name="connsiteX2" fmla="*/ 74906 w 74906"/>
                <a:gd name="connsiteY2" fmla="*/ 94438 h 141040"/>
                <a:gd name="connsiteX3" fmla="*/ 25717 w 74906"/>
                <a:gd name="connsiteY3" fmla="*/ 141040 h 141040"/>
                <a:gd name="connsiteX0" fmla="*/ 27016 w 76205"/>
                <a:gd name="connsiteY0" fmla="*/ 141040 h 141040"/>
                <a:gd name="connsiteX1" fmla="*/ 0 w 76205"/>
                <a:gd name="connsiteY1" fmla="*/ 0 h 141040"/>
                <a:gd name="connsiteX2" fmla="*/ 76205 w 76205"/>
                <a:gd name="connsiteY2" fmla="*/ 94438 h 141040"/>
                <a:gd name="connsiteX3" fmla="*/ 27016 w 76205"/>
                <a:gd name="connsiteY3" fmla="*/ 141040 h 141040"/>
                <a:gd name="connsiteX0" fmla="*/ 22279 w 76205"/>
                <a:gd name="connsiteY0" fmla="*/ 158986 h 158986"/>
                <a:gd name="connsiteX1" fmla="*/ 0 w 76205"/>
                <a:gd name="connsiteY1" fmla="*/ 0 h 158986"/>
                <a:gd name="connsiteX2" fmla="*/ 76205 w 76205"/>
                <a:gd name="connsiteY2" fmla="*/ 94438 h 158986"/>
                <a:gd name="connsiteX3" fmla="*/ 22279 w 76205"/>
                <a:gd name="connsiteY3" fmla="*/ 158986 h 158986"/>
                <a:gd name="connsiteX0" fmla="*/ 15992 w 69918"/>
                <a:gd name="connsiteY0" fmla="*/ 153522 h 153522"/>
                <a:gd name="connsiteX1" fmla="*/ 0 w 69918"/>
                <a:gd name="connsiteY1" fmla="*/ 1 h 153522"/>
                <a:gd name="connsiteX2" fmla="*/ 69918 w 69918"/>
                <a:gd name="connsiteY2" fmla="*/ 88974 h 153522"/>
                <a:gd name="connsiteX3" fmla="*/ 15992 w 69918"/>
                <a:gd name="connsiteY3" fmla="*/ 153522 h 15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18" h="153522">
                  <a:moveTo>
                    <a:pt x="15992" y="153522"/>
                  </a:moveTo>
                  <a:lnTo>
                    <a:pt x="0" y="1"/>
                  </a:lnTo>
                  <a:lnTo>
                    <a:pt x="69918" y="88974"/>
                  </a:lnTo>
                  <a:lnTo>
                    <a:pt x="15992" y="153522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2" name="Freeform: Shape 984">
              <a:extLst>
                <a:ext uri="{FF2B5EF4-FFF2-40B4-BE49-F238E27FC236}">
                  <a16:creationId xmlns:a16="http://schemas.microsoft.com/office/drawing/2014/main" id="{981C0C98-D3C6-494F-9D85-2CF1BEE819AA}"/>
                </a:ext>
              </a:extLst>
            </p:cNvPr>
            <p:cNvSpPr/>
            <p:nvPr/>
          </p:nvSpPr>
          <p:spPr bwMode="gray">
            <a:xfrm>
              <a:off x="4350904" y="3099096"/>
              <a:ext cx="76659" cy="82556"/>
            </a:xfrm>
            <a:custGeom>
              <a:avLst/>
              <a:gdLst>
                <a:gd name="connsiteX0" fmla="*/ 2720 w 76658"/>
                <a:gd name="connsiteY0" fmla="*/ 2720 h 82555"/>
                <a:gd name="connsiteX1" fmla="*/ 5020 w 76658"/>
                <a:gd name="connsiteY1" fmla="*/ 35860 h 82555"/>
                <a:gd name="connsiteX2" fmla="*/ 77197 w 76658"/>
                <a:gd name="connsiteY2" fmla="*/ 80027 h 82555"/>
                <a:gd name="connsiteX3" fmla="*/ 62278 w 76658"/>
                <a:gd name="connsiteY3" fmla="*/ 22769 h 8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58" h="82555">
                  <a:moveTo>
                    <a:pt x="2720" y="2720"/>
                  </a:moveTo>
                  <a:lnTo>
                    <a:pt x="5020" y="35860"/>
                  </a:lnTo>
                  <a:lnTo>
                    <a:pt x="77197" y="80027"/>
                  </a:lnTo>
                  <a:lnTo>
                    <a:pt x="62278" y="22769"/>
                  </a:lnTo>
                  <a:close/>
                </a:path>
              </a:pathLst>
            </a:custGeom>
            <a:solidFill>
              <a:schemeClr val="accent4"/>
            </a:solidFill>
            <a:ln w="5858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pic>
        <p:nvPicPr>
          <p:cNvPr id="73" name="Picture 21">
            <a:extLst>
              <a:ext uri="{FF2B5EF4-FFF2-40B4-BE49-F238E27FC236}">
                <a16:creationId xmlns:a16="http://schemas.microsoft.com/office/drawing/2014/main" id="{A470F576-8A3E-493A-9497-5D7D6270F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182662" y="2918948"/>
            <a:ext cx="828842" cy="125880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a14:hiddenEffects>
            </a:ext>
          </a:extLst>
        </p:spPr>
      </p:pic>
      <p:grpSp>
        <p:nvGrpSpPr>
          <p:cNvPr id="74" name="Group 98">
            <a:extLst>
              <a:ext uri="{FF2B5EF4-FFF2-40B4-BE49-F238E27FC236}">
                <a16:creationId xmlns:a16="http://schemas.microsoft.com/office/drawing/2014/main" id="{BD31DBFB-96E2-49AE-873B-EDCC6667ACFC}"/>
              </a:ext>
            </a:extLst>
          </p:cNvPr>
          <p:cNvGrpSpPr/>
          <p:nvPr/>
        </p:nvGrpSpPr>
        <p:grpSpPr bwMode="gray">
          <a:xfrm>
            <a:off x="6506409" y="2904584"/>
            <a:ext cx="455181" cy="1287536"/>
            <a:chOff x="6120650" y="2384202"/>
            <a:chExt cx="1144746" cy="3054336"/>
          </a:xfrm>
        </p:grpSpPr>
        <p:grpSp>
          <p:nvGrpSpPr>
            <p:cNvPr id="75" name="Group 99">
              <a:extLst>
                <a:ext uri="{FF2B5EF4-FFF2-40B4-BE49-F238E27FC236}">
                  <a16:creationId xmlns:a16="http://schemas.microsoft.com/office/drawing/2014/main" id="{8C5FE538-344F-4B35-B525-1BBB0D91D358}"/>
                </a:ext>
              </a:extLst>
            </p:cNvPr>
            <p:cNvGrpSpPr/>
            <p:nvPr/>
          </p:nvGrpSpPr>
          <p:grpSpPr bwMode="gray">
            <a:xfrm>
              <a:off x="6163280" y="3716737"/>
              <a:ext cx="1059380" cy="1721801"/>
              <a:chOff x="6163267" y="3716747"/>
              <a:chExt cx="1059378" cy="1721804"/>
            </a:xfrm>
          </p:grpSpPr>
          <p:sp>
            <p:nvSpPr>
              <p:cNvPr id="115" name="Freeform: Shape 139">
                <a:extLst>
                  <a:ext uri="{FF2B5EF4-FFF2-40B4-BE49-F238E27FC236}">
                    <a16:creationId xmlns:a16="http://schemas.microsoft.com/office/drawing/2014/main" id="{6267E63A-E58C-4D26-B2A9-326D363BF743}"/>
                  </a:ext>
                </a:extLst>
              </p:cNvPr>
              <p:cNvSpPr/>
              <p:nvPr/>
            </p:nvSpPr>
            <p:spPr bwMode="gray">
              <a:xfrm>
                <a:off x="6420357" y="5199474"/>
                <a:ext cx="124494" cy="124494"/>
              </a:xfrm>
              <a:custGeom>
                <a:avLst/>
                <a:gdLst>
                  <a:gd name="connsiteX0" fmla="*/ 120621 w 124494"/>
                  <a:gd name="connsiteY0" fmla="*/ 125289 h 124494"/>
                  <a:gd name="connsiteX1" fmla="*/ 3036 w 124494"/>
                  <a:gd name="connsiteY1" fmla="*/ 125227 h 124494"/>
                  <a:gd name="connsiteX2" fmla="*/ 7020 w 124494"/>
                  <a:gd name="connsiteY2" fmla="*/ 3036 h 124494"/>
                  <a:gd name="connsiteX3" fmla="*/ 124667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120621" y="125289"/>
                    </a:moveTo>
                    <a:lnTo>
                      <a:pt x="3036" y="125227"/>
                    </a:lnTo>
                    <a:lnTo>
                      <a:pt x="7020" y="3036"/>
                    </a:lnTo>
                    <a:lnTo>
                      <a:pt x="124667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6" name="Freeform: Shape 140">
                <a:extLst>
                  <a:ext uri="{FF2B5EF4-FFF2-40B4-BE49-F238E27FC236}">
                    <a16:creationId xmlns:a16="http://schemas.microsoft.com/office/drawing/2014/main" id="{57AB787F-8206-4CAB-B19A-E56FDFBB2DE0}"/>
                  </a:ext>
                </a:extLst>
              </p:cNvPr>
              <p:cNvSpPr/>
              <p:nvPr/>
            </p:nvSpPr>
            <p:spPr bwMode="gray">
              <a:xfrm>
                <a:off x="6163267" y="5280007"/>
                <a:ext cx="398381" cy="136944"/>
              </a:xfrm>
              <a:custGeom>
                <a:avLst/>
                <a:gdLst>
                  <a:gd name="connsiteX0" fmla="*/ 398065 w 398381"/>
                  <a:gd name="connsiteY0" fmla="*/ 121569 h 136943"/>
                  <a:gd name="connsiteX1" fmla="*/ 279608 w 398381"/>
                  <a:gd name="connsiteY1" fmla="*/ 126299 h 136943"/>
                  <a:gd name="connsiteX2" fmla="*/ 279110 w 398381"/>
                  <a:gd name="connsiteY2" fmla="*/ 109679 h 136943"/>
                  <a:gd name="connsiteX3" fmla="*/ 38837 w 398381"/>
                  <a:gd name="connsiteY3" fmla="*/ 134392 h 136943"/>
                  <a:gd name="connsiteX4" fmla="*/ 13128 w 398381"/>
                  <a:gd name="connsiteY4" fmla="*/ 77124 h 136943"/>
                  <a:gd name="connsiteX5" fmla="*/ 389972 w 398381"/>
                  <a:gd name="connsiteY5" fmla="*/ 4669 h 136943"/>
                  <a:gd name="connsiteX6" fmla="*/ 398065 w 398381"/>
                  <a:gd name="connsiteY6" fmla="*/ 121569 h 13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36943">
                    <a:moveTo>
                      <a:pt x="398065" y="121569"/>
                    </a:moveTo>
                    <a:lnTo>
                      <a:pt x="279608" y="126299"/>
                    </a:lnTo>
                    <a:lnTo>
                      <a:pt x="279110" y="109679"/>
                    </a:lnTo>
                    <a:cubicBezTo>
                      <a:pt x="207837" y="137691"/>
                      <a:pt x="124489" y="136259"/>
                      <a:pt x="38837" y="134392"/>
                    </a:cubicBezTo>
                    <a:cubicBezTo>
                      <a:pt x="9580" y="133769"/>
                      <a:pt x="-6106" y="99222"/>
                      <a:pt x="13128" y="77124"/>
                    </a:cubicBezTo>
                    <a:cubicBezTo>
                      <a:pt x="24271" y="64364"/>
                      <a:pt x="389972" y="4669"/>
                      <a:pt x="389972" y="4669"/>
                    </a:cubicBezTo>
                    <a:lnTo>
                      <a:pt x="398065" y="121569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7" name="Freeform: Shape 141">
                <a:extLst>
                  <a:ext uri="{FF2B5EF4-FFF2-40B4-BE49-F238E27FC236}">
                    <a16:creationId xmlns:a16="http://schemas.microsoft.com/office/drawing/2014/main" id="{761E99F3-68AF-440C-A285-EF3D3B291C97}"/>
                  </a:ext>
                </a:extLst>
              </p:cNvPr>
              <p:cNvSpPr/>
              <p:nvPr/>
            </p:nvSpPr>
            <p:spPr bwMode="gray">
              <a:xfrm>
                <a:off x="6444805" y="5392737"/>
                <a:ext cx="118269" cy="37348"/>
              </a:xfrm>
              <a:custGeom>
                <a:avLst/>
                <a:gdLst>
                  <a:gd name="connsiteX0" fmla="*/ 5166 w 118269"/>
                  <a:gd name="connsiteY0" fmla="*/ 32866 h 37348"/>
                  <a:gd name="connsiteX1" fmla="*/ 116962 w 118269"/>
                  <a:gd name="connsiteY1" fmla="*/ 30065 h 37348"/>
                  <a:gd name="connsiteX2" fmla="*/ 116464 w 118269"/>
                  <a:gd name="connsiteY2" fmla="*/ 4669 h 37348"/>
                  <a:gd name="connsiteX3" fmla="*/ 4669 w 118269"/>
                  <a:gd name="connsiteY3" fmla="*/ 7407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5166" y="32866"/>
                    </a:moveTo>
                    <a:lnTo>
                      <a:pt x="116962" y="30065"/>
                    </a:lnTo>
                    <a:lnTo>
                      <a:pt x="116464" y="4669"/>
                    </a:lnTo>
                    <a:lnTo>
                      <a:pt x="4669" y="7407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8" name="Freeform: Shape 142">
                <a:extLst>
                  <a:ext uri="{FF2B5EF4-FFF2-40B4-BE49-F238E27FC236}">
                    <a16:creationId xmlns:a16="http://schemas.microsoft.com/office/drawing/2014/main" id="{10A6EBA2-5875-40EA-A652-473608290892}"/>
                  </a:ext>
                </a:extLst>
              </p:cNvPr>
              <p:cNvSpPr/>
              <p:nvPr/>
            </p:nvSpPr>
            <p:spPr bwMode="gray">
              <a:xfrm>
                <a:off x="6331765" y="5242721"/>
                <a:ext cx="224090" cy="87146"/>
              </a:xfrm>
              <a:custGeom>
                <a:avLst/>
                <a:gdLst>
                  <a:gd name="connsiteX0" fmla="*/ 4669 w 224089"/>
                  <a:gd name="connsiteY0" fmla="*/ 85216 h 87145"/>
                  <a:gd name="connsiteX1" fmla="*/ 71584 w 224089"/>
                  <a:gd name="connsiteY1" fmla="*/ 4669 h 87145"/>
                  <a:gd name="connsiteX2" fmla="*/ 206660 w 224089"/>
                  <a:gd name="connsiteY2" fmla="*/ 13694 h 87145"/>
                  <a:gd name="connsiteX3" fmla="*/ 221288 w 224089"/>
                  <a:gd name="connsiteY3" fmla="*/ 27700 h 87145"/>
                  <a:gd name="connsiteX4" fmla="*/ 222035 w 224089"/>
                  <a:gd name="connsiteY4" fmla="*/ 59570 h 87145"/>
                  <a:gd name="connsiteX5" fmla="*/ 4669 w 224089"/>
                  <a:gd name="connsiteY5" fmla="*/ 85216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4669" y="85216"/>
                    </a:moveTo>
                    <a:lnTo>
                      <a:pt x="71584" y="4669"/>
                    </a:lnTo>
                    <a:cubicBezTo>
                      <a:pt x="117274" y="38655"/>
                      <a:pt x="150763" y="41830"/>
                      <a:pt x="206660" y="13694"/>
                    </a:cubicBezTo>
                    <a:cubicBezTo>
                      <a:pt x="214566" y="13508"/>
                      <a:pt x="221102" y="19795"/>
                      <a:pt x="221288" y="27700"/>
                    </a:cubicBezTo>
                    <a:lnTo>
                      <a:pt x="222035" y="59570"/>
                    </a:lnTo>
                    <a:lnTo>
                      <a:pt x="4669" y="85216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9" name="Freeform: Shape 143">
                <a:extLst>
                  <a:ext uri="{FF2B5EF4-FFF2-40B4-BE49-F238E27FC236}">
                    <a16:creationId xmlns:a16="http://schemas.microsoft.com/office/drawing/2014/main" id="{52634440-A9BC-4C45-8A38-D8C606DF1EBA}"/>
                  </a:ext>
                </a:extLst>
              </p:cNvPr>
              <p:cNvSpPr/>
              <p:nvPr/>
            </p:nvSpPr>
            <p:spPr bwMode="gray">
              <a:xfrm>
                <a:off x="6163750" y="5373689"/>
                <a:ext cx="398381" cy="62247"/>
              </a:xfrm>
              <a:custGeom>
                <a:avLst/>
                <a:gdLst>
                  <a:gd name="connsiteX0" fmla="*/ 136579 w 398381"/>
                  <a:gd name="connsiteY0" fmla="*/ 61064 h 62247"/>
                  <a:gd name="connsiteX1" fmla="*/ 20426 w 398381"/>
                  <a:gd name="connsiteY1" fmla="*/ 42888 h 62247"/>
                  <a:gd name="connsiteX2" fmla="*/ 5674 w 398381"/>
                  <a:gd name="connsiteY2" fmla="*/ 16682 h 62247"/>
                  <a:gd name="connsiteX3" fmla="*/ 6234 w 398381"/>
                  <a:gd name="connsiteY3" fmla="*/ 14877 h 62247"/>
                  <a:gd name="connsiteX4" fmla="*/ 160980 w 398381"/>
                  <a:gd name="connsiteY4" fmla="*/ 37162 h 62247"/>
                  <a:gd name="connsiteX5" fmla="*/ 290392 w 398381"/>
                  <a:gd name="connsiteY5" fmla="*/ 8154 h 62247"/>
                  <a:gd name="connsiteX6" fmla="*/ 292508 w 398381"/>
                  <a:gd name="connsiteY6" fmla="*/ 7221 h 62247"/>
                  <a:gd name="connsiteX7" fmla="*/ 397021 w 398381"/>
                  <a:gd name="connsiteY7" fmla="*/ 4669 h 62247"/>
                  <a:gd name="connsiteX8" fmla="*/ 397582 w 398381"/>
                  <a:gd name="connsiteY8" fmla="*/ 27887 h 62247"/>
                  <a:gd name="connsiteX9" fmla="*/ 297675 w 398381"/>
                  <a:gd name="connsiteY9" fmla="*/ 30315 h 62247"/>
                  <a:gd name="connsiteX10" fmla="*/ 162288 w 398381"/>
                  <a:gd name="connsiteY10" fmla="*/ 60317 h 62247"/>
                  <a:gd name="connsiteX11" fmla="*/ 136579 w 398381"/>
                  <a:gd name="connsiteY11" fmla="*/ 6106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2247">
                    <a:moveTo>
                      <a:pt x="136579" y="61064"/>
                    </a:moveTo>
                    <a:cubicBezTo>
                      <a:pt x="86284" y="62309"/>
                      <a:pt x="49558" y="50296"/>
                      <a:pt x="20426" y="42888"/>
                    </a:cubicBezTo>
                    <a:cubicBezTo>
                      <a:pt x="8724" y="39900"/>
                      <a:pt x="2001" y="27949"/>
                      <a:pt x="5674" y="16682"/>
                    </a:cubicBezTo>
                    <a:lnTo>
                      <a:pt x="6234" y="14877"/>
                    </a:lnTo>
                    <a:cubicBezTo>
                      <a:pt x="7105" y="15126"/>
                      <a:pt x="91637" y="40834"/>
                      <a:pt x="160980" y="37162"/>
                    </a:cubicBezTo>
                    <a:cubicBezTo>
                      <a:pt x="230261" y="33427"/>
                      <a:pt x="289770" y="8403"/>
                      <a:pt x="290392" y="8154"/>
                    </a:cubicBezTo>
                    <a:lnTo>
                      <a:pt x="292508" y="7221"/>
                    </a:lnTo>
                    <a:lnTo>
                      <a:pt x="397021" y="4669"/>
                    </a:lnTo>
                    <a:lnTo>
                      <a:pt x="397582" y="27887"/>
                    </a:lnTo>
                    <a:lnTo>
                      <a:pt x="297675" y="30315"/>
                    </a:lnTo>
                    <a:cubicBezTo>
                      <a:pt x="285786" y="35107"/>
                      <a:pt x="229141" y="56707"/>
                      <a:pt x="162288" y="60317"/>
                    </a:cubicBezTo>
                    <a:cubicBezTo>
                      <a:pt x="159549" y="60504"/>
                      <a:pt x="139318" y="61002"/>
                      <a:pt x="136579" y="61064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0" name="Freeform: Shape 144">
                <a:extLst>
                  <a:ext uri="{FF2B5EF4-FFF2-40B4-BE49-F238E27FC236}">
                    <a16:creationId xmlns:a16="http://schemas.microsoft.com/office/drawing/2014/main" id="{7D61BEBA-6AE0-451A-8187-DC29CFA8248F}"/>
                  </a:ext>
                </a:extLst>
              </p:cNvPr>
              <p:cNvSpPr/>
              <p:nvPr/>
            </p:nvSpPr>
            <p:spPr bwMode="gray">
              <a:xfrm>
                <a:off x="6843326" y="5199474"/>
                <a:ext cx="124494" cy="124494"/>
              </a:xfrm>
              <a:custGeom>
                <a:avLst/>
                <a:gdLst>
                  <a:gd name="connsiteX0" fmla="*/ 7020 w 124494"/>
                  <a:gd name="connsiteY0" fmla="*/ 125289 h 124494"/>
                  <a:gd name="connsiteX1" fmla="*/ 124604 w 124494"/>
                  <a:gd name="connsiteY1" fmla="*/ 125227 h 124494"/>
                  <a:gd name="connsiteX2" fmla="*/ 120621 w 124494"/>
                  <a:gd name="connsiteY2" fmla="*/ 3036 h 124494"/>
                  <a:gd name="connsiteX3" fmla="*/ 3036 w 124494"/>
                  <a:gd name="connsiteY3" fmla="*/ 3036 h 12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94" h="124494">
                    <a:moveTo>
                      <a:pt x="7020" y="125289"/>
                    </a:moveTo>
                    <a:lnTo>
                      <a:pt x="124604" y="125227"/>
                    </a:lnTo>
                    <a:lnTo>
                      <a:pt x="120621" y="3036"/>
                    </a:lnTo>
                    <a:lnTo>
                      <a:pt x="3036" y="3036"/>
                    </a:lnTo>
                    <a:close/>
                  </a:path>
                </a:pathLst>
              </a:custGeom>
              <a:solidFill>
                <a:srgbClr val="8DA5B7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1" name="Freeform: Shape 145">
                <a:extLst>
                  <a:ext uri="{FF2B5EF4-FFF2-40B4-BE49-F238E27FC236}">
                    <a16:creationId xmlns:a16="http://schemas.microsoft.com/office/drawing/2014/main" id="{EF7F3F33-DC62-4BD8-9115-1A4E19BE5AB6}"/>
                  </a:ext>
                </a:extLst>
              </p:cNvPr>
              <p:cNvSpPr/>
              <p:nvPr/>
            </p:nvSpPr>
            <p:spPr bwMode="gray">
              <a:xfrm>
                <a:off x="6824264" y="5276584"/>
                <a:ext cx="398381" cy="143168"/>
              </a:xfrm>
              <a:custGeom>
                <a:avLst/>
                <a:gdLst>
                  <a:gd name="connsiteX0" fmla="*/ 4669 w 398381"/>
                  <a:gd name="connsiteY0" fmla="*/ 121382 h 143168"/>
                  <a:gd name="connsiteX1" fmla="*/ 123000 w 398381"/>
                  <a:gd name="connsiteY1" fmla="*/ 128229 h 143168"/>
                  <a:gd name="connsiteX2" fmla="*/ 123809 w 398381"/>
                  <a:gd name="connsiteY2" fmla="*/ 111609 h 143168"/>
                  <a:gd name="connsiteX3" fmla="*/ 363585 w 398381"/>
                  <a:gd name="connsiteY3" fmla="*/ 140678 h 143168"/>
                  <a:gd name="connsiteX4" fmla="*/ 390289 w 398381"/>
                  <a:gd name="connsiteY4" fmla="*/ 83909 h 143168"/>
                  <a:gd name="connsiteX5" fmla="*/ 14815 w 398381"/>
                  <a:gd name="connsiteY5" fmla="*/ 4669 h 143168"/>
                  <a:gd name="connsiteX6" fmla="*/ 4669 w 398381"/>
                  <a:gd name="connsiteY6" fmla="*/ 121382 h 14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381" h="143168">
                    <a:moveTo>
                      <a:pt x="4669" y="121382"/>
                    </a:moveTo>
                    <a:lnTo>
                      <a:pt x="123000" y="128229"/>
                    </a:lnTo>
                    <a:lnTo>
                      <a:pt x="123809" y="111609"/>
                    </a:lnTo>
                    <a:cubicBezTo>
                      <a:pt x="194522" y="140927"/>
                      <a:pt x="277871" y="140927"/>
                      <a:pt x="363585" y="140678"/>
                    </a:cubicBezTo>
                    <a:cubicBezTo>
                      <a:pt x="392841" y="140554"/>
                      <a:pt x="409150" y="106318"/>
                      <a:pt x="390289" y="83909"/>
                    </a:cubicBezTo>
                    <a:cubicBezTo>
                      <a:pt x="379334" y="70962"/>
                      <a:pt x="14815" y="4669"/>
                      <a:pt x="14815" y="4669"/>
                    </a:cubicBezTo>
                    <a:lnTo>
                      <a:pt x="4669" y="121382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2" name="Freeform: Shape 146">
                <a:extLst>
                  <a:ext uri="{FF2B5EF4-FFF2-40B4-BE49-F238E27FC236}">
                    <a16:creationId xmlns:a16="http://schemas.microsoft.com/office/drawing/2014/main" id="{8339AB45-EAC3-4D29-9EDF-5348514AF9CC}"/>
                  </a:ext>
                </a:extLst>
              </p:cNvPr>
              <p:cNvSpPr/>
              <p:nvPr/>
            </p:nvSpPr>
            <p:spPr bwMode="gray">
              <a:xfrm>
                <a:off x="6823455" y="5389189"/>
                <a:ext cx="118269" cy="37348"/>
              </a:xfrm>
              <a:custGeom>
                <a:avLst/>
                <a:gdLst>
                  <a:gd name="connsiteX0" fmla="*/ 116402 w 118269"/>
                  <a:gd name="connsiteY0" fmla="*/ 34796 h 37348"/>
                  <a:gd name="connsiteX1" fmla="*/ 4669 w 118269"/>
                  <a:gd name="connsiteY1" fmla="*/ 30065 h 37348"/>
                  <a:gd name="connsiteX2" fmla="*/ 5664 w 118269"/>
                  <a:gd name="connsiteY2" fmla="*/ 4669 h 37348"/>
                  <a:gd name="connsiteX3" fmla="*/ 117336 w 118269"/>
                  <a:gd name="connsiteY3" fmla="*/ 9399 h 3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269" h="37348">
                    <a:moveTo>
                      <a:pt x="116402" y="34796"/>
                    </a:moveTo>
                    <a:lnTo>
                      <a:pt x="4669" y="30065"/>
                    </a:lnTo>
                    <a:lnTo>
                      <a:pt x="5664" y="4669"/>
                    </a:lnTo>
                    <a:lnTo>
                      <a:pt x="117336" y="9399"/>
                    </a:ln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3" name="Freeform: Shape 147">
                <a:extLst>
                  <a:ext uri="{FF2B5EF4-FFF2-40B4-BE49-F238E27FC236}">
                    <a16:creationId xmlns:a16="http://schemas.microsoft.com/office/drawing/2014/main" id="{6711D749-755B-4EED-8F89-C8A286CE3DC8}"/>
                  </a:ext>
                </a:extLst>
              </p:cNvPr>
              <p:cNvSpPr/>
              <p:nvPr/>
            </p:nvSpPr>
            <p:spPr bwMode="gray">
              <a:xfrm>
                <a:off x="6833663" y="5241974"/>
                <a:ext cx="224090" cy="87146"/>
              </a:xfrm>
              <a:custGeom>
                <a:avLst/>
                <a:gdLst>
                  <a:gd name="connsiteX0" fmla="*/ 221475 w 224089"/>
                  <a:gd name="connsiteY0" fmla="*/ 86461 h 87145"/>
                  <a:gd name="connsiteX1" fmla="*/ 156053 w 224089"/>
                  <a:gd name="connsiteY1" fmla="*/ 4669 h 87145"/>
                  <a:gd name="connsiteX2" fmla="*/ 20853 w 224089"/>
                  <a:gd name="connsiteY2" fmla="*/ 11267 h 87145"/>
                  <a:gd name="connsiteX3" fmla="*/ 5976 w 224089"/>
                  <a:gd name="connsiteY3" fmla="*/ 24961 h 87145"/>
                  <a:gd name="connsiteX4" fmla="*/ 4669 w 224089"/>
                  <a:gd name="connsiteY4" fmla="*/ 56832 h 87145"/>
                  <a:gd name="connsiteX5" fmla="*/ 221475 w 224089"/>
                  <a:gd name="connsiteY5" fmla="*/ 86461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4089" h="87145">
                    <a:moveTo>
                      <a:pt x="221475" y="86461"/>
                    </a:moveTo>
                    <a:lnTo>
                      <a:pt x="156053" y="4669"/>
                    </a:lnTo>
                    <a:cubicBezTo>
                      <a:pt x="109742" y="37846"/>
                      <a:pt x="76253" y="40399"/>
                      <a:pt x="20853" y="11267"/>
                    </a:cubicBezTo>
                    <a:cubicBezTo>
                      <a:pt x="12947" y="10956"/>
                      <a:pt x="6349" y="17118"/>
                      <a:pt x="5976" y="24961"/>
                    </a:cubicBezTo>
                    <a:lnTo>
                      <a:pt x="4669" y="56832"/>
                    </a:lnTo>
                    <a:lnTo>
                      <a:pt x="221475" y="86461"/>
                    </a:lnTo>
                    <a:close/>
                  </a:path>
                </a:pathLst>
              </a:custGeom>
              <a:solidFill>
                <a:srgbClr val="3F3434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4" name="Freeform: Shape 148">
                <a:extLst>
                  <a:ext uri="{FF2B5EF4-FFF2-40B4-BE49-F238E27FC236}">
                    <a16:creationId xmlns:a16="http://schemas.microsoft.com/office/drawing/2014/main" id="{74CDCC8E-6027-4BC5-BD4B-0218F2EADC13}"/>
                  </a:ext>
                </a:extLst>
              </p:cNvPr>
              <p:cNvSpPr/>
              <p:nvPr/>
            </p:nvSpPr>
            <p:spPr bwMode="gray">
              <a:xfrm>
                <a:off x="6824264" y="5370079"/>
                <a:ext cx="398381" cy="68472"/>
              </a:xfrm>
              <a:custGeom>
                <a:avLst/>
                <a:gdLst>
                  <a:gd name="connsiteX0" fmla="*/ 265048 w 398381"/>
                  <a:gd name="connsiteY0" fmla="*/ 65795 h 68471"/>
                  <a:gd name="connsiteX1" fmla="*/ 381513 w 398381"/>
                  <a:gd name="connsiteY1" fmla="*/ 49735 h 68471"/>
                  <a:gd name="connsiteX2" fmla="*/ 396763 w 398381"/>
                  <a:gd name="connsiteY2" fmla="*/ 23778 h 68471"/>
                  <a:gd name="connsiteX3" fmla="*/ 396203 w 398381"/>
                  <a:gd name="connsiteY3" fmla="*/ 21973 h 68471"/>
                  <a:gd name="connsiteX4" fmla="*/ 241083 w 398381"/>
                  <a:gd name="connsiteY4" fmla="*/ 41457 h 68471"/>
                  <a:gd name="connsiteX5" fmla="*/ 112232 w 398381"/>
                  <a:gd name="connsiteY5" fmla="*/ 10084 h 68471"/>
                  <a:gd name="connsiteX6" fmla="*/ 110115 w 398381"/>
                  <a:gd name="connsiteY6" fmla="*/ 9150 h 68471"/>
                  <a:gd name="connsiteX7" fmla="*/ 5664 w 398381"/>
                  <a:gd name="connsiteY7" fmla="*/ 4669 h 68471"/>
                  <a:gd name="connsiteX8" fmla="*/ 4669 w 398381"/>
                  <a:gd name="connsiteY8" fmla="*/ 27824 h 68471"/>
                  <a:gd name="connsiteX9" fmla="*/ 104575 w 398381"/>
                  <a:gd name="connsiteY9" fmla="*/ 32057 h 68471"/>
                  <a:gd name="connsiteX10" fmla="*/ 239402 w 398381"/>
                  <a:gd name="connsiteY10" fmla="*/ 64488 h 68471"/>
                  <a:gd name="connsiteX11" fmla="*/ 265048 w 398381"/>
                  <a:gd name="connsiteY11" fmla="*/ 65795 h 6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8381" h="68471">
                    <a:moveTo>
                      <a:pt x="265048" y="65795"/>
                    </a:moveTo>
                    <a:cubicBezTo>
                      <a:pt x="315282" y="67912"/>
                      <a:pt x="352256" y="56583"/>
                      <a:pt x="381513" y="49735"/>
                    </a:cubicBezTo>
                    <a:cubicBezTo>
                      <a:pt x="393277" y="46997"/>
                      <a:pt x="400187" y="35107"/>
                      <a:pt x="396763" y="23778"/>
                    </a:cubicBezTo>
                    <a:lnTo>
                      <a:pt x="396203" y="21973"/>
                    </a:lnTo>
                    <a:cubicBezTo>
                      <a:pt x="395331" y="22222"/>
                      <a:pt x="310302" y="46374"/>
                      <a:pt x="241083" y="41457"/>
                    </a:cubicBezTo>
                    <a:cubicBezTo>
                      <a:pt x="171864" y="36477"/>
                      <a:pt x="112854" y="10395"/>
                      <a:pt x="112232" y="10084"/>
                    </a:cubicBezTo>
                    <a:lnTo>
                      <a:pt x="110115" y="9150"/>
                    </a:lnTo>
                    <a:lnTo>
                      <a:pt x="5664" y="4669"/>
                    </a:lnTo>
                    <a:lnTo>
                      <a:pt x="4669" y="27824"/>
                    </a:lnTo>
                    <a:lnTo>
                      <a:pt x="104575" y="32057"/>
                    </a:lnTo>
                    <a:cubicBezTo>
                      <a:pt x="116402" y="37099"/>
                      <a:pt x="172611" y="59695"/>
                      <a:pt x="239402" y="64488"/>
                    </a:cubicBezTo>
                    <a:cubicBezTo>
                      <a:pt x="242079" y="64799"/>
                      <a:pt x="262309" y="65733"/>
                      <a:pt x="265048" y="65795"/>
                    </a:cubicBezTo>
                    <a:close/>
                  </a:path>
                </a:pathLst>
              </a:custGeom>
              <a:solidFill>
                <a:srgbClr val="15253D"/>
              </a:solidFill>
              <a:ln w="9525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5" name="Freeform: Shape 149">
                <a:extLst>
                  <a:ext uri="{FF2B5EF4-FFF2-40B4-BE49-F238E27FC236}">
                    <a16:creationId xmlns:a16="http://schemas.microsoft.com/office/drawing/2014/main" id="{D0EC9309-D594-463E-B7FF-B2F6A6406726}"/>
                  </a:ext>
                </a:extLst>
              </p:cNvPr>
              <p:cNvSpPr/>
              <p:nvPr/>
            </p:nvSpPr>
            <p:spPr bwMode="gray">
              <a:xfrm>
                <a:off x="6405168" y="3920046"/>
                <a:ext cx="161842" cy="1307190"/>
              </a:xfrm>
              <a:custGeom>
                <a:avLst/>
                <a:gdLst>
                  <a:gd name="connsiteX0" fmla="*/ 161455 w 161842"/>
                  <a:gd name="connsiteY0" fmla="*/ 1306491 h 1307189"/>
                  <a:gd name="connsiteX1" fmla="*/ 3036 w 161842"/>
                  <a:gd name="connsiteY1" fmla="*/ 1306491 h 1307189"/>
                  <a:gd name="connsiteX2" fmla="*/ 3036 w 161842"/>
                  <a:gd name="connsiteY2" fmla="*/ 82214 h 1307189"/>
                  <a:gd name="connsiteX3" fmla="*/ 82214 w 161842"/>
                  <a:gd name="connsiteY3" fmla="*/ 3036 h 1307189"/>
                  <a:gd name="connsiteX4" fmla="*/ 82214 w 161842"/>
                  <a:gd name="connsiteY4" fmla="*/ 3036 h 1307189"/>
                  <a:gd name="connsiteX5" fmla="*/ 161392 w 161842"/>
                  <a:gd name="connsiteY5" fmla="*/ 82214 h 1307189"/>
                  <a:gd name="connsiteX6" fmla="*/ 161392 w 161842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1842" h="1307189">
                    <a:moveTo>
                      <a:pt x="161455" y="1306491"/>
                    </a:moveTo>
                    <a:lnTo>
                      <a:pt x="3036" y="1306491"/>
                    </a:lnTo>
                    <a:lnTo>
                      <a:pt x="3036" y="82214"/>
                    </a:lnTo>
                    <a:cubicBezTo>
                      <a:pt x="3036" y="38454"/>
                      <a:pt x="38517" y="3036"/>
                      <a:pt x="82214" y="3036"/>
                    </a:cubicBezTo>
                    <a:lnTo>
                      <a:pt x="82214" y="3036"/>
                    </a:lnTo>
                    <a:cubicBezTo>
                      <a:pt x="125974" y="3036"/>
                      <a:pt x="161392" y="38517"/>
                      <a:pt x="161392" y="82214"/>
                    </a:cubicBezTo>
                    <a:lnTo>
                      <a:pt x="161392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6" name="Freeform: Shape 150">
                <a:extLst>
                  <a:ext uri="{FF2B5EF4-FFF2-40B4-BE49-F238E27FC236}">
                    <a16:creationId xmlns:a16="http://schemas.microsoft.com/office/drawing/2014/main" id="{0D5F3326-70C3-4D64-AE62-66057ADE5C49}"/>
                  </a:ext>
                </a:extLst>
              </p:cNvPr>
              <p:cNvSpPr/>
              <p:nvPr/>
            </p:nvSpPr>
            <p:spPr bwMode="gray">
              <a:xfrm>
                <a:off x="6392408" y="5166421"/>
                <a:ext cx="180517" cy="62247"/>
              </a:xfrm>
              <a:custGeom>
                <a:avLst/>
                <a:gdLst>
                  <a:gd name="connsiteX0" fmla="*/ 3036 w 180516"/>
                  <a:gd name="connsiteY0" fmla="*/ 3036 h 62247"/>
                  <a:gd name="connsiteX1" fmla="*/ 181436 w 180516"/>
                  <a:gd name="connsiteY1" fmla="*/ 3036 h 62247"/>
                  <a:gd name="connsiteX2" fmla="*/ 181436 w 180516"/>
                  <a:gd name="connsiteY2" fmla="*/ 60116 h 62247"/>
                  <a:gd name="connsiteX3" fmla="*/ 3036 w 180516"/>
                  <a:gd name="connsiteY3" fmla="*/ 6011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516" h="62247">
                    <a:moveTo>
                      <a:pt x="3036" y="3036"/>
                    </a:moveTo>
                    <a:lnTo>
                      <a:pt x="181436" y="3036"/>
                    </a:lnTo>
                    <a:lnTo>
                      <a:pt x="181436" y="60116"/>
                    </a:lnTo>
                    <a:lnTo>
                      <a:pt x="3036" y="6011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7" name="Freeform: Shape 151">
                <a:extLst>
                  <a:ext uri="{FF2B5EF4-FFF2-40B4-BE49-F238E27FC236}">
                    <a16:creationId xmlns:a16="http://schemas.microsoft.com/office/drawing/2014/main" id="{164650D5-605E-4A5B-A167-6212A0D7F706}"/>
                  </a:ext>
                </a:extLst>
              </p:cNvPr>
              <p:cNvSpPr/>
              <p:nvPr/>
            </p:nvSpPr>
            <p:spPr bwMode="gray">
              <a:xfrm>
                <a:off x="6736290" y="3920046"/>
                <a:ext cx="236539" cy="1307190"/>
              </a:xfrm>
              <a:custGeom>
                <a:avLst/>
                <a:gdLst>
                  <a:gd name="connsiteX0" fmla="*/ 238550 w 236538"/>
                  <a:gd name="connsiteY0" fmla="*/ 1306491 h 1307189"/>
                  <a:gd name="connsiteX1" fmla="*/ 80131 w 236538"/>
                  <a:gd name="connsiteY1" fmla="*/ 1306491 h 1307189"/>
                  <a:gd name="connsiteX2" fmla="*/ 3194 w 236538"/>
                  <a:gd name="connsiteY2" fmla="*/ 82214 h 1307189"/>
                  <a:gd name="connsiteX3" fmla="*/ 77392 w 236538"/>
                  <a:gd name="connsiteY3" fmla="*/ 3036 h 1307189"/>
                  <a:gd name="connsiteX4" fmla="*/ 77392 w 236538"/>
                  <a:gd name="connsiteY4" fmla="*/ 3036 h 1307189"/>
                  <a:gd name="connsiteX5" fmla="*/ 161550 w 236538"/>
                  <a:gd name="connsiteY5" fmla="*/ 82214 h 1307189"/>
                  <a:gd name="connsiteX6" fmla="*/ 238550 w 236538"/>
                  <a:gd name="connsiteY6" fmla="*/ 1306491 h 1307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538" h="1307189">
                    <a:moveTo>
                      <a:pt x="238550" y="1306491"/>
                    </a:moveTo>
                    <a:lnTo>
                      <a:pt x="80131" y="1306491"/>
                    </a:lnTo>
                    <a:lnTo>
                      <a:pt x="3194" y="82214"/>
                    </a:lnTo>
                    <a:cubicBezTo>
                      <a:pt x="455" y="38454"/>
                      <a:pt x="33695" y="3036"/>
                      <a:pt x="77392" y="3036"/>
                    </a:cubicBezTo>
                    <a:lnTo>
                      <a:pt x="77392" y="3036"/>
                    </a:lnTo>
                    <a:cubicBezTo>
                      <a:pt x="121152" y="3036"/>
                      <a:pt x="158811" y="38517"/>
                      <a:pt x="161550" y="82214"/>
                    </a:cubicBezTo>
                    <a:lnTo>
                      <a:pt x="238550" y="1306491"/>
                    </a:ln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Freeform: Shape 152">
                <a:extLst>
                  <a:ext uri="{FF2B5EF4-FFF2-40B4-BE49-F238E27FC236}">
                    <a16:creationId xmlns:a16="http://schemas.microsoft.com/office/drawing/2014/main" id="{F09F108E-70D5-47FC-84AF-38E279727D37}"/>
                  </a:ext>
                </a:extLst>
              </p:cNvPr>
              <p:cNvSpPr/>
              <p:nvPr/>
            </p:nvSpPr>
            <p:spPr bwMode="gray">
              <a:xfrm>
                <a:off x="6797076" y="5166421"/>
                <a:ext cx="186741" cy="62247"/>
              </a:xfrm>
              <a:custGeom>
                <a:avLst/>
                <a:gdLst>
                  <a:gd name="connsiteX0" fmla="*/ 185046 w 186741"/>
                  <a:gd name="connsiteY0" fmla="*/ 60117 h 62247"/>
                  <a:gd name="connsiteX1" fmla="*/ 6584 w 186741"/>
                  <a:gd name="connsiteY1" fmla="*/ 60117 h 62247"/>
                  <a:gd name="connsiteX2" fmla="*/ 3036 w 186741"/>
                  <a:gd name="connsiteY2" fmla="*/ 3036 h 62247"/>
                  <a:gd name="connsiteX3" fmla="*/ 181436 w 186741"/>
                  <a:gd name="connsiteY3" fmla="*/ 3036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6741" h="62247">
                    <a:moveTo>
                      <a:pt x="185046" y="60117"/>
                    </a:moveTo>
                    <a:lnTo>
                      <a:pt x="6584" y="60117"/>
                    </a:lnTo>
                    <a:lnTo>
                      <a:pt x="3036" y="3036"/>
                    </a:lnTo>
                    <a:lnTo>
                      <a:pt x="181436" y="3036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Freeform: Shape 153">
                <a:extLst>
                  <a:ext uri="{FF2B5EF4-FFF2-40B4-BE49-F238E27FC236}">
                    <a16:creationId xmlns:a16="http://schemas.microsoft.com/office/drawing/2014/main" id="{39419F43-2644-4FBE-9F0C-B169D2CEFCFE}"/>
                  </a:ext>
                </a:extLst>
              </p:cNvPr>
              <p:cNvSpPr/>
              <p:nvPr/>
            </p:nvSpPr>
            <p:spPr bwMode="gray">
              <a:xfrm>
                <a:off x="6395395" y="3716747"/>
                <a:ext cx="497977" cy="410831"/>
              </a:xfrm>
              <a:custGeom>
                <a:avLst/>
                <a:gdLst>
                  <a:gd name="connsiteX0" fmla="*/ 495286 w 497976"/>
                  <a:gd name="connsiteY0" fmla="*/ 207331 h 410831"/>
                  <a:gd name="connsiteX1" fmla="*/ 249161 w 497976"/>
                  <a:gd name="connsiteY1" fmla="*/ 411626 h 410831"/>
                  <a:gd name="connsiteX2" fmla="*/ 3036 w 497976"/>
                  <a:gd name="connsiteY2" fmla="*/ 207331 h 410831"/>
                  <a:gd name="connsiteX3" fmla="*/ 249161 w 497976"/>
                  <a:gd name="connsiteY3" fmla="*/ 3036 h 410831"/>
                  <a:gd name="connsiteX4" fmla="*/ 495286 w 497976"/>
                  <a:gd name="connsiteY4" fmla="*/ 207331 h 4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976" h="410831">
                    <a:moveTo>
                      <a:pt x="495286" y="207331"/>
                    </a:moveTo>
                    <a:cubicBezTo>
                      <a:pt x="495286" y="320160"/>
                      <a:pt x="385092" y="411626"/>
                      <a:pt x="249161" y="411626"/>
                    </a:cubicBezTo>
                    <a:cubicBezTo>
                      <a:pt x="113230" y="411626"/>
                      <a:pt x="3036" y="320160"/>
                      <a:pt x="3036" y="207331"/>
                    </a:cubicBezTo>
                    <a:cubicBezTo>
                      <a:pt x="3036" y="94502"/>
                      <a:pt x="113230" y="3036"/>
                      <a:pt x="249161" y="3036"/>
                    </a:cubicBezTo>
                    <a:cubicBezTo>
                      <a:pt x="385092" y="3036"/>
                      <a:pt x="495286" y="94502"/>
                      <a:pt x="495286" y="207331"/>
                    </a:cubicBezTo>
                    <a:close/>
                  </a:path>
                </a:pathLst>
              </a:custGeom>
              <a:solidFill>
                <a:srgbClr val="5E5E5E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Freeform: Shape 154">
                <a:extLst>
                  <a:ext uri="{FF2B5EF4-FFF2-40B4-BE49-F238E27FC236}">
                    <a16:creationId xmlns:a16="http://schemas.microsoft.com/office/drawing/2014/main" id="{F2F1D6B6-5ABD-4BEF-B27F-B92FF907F3C3}"/>
                  </a:ext>
                </a:extLst>
              </p:cNvPr>
              <p:cNvSpPr/>
              <p:nvPr/>
            </p:nvSpPr>
            <p:spPr bwMode="gray">
              <a:xfrm>
                <a:off x="6401122" y="3838503"/>
                <a:ext cx="485527" cy="62247"/>
              </a:xfrm>
              <a:custGeom>
                <a:avLst/>
                <a:gdLst>
                  <a:gd name="connsiteX0" fmla="*/ 3036 w 485527"/>
                  <a:gd name="connsiteY0" fmla="*/ 3036 h 62247"/>
                  <a:gd name="connsiteX1" fmla="*/ 482712 w 485527"/>
                  <a:gd name="connsiteY1" fmla="*/ 3036 h 62247"/>
                  <a:gd name="connsiteX2" fmla="*/ 482712 w 485527"/>
                  <a:gd name="connsiteY2" fmla="*/ 63914 h 62247"/>
                  <a:gd name="connsiteX3" fmla="*/ 3036 w 485527"/>
                  <a:gd name="connsiteY3" fmla="*/ 63914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5527" h="62247">
                    <a:moveTo>
                      <a:pt x="3036" y="3036"/>
                    </a:moveTo>
                    <a:lnTo>
                      <a:pt x="482712" y="3036"/>
                    </a:lnTo>
                    <a:lnTo>
                      <a:pt x="482712" y="63914"/>
                    </a:lnTo>
                    <a:lnTo>
                      <a:pt x="3036" y="63914"/>
                    </a:lnTo>
                    <a:close/>
                  </a:path>
                </a:pathLst>
              </a:custGeom>
              <a:solidFill>
                <a:srgbClr val="3F3F3F"/>
              </a:solidFill>
              <a:ln w="6194" cap="flat">
                <a:noFill/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1" name="Freeform: Shape 155">
                <a:extLst>
                  <a:ext uri="{FF2B5EF4-FFF2-40B4-BE49-F238E27FC236}">
                    <a16:creationId xmlns:a16="http://schemas.microsoft.com/office/drawing/2014/main" id="{0F5EA800-FF11-4D59-A98B-29FFD5A68268}"/>
                  </a:ext>
                </a:extLst>
              </p:cNvPr>
              <p:cNvSpPr/>
              <p:nvPr/>
            </p:nvSpPr>
            <p:spPr bwMode="gray">
              <a:xfrm>
                <a:off x="6576893" y="3839546"/>
                <a:ext cx="149393" cy="62247"/>
              </a:xfrm>
              <a:custGeom>
                <a:avLst/>
                <a:gdLst>
                  <a:gd name="connsiteX0" fmla="*/ 1992 w 149393"/>
                  <a:gd name="connsiteY0" fmla="*/ 1992 h 62247"/>
                  <a:gd name="connsiteX1" fmla="*/ 147775 w 149393"/>
                  <a:gd name="connsiteY1" fmla="*/ 1992 h 62247"/>
                  <a:gd name="connsiteX2" fmla="*/ 147775 w 149393"/>
                  <a:gd name="connsiteY2" fmla="*/ 62870 h 62247"/>
                  <a:gd name="connsiteX3" fmla="*/ 1992 w 149393"/>
                  <a:gd name="connsiteY3" fmla="*/ 62870 h 6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393" h="62247">
                    <a:moveTo>
                      <a:pt x="1992" y="1992"/>
                    </a:moveTo>
                    <a:lnTo>
                      <a:pt x="147775" y="1992"/>
                    </a:lnTo>
                    <a:lnTo>
                      <a:pt x="147775" y="62870"/>
                    </a:lnTo>
                    <a:lnTo>
                      <a:pt x="1992" y="62870"/>
                    </a:lnTo>
                    <a:close/>
                  </a:path>
                </a:pathLst>
              </a:custGeom>
              <a:solidFill>
                <a:srgbClr val="FFFFFF"/>
              </a:solidFill>
              <a:ln w="4065" cap="flat">
                <a:solidFill>
                  <a:srgbClr val="000000"/>
                </a:solidFill>
                <a:prstDash val="solid"/>
                <a:miter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sp>
          <p:nvSpPr>
            <p:cNvPr id="76" name="Freeform: Shape 100">
              <a:extLst>
                <a:ext uri="{FF2B5EF4-FFF2-40B4-BE49-F238E27FC236}">
                  <a16:creationId xmlns:a16="http://schemas.microsoft.com/office/drawing/2014/main" id="{AD280DA9-182F-44FA-B5B2-D27A4767E5F4}"/>
                </a:ext>
              </a:extLst>
            </p:cNvPr>
            <p:cNvSpPr/>
            <p:nvPr/>
          </p:nvSpPr>
          <p:spPr bwMode="gray">
            <a:xfrm>
              <a:off x="6253371" y="2866556"/>
              <a:ext cx="790539" cy="367258"/>
            </a:xfrm>
            <a:custGeom>
              <a:avLst/>
              <a:gdLst>
                <a:gd name="connsiteX0" fmla="*/ 290793 w 790538"/>
                <a:gd name="connsiteY0" fmla="*/ 33799 h 367258"/>
                <a:gd name="connsiteX1" fmla="*/ 391136 w 790538"/>
                <a:gd name="connsiteY1" fmla="*/ 3298 h 367258"/>
                <a:gd name="connsiteX2" fmla="*/ 471185 w 790538"/>
                <a:gd name="connsiteY2" fmla="*/ 35791 h 367258"/>
                <a:gd name="connsiteX3" fmla="*/ 490109 w 790538"/>
                <a:gd name="connsiteY3" fmla="*/ 45626 h 367258"/>
                <a:gd name="connsiteX4" fmla="*/ 790638 w 790538"/>
                <a:gd name="connsiteY4" fmla="*/ 271023 h 367258"/>
                <a:gd name="connsiteX5" fmla="*/ 725340 w 790538"/>
                <a:gd name="connsiteY5" fmla="*/ 356302 h 367258"/>
                <a:gd name="connsiteX6" fmla="*/ 398792 w 790538"/>
                <a:gd name="connsiteY6" fmla="*/ 362651 h 367258"/>
                <a:gd name="connsiteX7" fmla="*/ 72244 w 790538"/>
                <a:gd name="connsiteY7" fmla="*/ 369000 h 367258"/>
                <a:gd name="connsiteX8" fmla="*/ 3647 w 790538"/>
                <a:gd name="connsiteY8" fmla="*/ 286336 h 367258"/>
                <a:gd name="connsiteX9" fmla="*/ 290793 w 790538"/>
                <a:gd name="connsiteY9" fmla="*/ 33799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38" h="367258">
                  <a:moveTo>
                    <a:pt x="290793" y="33799"/>
                  </a:moveTo>
                  <a:cubicBezTo>
                    <a:pt x="310712" y="20727"/>
                    <a:pt x="384164" y="559"/>
                    <a:pt x="391136" y="3298"/>
                  </a:cubicBezTo>
                  <a:cubicBezTo>
                    <a:pt x="397983" y="310"/>
                    <a:pt x="450768" y="23591"/>
                    <a:pt x="471185" y="35791"/>
                  </a:cubicBezTo>
                  <a:cubicBezTo>
                    <a:pt x="478033" y="39899"/>
                    <a:pt x="482826" y="41642"/>
                    <a:pt x="490109" y="45626"/>
                  </a:cubicBezTo>
                  <a:cubicBezTo>
                    <a:pt x="614043" y="113413"/>
                    <a:pt x="788397" y="160348"/>
                    <a:pt x="790638" y="271023"/>
                  </a:cubicBezTo>
                  <a:cubicBezTo>
                    <a:pt x="790638" y="271023"/>
                    <a:pt x="789766" y="354994"/>
                    <a:pt x="725340" y="356302"/>
                  </a:cubicBezTo>
                  <a:lnTo>
                    <a:pt x="398792" y="362651"/>
                  </a:lnTo>
                  <a:lnTo>
                    <a:pt x="72244" y="369000"/>
                  </a:lnTo>
                  <a:cubicBezTo>
                    <a:pt x="7756" y="370245"/>
                    <a:pt x="3647" y="286336"/>
                    <a:pt x="3647" y="286336"/>
                  </a:cubicBezTo>
                  <a:cubicBezTo>
                    <a:pt x="-11665" y="204543"/>
                    <a:pt x="265397" y="101960"/>
                    <a:pt x="290793" y="33799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7" name="Freeform: Shape 101">
              <a:extLst>
                <a:ext uri="{FF2B5EF4-FFF2-40B4-BE49-F238E27FC236}">
                  <a16:creationId xmlns:a16="http://schemas.microsoft.com/office/drawing/2014/main" id="{05F10152-7507-4A3E-912B-50F77F8B0F0D}"/>
                </a:ext>
              </a:extLst>
            </p:cNvPr>
            <p:cNvSpPr/>
            <p:nvPr/>
          </p:nvSpPr>
          <p:spPr bwMode="gray">
            <a:xfrm>
              <a:off x="6144504" y="3884530"/>
              <a:ext cx="211640" cy="317460"/>
            </a:xfrm>
            <a:custGeom>
              <a:avLst/>
              <a:gdLst>
                <a:gd name="connsiteX0" fmla="*/ 4827 w 211640"/>
                <a:gd name="connsiteY0" fmla="*/ 223478 h 317460"/>
                <a:gd name="connsiteX1" fmla="*/ 9434 w 211640"/>
                <a:gd name="connsiteY1" fmla="*/ 66678 h 317460"/>
                <a:gd name="connsiteX2" fmla="*/ 9496 w 211640"/>
                <a:gd name="connsiteY2" fmla="*/ 61636 h 317460"/>
                <a:gd name="connsiteX3" fmla="*/ 77719 w 211640"/>
                <a:gd name="connsiteY3" fmla="*/ 5676 h 317460"/>
                <a:gd name="connsiteX4" fmla="*/ 123533 w 211640"/>
                <a:gd name="connsiteY4" fmla="*/ 26030 h 317460"/>
                <a:gd name="connsiteX5" fmla="*/ 171463 w 211640"/>
                <a:gd name="connsiteY5" fmla="*/ 103466 h 317460"/>
                <a:gd name="connsiteX6" fmla="*/ 212795 w 211640"/>
                <a:gd name="connsiteY6" fmla="*/ 154757 h 317460"/>
                <a:gd name="connsiteX7" fmla="*/ 164865 w 211640"/>
                <a:gd name="connsiteY7" fmla="*/ 148408 h 317460"/>
                <a:gd name="connsiteX8" fmla="*/ 132434 w 211640"/>
                <a:gd name="connsiteY8" fmla="*/ 120335 h 317460"/>
                <a:gd name="connsiteX9" fmla="*/ 123533 w 211640"/>
                <a:gd name="connsiteY9" fmla="*/ 141686 h 317460"/>
                <a:gd name="connsiteX10" fmla="*/ 129010 w 211640"/>
                <a:gd name="connsiteY10" fmla="*/ 279688 h 317460"/>
                <a:gd name="connsiteX11" fmla="*/ 118304 w 211640"/>
                <a:gd name="connsiteY11" fmla="*/ 301598 h 317460"/>
                <a:gd name="connsiteX12" fmla="*/ 116312 w 211640"/>
                <a:gd name="connsiteY12" fmla="*/ 301785 h 317460"/>
                <a:gd name="connsiteX13" fmla="*/ 101310 w 211640"/>
                <a:gd name="connsiteY13" fmla="*/ 282115 h 317460"/>
                <a:gd name="connsiteX14" fmla="*/ 96082 w 211640"/>
                <a:gd name="connsiteY14" fmla="*/ 241406 h 317460"/>
                <a:gd name="connsiteX15" fmla="*/ 92534 w 211640"/>
                <a:gd name="connsiteY15" fmla="*/ 296494 h 317460"/>
                <a:gd name="connsiteX16" fmla="*/ 79586 w 211640"/>
                <a:gd name="connsiteY16" fmla="*/ 317160 h 317460"/>
                <a:gd name="connsiteX17" fmla="*/ 77594 w 211640"/>
                <a:gd name="connsiteY17" fmla="*/ 317098 h 317460"/>
                <a:gd name="connsiteX18" fmla="*/ 64709 w 211640"/>
                <a:gd name="connsiteY18" fmla="*/ 295934 h 317460"/>
                <a:gd name="connsiteX19" fmla="*/ 63713 w 211640"/>
                <a:gd name="connsiteY19" fmla="*/ 255349 h 317460"/>
                <a:gd name="connsiteX20" fmla="*/ 62842 w 211640"/>
                <a:gd name="connsiteY20" fmla="*/ 262881 h 317460"/>
                <a:gd name="connsiteX21" fmla="*/ 48774 w 211640"/>
                <a:gd name="connsiteY21" fmla="*/ 282862 h 317460"/>
                <a:gd name="connsiteX22" fmla="*/ 46782 w 211640"/>
                <a:gd name="connsiteY22" fmla="*/ 282738 h 317460"/>
                <a:gd name="connsiteX23" fmla="*/ 35079 w 211640"/>
                <a:gd name="connsiteY23" fmla="*/ 260951 h 317460"/>
                <a:gd name="connsiteX24" fmla="*/ 37258 w 211640"/>
                <a:gd name="connsiteY24" fmla="*/ 187375 h 317460"/>
                <a:gd name="connsiteX25" fmla="*/ 32776 w 211640"/>
                <a:gd name="connsiteY25" fmla="*/ 225470 h 317460"/>
                <a:gd name="connsiteX26" fmla="*/ 18708 w 211640"/>
                <a:gd name="connsiteY26" fmla="*/ 245452 h 317460"/>
                <a:gd name="connsiteX27" fmla="*/ 16717 w 211640"/>
                <a:gd name="connsiteY27" fmla="*/ 245327 h 317460"/>
                <a:gd name="connsiteX28" fmla="*/ 4827 w 211640"/>
                <a:gd name="connsiteY28" fmla="*/ 223478 h 31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1640" h="317460">
                  <a:moveTo>
                    <a:pt x="4827" y="223478"/>
                  </a:moveTo>
                  <a:lnTo>
                    <a:pt x="9434" y="66678"/>
                  </a:lnTo>
                  <a:cubicBezTo>
                    <a:pt x="9434" y="66367"/>
                    <a:pt x="9496" y="64561"/>
                    <a:pt x="9496" y="61636"/>
                  </a:cubicBezTo>
                  <a:cubicBezTo>
                    <a:pt x="9683" y="25719"/>
                    <a:pt x="42425" y="-923"/>
                    <a:pt x="77719" y="5676"/>
                  </a:cubicBezTo>
                  <a:cubicBezTo>
                    <a:pt x="97762" y="9410"/>
                    <a:pt x="116250" y="15697"/>
                    <a:pt x="123533" y="26030"/>
                  </a:cubicBezTo>
                  <a:lnTo>
                    <a:pt x="171463" y="103466"/>
                  </a:lnTo>
                  <a:lnTo>
                    <a:pt x="212795" y="154757"/>
                  </a:lnTo>
                  <a:cubicBezTo>
                    <a:pt x="212795" y="154757"/>
                    <a:pt x="206446" y="175361"/>
                    <a:pt x="164865" y="148408"/>
                  </a:cubicBezTo>
                  <a:cubicBezTo>
                    <a:pt x="152042" y="140067"/>
                    <a:pt x="141895" y="125564"/>
                    <a:pt x="132434" y="120335"/>
                  </a:cubicBezTo>
                  <a:cubicBezTo>
                    <a:pt x="129135" y="126871"/>
                    <a:pt x="125836" y="133905"/>
                    <a:pt x="123533" y="141686"/>
                  </a:cubicBezTo>
                  <a:lnTo>
                    <a:pt x="129010" y="279688"/>
                  </a:lnTo>
                  <a:cubicBezTo>
                    <a:pt x="129944" y="290581"/>
                    <a:pt x="129135" y="300665"/>
                    <a:pt x="118304" y="301598"/>
                  </a:cubicBezTo>
                  <a:lnTo>
                    <a:pt x="116312" y="301785"/>
                  </a:lnTo>
                  <a:cubicBezTo>
                    <a:pt x="105419" y="302719"/>
                    <a:pt x="102244" y="292946"/>
                    <a:pt x="101310" y="282115"/>
                  </a:cubicBezTo>
                  <a:lnTo>
                    <a:pt x="96082" y="241406"/>
                  </a:lnTo>
                  <a:lnTo>
                    <a:pt x="92534" y="296494"/>
                  </a:lnTo>
                  <a:cubicBezTo>
                    <a:pt x="92347" y="307450"/>
                    <a:pt x="90479" y="317347"/>
                    <a:pt x="79586" y="317160"/>
                  </a:cubicBezTo>
                  <a:lnTo>
                    <a:pt x="77594" y="317098"/>
                  </a:lnTo>
                  <a:cubicBezTo>
                    <a:pt x="66639" y="316911"/>
                    <a:pt x="64522" y="306889"/>
                    <a:pt x="64709" y="295934"/>
                  </a:cubicBezTo>
                  <a:lnTo>
                    <a:pt x="63713" y="255349"/>
                  </a:lnTo>
                  <a:lnTo>
                    <a:pt x="62842" y="262881"/>
                  </a:lnTo>
                  <a:cubicBezTo>
                    <a:pt x="62032" y="273774"/>
                    <a:pt x="59667" y="283609"/>
                    <a:pt x="48774" y="282862"/>
                  </a:cubicBezTo>
                  <a:lnTo>
                    <a:pt x="46782" y="282738"/>
                  </a:lnTo>
                  <a:cubicBezTo>
                    <a:pt x="35889" y="281928"/>
                    <a:pt x="34270" y="271844"/>
                    <a:pt x="35079" y="260951"/>
                  </a:cubicBezTo>
                  <a:lnTo>
                    <a:pt x="37258" y="187375"/>
                  </a:lnTo>
                  <a:lnTo>
                    <a:pt x="32776" y="225470"/>
                  </a:lnTo>
                  <a:cubicBezTo>
                    <a:pt x="31967" y="236364"/>
                    <a:pt x="29602" y="246199"/>
                    <a:pt x="18708" y="245452"/>
                  </a:cubicBezTo>
                  <a:lnTo>
                    <a:pt x="16717" y="245327"/>
                  </a:lnTo>
                  <a:cubicBezTo>
                    <a:pt x="5637" y="244518"/>
                    <a:pt x="4080" y="234372"/>
                    <a:pt x="4827" y="223478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8" name="Freeform: Shape 102">
              <a:extLst>
                <a:ext uri="{FF2B5EF4-FFF2-40B4-BE49-F238E27FC236}">
                  <a16:creationId xmlns:a16="http://schemas.microsoft.com/office/drawing/2014/main" id="{BFB83896-4D95-4F4D-A037-286798E4AF5A}"/>
                </a:ext>
              </a:extLst>
            </p:cNvPr>
            <p:cNvSpPr/>
            <p:nvPr/>
          </p:nvSpPr>
          <p:spPr bwMode="gray">
            <a:xfrm>
              <a:off x="6158101" y="3846644"/>
              <a:ext cx="105820" cy="105820"/>
            </a:xfrm>
            <a:custGeom>
              <a:avLst/>
              <a:gdLst>
                <a:gd name="connsiteX0" fmla="*/ 4773 w 105820"/>
                <a:gd name="connsiteY0" fmla="*/ 6943 h 105820"/>
                <a:gd name="connsiteX1" fmla="*/ 100356 w 105820"/>
                <a:gd name="connsiteY1" fmla="*/ 4773 h 105820"/>
                <a:gd name="connsiteX2" fmla="*/ 102526 w 105820"/>
                <a:gd name="connsiteY2" fmla="*/ 100356 h 105820"/>
                <a:gd name="connsiteX3" fmla="*/ 6943 w 105820"/>
                <a:gd name="connsiteY3" fmla="*/ 102526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773" y="6943"/>
                  </a:moveTo>
                  <a:lnTo>
                    <a:pt x="100356" y="4773"/>
                  </a:lnTo>
                  <a:lnTo>
                    <a:pt x="102526" y="100356"/>
                  </a:lnTo>
                  <a:lnTo>
                    <a:pt x="6943" y="102526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9" name="Freeform: Shape 103">
              <a:extLst>
                <a:ext uri="{FF2B5EF4-FFF2-40B4-BE49-F238E27FC236}">
                  <a16:creationId xmlns:a16="http://schemas.microsoft.com/office/drawing/2014/main" id="{C437577A-4FC1-4F2F-91E9-8212186AD1E9}"/>
                </a:ext>
              </a:extLst>
            </p:cNvPr>
            <p:cNvSpPr/>
            <p:nvPr/>
          </p:nvSpPr>
          <p:spPr bwMode="gray">
            <a:xfrm>
              <a:off x="6157949" y="3841407"/>
              <a:ext cx="105820" cy="43573"/>
            </a:xfrm>
            <a:custGeom>
              <a:avLst/>
              <a:gdLst>
                <a:gd name="connsiteX0" fmla="*/ 4773 w 105820"/>
                <a:gd name="connsiteY0" fmla="*/ 6943 h 43572"/>
                <a:gd name="connsiteX1" fmla="*/ 100356 w 105820"/>
                <a:gd name="connsiteY1" fmla="*/ 4773 h 43572"/>
                <a:gd name="connsiteX2" fmla="*/ 101103 w 105820"/>
                <a:gd name="connsiteY2" fmla="*/ 37692 h 43572"/>
                <a:gd name="connsiteX3" fmla="*/ 5521 w 105820"/>
                <a:gd name="connsiteY3" fmla="*/ 39862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773" y="6943"/>
                  </a:moveTo>
                  <a:lnTo>
                    <a:pt x="100356" y="4773"/>
                  </a:lnTo>
                  <a:lnTo>
                    <a:pt x="101103" y="37692"/>
                  </a:lnTo>
                  <a:lnTo>
                    <a:pt x="5521" y="3986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0" name="Freeform: Shape 104">
              <a:extLst>
                <a:ext uri="{FF2B5EF4-FFF2-40B4-BE49-F238E27FC236}">
                  <a16:creationId xmlns:a16="http://schemas.microsoft.com/office/drawing/2014/main" id="{905770D3-4678-4998-8906-8CCF9DEC3B33}"/>
                </a:ext>
              </a:extLst>
            </p:cNvPr>
            <p:cNvSpPr/>
            <p:nvPr/>
          </p:nvSpPr>
          <p:spPr bwMode="gray">
            <a:xfrm>
              <a:off x="6120650" y="3063633"/>
              <a:ext cx="286338" cy="802987"/>
            </a:xfrm>
            <a:custGeom>
              <a:avLst/>
              <a:gdLst>
                <a:gd name="connsiteX0" fmla="*/ 33226 w 286336"/>
                <a:gd name="connsiteY0" fmla="*/ 370364 h 802987"/>
                <a:gd name="connsiteX1" fmla="*/ 139482 w 286336"/>
                <a:gd name="connsiteY1" fmla="*/ 50352 h 802987"/>
                <a:gd name="connsiteX2" fmla="*/ 227873 w 286336"/>
                <a:gd name="connsiteY2" fmla="*/ 7090 h 802987"/>
                <a:gd name="connsiteX3" fmla="*/ 235716 w 286336"/>
                <a:gd name="connsiteY3" fmla="*/ 9082 h 802987"/>
                <a:gd name="connsiteX4" fmla="*/ 279476 w 286336"/>
                <a:gd name="connsiteY4" fmla="*/ 40890 h 802987"/>
                <a:gd name="connsiteX5" fmla="*/ 284580 w 286336"/>
                <a:gd name="connsiteY5" fmla="*/ 88323 h 802987"/>
                <a:gd name="connsiteX6" fmla="*/ 181810 w 286336"/>
                <a:gd name="connsiteY6" fmla="*/ 396259 h 802987"/>
                <a:gd name="connsiteX7" fmla="*/ 153176 w 286336"/>
                <a:gd name="connsiteY7" fmla="*/ 613004 h 802987"/>
                <a:gd name="connsiteX8" fmla="*/ 161953 w 286336"/>
                <a:gd name="connsiteY8" fmla="*/ 754803 h 802987"/>
                <a:gd name="connsiteX9" fmla="*/ 118878 w 286336"/>
                <a:gd name="connsiteY9" fmla="*/ 798749 h 802987"/>
                <a:gd name="connsiteX10" fmla="*/ 62109 w 286336"/>
                <a:gd name="connsiteY10" fmla="*/ 800056 h 802987"/>
                <a:gd name="connsiteX11" fmla="*/ 19656 w 286336"/>
                <a:gd name="connsiteY11" fmla="*/ 763829 h 802987"/>
                <a:gd name="connsiteX12" fmla="*/ 6273 w 286336"/>
                <a:gd name="connsiteY12" fmla="*/ 587731 h 802987"/>
                <a:gd name="connsiteX13" fmla="*/ 33226 w 286336"/>
                <a:gd name="connsiteY13" fmla="*/ 370364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6336" h="802987">
                  <a:moveTo>
                    <a:pt x="33226" y="370364"/>
                  </a:moveTo>
                  <a:lnTo>
                    <a:pt x="139482" y="50352"/>
                  </a:lnTo>
                  <a:cubicBezTo>
                    <a:pt x="150624" y="16988"/>
                    <a:pt x="190275" y="-2434"/>
                    <a:pt x="227873" y="7090"/>
                  </a:cubicBezTo>
                  <a:lnTo>
                    <a:pt x="235716" y="9082"/>
                  </a:lnTo>
                  <a:cubicBezTo>
                    <a:pt x="254452" y="13813"/>
                    <a:pt x="270388" y="25453"/>
                    <a:pt x="279476" y="40890"/>
                  </a:cubicBezTo>
                  <a:cubicBezTo>
                    <a:pt x="288066" y="55643"/>
                    <a:pt x="289871" y="72450"/>
                    <a:pt x="284580" y="88323"/>
                  </a:cubicBezTo>
                  <a:lnTo>
                    <a:pt x="181810" y="396259"/>
                  </a:lnTo>
                  <a:cubicBezTo>
                    <a:pt x="158280" y="466785"/>
                    <a:pt x="148632" y="539677"/>
                    <a:pt x="153176" y="613004"/>
                  </a:cubicBezTo>
                  <a:lnTo>
                    <a:pt x="161953" y="754803"/>
                  </a:lnTo>
                  <a:cubicBezTo>
                    <a:pt x="163385" y="778270"/>
                    <a:pt x="143901" y="798189"/>
                    <a:pt x="118878" y="798749"/>
                  </a:cubicBezTo>
                  <a:lnTo>
                    <a:pt x="62109" y="800056"/>
                  </a:lnTo>
                  <a:cubicBezTo>
                    <a:pt x="39949" y="800554"/>
                    <a:pt x="21212" y="784619"/>
                    <a:pt x="19656" y="763829"/>
                  </a:cubicBezTo>
                  <a:lnTo>
                    <a:pt x="6273" y="587731"/>
                  </a:lnTo>
                  <a:cubicBezTo>
                    <a:pt x="671" y="514218"/>
                    <a:pt x="9759" y="441139"/>
                    <a:pt x="33226" y="370364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1" name="Freeform: Shape 105">
              <a:extLst>
                <a:ext uri="{FF2B5EF4-FFF2-40B4-BE49-F238E27FC236}">
                  <a16:creationId xmlns:a16="http://schemas.microsoft.com/office/drawing/2014/main" id="{A31EB317-28C4-43F8-9323-0403BC056454}"/>
                </a:ext>
              </a:extLst>
            </p:cNvPr>
            <p:cNvSpPr/>
            <p:nvPr/>
          </p:nvSpPr>
          <p:spPr bwMode="gray">
            <a:xfrm>
              <a:off x="6416164" y="2474910"/>
              <a:ext cx="80922" cy="224090"/>
            </a:xfrm>
            <a:custGeom>
              <a:avLst/>
              <a:gdLst>
                <a:gd name="connsiteX0" fmla="*/ 82314 w 80921"/>
                <a:gd name="connsiteY0" fmla="*/ 3036 h 224089"/>
                <a:gd name="connsiteX1" fmla="*/ 26291 w 80921"/>
                <a:gd name="connsiteY1" fmla="*/ 180751 h 224089"/>
                <a:gd name="connsiteX2" fmla="*/ 49696 w 80921"/>
                <a:gd name="connsiteY2" fmla="*/ 222581 h 224089"/>
                <a:gd name="connsiteX3" fmla="*/ 82314 w 80921"/>
                <a:gd name="connsiteY3" fmla="*/ 3036 h 22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21" h="224089">
                  <a:moveTo>
                    <a:pt x="82314" y="3036"/>
                  </a:moveTo>
                  <a:cubicBezTo>
                    <a:pt x="82314" y="3036"/>
                    <a:pt x="-48903" y="18162"/>
                    <a:pt x="26291" y="180751"/>
                  </a:cubicBezTo>
                  <a:lnTo>
                    <a:pt x="49696" y="222581"/>
                  </a:lnTo>
                  <a:cubicBezTo>
                    <a:pt x="49634" y="222581"/>
                    <a:pt x="60527" y="85140"/>
                    <a:pt x="82314" y="3036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2" name="Freeform: Shape 106">
              <a:extLst>
                <a:ext uri="{FF2B5EF4-FFF2-40B4-BE49-F238E27FC236}">
                  <a16:creationId xmlns:a16="http://schemas.microsoft.com/office/drawing/2014/main" id="{5ABDF73C-C6DF-4A8D-98EE-41659D6DAA74}"/>
                </a:ext>
              </a:extLst>
            </p:cNvPr>
            <p:cNvSpPr/>
            <p:nvPr/>
          </p:nvSpPr>
          <p:spPr bwMode="gray">
            <a:xfrm>
              <a:off x="6747418" y="2460258"/>
              <a:ext cx="99596" cy="211639"/>
            </a:xfrm>
            <a:custGeom>
              <a:avLst/>
              <a:gdLst>
                <a:gd name="connsiteX0" fmla="*/ 3036 w 99595"/>
                <a:gd name="connsiteY0" fmla="*/ 3060 h 211640"/>
                <a:gd name="connsiteX1" fmla="*/ 86634 w 99595"/>
                <a:gd name="connsiteY1" fmla="*/ 169571 h 211640"/>
                <a:gd name="connsiteX2" fmla="*/ 70200 w 99595"/>
                <a:gd name="connsiteY2" fmla="*/ 214638 h 211640"/>
                <a:gd name="connsiteX3" fmla="*/ 3036 w 99595"/>
                <a:gd name="connsiteY3" fmla="*/ 3060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595" h="211640">
                  <a:moveTo>
                    <a:pt x="3036" y="3060"/>
                  </a:moveTo>
                  <a:cubicBezTo>
                    <a:pt x="3036" y="3060"/>
                    <a:pt x="135000" y="-2853"/>
                    <a:pt x="86634" y="169571"/>
                  </a:cubicBezTo>
                  <a:lnTo>
                    <a:pt x="70200" y="214638"/>
                  </a:lnTo>
                  <a:cubicBezTo>
                    <a:pt x="70200" y="214638"/>
                    <a:pt x="37583" y="80620"/>
                    <a:pt x="3036" y="306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3" name="Freeform: Shape 107">
              <a:extLst>
                <a:ext uri="{FF2B5EF4-FFF2-40B4-BE49-F238E27FC236}">
                  <a16:creationId xmlns:a16="http://schemas.microsoft.com/office/drawing/2014/main" id="{382F9D26-C396-4C02-A741-29A4588993C5}"/>
                </a:ext>
              </a:extLst>
            </p:cNvPr>
            <p:cNvSpPr/>
            <p:nvPr/>
          </p:nvSpPr>
          <p:spPr bwMode="gray">
            <a:xfrm>
              <a:off x="6564723" y="2796727"/>
              <a:ext cx="143168" cy="255213"/>
            </a:xfrm>
            <a:custGeom>
              <a:avLst/>
              <a:gdLst>
                <a:gd name="connsiteX0" fmla="*/ 76550 w 143168"/>
                <a:gd name="connsiteY0" fmla="*/ 252647 h 255213"/>
                <a:gd name="connsiteX1" fmla="*/ 70947 w 143168"/>
                <a:gd name="connsiteY1" fmla="*/ 252647 h 255213"/>
                <a:gd name="connsiteX2" fmla="*/ 3036 w 143168"/>
                <a:gd name="connsiteY2" fmla="*/ 184735 h 255213"/>
                <a:gd name="connsiteX3" fmla="*/ 3036 w 143168"/>
                <a:gd name="connsiteY3" fmla="*/ 70947 h 255213"/>
                <a:gd name="connsiteX4" fmla="*/ 70947 w 143168"/>
                <a:gd name="connsiteY4" fmla="*/ 3036 h 255213"/>
                <a:gd name="connsiteX5" fmla="*/ 76550 w 143168"/>
                <a:gd name="connsiteY5" fmla="*/ 3036 h 255213"/>
                <a:gd name="connsiteX6" fmla="*/ 144461 w 143168"/>
                <a:gd name="connsiteY6" fmla="*/ 70947 h 255213"/>
                <a:gd name="connsiteX7" fmla="*/ 144461 w 143168"/>
                <a:gd name="connsiteY7" fmla="*/ 184735 h 255213"/>
                <a:gd name="connsiteX8" fmla="*/ 76550 w 143168"/>
                <a:gd name="connsiteY8" fmla="*/ 252647 h 25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68" h="255213">
                  <a:moveTo>
                    <a:pt x="76550" y="252647"/>
                  </a:moveTo>
                  <a:lnTo>
                    <a:pt x="70947" y="252647"/>
                  </a:lnTo>
                  <a:cubicBezTo>
                    <a:pt x="33599" y="252647"/>
                    <a:pt x="3036" y="222083"/>
                    <a:pt x="3036" y="184735"/>
                  </a:cubicBezTo>
                  <a:lnTo>
                    <a:pt x="3036" y="70947"/>
                  </a:lnTo>
                  <a:cubicBezTo>
                    <a:pt x="3036" y="33599"/>
                    <a:pt x="33599" y="3036"/>
                    <a:pt x="70947" y="3036"/>
                  </a:cubicBezTo>
                  <a:lnTo>
                    <a:pt x="76550" y="3036"/>
                  </a:lnTo>
                  <a:cubicBezTo>
                    <a:pt x="113898" y="3036"/>
                    <a:pt x="144461" y="33599"/>
                    <a:pt x="144461" y="70947"/>
                  </a:cubicBezTo>
                  <a:lnTo>
                    <a:pt x="144461" y="184735"/>
                  </a:lnTo>
                  <a:cubicBezTo>
                    <a:pt x="144523" y="222083"/>
                    <a:pt x="113960" y="252647"/>
                    <a:pt x="76550" y="252647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4" name="Freeform: Shape 108">
              <a:extLst>
                <a:ext uri="{FF2B5EF4-FFF2-40B4-BE49-F238E27FC236}">
                  <a16:creationId xmlns:a16="http://schemas.microsoft.com/office/drawing/2014/main" id="{0A33C325-BC0A-4867-9AE1-AE419453F314}"/>
                </a:ext>
              </a:extLst>
            </p:cNvPr>
            <p:cNvSpPr/>
            <p:nvPr/>
          </p:nvSpPr>
          <p:spPr bwMode="gray">
            <a:xfrm>
              <a:off x="6467046" y="2424567"/>
              <a:ext cx="336135" cy="466852"/>
            </a:xfrm>
            <a:custGeom>
              <a:avLst/>
              <a:gdLst>
                <a:gd name="connsiteX0" fmla="*/ 177525 w 336134"/>
                <a:gd name="connsiteY0" fmla="*/ 466326 h 466853"/>
                <a:gd name="connsiteX1" fmla="*/ 174537 w 336134"/>
                <a:gd name="connsiteY1" fmla="*/ 466388 h 466853"/>
                <a:gd name="connsiteX2" fmla="*/ 6221 w 336134"/>
                <a:gd name="connsiteY2" fmla="*/ 303426 h 466853"/>
                <a:gd name="connsiteX3" fmla="*/ 3108 w 336134"/>
                <a:gd name="connsiteY3" fmla="*/ 173951 h 466853"/>
                <a:gd name="connsiteX4" fmla="*/ 163457 w 336134"/>
                <a:gd name="connsiteY4" fmla="*/ 3145 h 466853"/>
                <a:gd name="connsiteX5" fmla="*/ 166445 w 336134"/>
                <a:gd name="connsiteY5" fmla="*/ 3083 h 466853"/>
                <a:gd name="connsiteX6" fmla="*/ 334761 w 336134"/>
                <a:gd name="connsiteY6" fmla="*/ 166046 h 466853"/>
                <a:gd name="connsiteX7" fmla="*/ 337873 w 336134"/>
                <a:gd name="connsiteY7" fmla="*/ 295520 h 466853"/>
                <a:gd name="connsiteX8" fmla="*/ 177525 w 336134"/>
                <a:gd name="connsiteY8" fmla="*/ 466326 h 46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134" h="466853">
                  <a:moveTo>
                    <a:pt x="177525" y="466326"/>
                  </a:moveTo>
                  <a:lnTo>
                    <a:pt x="174537" y="466388"/>
                  </a:lnTo>
                  <a:cubicBezTo>
                    <a:pt x="84154" y="468567"/>
                    <a:pt x="8399" y="395240"/>
                    <a:pt x="6221" y="303426"/>
                  </a:cubicBezTo>
                  <a:lnTo>
                    <a:pt x="3108" y="173951"/>
                  </a:lnTo>
                  <a:cubicBezTo>
                    <a:pt x="930" y="82199"/>
                    <a:pt x="47739" y="5137"/>
                    <a:pt x="163457" y="3145"/>
                  </a:cubicBezTo>
                  <a:lnTo>
                    <a:pt x="166445" y="3083"/>
                  </a:lnTo>
                  <a:cubicBezTo>
                    <a:pt x="256827" y="904"/>
                    <a:pt x="332582" y="74232"/>
                    <a:pt x="334761" y="166046"/>
                  </a:cubicBezTo>
                  <a:lnTo>
                    <a:pt x="337873" y="295520"/>
                  </a:lnTo>
                  <a:cubicBezTo>
                    <a:pt x="340052" y="387272"/>
                    <a:pt x="267907" y="464148"/>
                    <a:pt x="177525" y="466326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5" name="Freeform: Shape 109">
              <a:extLst>
                <a:ext uri="{FF2B5EF4-FFF2-40B4-BE49-F238E27FC236}">
                  <a16:creationId xmlns:a16="http://schemas.microsoft.com/office/drawing/2014/main" id="{74697A99-F1DA-4B21-BF36-E01089F3E332}"/>
                </a:ext>
              </a:extLst>
            </p:cNvPr>
            <p:cNvSpPr/>
            <p:nvPr/>
          </p:nvSpPr>
          <p:spPr bwMode="gray">
            <a:xfrm>
              <a:off x="6573803" y="2757259"/>
              <a:ext cx="124494" cy="68472"/>
            </a:xfrm>
            <a:custGeom>
              <a:avLst/>
              <a:gdLst>
                <a:gd name="connsiteX0" fmla="*/ 15182 w 124494"/>
                <a:gd name="connsiteY0" fmla="*/ 5404 h 68471"/>
                <a:gd name="connsiteX1" fmla="*/ 113656 w 124494"/>
                <a:gd name="connsiteY1" fmla="*/ 3039 h 68471"/>
                <a:gd name="connsiteX2" fmla="*/ 125421 w 124494"/>
                <a:gd name="connsiteY2" fmla="*/ 20219 h 68471"/>
                <a:gd name="connsiteX3" fmla="*/ 65851 w 124494"/>
                <a:gd name="connsiteY3" fmla="*/ 65846 h 68471"/>
                <a:gd name="connsiteX4" fmla="*/ 4226 w 124494"/>
                <a:gd name="connsiteY4" fmla="*/ 23144 h 68471"/>
                <a:gd name="connsiteX5" fmla="*/ 15182 w 124494"/>
                <a:gd name="connsiteY5" fmla="*/ 5404 h 6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494" h="68471">
                  <a:moveTo>
                    <a:pt x="15182" y="5404"/>
                  </a:moveTo>
                  <a:lnTo>
                    <a:pt x="113656" y="3039"/>
                  </a:lnTo>
                  <a:cubicBezTo>
                    <a:pt x="122682" y="2852"/>
                    <a:pt x="128845" y="11878"/>
                    <a:pt x="125421" y="20219"/>
                  </a:cubicBezTo>
                  <a:cubicBezTo>
                    <a:pt x="117889" y="38644"/>
                    <a:pt x="101020" y="64975"/>
                    <a:pt x="65851" y="65846"/>
                  </a:cubicBezTo>
                  <a:cubicBezTo>
                    <a:pt x="30681" y="66718"/>
                    <a:pt x="12567" y="41196"/>
                    <a:pt x="4226" y="23144"/>
                  </a:cubicBezTo>
                  <a:cubicBezTo>
                    <a:pt x="429" y="14990"/>
                    <a:pt x="6156" y="5653"/>
                    <a:pt x="15182" y="5404"/>
                  </a:cubicBezTo>
                  <a:close/>
                </a:path>
              </a:pathLst>
            </a:custGeom>
            <a:solidFill>
              <a:srgbClr val="F9F6F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eform: Shape 110">
              <a:extLst>
                <a:ext uri="{FF2B5EF4-FFF2-40B4-BE49-F238E27FC236}">
                  <a16:creationId xmlns:a16="http://schemas.microsoft.com/office/drawing/2014/main" id="{DE4394C3-C904-4AE2-BD41-85E8C9F0293B}"/>
                </a:ext>
              </a:extLst>
            </p:cNvPr>
            <p:cNvSpPr/>
            <p:nvPr/>
          </p:nvSpPr>
          <p:spPr bwMode="gray">
            <a:xfrm>
              <a:off x="6757512" y="2630492"/>
              <a:ext cx="118270" cy="136943"/>
            </a:xfrm>
            <a:custGeom>
              <a:avLst/>
              <a:gdLst>
                <a:gd name="connsiteX0" fmla="*/ 78156 w 118269"/>
                <a:gd name="connsiteY0" fmla="*/ 16982 h 136943"/>
                <a:gd name="connsiteX1" fmla="*/ 100950 w 118269"/>
                <a:gd name="connsiteY1" fmla="*/ 82342 h 136943"/>
                <a:gd name="connsiteX2" fmla="*/ 43803 w 118269"/>
                <a:gd name="connsiteY2" fmla="*/ 121403 h 136943"/>
                <a:gd name="connsiteX3" fmla="*/ 21009 w 118269"/>
                <a:gd name="connsiteY3" fmla="*/ 56043 h 136943"/>
                <a:gd name="connsiteX4" fmla="*/ 78156 w 118269"/>
                <a:gd name="connsiteY4" fmla="*/ 16982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269" h="136943">
                  <a:moveTo>
                    <a:pt x="78156" y="16982"/>
                  </a:moveTo>
                  <a:cubicBezTo>
                    <a:pt x="100231" y="24244"/>
                    <a:pt x="110437" y="53507"/>
                    <a:pt x="100950" y="82342"/>
                  </a:cubicBezTo>
                  <a:cubicBezTo>
                    <a:pt x="91464" y="111177"/>
                    <a:pt x="65879" y="128666"/>
                    <a:pt x="43803" y="121403"/>
                  </a:cubicBezTo>
                  <a:cubicBezTo>
                    <a:pt x="21728" y="114141"/>
                    <a:pt x="11523" y="84878"/>
                    <a:pt x="21009" y="56043"/>
                  </a:cubicBezTo>
                  <a:cubicBezTo>
                    <a:pt x="30495" y="27208"/>
                    <a:pt x="56081" y="9720"/>
                    <a:pt x="78156" y="16982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Freeform: Shape 111">
              <a:extLst>
                <a:ext uri="{FF2B5EF4-FFF2-40B4-BE49-F238E27FC236}">
                  <a16:creationId xmlns:a16="http://schemas.microsoft.com/office/drawing/2014/main" id="{1DED0D7D-6972-4CDF-ABB8-FCE5218BC423}"/>
                </a:ext>
              </a:extLst>
            </p:cNvPr>
            <p:cNvSpPr/>
            <p:nvPr/>
          </p:nvSpPr>
          <p:spPr bwMode="gray">
            <a:xfrm>
              <a:off x="6393117" y="2632570"/>
              <a:ext cx="124494" cy="136943"/>
            </a:xfrm>
            <a:custGeom>
              <a:avLst/>
              <a:gdLst>
                <a:gd name="connsiteX0" fmla="*/ 103006 w 124494"/>
                <a:gd name="connsiteY0" fmla="*/ 54489 h 136943"/>
                <a:gd name="connsiteX1" fmla="*/ 86039 w 124494"/>
                <a:gd name="connsiteY1" fmla="*/ 121598 h 136943"/>
                <a:gd name="connsiteX2" fmla="*/ 25682 w 124494"/>
                <a:gd name="connsiteY2" fmla="*/ 87706 h 136943"/>
                <a:gd name="connsiteX3" fmla="*/ 42650 w 124494"/>
                <a:gd name="connsiteY3" fmla="*/ 20596 h 136943"/>
                <a:gd name="connsiteX4" fmla="*/ 103006 w 124494"/>
                <a:gd name="connsiteY4" fmla="*/ 54489 h 13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36943">
                  <a:moveTo>
                    <a:pt x="103006" y="54489"/>
                  </a:moveTo>
                  <a:cubicBezTo>
                    <a:pt x="114988" y="82380"/>
                    <a:pt x="107391" y="112426"/>
                    <a:pt x="86039" y="121598"/>
                  </a:cubicBezTo>
                  <a:cubicBezTo>
                    <a:pt x="64686" y="130771"/>
                    <a:pt x="37663" y="115597"/>
                    <a:pt x="25682" y="87706"/>
                  </a:cubicBezTo>
                  <a:cubicBezTo>
                    <a:pt x="13700" y="59815"/>
                    <a:pt x="21297" y="29769"/>
                    <a:pt x="42650" y="20596"/>
                  </a:cubicBezTo>
                  <a:cubicBezTo>
                    <a:pt x="64002" y="11423"/>
                    <a:pt x="91025" y="26598"/>
                    <a:pt x="103006" y="54489"/>
                  </a:cubicBezTo>
                  <a:close/>
                </a:path>
              </a:pathLst>
            </a:custGeom>
            <a:solidFill>
              <a:srgbClr val="FFCBA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8" name="Freeform: Shape 112">
              <a:extLst>
                <a:ext uri="{FF2B5EF4-FFF2-40B4-BE49-F238E27FC236}">
                  <a16:creationId xmlns:a16="http://schemas.microsoft.com/office/drawing/2014/main" id="{BBE6E3B4-B7B9-4D77-9760-FBA64278ADE5}"/>
                </a:ext>
              </a:extLst>
            </p:cNvPr>
            <p:cNvSpPr/>
            <p:nvPr/>
          </p:nvSpPr>
          <p:spPr bwMode="gray">
            <a:xfrm>
              <a:off x="6699601" y="2649135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493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9" name="Freeform: Shape 113">
              <a:extLst>
                <a:ext uri="{FF2B5EF4-FFF2-40B4-BE49-F238E27FC236}">
                  <a16:creationId xmlns:a16="http://schemas.microsoft.com/office/drawing/2014/main" id="{57575087-3370-4786-BA35-AB12E58B78CE}"/>
                </a:ext>
              </a:extLst>
            </p:cNvPr>
            <p:cNvSpPr/>
            <p:nvPr/>
          </p:nvSpPr>
          <p:spPr bwMode="gray">
            <a:xfrm>
              <a:off x="6527424" y="2653243"/>
              <a:ext cx="43574" cy="56022"/>
            </a:xfrm>
            <a:custGeom>
              <a:avLst/>
              <a:gdLst>
                <a:gd name="connsiteX0" fmla="*/ 41081 w 43572"/>
                <a:gd name="connsiteY0" fmla="*/ 29246 h 56022"/>
                <a:gd name="connsiteX1" fmla="*/ 22718 w 43572"/>
                <a:gd name="connsiteY1" fmla="*/ 56323 h 56022"/>
                <a:gd name="connsiteX2" fmla="*/ 3048 w 43572"/>
                <a:gd name="connsiteY2" fmla="*/ 30117 h 56022"/>
                <a:gd name="connsiteX3" fmla="*/ 21411 w 43572"/>
                <a:gd name="connsiteY3" fmla="*/ 3040 h 56022"/>
                <a:gd name="connsiteX4" fmla="*/ 41081 w 43572"/>
                <a:gd name="connsiteY4" fmla="*/ 29246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2" h="56022">
                  <a:moveTo>
                    <a:pt x="41081" y="29246"/>
                  </a:moveTo>
                  <a:cubicBezTo>
                    <a:pt x="41454" y="43936"/>
                    <a:pt x="33176" y="56074"/>
                    <a:pt x="22718" y="56323"/>
                  </a:cubicBezTo>
                  <a:cubicBezTo>
                    <a:pt x="12198" y="56572"/>
                    <a:pt x="3421" y="44870"/>
                    <a:pt x="3048" y="30117"/>
                  </a:cubicBezTo>
                  <a:cubicBezTo>
                    <a:pt x="2675" y="15427"/>
                    <a:pt x="10953" y="3289"/>
                    <a:pt x="21411" y="3040"/>
                  </a:cubicBezTo>
                  <a:cubicBezTo>
                    <a:pt x="31931" y="2791"/>
                    <a:pt x="40707" y="14555"/>
                    <a:pt x="41081" y="29246"/>
                  </a:cubicBezTo>
                  <a:close/>
                </a:path>
              </a:pathLst>
            </a:custGeom>
            <a:solidFill>
              <a:srgbClr val="2D2222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0" name="Freeform: Shape 114">
              <a:extLst>
                <a:ext uri="{FF2B5EF4-FFF2-40B4-BE49-F238E27FC236}">
                  <a16:creationId xmlns:a16="http://schemas.microsoft.com/office/drawing/2014/main" id="{379F8884-0375-4978-8C7D-22669B726BB1}"/>
                </a:ext>
              </a:extLst>
            </p:cNvPr>
            <p:cNvSpPr/>
            <p:nvPr/>
          </p:nvSpPr>
          <p:spPr bwMode="gray">
            <a:xfrm>
              <a:off x="6497371" y="2595296"/>
              <a:ext cx="80922" cy="31124"/>
            </a:xfrm>
            <a:custGeom>
              <a:avLst/>
              <a:gdLst>
                <a:gd name="connsiteX0" fmla="*/ 5588 w 80921"/>
                <a:gd name="connsiteY0" fmla="*/ 32914 h 31123"/>
                <a:gd name="connsiteX1" fmla="*/ 78915 w 80921"/>
                <a:gd name="connsiteY1" fmla="*/ 29615 h 31123"/>
                <a:gd name="connsiteX2" fmla="*/ 78853 w 80921"/>
                <a:gd name="connsiteY2" fmla="*/ 6334 h 31123"/>
                <a:gd name="connsiteX3" fmla="*/ 3036 w 80921"/>
                <a:gd name="connsiteY3" fmla="*/ 10007 h 31123"/>
                <a:gd name="connsiteX4" fmla="*/ 5588 w 80921"/>
                <a:gd name="connsiteY4" fmla="*/ 32914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5588" y="32914"/>
                  </a:moveTo>
                  <a:cubicBezTo>
                    <a:pt x="30923" y="26813"/>
                    <a:pt x="53767" y="25693"/>
                    <a:pt x="78915" y="29615"/>
                  </a:cubicBezTo>
                  <a:lnTo>
                    <a:pt x="78853" y="6334"/>
                  </a:lnTo>
                  <a:cubicBezTo>
                    <a:pt x="53020" y="981"/>
                    <a:pt x="27748" y="2101"/>
                    <a:pt x="3036" y="10007"/>
                  </a:cubicBezTo>
                  <a:lnTo>
                    <a:pt x="5588" y="32914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1" name="Freeform: Shape 115">
              <a:extLst>
                <a:ext uri="{FF2B5EF4-FFF2-40B4-BE49-F238E27FC236}">
                  <a16:creationId xmlns:a16="http://schemas.microsoft.com/office/drawing/2014/main" id="{1027FC50-DA3A-412B-9438-3F4F689AA382}"/>
                </a:ext>
              </a:extLst>
            </p:cNvPr>
            <p:cNvSpPr/>
            <p:nvPr/>
          </p:nvSpPr>
          <p:spPr bwMode="gray">
            <a:xfrm>
              <a:off x="6678697" y="2591179"/>
              <a:ext cx="80922" cy="31124"/>
            </a:xfrm>
            <a:custGeom>
              <a:avLst/>
              <a:gdLst>
                <a:gd name="connsiteX0" fmla="*/ 4468 w 80921"/>
                <a:gd name="connsiteY0" fmla="*/ 31117 h 31123"/>
                <a:gd name="connsiteX1" fmla="*/ 78168 w 80921"/>
                <a:gd name="connsiteY1" fmla="*/ 31242 h 31123"/>
                <a:gd name="connsiteX2" fmla="*/ 79226 w 80921"/>
                <a:gd name="connsiteY2" fmla="*/ 7961 h 31123"/>
                <a:gd name="connsiteX3" fmla="*/ 3036 w 80921"/>
                <a:gd name="connsiteY3" fmla="*/ 8148 h 31123"/>
                <a:gd name="connsiteX4" fmla="*/ 4468 w 80921"/>
                <a:gd name="connsiteY4" fmla="*/ 31117 h 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21" h="31123">
                  <a:moveTo>
                    <a:pt x="4468" y="31117"/>
                  </a:moveTo>
                  <a:cubicBezTo>
                    <a:pt x="30176" y="26200"/>
                    <a:pt x="53145" y="26138"/>
                    <a:pt x="78168" y="31242"/>
                  </a:cubicBezTo>
                  <a:lnTo>
                    <a:pt x="79226" y="7961"/>
                  </a:lnTo>
                  <a:cubicBezTo>
                    <a:pt x="53580" y="1363"/>
                    <a:pt x="28184" y="1363"/>
                    <a:pt x="3036" y="8148"/>
                  </a:cubicBezTo>
                  <a:lnTo>
                    <a:pt x="4468" y="31117"/>
                  </a:ln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2" name="Freeform: Shape 116">
              <a:extLst>
                <a:ext uri="{FF2B5EF4-FFF2-40B4-BE49-F238E27FC236}">
                  <a16:creationId xmlns:a16="http://schemas.microsoft.com/office/drawing/2014/main" id="{34B82332-0C0B-42BC-80F0-1AD8D5A792F5}"/>
                </a:ext>
              </a:extLst>
            </p:cNvPr>
            <p:cNvSpPr/>
            <p:nvPr/>
          </p:nvSpPr>
          <p:spPr bwMode="gray">
            <a:xfrm>
              <a:off x="6774682" y="2503543"/>
              <a:ext cx="49798" cy="211639"/>
            </a:xfrm>
            <a:custGeom>
              <a:avLst/>
              <a:gdLst>
                <a:gd name="connsiteX0" fmla="*/ 36400 w 49797"/>
                <a:gd name="connsiteY0" fmla="*/ 206957 h 211640"/>
                <a:gd name="connsiteX1" fmla="*/ 47169 w 49797"/>
                <a:gd name="connsiteY1" fmla="*/ 88128 h 211640"/>
                <a:gd name="connsiteX2" fmla="*/ 3036 w 49797"/>
                <a:gd name="connsiteY2" fmla="*/ 3036 h 211640"/>
                <a:gd name="connsiteX3" fmla="*/ 19843 w 49797"/>
                <a:gd name="connsiteY3" fmla="*/ 204468 h 211640"/>
                <a:gd name="connsiteX4" fmla="*/ 36400 w 49797"/>
                <a:gd name="connsiteY4" fmla="*/ 206957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97" h="211640">
                  <a:moveTo>
                    <a:pt x="36400" y="206957"/>
                  </a:moveTo>
                  <a:lnTo>
                    <a:pt x="47169" y="88128"/>
                  </a:lnTo>
                  <a:lnTo>
                    <a:pt x="3036" y="3036"/>
                  </a:lnTo>
                  <a:lnTo>
                    <a:pt x="19843" y="204468"/>
                  </a:lnTo>
                  <a:cubicBezTo>
                    <a:pt x="20029" y="213307"/>
                    <a:pt x="33537" y="215299"/>
                    <a:pt x="36400" y="206957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3" name="Freeform: Shape 117">
              <a:extLst>
                <a:ext uri="{FF2B5EF4-FFF2-40B4-BE49-F238E27FC236}">
                  <a16:creationId xmlns:a16="http://schemas.microsoft.com/office/drawing/2014/main" id="{802DC8D6-2911-4389-BC74-5EBCBFB8FE01}"/>
                </a:ext>
              </a:extLst>
            </p:cNvPr>
            <p:cNvSpPr/>
            <p:nvPr/>
          </p:nvSpPr>
          <p:spPr bwMode="gray">
            <a:xfrm>
              <a:off x="6446889" y="2490658"/>
              <a:ext cx="37348" cy="236539"/>
            </a:xfrm>
            <a:custGeom>
              <a:avLst/>
              <a:gdLst>
                <a:gd name="connsiteX0" fmla="*/ 23577 w 37348"/>
                <a:gd name="connsiteY0" fmla="*/ 233412 h 236539"/>
                <a:gd name="connsiteX1" fmla="*/ 3036 w 37348"/>
                <a:gd name="connsiteY1" fmla="*/ 115890 h 236539"/>
                <a:gd name="connsiteX2" fmla="*/ 39948 w 37348"/>
                <a:gd name="connsiteY2" fmla="*/ 3036 h 236539"/>
                <a:gd name="connsiteX3" fmla="*/ 39824 w 37348"/>
                <a:gd name="connsiteY3" fmla="*/ 229615 h 236539"/>
                <a:gd name="connsiteX4" fmla="*/ 23577 w 37348"/>
                <a:gd name="connsiteY4" fmla="*/ 233412 h 2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48" h="236539">
                  <a:moveTo>
                    <a:pt x="23577" y="233412"/>
                  </a:moveTo>
                  <a:lnTo>
                    <a:pt x="3036" y="115890"/>
                  </a:lnTo>
                  <a:lnTo>
                    <a:pt x="39948" y="3036"/>
                  </a:lnTo>
                  <a:lnTo>
                    <a:pt x="39824" y="229615"/>
                  </a:lnTo>
                  <a:cubicBezTo>
                    <a:pt x="40384" y="238392"/>
                    <a:pt x="27063" y="241505"/>
                    <a:pt x="23577" y="233412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4" name="Freeform: Shape 118">
              <a:extLst>
                <a:ext uri="{FF2B5EF4-FFF2-40B4-BE49-F238E27FC236}">
                  <a16:creationId xmlns:a16="http://schemas.microsoft.com/office/drawing/2014/main" id="{F1919811-08A3-4838-B3FC-4607F3CBC748}"/>
                </a:ext>
              </a:extLst>
            </p:cNvPr>
            <p:cNvSpPr/>
            <p:nvPr/>
          </p:nvSpPr>
          <p:spPr bwMode="gray">
            <a:xfrm>
              <a:off x="6446896" y="2384202"/>
              <a:ext cx="354808" cy="143168"/>
            </a:xfrm>
            <a:custGeom>
              <a:avLst/>
              <a:gdLst>
                <a:gd name="connsiteX0" fmla="*/ 3278 w 354808"/>
                <a:gd name="connsiteY0" fmla="*/ 144414 h 143168"/>
                <a:gd name="connsiteX1" fmla="*/ 352671 w 354808"/>
                <a:gd name="connsiteY1" fmla="*/ 143542 h 143168"/>
                <a:gd name="connsiteX2" fmla="*/ 177943 w 354808"/>
                <a:gd name="connsiteY2" fmla="*/ 3611 h 143168"/>
                <a:gd name="connsiteX3" fmla="*/ 3278 w 354808"/>
                <a:gd name="connsiteY3" fmla="*/ 144414 h 14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4808" h="143168">
                  <a:moveTo>
                    <a:pt x="3278" y="144414"/>
                  </a:moveTo>
                  <a:cubicBezTo>
                    <a:pt x="3278" y="144414"/>
                    <a:pt x="223384" y="102708"/>
                    <a:pt x="352671" y="143542"/>
                  </a:cubicBezTo>
                  <a:cubicBezTo>
                    <a:pt x="352671" y="143542"/>
                    <a:pt x="366801" y="-7407"/>
                    <a:pt x="177943" y="3611"/>
                  </a:cubicBezTo>
                  <a:cubicBezTo>
                    <a:pt x="-10914" y="14629"/>
                    <a:pt x="3278" y="144414"/>
                    <a:pt x="3278" y="144414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5" name="Freeform: Shape 119">
              <a:extLst>
                <a:ext uri="{FF2B5EF4-FFF2-40B4-BE49-F238E27FC236}">
                  <a16:creationId xmlns:a16="http://schemas.microsoft.com/office/drawing/2014/main" id="{1C95D9BA-4060-4F06-B8F3-196A153381E0}"/>
                </a:ext>
              </a:extLst>
            </p:cNvPr>
            <p:cNvSpPr/>
            <p:nvPr/>
          </p:nvSpPr>
          <p:spPr bwMode="gray">
            <a:xfrm>
              <a:off x="6468363" y="249756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02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6" name="Freeform: Shape 120">
              <a:extLst>
                <a:ext uri="{FF2B5EF4-FFF2-40B4-BE49-F238E27FC236}">
                  <a16:creationId xmlns:a16="http://schemas.microsoft.com/office/drawing/2014/main" id="{551C5C3F-237C-4DFE-93D1-E813BF779DC3}"/>
                </a:ext>
              </a:extLst>
            </p:cNvPr>
            <p:cNvSpPr/>
            <p:nvPr/>
          </p:nvSpPr>
          <p:spPr bwMode="gray">
            <a:xfrm>
              <a:off x="6519158" y="2490722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7" name="Freeform: Shape 121">
              <a:extLst>
                <a:ext uri="{FF2B5EF4-FFF2-40B4-BE49-F238E27FC236}">
                  <a16:creationId xmlns:a16="http://schemas.microsoft.com/office/drawing/2014/main" id="{BD21FF9F-7DA2-4B3C-B2F8-6FD033DB8739}"/>
                </a:ext>
              </a:extLst>
            </p:cNvPr>
            <p:cNvSpPr/>
            <p:nvPr/>
          </p:nvSpPr>
          <p:spPr bwMode="gray">
            <a:xfrm>
              <a:off x="6564723" y="2485308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8" name="Freeform: Shape 122">
              <a:extLst>
                <a:ext uri="{FF2B5EF4-FFF2-40B4-BE49-F238E27FC236}">
                  <a16:creationId xmlns:a16="http://schemas.microsoft.com/office/drawing/2014/main" id="{EC6E1A89-292D-430C-AF96-9940AF7DE160}"/>
                </a:ext>
              </a:extLst>
            </p:cNvPr>
            <p:cNvSpPr/>
            <p:nvPr/>
          </p:nvSpPr>
          <p:spPr bwMode="gray">
            <a:xfrm>
              <a:off x="6619936" y="2485309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9" name="Freeform: Shape 123">
              <a:extLst>
                <a:ext uri="{FF2B5EF4-FFF2-40B4-BE49-F238E27FC236}">
                  <a16:creationId xmlns:a16="http://schemas.microsoft.com/office/drawing/2014/main" id="{08C45866-60DC-49B3-83BA-29197309E96E}"/>
                </a:ext>
              </a:extLst>
            </p:cNvPr>
            <p:cNvSpPr/>
            <p:nvPr/>
          </p:nvSpPr>
          <p:spPr bwMode="gray">
            <a:xfrm>
              <a:off x="6663882" y="2485310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0" name="Freeform: Shape 124">
              <a:extLst>
                <a:ext uri="{FF2B5EF4-FFF2-40B4-BE49-F238E27FC236}">
                  <a16:creationId xmlns:a16="http://schemas.microsoft.com/office/drawing/2014/main" id="{F885EAB1-F596-4E44-83E2-53AE2E4F5C95}"/>
                </a:ext>
              </a:extLst>
            </p:cNvPr>
            <p:cNvSpPr/>
            <p:nvPr/>
          </p:nvSpPr>
          <p:spPr bwMode="gray">
            <a:xfrm>
              <a:off x="6706833" y="2485311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58"/>
                    <a:pt x="45358" y="57564"/>
                    <a:pt x="30300" y="57564"/>
                  </a:cubicBezTo>
                  <a:cubicBezTo>
                    <a:pt x="15242" y="57564"/>
                    <a:pt x="3036" y="45358"/>
                    <a:pt x="3036" y="30300"/>
                  </a:cubicBezTo>
                  <a:cubicBezTo>
                    <a:pt x="3036" y="15242"/>
                    <a:pt x="15242" y="3036"/>
                    <a:pt x="30300" y="3036"/>
                  </a:cubicBezTo>
                  <a:cubicBezTo>
                    <a:pt x="45358" y="3036"/>
                    <a:pt x="57564" y="15242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1" name="Freeform: Shape 125">
              <a:extLst>
                <a:ext uri="{FF2B5EF4-FFF2-40B4-BE49-F238E27FC236}">
                  <a16:creationId xmlns:a16="http://schemas.microsoft.com/office/drawing/2014/main" id="{756D797E-2BE8-41C2-9BE8-8E59284FF9AA}"/>
                </a:ext>
              </a:extLst>
            </p:cNvPr>
            <p:cNvSpPr/>
            <p:nvPr/>
          </p:nvSpPr>
          <p:spPr bwMode="gray">
            <a:xfrm>
              <a:off x="6747418" y="2494273"/>
              <a:ext cx="56022" cy="56022"/>
            </a:xfrm>
            <a:custGeom>
              <a:avLst/>
              <a:gdLst>
                <a:gd name="connsiteX0" fmla="*/ 57564 w 56022"/>
                <a:gd name="connsiteY0" fmla="*/ 30300 h 56022"/>
                <a:gd name="connsiteX1" fmla="*/ 30300 w 56022"/>
                <a:gd name="connsiteY1" fmla="*/ 57564 h 56022"/>
                <a:gd name="connsiteX2" fmla="*/ 3036 w 56022"/>
                <a:gd name="connsiteY2" fmla="*/ 30300 h 56022"/>
                <a:gd name="connsiteX3" fmla="*/ 30300 w 56022"/>
                <a:gd name="connsiteY3" fmla="*/ 3036 h 56022"/>
                <a:gd name="connsiteX4" fmla="*/ 57564 w 56022"/>
                <a:gd name="connsiteY4" fmla="*/ 30300 h 5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22" h="56022">
                  <a:moveTo>
                    <a:pt x="57564" y="30300"/>
                  </a:moveTo>
                  <a:cubicBezTo>
                    <a:pt x="57564" y="45364"/>
                    <a:pt x="45364" y="57564"/>
                    <a:pt x="30300" y="57564"/>
                  </a:cubicBezTo>
                  <a:cubicBezTo>
                    <a:pt x="15236" y="57564"/>
                    <a:pt x="3036" y="45364"/>
                    <a:pt x="3036" y="30300"/>
                  </a:cubicBezTo>
                  <a:cubicBezTo>
                    <a:pt x="3036" y="15236"/>
                    <a:pt x="15236" y="3036"/>
                    <a:pt x="30300" y="3036"/>
                  </a:cubicBezTo>
                  <a:cubicBezTo>
                    <a:pt x="45364" y="3036"/>
                    <a:pt x="57564" y="15236"/>
                    <a:pt x="57564" y="30300"/>
                  </a:cubicBezTo>
                  <a:close/>
                </a:path>
              </a:pathLst>
            </a:custGeom>
            <a:solidFill>
              <a:srgbClr val="7D2E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2" name="Freeform: Shape 126">
              <a:extLst>
                <a:ext uri="{FF2B5EF4-FFF2-40B4-BE49-F238E27FC236}">
                  <a16:creationId xmlns:a16="http://schemas.microsoft.com/office/drawing/2014/main" id="{9C3B251D-893F-46B3-821F-E6DC41F4272D}"/>
                </a:ext>
              </a:extLst>
            </p:cNvPr>
            <p:cNvSpPr/>
            <p:nvPr/>
          </p:nvSpPr>
          <p:spPr bwMode="gray">
            <a:xfrm>
              <a:off x="6253925" y="2928385"/>
              <a:ext cx="784317" cy="921256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4313" h="921257">
                  <a:moveTo>
                    <a:pt x="781872" y="190586"/>
                  </a:moveTo>
                  <a:cubicBezTo>
                    <a:pt x="775087" y="81218"/>
                    <a:pt x="524604" y="3036"/>
                    <a:pt x="524604" y="3036"/>
                  </a:cubicBezTo>
                  <a:cubicBezTo>
                    <a:pt x="540726" y="135373"/>
                    <a:pt x="424138" y="255074"/>
                    <a:pt x="390026" y="287007"/>
                  </a:cubicBezTo>
                  <a:cubicBezTo>
                    <a:pt x="390026" y="286758"/>
                    <a:pt x="389964" y="286634"/>
                    <a:pt x="389964" y="286634"/>
                  </a:cubicBezTo>
                  <a:cubicBezTo>
                    <a:pt x="389964" y="286634"/>
                    <a:pt x="228806" y="157782"/>
                    <a:pt x="247605" y="3036"/>
                  </a:cubicBezTo>
                  <a:cubicBezTo>
                    <a:pt x="247605" y="3036"/>
                    <a:pt x="9759" y="101884"/>
                    <a:pt x="3036" y="211252"/>
                  </a:cubicBezTo>
                  <a:lnTo>
                    <a:pt x="86073" y="443808"/>
                  </a:lnTo>
                  <a:lnTo>
                    <a:pt x="133941" y="645302"/>
                  </a:lnTo>
                  <a:lnTo>
                    <a:pt x="150126" y="913027"/>
                  </a:lnTo>
                  <a:lnTo>
                    <a:pt x="642749" y="922364"/>
                  </a:lnTo>
                  <a:lnTo>
                    <a:pt x="638205" y="645302"/>
                  </a:lnTo>
                  <a:lnTo>
                    <a:pt x="686073" y="443808"/>
                  </a:lnTo>
                  <a:lnTo>
                    <a:pt x="781872" y="190586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3" name="Freeform: Shape 127">
              <a:extLst>
                <a:ext uri="{FF2B5EF4-FFF2-40B4-BE49-F238E27FC236}">
                  <a16:creationId xmlns:a16="http://schemas.microsoft.com/office/drawing/2014/main" id="{6028A9B6-9360-4CD1-B126-D8641D0EE1A8}"/>
                </a:ext>
              </a:extLst>
            </p:cNvPr>
            <p:cNvSpPr/>
            <p:nvPr/>
          </p:nvSpPr>
          <p:spPr bwMode="gray">
            <a:xfrm>
              <a:off x="6742518" y="3698393"/>
              <a:ext cx="522878" cy="367258"/>
            </a:xfrm>
            <a:custGeom>
              <a:avLst/>
              <a:gdLst>
                <a:gd name="connsiteX0" fmla="*/ 523659 w 522875"/>
                <a:gd name="connsiteY0" fmla="*/ 69131 h 367258"/>
                <a:gd name="connsiteX1" fmla="*/ 513202 w 522875"/>
                <a:gd name="connsiteY1" fmla="*/ 324593 h 367258"/>
                <a:gd name="connsiteX2" fmla="*/ 465894 w 522875"/>
                <a:gd name="connsiteY2" fmla="*/ 368166 h 367258"/>
                <a:gd name="connsiteX3" fmla="*/ 48278 w 522875"/>
                <a:gd name="connsiteY3" fmla="*/ 351048 h 367258"/>
                <a:gd name="connsiteX4" fmla="*/ 4705 w 522875"/>
                <a:gd name="connsiteY4" fmla="*/ 303740 h 367258"/>
                <a:gd name="connsiteX5" fmla="*/ 15163 w 522875"/>
                <a:gd name="connsiteY5" fmla="*/ 48278 h 367258"/>
                <a:gd name="connsiteX6" fmla="*/ 62470 w 522875"/>
                <a:gd name="connsiteY6" fmla="*/ 4705 h 367258"/>
                <a:gd name="connsiteX7" fmla="*/ 480086 w 522875"/>
                <a:gd name="connsiteY7" fmla="*/ 21823 h 367258"/>
                <a:gd name="connsiteX8" fmla="*/ 523659 w 522875"/>
                <a:gd name="connsiteY8" fmla="*/ 69131 h 36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875" h="367258">
                  <a:moveTo>
                    <a:pt x="523659" y="69131"/>
                  </a:moveTo>
                  <a:lnTo>
                    <a:pt x="513202" y="324593"/>
                  </a:lnTo>
                  <a:cubicBezTo>
                    <a:pt x="512143" y="349679"/>
                    <a:pt x="490979" y="369162"/>
                    <a:pt x="465894" y="368166"/>
                  </a:cubicBezTo>
                  <a:lnTo>
                    <a:pt x="48278" y="351048"/>
                  </a:lnTo>
                  <a:cubicBezTo>
                    <a:pt x="23192" y="349990"/>
                    <a:pt x="3709" y="328826"/>
                    <a:pt x="4705" y="303740"/>
                  </a:cubicBezTo>
                  <a:lnTo>
                    <a:pt x="15163" y="48278"/>
                  </a:lnTo>
                  <a:cubicBezTo>
                    <a:pt x="16221" y="23192"/>
                    <a:pt x="37385" y="3709"/>
                    <a:pt x="62470" y="4705"/>
                  </a:cubicBezTo>
                  <a:lnTo>
                    <a:pt x="480086" y="21823"/>
                  </a:lnTo>
                  <a:cubicBezTo>
                    <a:pt x="505234" y="22881"/>
                    <a:pt x="524717" y="44045"/>
                    <a:pt x="523659" y="69131"/>
                  </a:cubicBezTo>
                  <a:close/>
                </a:path>
              </a:pathLst>
            </a:custGeom>
            <a:solidFill>
              <a:srgbClr val="B5B2AE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4" name="Freeform: Shape 128">
              <a:extLst>
                <a:ext uri="{FF2B5EF4-FFF2-40B4-BE49-F238E27FC236}">
                  <a16:creationId xmlns:a16="http://schemas.microsoft.com/office/drawing/2014/main" id="{BF0E31BF-FB33-44DD-BFEB-25AFA491FE75}"/>
                </a:ext>
              </a:extLst>
            </p:cNvPr>
            <p:cNvSpPr/>
            <p:nvPr/>
          </p:nvSpPr>
          <p:spPr bwMode="gray">
            <a:xfrm>
              <a:off x="7004984" y="3822336"/>
              <a:ext cx="105820" cy="105820"/>
            </a:xfrm>
            <a:custGeom>
              <a:avLst/>
              <a:gdLst>
                <a:gd name="connsiteX0" fmla="*/ 4896 w 105820"/>
                <a:gd name="connsiteY0" fmla="*/ 100393 h 105820"/>
                <a:gd name="connsiteX1" fmla="*/ 9677 w 105820"/>
                <a:gd name="connsiteY1" fmla="*/ 4896 h 105820"/>
                <a:gd name="connsiteX2" fmla="*/ 105174 w 105820"/>
                <a:gd name="connsiteY2" fmla="*/ 9677 h 105820"/>
                <a:gd name="connsiteX3" fmla="*/ 100393 w 105820"/>
                <a:gd name="connsiteY3" fmla="*/ 105174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105820">
                  <a:moveTo>
                    <a:pt x="4896" y="100393"/>
                  </a:moveTo>
                  <a:lnTo>
                    <a:pt x="9677" y="4896"/>
                  </a:lnTo>
                  <a:lnTo>
                    <a:pt x="105174" y="9677"/>
                  </a:lnTo>
                  <a:lnTo>
                    <a:pt x="100393" y="105174"/>
                  </a:ln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5" name="Freeform: Shape 129">
              <a:extLst>
                <a:ext uri="{FF2B5EF4-FFF2-40B4-BE49-F238E27FC236}">
                  <a16:creationId xmlns:a16="http://schemas.microsoft.com/office/drawing/2014/main" id="{3C968520-73A3-4320-8E3A-AAFC320B85E8}"/>
                </a:ext>
              </a:extLst>
            </p:cNvPr>
            <p:cNvSpPr/>
            <p:nvPr/>
          </p:nvSpPr>
          <p:spPr bwMode="gray">
            <a:xfrm>
              <a:off x="6879798" y="3037734"/>
              <a:ext cx="273888" cy="802987"/>
            </a:xfrm>
            <a:custGeom>
              <a:avLst/>
              <a:gdLst>
                <a:gd name="connsiteX0" fmla="*/ 250746 w 273887"/>
                <a:gd name="connsiteY0" fmla="*/ 375043 h 802987"/>
                <a:gd name="connsiteX1" fmla="*/ 153267 w 273887"/>
                <a:gd name="connsiteY1" fmla="*/ 52230 h 802987"/>
                <a:gd name="connsiteX2" fmla="*/ 66058 w 273887"/>
                <a:gd name="connsiteY2" fmla="*/ 6602 h 802987"/>
                <a:gd name="connsiteX3" fmla="*/ 58153 w 273887"/>
                <a:gd name="connsiteY3" fmla="*/ 8345 h 802987"/>
                <a:gd name="connsiteX4" fmla="*/ 13584 w 273887"/>
                <a:gd name="connsiteY4" fmla="*/ 38971 h 802987"/>
                <a:gd name="connsiteX5" fmla="*/ 7173 w 273887"/>
                <a:gd name="connsiteY5" fmla="*/ 86279 h 802987"/>
                <a:gd name="connsiteX6" fmla="*/ 101539 w 273887"/>
                <a:gd name="connsiteY6" fmla="*/ 396892 h 802987"/>
                <a:gd name="connsiteX7" fmla="*/ 124259 w 273887"/>
                <a:gd name="connsiteY7" fmla="*/ 614321 h 802987"/>
                <a:gd name="connsiteX8" fmla="*/ 111623 w 273887"/>
                <a:gd name="connsiteY8" fmla="*/ 755809 h 802987"/>
                <a:gd name="connsiteX9" fmla="*/ 153453 w 273887"/>
                <a:gd name="connsiteY9" fmla="*/ 800876 h 802987"/>
                <a:gd name="connsiteX10" fmla="*/ 210223 w 273887"/>
                <a:gd name="connsiteY10" fmla="*/ 803739 h 802987"/>
                <a:gd name="connsiteX11" fmla="*/ 253671 w 273887"/>
                <a:gd name="connsiteY11" fmla="*/ 768632 h 802987"/>
                <a:gd name="connsiteX12" fmla="*/ 271847 w 273887"/>
                <a:gd name="connsiteY12" fmla="*/ 592908 h 802987"/>
                <a:gd name="connsiteX13" fmla="*/ 250746 w 273887"/>
                <a:gd name="connsiteY13" fmla="*/ 375043 h 80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3887" h="802987">
                  <a:moveTo>
                    <a:pt x="250746" y="375043"/>
                  </a:moveTo>
                  <a:lnTo>
                    <a:pt x="153267" y="52230"/>
                  </a:lnTo>
                  <a:cubicBezTo>
                    <a:pt x="143058" y="18554"/>
                    <a:pt x="103905" y="-1925"/>
                    <a:pt x="66058" y="6602"/>
                  </a:cubicBezTo>
                  <a:lnTo>
                    <a:pt x="58153" y="8345"/>
                  </a:lnTo>
                  <a:cubicBezTo>
                    <a:pt x="39292" y="12578"/>
                    <a:pt x="23046" y="23720"/>
                    <a:pt x="13584" y="38971"/>
                  </a:cubicBezTo>
                  <a:cubicBezTo>
                    <a:pt x="4558" y="53474"/>
                    <a:pt x="2317" y="70281"/>
                    <a:pt x="7173" y="86279"/>
                  </a:cubicBezTo>
                  <a:lnTo>
                    <a:pt x="101539" y="396892"/>
                  </a:lnTo>
                  <a:cubicBezTo>
                    <a:pt x="123139" y="468040"/>
                    <a:pt x="130795" y="541181"/>
                    <a:pt x="124259" y="614321"/>
                  </a:cubicBezTo>
                  <a:lnTo>
                    <a:pt x="111623" y="755809"/>
                  </a:lnTo>
                  <a:cubicBezTo>
                    <a:pt x="109507" y="779214"/>
                    <a:pt x="128492" y="799631"/>
                    <a:pt x="153453" y="800876"/>
                  </a:cubicBezTo>
                  <a:lnTo>
                    <a:pt x="210223" y="803739"/>
                  </a:lnTo>
                  <a:cubicBezTo>
                    <a:pt x="232383" y="804860"/>
                    <a:pt x="251493" y="789422"/>
                    <a:pt x="253671" y="768632"/>
                  </a:cubicBezTo>
                  <a:lnTo>
                    <a:pt x="271847" y="592908"/>
                  </a:lnTo>
                  <a:cubicBezTo>
                    <a:pt x="279379" y="519705"/>
                    <a:pt x="272283" y="446378"/>
                    <a:pt x="250746" y="375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6" name="Freeform: Shape 130">
              <a:extLst>
                <a:ext uri="{FF2B5EF4-FFF2-40B4-BE49-F238E27FC236}">
                  <a16:creationId xmlns:a16="http://schemas.microsoft.com/office/drawing/2014/main" id="{D59E8CF7-A990-41D9-B325-DEEFD66B7D87}"/>
                </a:ext>
              </a:extLst>
            </p:cNvPr>
            <p:cNvSpPr/>
            <p:nvPr/>
          </p:nvSpPr>
          <p:spPr bwMode="gray">
            <a:xfrm>
              <a:off x="6957368" y="3877180"/>
              <a:ext cx="174292" cy="205416"/>
            </a:xfrm>
            <a:custGeom>
              <a:avLst/>
              <a:gdLst>
                <a:gd name="connsiteX0" fmla="*/ 54532 w 174291"/>
                <a:gd name="connsiteY0" fmla="*/ 28656 h 205415"/>
                <a:gd name="connsiteX1" fmla="*/ 53785 w 174291"/>
                <a:gd name="connsiteY1" fmla="*/ 41603 h 205415"/>
                <a:gd name="connsiteX2" fmla="*/ 33181 w 174291"/>
                <a:gd name="connsiteY2" fmla="*/ 62020 h 205415"/>
                <a:gd name="connsiteX3" fmla="*/ 6602 w 174291"/>
                <a:gd name="connsiteY3" fmla="*/ 123022 h 205415"/>
                <a:gd name="connsiteX4" fmla="*/ 4672 w 174291"/>
                <a:gd name="connsiteY4" fmla="*/ 184211 h 205415"/>
                <a:gd name="connsiteX5" fmla="*/ 12080 w 174291"/>
                <a:gd name="connsiteY5" fmla="*/ 194731 h 205415"/>
                <a:gd name="connsiteX6" fmla="*/ 16873 w 174291"/>
                <a:gd name="connsiteY6" fmla="*/ 196287 h 205415"/>
                <a:gd name="connsiteX7" fmla="*/ 38348 w 174291"/>
                <a:gd name="connsiteY7" fmla="*/ 181472 h 205415"/>
                <a:gd name="connsiteX8" fmla="*/ 40900 w 174291"/>
                <a:gd name="connsiteY8" fmla="*/ 129994 h 205415"/>
                <a:gd name="connsiteX9" fmla="*/ 52291 w 174291"/>
                <a:gd name="connsiteY9" fmla="*/ 179730 h 205415"/>
                <a:gd name="connsiteX10" fmla="*/ 53101 w 174291"/>
                <a:gd name="connsiteY10" fmla="*/ 183776 h 205415"/>
                <a:gd name="connsiteX11" fmla="*/ 77501 w 174291"/>
                <a:gd name="connsiteY11" fmla="*/ 203072 h 205415"/>
                <a:gd name="connsiteX12" fmla="*/ 151575 w 174291"/>
                <a:gd name="connsiteY12" fmla="*/ 200022 h 205415"/>
                <a:gd name="connsiteX13" fmla="*/ 175292 w 174291"/>
                <a:gd name="connsiteY13" fmla="*/ 169521 h 205415"/>
                <a:gd name="connsiteX14" fmla="*/ 146284 w 174291"/>
                <a:gd name="connsiteY14" fmla="*/ 28158 h 205415"/>
                <a:gd name="connsiteX15" fmla="*/ 146284 w 174291"/>
                <a:gd name="connsiteY15" fmla="*/ 27473 h 205415"/>
                <a:gd name="connsiteX16" fmla="*/ 121635 w 174291"/>
                <a:gd name="connsiteY16" fmla="*/ 4691 h 205415"/>
                <a:gd name="connsiteX17" fmla="*/ 77128 w 174291"/>
                <a:gd name="connsiteY17" fmla="*/ 6558 h 205415"/>
                <a:gd name="connsiteX18" fmla="*/ 54532 w 174291"/>
                <a:gd name="connsiteY18" fmla="*/ 28656 h 20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4291" h="205415">
                  <a:moveTo>
                    <a:pt x="54532" y="28656"/>
                  </a:moveTo>
                  <a:lnTo>
                    <a:pt x="53785" y="41603"/>
                  </a:lnTo>
                  <a:lnTo>
                    <a:pt x="33181" y="62020"/>
                  </a:lnTo>
                  <a:cubicBezTo>
                    <a:pt x="16873" y="78204"/>
                    <a:pt x="7349" y="100053"/>
                    <a:pt x="6602" y="123022"/>
                  </a:cubicBezTo>
                  <a:lnTo>
                    <a:pt x="4672" y="184211"/>
                  </a:lnTo>
                  <a:cubicBezTo>
                    <a:pt x="4548" y="189004"/>
                    <a:pt x="7536" y="193299"/>
                    <a:pt x="12080" y="194731"/>
                  </a:cubicBezTo>
                  <a:lnTo>
                    <a:pt x="16873" y="196287"/>
                  </a:lnTo>
                  <a:cubicBezTo>
                    <a:pt x="27143" y="199648"/>
                    <a:pt x="37850" y="192241"/>
                    <a:pt x="38348" y="181472"/>
                  </a:cubicBezTo>
                  <a:lnTo>
                    <a:pt x="40900" y="129994"/>
                  </a:lnTo>
                  <a:lnTo>
                    <a:pt x="52291" y="179730"/>
                  </a:lnTo>
                  <a:lnTo>
                    <a:pt x="53101" y="183776"/>
                  </a:lnTo>
                  <a:cubicBezTo>
                    <a:pt x="55341" y="195353"/>
                    <a:pt x="65737" y="203508"/>
                    <a:pt x="77501" y="203072"/>
                  </a:cubicBezTo>
                  <a:lnTo>
                    <a:pt x="151575" y="200022"/>
                  </a:lnTo>
                  <a:cubicBezTo>
                    <a:pt x="167199" y="199400"/>
                    <a:pt x="178528" y="184834"/>
                    <a:pt x="175292" y="169521"/>
                  </a:cubicBezTo>
                  <a:cubicBezTo>
                    <a:pt x="165145" y="121466"/>
                    <a:pt x="146098" y="30959"/>
                    <a:pt x="146284" y="28158"/>
                  </a:cubicBezTo>
                  <a:cubicBezTo>
                    <a:pt x="146284" y="27971"/>
                    <a:pt x="146284" y="27722"/>
                    <a:pt x="146284" y="27473"/>
                  </a:cubicBezTo>
                  <a:cubicBezTo>
                    <a:pt x="146098" y="14339"/>
                    <a:pt x="134769" y="4130"/>
                    <a:pt x="121635" y="4691"/>
                  </a:cubicBezTo>
                  <a:lnTo>
                    <a:pt x="77128" y="6558"/>
                  </a:lnTo>
                  <a:cubicBezTo>
                    <a:pt x="64990" y="6931"/>
                    <a:pt x="55279" y="16517"/>
                    <a:pt x="54532" y="28656"/>
                  </a:cubicBezTo>
                  <a:close/>
                </a:path>
              </a:pathLst>
            </a:custGeom>
            <a:solidFill>
              <a:srgbClr val="FFCBAF"/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7" name="Freeform: Shape 131">
              <a:extLst>
                <a:ext uri="{FF2B5EF4-FFF2-40B4-BE49-F238E27FC236}">
                  <a16:creationId xmlns:a16="http://schemas.microsoft.com/office/drawing/2014/main" id="{5E0578B4-6E6E-4C85-B4B8-88FBCD99C833}"/>
                </a:ext>
              </a:extLst>
            </p:cNvPr>
            <p:cNvSpPr/>
            <p:nvPr/>
          </p:nvSpPr>
          <p:spPr bwMode="gray">
            <a:xfrm>
              <a:off x="7008388" y="3817083"/>
              <a:ext cx="105820" cy="43573"/>
            </a:xfrm>
            <a:custGeom>
              <a:avLst/>
              <a:gdLst>
                <a:gd name="connsiteX0" fmla="*/ 4896 w 105820"/>
                <a:gd name="connsiteY0" fmla="*/ 37786 h 43572"/>
                <a:gd name="connsiteX1" fmla="*/ 6543 w 105820"/>
                <a:gd name="connsiteY1" fmla="*/ 4896 h 43572"/>
                <a:gd name="connsiteX2" fmla="*/ 102040 w 105820"/>
                <a:gd name="connsiteY2" fmla="*/ 9677 h 43572"/>
                <a:gd name="connsiteX3" fmla="*/ 100393 w 105820"/>
                <a:gd name="connsiteY3" fmla="*/ 42566 h 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820" h="43572">
                  <a:moveTo>
                    <a:pt x="4896" y="37786"/>
                  </a:moveTo>
                  <a:lnTo>
                    <a:pt x="6543" y="4896"/>
                  </a:lnTo>
                  <a:lnTo>
                    <a:pt x="102040" y="9677"/>
                  </a:lnTo>
                  <a:lnTo>
                    <a:pt x="100393" y="42566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8" name="Freeform: Shape 132">
              <a:extLst>
                <a:ext uri="{FF2B5EF4-FFF2-40B4-BE49-F238E27FC236}">
                  <a16:creationId xmlns:a16="http://schemas.microsoft.com/office/drawing/2014/main" id="{E28C5885-513A-4791-9C98-3ABC6729570B}"/>
                </a:ext>
              </a:extLst>
            </p:cNvPr>
            <p:cNvSpPr/>
            <p:nvPr/>
          </p:nvSpPr>
          <p:spPr bwMode="gray">
            <a:xfrm>
              <a:off x="6256968" y="2931421"/>
              <a:ext cx="778840" cy="440773"/>
            </a:xfrm>
            <a:custGeom>
              <a:avLst/>
              <a:gdLst>
                <a:gd name="connsiteX0" fmla="*/ 781872 w 784313"/>
                <a:gd name="connsiteY0" fmla="*/ 190586 h 678493"/>
                <a:gd name="connsiteX1" fmla="*/ 524604 w 784313"/>
                <a:gd name="connsiteY1" fmla="*/ 3036 h 678493"/>
                <a:gd name="connsiteX2" fmla="*/ 390026 w 784313"/>
                <a:gd name="connsiteY2" fmla="*/ 287007 h 678493"/>
                <a:gd name="connsiteX3" fmla="*/ 389964 w 784313"/>
                <a:gd name="connsiteY3" fmla="*/ 286634 h 678493"/>
                <a:gd name="connsiteX4" fmla="*/ 247605 w 784313"/>
                <a:gd name="connsiteY4" fmla="*/ 3036 h 678493"/>
                <a:gd name="connsiteX5" fmla="*/ 3036 w 784313"/>
                <a:gd name="connsiteY5" fmla="*/ 211252 h 678493"/>
                <a:gd name="connsiteX6" fmla="*/ 86073 w 784313"/>
                <a:gd name="connsiteY6" fmla="*/ 443808 h 678493"/>
                <a:gd name="connsiteX7" fmla="*/ 133941 w 784313"/>
                <a:gd name="connsiteY7" fmla="*/ 645302 h 678493"/>
                <a:gd name="connsiteX8" fmla="*/ 135809 w 784313"/>
                <a:gd name="connsiteY8" fmla="*/ 675927 h 678493"/>
                <a:gd name="connsiteX9" fmla="*/ 638766 w 784313"/>
                <a:gd name="connsiteY9" fmla="*/ 675927 h 678493"/>
                <a:gd name="connsiteX10" fmla="*/ 638268 w 784313"/>
                <a:gd name="connsiteY10" fmla="*/ 645302 h 678493"/>
                <a:gd name="connsiteX11" fmla="*/ 686136 w 784313"/>
                <a:gd name="connsiteY11" fmla="*/ 443808 h 678493"/>
                <a:gd name="connsiteX12" fmla="*/ 781872 w 784313"/>
                <a:gd name="connsiteY12" fmla="*/ 190586 h 678493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0905 w 778836"/>
                <a:gd name="connsiteY7" fmla="*/ 642266 h 672891"/>
                <a:gd name="connsiteX8" fmla="*/ 132773 w 778836"/>
                <a:gd name="connsiteY8" fmla="*/ 672891 h 672891"/>
                <a:gd name="connsiteX9" fmla="*/ 635730 w 778836"/>
                <a:gd name="connsiteY9" fmla="*/ 672891 h 672891"/>
                <a:gd name="connsiteX10" fmla="*/ 683100 w 778836"/>
                <a:gd name="connsiteY10" fmla="*/ 440772 h 672891"/>
                <a:gd name="connsiteX11" fmla="*/ 778836 w 778836"/>
                <a:gd name="connsiteY11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132773 w 778836"/>
                <a:gd name="connsiteY7" fmla="*/ 672891 h 672891"/>
                <a:gd name="connsiteX8" fmla="*/ 635730 w 778836"/>
                <a:gd name="connsiteY8" fmla="*/ 672891 h 672891"/>
                <a:gd name="connsiteX9" fmla="*/ 683100 w 778836"/>
                <a:gd name="connsiteY9" fmla="*/ 440772 h 672891"/>
                <a:gd name="connsiteX10" fmla="*/ 778836 w 778836"/>
                <a:gd name="connsiteY10" fmla="*/ 187550 h 672891"/>
                <a:gd name="connsiteX0" fmla="*/ 778836 w 778836"/>
                <a:gd name="connsiteY0" fmla="*/ 187550 h 672891"/>
                <a:gd name="connsiteX1" fmla="*/ 521568 w 778836"/>
                <a:gd name="connsiteY1" fmla="*/ 0 h 672891"/>
                <a:gd name="connsiteX2" fmla="*/ 386990 w 778836"/>
                <a:gd name="connsiteY2" fmla="*/ 283971 h 672891"/>
                <a:gd name="connsiteX3" fmla="*/ 386928 w 778836"/>
                <a:gd name="connsiteY3" fmla="*/ 283598 h 672891"/>
                <a:gd name="connsiteX4" fmla="*/ 244569 w 778836"/>
                <a:gd name="connsiteY4" fmla="*/ 0 h 672891"/>
                <a:gd name="connsiteX5" fmla="*/ 0 w 778836"/>
                <a:gd name="connsiteY5" fmla="*/ 208216 h 672891"/>
                <a:gd name="connsiteX6" fmla="*/ 83037 w 778836"/>
                <a:gd name="connsiteY6" fmla="*/ 440772 h 672891"/>
                <a:gd name="connsiteX7" fmla="*/ 635730 w 778836"/>
                <a:gd name="connsiteY7" fmla="*/ 672891 h 672891"/>
                <a:gd name="connsiteX8" fmla="*/ 683100 w 778836"/>
                <a:gd name="connsiteY8" fmla="*/ 440772 h 672891"/>
                <a:gd name="connsiteX9" fmla="*/ 778836 w 778836"/>
                <a:gd name="connsiteY9" fmla="*/ 187550 h 672891"/>
                <a:gd name="connsiteX0" fmla="*/ 778836 w 778836"/>
                <a:gd name="connsiteY0" fmla="*/ 187550 h 440772"/>
                <a:gd name="connsiteX1" fmla="*/ 521568 w 778836"/>
                <a:gd name="connsiteY1" fmla="*/ 0 h 440772"/>
                <a:gd name="connsiteX2" fmla="*/ 386990 w 778836"/>
                <a:gd name="connsiteY2" fmla="*/ 283971 h 440772"/>
                <a:gd name="connsiteX3" fmla="*/ 386928 w 778836"/>
                <a:gd name="connsiteY3" fmla="*/ 283598 h 440772"/>
                <a:gd name="connsiteX4" fmla="*/ 244569 w 778836"/>
                <a:gd name="connsiteY4" fmla="*/ 0 h 440772"/>
                <a:gd name="connsiteX5" fmla="*/ 0 w 778836"/>
                <a:gd name="connsiteY5" fmla="*/ 208216 h 440772"/>
                <a:gd name="connsiteX6" fmla="*/ 83037 w 778836"/>
                <a:gd name="connsiteY6" fmla="*/ 440772 h 440772"/>
                <a:gd name="connsiteX7" fmla="*/ 683100 w 778836"/>
                <a:gd name="connsiteY7" fmla="*/ 440772 h 440772"/>
                <a:gd name="connsiteX8" fmla="*/ 778836 w 778836"/>
                <a:gd name="connsiteY8" fmla="*/ 187550 h 44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8836" h="440772">
                  <a:moveTo>
                    <a:pt x="778836" y="187550"/>
                  </a:moveTo>
                  <a:cubicBezTo>
                    <a:pt x="772051" y="78182"/>
                    <a:pt x="521568" y="0"/>
                    <a:pt x="521568" y="0"/>
                  </a:cubicBezTo>
                  <a:cubicBezTo>
                    <a:pt x="537690" y="132337"/>
                    <a:pt x="421102" y="252038"/>
                    <a:pt x="386990" y="283971"/>
                  </a:cubicBezTo>
                  <a:cubicBezTo>
                    <a:pt x="386990" y="283722"/>
                    <a:pt x="386928" y="283598"/>
                    <a:pt x="386928" y="283598"/>
                  </a:cubicBezTo>
                  <a:cubicBezTo>
                    <a:pt x="386928" y="283598"/>
                    <a:pt x="225770" y="154746"/>
                    <a:pt x="244569" y="0"/>
                  </a:cubicBezTo>
                  <a:cubicBezTo>
                    <a:pt x="244569" y="0"/>
                    <a:pt x="6723" y="98848"/>
                    <a:pt x="0" y="208216"/>
                  </a:cubicBezTo>
                  <a:lnTo>
                    <a:pt x="83037" y="440772"/>
                  </a:lnTo>
                  <a:lnTo>
                    <a:pt x="683100" y="440772"/>
                  </a:lnTo>
                  <a:lnTo>
                    <a:pt x="778836" y="187550"/>
                  </a:lnTo>
                  <a:close/>
                </a:path>
              </a:pathLst>
            </a:custGeom>
            <a:solidFill>
              <a:srgbClr val="FA5B00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9" name="Freeform: Shape 133">
              <a:extLst>
                <a:ext uri="{FF2B5EF4-FFF2-40B4-BE49-F238E27FC236}">
                  <a16:creationId xmlns:a16="http://schemas.microsoft.com/office/drawing/2014/main" id="{4FEC9D94-20C4-496A-A4FA-36010E855579}"/>
                </a:ext>
              </a:extLst>
            </p:cNvPr>
            <p:cNvSpPr/>
            <p:nvPr/>
          </p:nvSpPr>
          <p:spPr bwMode="gray">
            <a:xfrm>
              <a:off x="6393276" y="3165116"/>
              <a:ext cx="130720" cy="37348"/>
            </a:xfrm>
            <a:custGeom>
              <a:avLst/>
              <a:gdLst>
                <a:gd name="connsiteX0" fmla="*/ 3036 w 130718"/>
                <a:gd name="connsiteY0" fmla="*/ 3036 h 37348"/>
                <a:gd name="connsiteX1" fmla="*/ 130393 w 130718"/>
                <a:gd name="connsiteY1" fmla="*/ 3036 h 37348"/>
                <a:gd name="connsiteX2" fmla="*/ 130393 w 130718"/>
                <a:gd name="connsiteY2" fmla="*/ 36898 h 37348"/>
                <a:gd name="connsiteX3" fmla="*/ 3036 w 130718"/>
                <a:gd name="connsiteY3" fmla="*/ 36898 h 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718" h="37348">
                  <a:moveTo>
                    <a:pt x="3036" y="3036"/>
                  </a:moveTo>
                  <a:lnTo>
                    <a:pt x="130393" y="3036"/>
                  </a:lnTo>
                  <a:lnTo>
                    <a:pt x="130393" y="36898"/>
                  </a:lnTo>
                  <a:lnTo>
                    <a:pt x="3036" y="36898"/>
                  </a:lnTo>
                  <a:close/>
                </a:path>
              </a:pathLst>
            </a:custGeom>
            <a:solidFill>
              <a:srgbClr val="FFFFFF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0" name="Freeform: Shape 134">
              <a:extLst>
                <a:ext uri="{FF2B5EF4-FFF2-40B4-BE49-F238E27FC236}">
                  <a16:creationId xmlns:a16="http://schemas.microsoft.com/office/drawing/2014/main" id="{44A75D7F-4965-4F33-A3E5-9AAE86F28227}"/>
                </a:ext>
              </a:extLst>
            </p:cNvPr>
            <p:cNvSpPr/>
            <p:nvPr/>
          </p:nvSpPr>
          <p:spPr bwMode="gray">
            <a:xfrm flipH="1">
              <a:off x="6756540" y="2941278"/>
              <a:ext cx="147329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1" name="Freeform: Shape 135">
              <a:extLst>
                <a:ext uri="{FF2B5EF4-FFF2-40B4-BE49-F238E27FC236}">
                  <a16:creationId xmlns:a16="http://schemas.microsoft.com/office/drawing/2014/main" id="{A60C15A7-2449-48E3-AA74-38F429464C59}"/>
                </a:ext>
              </a:extLst>
            </p:cNvPr>
            <p:cNvSpPr/>
            <p:nvPr/>
          </p:nvSpPr>
          <p:spPr bwMode="gray">
            <a:xfrm rot="5400000">
              <a:off x="6316998" y="3488480"/>
              <a:ext cx="657067" cy="51339"/>
            </a:xfrm>
            <a:custGeom>
              <a:avLst/>
              <a:gdLst>
                <a:gd name="connsiteX0" fmla="*/ 781872 w 784313"/>
                <a:gd name="connsiteY0" fmla="*/ 190586 h 921257"/>
                <a:gd name="connsiteX1" fmla="*/ 524604 w 784313"/>
                <a:gd name="connsiteY1" fmla="*/ 3036 h 921257"/>
                <a:gd name="connsiteX2" fmla="*/ 390026 w 784313"/>
                <a:gd name="connsiteY2" fmla="*/ 287007 h 921257"/>
                <a:gd name="connsiteX3" fmla="*/ 389964 w 784313"/>
                <a:gd name="connsiteY3" fmla="*/ 286634 h 921257"/>
                <a:gd name="connsiteX4" fmla="*/ 247605 w 784313"/>
                <a:gd name="connsiteY4" fmla="*/ 3036 h 921257"/>
                <a:gd name="connsiteX5" fmla="*/ 3036 w 784313"/>
                <a:gd name="connsiteY5" fmla="*/ 211252 h 921257"/>
                <a:gd name="connsiteX6" fmla="*/ 86073 w 784313"/>
                <a:gd name="connsiteY6" fmla="*/ 443808 h 921257"/>
                <a:gd name="connsiteX7" fmla="*/ 133941 w 784313"/>
                <a:gd name="connsiteY7" fmla="*/ 645302 h 921257"/>
                <a:gd name="connsiteX8" fmla="*/ 150126 w 784313"/>
                <a:gd name="connsiteY8" fmla="*/ 913027 h 921257"/>
                <a:gd name="connsiteX9" fmla="*/ 642749 w 784313"/>
                <a:gd name="connsiteY9" fmla="*/ 922364 h 921257"/>
                <a:gd name="connsiteX10" fmla="*/ 638205 w 784313"/>
                <a:gd name="connsiteY10" fmla="*/ 645302 h 921257"/>
                <a:gd name="connsiteX11" fmla="*/ 686073 w 784313"/>
                <a:gd name="connsiteY11" fmla="*/ 443808 h 921257"/>
                <a:gd name="connsiteX12" fmla="*/ 781872 w 784313"/>
                <a:gd name="connsiteY12" fmla="*/ 190586 h 921257"/>
                <a:gd name="connsiteX0" fmla="*/ 778836 w 778836"/>
                <a:gd name="connsiteY0" fmla="*/ 187550 h 919328"/>
                <a:gd name="connsiteX1" fmla="*/ 386990 w 778836"/>
                <a:gd name="connsiteY1" fmla="*/ 283971 h 919328"/>
                <a:gd name="connsiteX2" fmla="*/ 386928 w 778836"/>
                <a:gd name="connsiteY2" fmla="*/ 283598 h 919328"/>
                <a:gd name="connsiteX3" fmla="*/ 244569 w 778836"/>
                <a:gd name="connsiteY3" fmla="*/ 0 h 919328"/>
                <a:gd name="connsiteX4" fmla="*/ 0 w 778836"/>
                <a:gd name="connsiteY4" fmla="*/ 208216 h 919328"/>
                <a:gd name="connsiteX5" fmla="*/ 83037 w 778836"/>
                <a:gd name="connsiteY5" fmla="*/ 440772 h 919328"/>
                <a:gd name="connsiteX6" fmla="*/ 130905 w 778836"/>
                <a:gd name="connsiteY6" fmla="*/ 642266 h 919328"/>
                <a:gd name="connsiteX7" fmla="*/ 147090 w 778836"/>
                <a:gd name="connsiteY7" fmla="*/ 909991 h 919328"/>
                <a:gd name="connsiteX8" fmla="*/ 639713 w 778836"/>
                <a:gd name="connsiteY8" fmla="*/ 919328 h 919328"/>
                <a:gd name="connsiteX9" fmla="*/ 635169 w 778836"/>
                <a:gd name="connsiteY9" fmla="*/ 642266 h 919328"/>
                <a:gd name="connsiteX10" fmla="*/ 683037 w 778836"/>
                <a:gd name="connsiteY10" fmla="*/ 440772 h 919328"/>
                <a:gd name="connsiteX11" fmla="*/ 778836 w 778836"/>
                <a:gd name="connsiteY11" fmla="*/ 187550 h 919328"/>
                <a:gd name="connsiteX0" fmla="*/ 778836 w 778836"/>
                <a:gd name="connsiteY0" fmla="*/ 4106 h 735884"/>
                <a:gd name="connsiteX1" fmla="*/ 386990 w 778836"/>
                <a:gd name="connsiteY1" fmla="*/ 100527 h 735884"/>
                <a:gd name="connsiteX2" fmla="*/ 386928 w 778836"/>
                <a:gd name="connsiteY2" fmla="*/ 100154 h 735884"/>
                <a:gd name="connsiteX3" fmla="*/ 0 w 778836"/>
                <a:gd name="connsiteY3" fmla="*/ 24772 h 735884"/>
                <a:gd name="connsiteX4" fmla="*/ 83037 w 778836"/>
                <a:gd name="connsiteY4" fmla="*/ 257328 h 735884"/>
                <a:gd name="connsiteX5" fmla="*/ 130905 w 778836"/>
                <a:gd name="connsiteY5" fmla="*/ 458822 h 735884"/>
                <a:gd name="connsiteX6" fmla="*/ 147090 w 778836"/>
                <a:gd name="connsiteY6" fmla="*/ 726547 h 735884"/>
                <a:gd name="connsiteX7" fmla="*/ 639713 w 778836"/>
                <a:gd name="connsiteY7" fmla="*/ 735884 h 735884"/>
                <a:gd name="connsiteX8" fmla="*/ 635169 w 778836"/>
                <a:gd name="connsiteY8" fmla="*/ 458822 h 735884"/>
                <a:gd name="connsiteX9" fmla="*/ 683037 w 778836"/>
                <a:gd name="connsiteY9" fmla="*/ 257328 h 735884"/>
                <a:gd name="connsiteX10" fmla="*/ 778836 w 778836"/>
                <a:gd name="connsiteY10" fmla="*/ 4106 h 735884"/>
                <a:gd name="connsiteX0" fmla="*/ 695799 w 695799"/>
                <a:gd name="connsiteY0" fmla="*/ 4106 h 735884"/>
                <a:gd name="connsiteX1" fmla="*/ 303953 w 695799"/>
                <a:gd name="connsiteY1" fmla="*/ 100527 h 735884"/>
                <a:gd name="connsiteX2" fmla="*/ 303891 w 695799"/>
                <a:gd name="connsiteY2" fmla="*/ 100154 h 735884"/>
                <a:gd name="connsiteX3" fmla="*/ 0 w 695799"/>
                <a:gd name="connsiteY3" fmla="*/ 257328 h 735884"/>
                <a:gd name="connsiteX4" fmla="*/ 47868 w 695799"/>
                <a:gd name="connsiteY4" fmla="*/ 458822 h 735884"/>
                <a:gd name="connsiteX5" fmla="*/ 64053 w 695799"/>
                <a:gd name="connsiteY5" fmla="*/ 726547 h 735884"/>
                <a:gd name="connsiteX6" fmla="*/ 556676 w 695799"/>
                <a:gd name="connsiteY6" fmla="*/ 735884 h 735884"/>
                <a:gd name="connsiteX7" fmla="*/ 552132 w 695799"/>
                <a:gd name="connsiteY7" fmla="*/ 458822 h 735884"/>
                <a:gd name="connsiteX8" fmla="*/ 600000 w 695799"/>
                <a:gd name="connsiteY8" fmla="*/ 257328 h 735884"/>
                <a:gd name="connsiteX9" fmla="*/ 695799 w 695799"/>
                <a:gd name="connsiteY9" fmla="*/ 4106 h 735884"/>
                <a:gd name="connsiteX0" fmla="*/ 600000 w 600000"/>
                <a:gd name="connsiteY0" fmla="*/ 165891 h 644447"/>
                <a:gd name="connsiteX1" fmla="*/ 303953 w 600000"/>
                <a:gd name="connsiteY1" fmla="*/ 9090 h 644447"/>
                <a:gd name="connsiteX2" fmla="*/ 303891 w 600000"/>
                <a:gd name="connsiteY2" fmla="*/ 8717 h 644447"/>
                <a:gd name="connsiteX3" fmla="*/ 0 w 600000"/>
                <a:gd name="connsiteY3" fmla="*/ 165891 h 644447"/>
                <a:gd name="connsiteX4" fmla="*/ 47868 w 600000"/>
                <a:gd name="connsiteY4" fmla="*/ 367385 h 644447"/>
                <a:gd name="connsiteX5" fmla="*/ 64053 w 600000"/>
                <a:gd name="connsiteY5" fmla="*/ 635110 h 644447"/>
                <a:gd name="connsiteX6" fmla="*/ 556676 w 600000"/>
                <a:gd name="connsiteY6" fmla="*/ 644447 h 644447"/>
                <a:gd name="connsiteX7" fmla="*/ 552132 w 600000"/>
                <a:gd name="connsiteY7" fmla="*/ 367385 h 644447"/>
                <a:gd name="connsiteX8" fmla="*/ 600000 w 600000"/>
                <a:gd name="connsiteY8" fmla="*/ 165891 h 644447"/>
                <a:gd name="connsiteX0" fmla="*/ 552132 w 552132"/>
                <a:gd name="connsiteY0" fmla="*/ 180420 h 658976"/>
                <a:gd name="connsiteX1" fmla="*/ 256085 w 552132"/>
                <a:gd name="connsiteY1" fmla="*/ 23619 h 658976"/>
                <a:gd name="connsiteX2" fmla="*/ 256023 w 552132"/>
                <a:gd name="connsiteY2" fmla="*/ 23246 h 658976"/>
                <a:gd name="connsiteX3" fmla="*/ 0 w 552132"/>
                <a:gd name="connsiteY3" fmla="*/ 381914 h 658976"/>
                <a:gd name="connsiteX4" fmla="*/ 16185 w 552132"/>
                <a:gd name="connsiteY4" fmla="*/ 649639 h 658976"/>
                <a:gd name="connsiteX5" fmla="*/ 508808 w 552132"/>
                <a:gd name="connsiteY5" fmla="*/ 658976 h 658976"/>
                <a:gd name="connsiteX6" fmla="*/ 504264 w 552132"/>
                <a:gd name="connsiteY6" fmla="*/ 381914 h 658976"/>
                <a:gd name="connsiteX7" fmla="*/ 552132 w 552132"/>
                <a:gd name="connsiteY7" fmla="*/ 180420 h 658976"/>
                <a:gd name="connsiteX0" fmla="*/ 504264 w 508808"/>
                <a:gd name="connsiteY0" fmla="*/ 381914 h 658976"/>
                <a:gd name="connsiteX1" fmla="*/ 256085 w 508808"/>
                <a:gd name="connsiteY1" fmla="*/ 23619 h 658976"/>
                <a:gd name="connsiteX2" fmla="*/ 256023 w 508808"/>
                <a:gd name="connsiteY2" fmla="*/ 23246 h 658976"/>
                <a:gd name="connsiteX3" fmla="*/ 0 w 508808"/>
                <a:gd name="connsiteY3" fmla="*/ 381914 h 658976"/>
                <a:gd name="connsiteX4" fmla="*/ 16185 w 508808"/>
                <a:gd name="connsiteY4" fmla="*/ 649639 h 658976"/>
                <a:gd name="connsiteX5" fmla="*/ 508808 w 508808"/>
                <a:gd name="connsiteY5" fmla="*/ 658976 h 658976"/>
                <a:gd name="connsiteX6" fmla="*/ 504264 w 508808"/>
                <a:gd name="connsiteY6" fmla="*/ 381914 h 658976"/>
                <a:gd name="connsiteX0" fmla="*/ 504264 w 508808"/>
                <a:gd name="connsiteY0" fmla="*/ 358295 h 635357"/>
                <a:gd name="connsiteX1" fmla="*/ 256085 w 508808"/>
                <a:gd name="connsiteY1" fmla="*/ 0 h 635357"/>
                <a:gd name="connsiteX2" fmla="*/ 0 w 508808"/>
                <a:gd name="connsiteY2" fmla="*/ 358295 h 635357"/>
                <a:gd name="connsiteX3" fmla="*/ 16185 w 508808"/>
                <a:gd name="connsiteY3" fmla="*/ 626020 h 635357"/>
                <a:gd name="connsiteX4" fmla="*/ 508808 w 508808"/>
                <a:gd name="connsiteY4" fmla="*/ 635357 h 635357"/>
                <a:gd name="connsiteX5" fmla="*/ 504264 w 508808"/>
                <a:gd name="connsiteY5" fmla="*/ 358295 h 635357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16185 w 508808"/>
                <a:gd name="connsiteY2" fmla="*/ 267725 h 277062"/>
                <a:gd name="connsiteX3" fmla="*/ 508808 w 508808"/>
                <a:gd name="connsiteY3" fmla="*/ 277062 h 277062"/>
                <a:gd name="connsiteX4" fmla="*/ 504264 w 508808"/>
                <a:gd name="connsiteY4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981 w 508808"/>
                <a:gd name="connsiteY2" fmla="*/ 118379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04264 w 508808"/>
                <a:gd name="connsiteY0" fmla="*/ 0 h 277062"/>
                <a:gd name="connsiteX1" fmla="*/ 0 w 508808"/>
                <a:gd name="connsiteY1" fmla="*/ 0 h 277062"/>
                <a:gd name="connsiteX2" fmla="*/ 72277 w 508808"/>
                <a:gd name="connsiteY2" fmla="*/ 118377 h 277062"/>
                <a:gd name="connsiteX3" fmla="*/ 16185 w 508808"/>
                <a:gd name="connsiteY3" fmla="*/ 267725 h 277062"/>
                <a:gd name="connsiteX4" fmla="*/ 508808 w 508808"/>
                <a:gd name="connsiteY4" fmla="*/ 277062 h 277062"/>
                <a:gd name="connsiteX5" fmla="*/ 504264 w 508808"/>
                <a:gd name="connsiteY5" fmla="*/ 0 h 277062"/>
                <a:gd name="connsiteX0" fmla="*/ 514270 w 518814"/>
                <a:gd name="connsiteY0" fmla="*/ 0 h 321244"/>
                <a:gd name="connsiteX1" fmla="*/ 10006 w 518814"/>
                <a:gd name="connsiteY1" fmla="*/ 0 h 321244"/>
                <a:gd name="connsiteX2" fmla="*/ 82283 w 518814"/>
                <a:gd name="connsiteY2" fmla="*/ 118377 h 321244"/>
                <a:gd name="connsiteX3" fmla="*/ 0 w 518814"/>
                <a:gd name="connsiteY3" fmla="*/ 321242 h 321244"/>
                <a:gd name="connsiteX4" fmla="*/ 518814 w 518814"/>
                <a:gd name="connsiteY4" fmla="*/ 277062 h 321244"/>
                <a:gd name="connsiteX5" fmla="*/ 514270 w 518814"/>
                <a:gd name="connsiteY5" fmla="*/ 0 h 321244"/>
                <a:gd name="connsiteX0" fmla="*/ 539983 w 544527"/>
                <a:gd name="connsiteY0" fmla="*/ 44598 h 365838"/>
                <a:gd name="connsiteX1" fmla="*/ 0 w 544527"/>
                <a:gd name="connsiteY1" fmla="*/ 0 h 365838"/>
                <a:gd name="connsiteX2" fmla="*/ 107996 w 544527"/>
                <a:gd name="connsiteY2" fmla="*/ 162975 h 365838"/>
                <a:gd name="connsiteX3" fmla="*/ 25713 w 544527"/>
                <a:gd name="connsiteY3" fmla="*/ 365840 h 365838"/>
                <a:gd name="connsiteX4" fmla="*/ 544527 w 544527"/>
                <a:gd name="connsiteY4" fmla="*/ 321660 h 365838"/>
                <a:gd name="connsiteX5" fmla="*/ 539983 w 544527"/>
                <a:gd name="connsiteY5" fmla="*/ 44598 h 365838"/>
                <a:gd name="connsiteX0" fmla="*/ 523314 w 527858"/>
                <a:gd name="connsiteY0" fmla="*/ 44598 h 365842"/>
                <a:gd name="connsiteX1" fmla="*/ 0 w 527858"/>
                <a:gd name="connsiteY1" fmla="*/ 0 h 365842"/>
                <a:gd name="connsiteX2" fmla="*/ 91327 w 527858"/>
                <a:gd name="connsiteY2" fmla="*/ 162975 h 365842"/>
                <a:gd name="connsiteX3" fmla="*/ 9044 w 527858"/>
                <a:gd name="connsiteY3" fmla="*/ 365840 h 365842"/>
                <a:gd name="connsiteX4" fmla="*/ 527858 w 527858"/>
                <a:gd name="connsiteY4" fmla="*/ 321660 h 365842"/>
                <a:gd name="connsiteX5" fmla="*/ 523314 w 527858"/>
                <a:gd name="connsiteY5" fmla="*/ 44598 h 365842"/>
                <a:gd name="connsiteX0" fmla="*/ 523314 w 527858"/>
                <a:gd name="connsiteY0" fmla="*/ 44598 h 365838"/>
                <a:gd name="connsiteX1" fmla="*/ 0 w 527858"/>
                <a:gd name="connsiteY1" fmla="*/ 0 h 365838"/>
                <a:gd name="connsiteX2" fmla="*/ 60370 w 527858"/>
                <a:gd name="connsiteY2" fmla="*/ 180814 h 365838"/>
                <a:gd name="connsiteX3" fmla="*/ 9044 w 527858"/>
                <a:gd name="connsiteY3" fmla="*/ 365840 h 365838"/>
                <a:gd name="connsiteX4" fmla="*/ 527858 w 527858"/>
                <a:gd name="connsiteY4" fmla="*/ 321660 h 365838"/>
                <a:gd name="connsiteX5" fmla="*/ 523314 w 527858"/>
                <a:gd name="connsiteY5" fmla="*/ 44598 h 365838"/>
                <a:gd name="connsiteX0" fmla="*/ 514270 w 518814"/>
                <a:gd name="connsiteY0" fmla="*/ 142719 h 463963"/>
                <a:gd name="connsiteX1" fmla="*/ 57633 w 518814"/>
                <a:gd name="connsiteY1" fmla="*/ 1 h 463963"/>
                <a:gd name="connsiteX2" fmla="*/ 51326 w 518814"/>
                <a:gd name="connsiteY2" fmla="*/ 278935 h 463963"/>
                <a:gd name="connsiteX3" fmla="*/ 0 w 518814"/>
                <a:gd name="connsiteY3" fmla="*/ 463961 h 463963"/>
                <a:gd name="connsiteX4" fmla="*/ 518814 w 518814"/>
                <a:gd name="connsiteY4" fmla="*/ 419781 h 463963"/>
                <a:gd name="connsiteX5" fmla="*/ 514270 w 518814"/>
                <a:gd name="connsiteY5" fmla="*/ 142719 h 463963"/>
                <a:gd name="connsiteX0" fmla="*/ 535215 w 539759"/>
                <a:gd name="connsiteY0" fmla="*/ 71361 h 392602"/>
                <a:gd name="connsiteX1" fmla="*/ 0 w 539759"/>
                <a:gd name="connsiteY1" fmla="*/ -2 h 392602"/>
                <a:gd name="connsiteX2" fmla="*/ 72271 w 539759"/>
                <a:gd name="connsiteY2" fmla="*/ 207577 h 392602"/>
                <a:gd name="connsiteX3" fmla="*/ 20945 w 539759"/>
                <a:gd name="connsiteY3" fmla="*/ 392603 h 392602"/>
                <a:gd name="connsiteX4" fmla="*/ 539759 w 539759"/>
                <a:gd name="connsiteY4" fmla="*/ 348423 h 392602"/>
                <a:gd name="connsiteX5" fmla="*/ 535215 w 539759"/>
                <a:gd name="connsiteY5" fmla="*/ 71361 h 392602"/>
                <a:gd name="connsiteX0" fmla="*/ 535215 w 539759"/>
                <a:gd name="connsiteY0" fmla="*/ 71365 h 392606"/>
                <a:gd name="connsiteX1" fmla="*/ 0 w 539759"/>
                <a:gd name="connsiteY1" fmla="*/ 2 h 392606"/>
                <a:gd name="connsiteX2" fmla="*/ 60367 w 539759"/>
                <a:gd name="connsiteY2" fmla="*/ 207580 h 392606"/>
                <a:gd name="connsiteX3" fmla="*/ 20945 w 539759"/>
                <a:gd name="connsiteY3" fmla="*/ 392607 h 392606"/>
                <a:gd name="connsiteX4" fmla="*/ 539759 w 539759"/>
                <a:gd name="connsiteY4" fmla="*/ 348427 h 392606"/>
                <a:gd name="connsiteX5" fmla="*/ 535215 w 539759"/>
                <a:gd name="connsiteY5" fmla="*/ 71365 h 392606"/>
                <a:gd name="connsiteX0" fmla="*/ 535701 w 540245"/>
                <a:gd name="connsiteY0" fmla="*/ 71361 h 437200"/>
                <a:gd name="connsiteX1" fmla="*/ 486 w 540245"/>
                <a:gd name="connsiteY1" fmla="*/ -2 h 437200"/>
                <a:gd name="connsiteX2" fmla="*/ 60853 w 540245"/>
                <a:gd name="connsiteY2" fmla="*/ 207576 h 437200"/>
                <a:gd name="connsiteX3" fmla="*/ 0 w 540245"/>
                <a:gd name="connsiteY3" fmla="*/ 437200 h 437200"/>
                <a:gd name="connsiteX4" fmla="*/ 540245 w 540245"/>
                <a:gd name="connsiteY4" fmla="*/ 348423 h 437200"/>
                <a:gd name="connsiteX5" fmla="*/ 535701 w 540245"/>
                <a:gd name="connsiteY5" fmla="*/ 71361 h 437200"/>
                <a:gd name="connsiteX0" fmla="*/ 551881 w 556425"/>
                <a:gd name="connsiteY0" fmla="*/ 115966 h 481805"/>
                <a:gd name="connsiteX1" fmla="*/ 0 w 556425"/>
                <a:gd name="connsiteY1" fmla="*/ -2 h 481805"/>
                <a:gd name="connsiteX2" fmla="*/ 77033 w 556425"/>
                <a:gd name="connsiteY2" fmla="*/ 252181 h 481805"/>
                <a:gd name="connsiteX3" fmla="*/ 16180 w 556425"/>
                <a:gd name="connsiteY3" fmla="*/ 481805 h 481805"/>
                <a:gd name="connsiteX4" fmla="*/ 556425 w 556425"/>
                <a:gd name="connsiteY4" fmla="*/ 393028 h 481805"/>
                <a:gd name="connsiteX5" fmla="*/ 551881 w 556425"/>
                <a:gd name="connsiteY5" fmla="*/ 115966 h 481805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1 w 558803"/>
                <a:gd name="connsiteY2" fmla="*/ 252188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9413 w 558803"/>
                <a:gd name="connsiteY2" fmla="*/ 234347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481812"/>
                <a:gd name="connsiteX1" fmla="*/ 0 w 558803"/>
                <a:gd name="connsiteY1" fmla="*/ 1 h 481812"/>
                <a:gd name="connsiteX2" fmla="*/ 74653 w 558803"/>
                <a:gd name="connsiteY2" fmla="*/ 270022 h 481812"/>
                <a:gd name="connsiteX3" fmla="*/ 18558 w 558803"/>
                <a:gd name="connsiteY3" fmla="*/ 481812 h 481812"/>
                <a:gd name="connsiteX4" fmla="*/ 558803 w 558803"/>
                <a:gd name="connsiteY4" fmla="*/ 393035 h 481812"/>
                <a:gd name="connsiteX5" fmla="*/ 554259 w 558803"/>
                <a:gd name="connsiteY5" fmla="*/ 115973 h 481812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74653 w 558803"/>
                <a:gd name="connsiteY2" fmla="*/ 27002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43698 w 558803"/>
                <a:gd name="connsiteY2" fmla="*/ 223147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558803"/>
                <a:gd name="connsiteY0" fmla="*/ 115973 h 505244"/>
                <a:gd name="connsiteX1" fmla="*/ 0 w 558803"/>
                <a:gd name="connsiteY1" fmla="*/ 1 h 505244"/>
                <a:gd name="connsiteX2" fmla="*/ 24650 w 558803"/>
                <a:gd name="connsiteY2" fmla="*/ 270002 h 505244"/>
                <a:gd name="connsiteX3" fmla="*/ 1890 w 558803"/>
                <a:gd name="connsiteY3" fmla="*/ 505244 h 505244"/>
                <a:gd name="connsiteX4" fmla="*/ 558803 w 558803"/>
                <a:gd name="connsiteY4" fmla="*/ 393035 h 505244"/>
                <a:gd name="connsiteX5" fmla="*/ 554259 w 558803"/>
                <a:gd name="connsiteY5" fmla="*/ 115973 h 505244"/>
                <a:gd name="connsiteX0" fmla="*/ 554259 w 656436"/>
                <a:gd name="connsiteY0" fmla="*/ 115973 h 505244"/>
                <a:gd name="connsiteX1" fmla="*/ 0 w 656436"/>
                <a:gd name="connsiteY1" fmla="*/ 1 h 505244"/>
                <a:gd name="connsiteX2" fmla="*/ 24650 w 656436"/>
                <a:gd name="connsiteY2" fmla="*/ 270002 h 505244"/>
                <a:gd name="connsiteX3" fmla="*/ 1890 w 656436"/>
                <a:gd name="connsiteY3" fmla="*/ 505244 h 505244"/>
                <a:gd name="connsiteX4" fmla="*/ 656436 w 656436"/>
                <a:gd name="connsiteY4" fmla="*/ 463335 h 505244"/>
                <a:gd name="connsiteX5" fmla="*/ 554259 w 656436"/>
                <a:gd name="connsiteY5" fmla="*/ 115973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  <a:gd name="connsiteX0" fmla="*/ 656653 w 657066"/>
                <a:gd name="connsiteY0" fmla="*/ 115970 h 505244"/>
                <a:gd name="connsiteX1" fmla="*/ 0 w 657066"/>
                <a:gd name="connsiteY1" fmla="*/ 1 h 505244"/>
                <a:gd name="connsiteX2" fmla="*/ 24650 w 657066"/>
                <a:gd name="connsiteY2" fmla="*/ 270002 h 505244"/>
                <a:gd name="connsiteX3" fmla="*/ 1890 w 657066"/>
                <a:gd name="connsiteY3" fmla="*/ 505244 h 505244"/>
                <a:gd name="connsiteX4" fmla="*/ 656436 w 657066"/>
                <a:gd name="connsiteY4" fmla="*/ 463335 h 505244"/>
                <a:gd name="connsiteX5" fmla="*/ 656653 w 657066"/>
                <a:gd name="connsiteY5" fmla="*/ 115970 h 50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066" h="505244">
                  <a:moveTo>
                    <a:pt x="656653" y="115970"/>
                  </a:moveTo>
                  <a:lnTo>
                    <a:pt x="0" y="1"/>
                  </a:lnTo>
                  <a:lnTo>
                    <a:pt x="24650" y="270002"/>
                  </a:lnTo>
                  <a:lnTo>
                    <a:pt x="1890" y="505244"/>
                  </a:lnTo>
                  <a:lnTo>
                    <a:pt x="656436" y="463335"/>
                  </a:lnTo>
                  <a:cubicBezTo>
                    <a:pt x="654921" y="370981"/>
                    <a:pt x="658168" y="208324"/>
                    <a:pt x="656653" y="115970"/>
                  </a:cubicBez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2" name="Freeform: Shape 136">
              <a:extLst>
                <a:ext uri="{FF2B5EF4-FFF2-40B4-BE49-F238E27FC236}">
                  <a16:creationId xmlns:a16="http://schemas.microsoft.com/office/drawing/2014/main" id="{19B781A3-5FDB-470D-8863-40B7385CE0D2}"/>
                </a:ext>
              </a:extLst>
            </p:cNvPr>
            <p:cNvSpPr/>
            <p:nvPr/>
          </p:nvSpPr>
          <p:spPr bwMode="gray">
            <a:xfrm>
              <a:off x="6668124" y="2893334"/>
              <a:ext cx="130720" cy="149393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18" h="149393">
                  <a:moveTo>
                    <a:pt x="3036" y="149068"/>
                  </a:moveTo>
                  <a:lnTo>
                    <a:pt x="53954" y="3036"/>
                  </a:lnTo>
                  <a:lnTo>
                    <a:pt x="131016" y="46858"/>
                  </a:lnTo>
                  <a:lnTo>
                    <a:pt x="98336" y="135186"/>
                  </a:lnTo>
                  <a:lnTo>
                    <a:pt x="43808" y="125849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3" name="Freeform: Shape 137">
              <a:extLst>
                <a:ext uri="{FF2B5EF4-FFF2-40B4-BE49-F238E27FC236}">
                  <a16:creationId xmlns:a16="http://schemas.microsoft.com/office/drawing/2014/main" id="{E5DB56D1-FE91-48FF-8BC8-B8EC70A9D3FF}"/>
                </a:ext>
              </a:extLst>
            </p:cNvPr>
            <p:cNvSpPr/>
            <p:nvPr/>
          </p:nvSpPr>
          <p:spPr bwMode="gray">
            <a:xfrm>
              <a:off x="6382602" y="2938894"/>
              <a:ext cx="147328" cy="159560"/>
            </a:xfrm>
            <a:custGeom>
              <a:avLst/>
              <a:gdLst>
                <a:gd name="connsiteX0" fmla="*/ 3036 w 130718"/>
                <a:gd name="connsiteY0" fmla="*/ 149068 h 149393"/>
                <a:gd name="connsiteX1" fmla="*/ 53954 w 130718"/>
                <a:gd name="connsiteY1" fmla="*/ 3036 h 149393"/>
                <a:gd name="connsiteX2" fmla="*/ 131016 w 130718"/>
                <a:gd name="connsiteY2" fmla="*/ 46858 h 149393"/>
                <a:gd name="connsiteX3" fmla="*/ 98336 w 130718"/>
                <a:gd name="connsiteY3" fmla="*/ 135186 h 149393"/>
                <a:gd name="connsiteX4" fmla="*/ 43808 w 130718"/>
                <a:gd name="connsiteY4" fmla="*/ 125849 h 149393"/>
                <a:gd name="connsiteX0" fmla="*/ 0 w 95300"/>
                <a:gd name="connsiteY0" fmla="*/ 146032 h 146032"/>
                <a:gd name="connsiteX1" fmla="*/ 50918 w 95300"/>
                <a:gd name="connsiteY1" fmla="*/ 0 h 146032"/>
                <a:gd name="connsiteX2" fmla="*/ 75593 w 95300"/>
                <a:gd name="connsiteY2" fmla="*/ 58109 h 146032"/>
                <a:gd name="connsiteX3" fmla="*/ 95300 w 95300"/>
                <a:gd name="connsiteY3" fmla="*/ 132150 h 146032"/>
                <a:gd name="connsiteX4" fmla="*/ 40772 w 95300"/>
                <a:gd name="connsiteY4" fmla="*/ 122813 h 146032"/>
                <a:gd name="connsiteX5" fmla="*/ 0 w 95300"/>
                <a:gd name="connsiteY5" fmla="*/ 146032 h 146032"/>
                <a:gd name="connsiteX0" fmla="*/ 0 w 76250"/>
                <a:gd name="connsiteY0" fmla="*/ 146032 h 146032"/>
                <a:gd name="connsiteX1" fmla="*/ 50918 w 76250"/>
                <a:gd name="connsiteY1" fmla="*/ 0 h 146032"/>
                <a:gd name="connsiteX2" fmla="*/ 75593 w 76250"/>
                <a:gd name="connsiteY2" fmla="*/ 58109 h 146032"/>
                <a:gd name="connsiteX3" fmla="*/ 76250 w 76250"/>
                <a:gd name="connsiteY3" fmla="*/ 139294 h 146032"/>
                <a:gd name="connsiteX4" fmla="*/ 40772 w 76250"/>
                <a:gd name="connsiteY4" fmla="*/ 122813 h 146032"/>
                <a:gd name="connsiteX5" fmla="*/ 0 w 76250"/>
                <a:gd name="connsiteY5" fmla="*/ 146032 h 146032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40772 w 88156"/>
                <a:gd name="connsiteY4" fmla="*/ 122813 h 146438"/>
                <a:gd name="connsiteX5" fmla="*/ 0 w 88156"/>
                <a:gd name="connsiteY5" fmla="*/ 146032 h 146438"/>
                <a:gd name="connsiteX0" fmla="*/ 0 w 88156"/>
                <a:gd name="connsiteY0" fmla="*/ 146032 h 170438"/>
                <a:gd name="connsiteX1" fmla="*/ 50918 w 88156"/>
                <a:gd name="connsiteY1" fmla="*/ 0 h 170438"/>
                <a:gd name="connsiteX2" fmla="*/ 75593 w 88156"/>
                <a:gd name="connsiteY2" fmla="*/ 58109 h 170438"/>
                <a:gd name="connsiteX3" fmla="*/ 88156 w 88156"/>
                <a:gd name="connsiteY3" fmla="*/ 146438 h 170438"/>
                <a:gd name="connsiteX4" fmla="*/ 31247 w 88156"/>
                <a:gd name="connsiteY4" fmla="*/ 170438 h 170438"/>
                <a:gd name="connsiteX5" fmla="*/ 0 w 88156"/>
                <a:gd name="connsiteY5" fmla="*/ 146032 h 170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75593 w 88156"/>
                <a:gd name="connsiteY2" fmla="*/ 58109 h 146438"/>
                <a:gd name="connsiteX3" fmla="*/ 88156 w 88156"/>
                <a:gd name="connsiteY3" fmla="*/ 146438 h 146438"/>
                <a:gd name="connsiteX4" fmla="*/ 0 w 88156"/>
                <a:gd name="connsiteY4" fmla="*/ 146032 h 146438"/>
                <a:gd name="connsiteX0" fmla="*/ 0 w 88156"/>
                <a:gd name="connsiteY0" fmla="*/ 146032 h 146438"/>
                <a:gd name="connsiteX1" fmla="*/ 50918 w 88156"/>
                <a:gd name="connsiteY1" fmla="*/ 0 h 146438"/>
                <a:gd name="connsiteX2" fmla="*/ 88156 w 88156"/>
                <a:gd name="connsiteY2" fmla="*/ 146438 h 146438"/>
                <a:gd name="connsiteX3" fmla="*/ 0 w 88156"/>
                <a:gd name="connsiteY3" fmla="*/ 146032 h 146438"/>
                <a:gd name="connsiteX0" fmla="*/ 0 w 88156"/>
                <a:gd name="connsiteY0" fmla="*/ 143651 h 144057"/>
                <a:gd name="connsiteX1" fmla="*/ 65205 w 88156"/>
                <a:gd name="connsiteY1" fmla="*/ 0 h 144057"/>
                <a:gd name="connsiteX2" fmla="*/ 88156 w 88156"/>
                <a:gd name="connsiteY2" fmla="*/ 144057 h 144057"/>
                <a:gd name="connsiteX3" fmla="*/ 0 w 88156"/>
                <a:gd name="connsiteY3" fmla="*/ 143651 h 144057"/>
                <a:gd name="connsiteX0" fmla="*/ 0 w 80362"/>
                <a:gd name="connsiteY0" fmla="*/ 174989 h 174989"/>
                <a:gd name="connsiteX1" fmla="*/ 57411 w 80362"/>
                <a:gd name="connsiteY1" fmla="*/ 0 h 174989"/>
                <a:gd name="connsiteX2" fmla="*/ 80362 w 80362"/>
                <a:gd name="connsiteY2" fmla="*/ 144057 h 174989"/>
                <a:gd name="connsiteX3" fmla="*/ 0 w 80362"/>
                <a:gd name="connsiteY3" fmla="*/ 174989 h 17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62" h="174989">
                  <a:moveTo>
                    <a:pt x="0" y="174989"/>
                  </a:moveTo>
                  <a:lnTo>
                    <a:pt x="57411" y="0"/>
                  </a:lnTo>
                  <a:lnTo>
                    <a:pt x="80362" y="144057"/>
                  </a:lnTo>
                  <a:lnTo>
                    <a:pt x="0" y="17498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4" name="Freeform: Shape 138">
              <a:extLst>
                <a:ext uri="{FF2B5EF4-FFF2-40B4-BE49-F238E27FC236}">
                  <a16:creationId xmlns:a16="http://schemas.microsoft.com/office/drawing/2014/main" id="{B6EFAF8C-8585-46C6-89A7-6BA87F768ADE}"/>
                </a:ext>
              </a:extLst>
            </p:cNvPr>
            <p:cNvSpPr/>
            <p:nvPr/>
          </p:nvSpPr>
          <p:spPr bwMode="gray">
            <a:xfrm>
              <a:off x="6482292" y="2893342"/>
              <a:ext cx="124494" cy="149393"/>
            </a:xfrm>
            <a:custGeom>
              <a:avLst/>
              <a:gdLst>
                <a:gd name="connsiteX0" fmla="*/ 123484 w 124494"/>
                <a:gd name="connsiteY0" fmla="*/ 149068 h 149393"/>
                <a:gd name="connsiteX1" fmla="*/ 68582 w 124494"/>
                <a:gd name="connsiteY1" fmla="*/ 3036 h 149393"/>
                <a:gd name="connsiteX2" fmla="*/ 3036 w 124494"/>
                <a:gd name="connsiteY2" fmla="*/ 45364 h 149393"/>
                <a:gd name="connsiteX3" fmla="*/ 35716 w 124494"/>
                <a:gd name="connsiteY3" fmla="*/ 135186 h 149393"/>
                <a:gd name="connsiteX4" fmla="*/ 77732 w 124494"/>
                <a:gd name="connsiteY4" fmla="*/ 126347 h 14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494" h="149393">
                  <a:moveTo>
                    <a:pt x="123484" y="149068"/>
                  </a:moveTo>
                  <a:lnTo>
                    <a:pt x="68582" y="3036"/>
                  </a:lnTo>
                  <a:lnTo>
                    <a:pt x="3036" y="45364"/>
                  </a:lnTo>
                  <a:lnTo>
                    <a:pt x="35716" y="135186"/>
                  </a:lnTo>
                  <a:lnTo>
                    <a:pt x="77732" y="126347"/>
                  </a:lnTo>
                  <a:close/>
                </a:path>
              </a:pathLst>
            </a:custGeom>
            <a:solidFill>
              <a:schemeClr val="accent4"/>
            </a:solidFill>
            <a:ln w="6194" cap="flat">
              <a:noFill/>
              <a:prstDash val="solid"/>
              <a:miter/>
            </a:ln>
            <a:effectLst/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25EBE7-EBD0-4A33-BA6C-B3B853B0E6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11373911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C2FA06A-35E5-499B-8D54-BDCFFB9105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75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C2FA06A-35E5-499B-8D54-BDCFFB910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C63B330-CB7B-401D-8148-BDC05570B48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1/2)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855DCC0-21F5-4AEC-BA75-AD49E38DBB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Wettbewerb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F24C1F-F01D-49E1-BB9E-30CC00CD96ED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44D40EB-11F3-4709-8E85-5D7014524CF7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1AD052-C5E2-4EEB-8D8D-59793301FB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4</a:t>
            </a:fld>
            <a:endParaRPr lang="de-DE" dirty="0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6130985E-FF4E-4A78-A054-78A735CAEF2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30410" y="2955143"/>
            <a:ext cx="480890" cy="479808"/>
            <a:chOff x="1834" y="159"/>
            <a:chExt cx="3999" cy="3990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608DF5FF-1CB3-4546-9508-07D66B6DE7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59"/>
              <a:ext cx="3999" cy="3990"/>
            </a:xfrm>
            <a:custGeom>
              <a:avLst/>
              <a:gdLst>
                <a:gd name="T0" fmla="*/ 11073 w 11078"/>
                <a:gd name="T1" fmla="*/ 6844 h 11083"/>
                <a:gd name="T2" fmla="*/ 11073 w 11078"/>
                <a:gd name="T3" fmla="*/ 7488 h 11083"/>
                <a:gd name="T4" fmla="*/ 11029 w 11078"/>
                <a:gd name="T5" fmla="*/ 7817 h 11083"/>
                <a:gd name="T6" fmla="*/ 10816 w 11078"/>
                <a:gd name="T7" fmla="*/ 8088 h 11083"/>
                <a:gd name="T8" fmla="*/ 8092 w 11078"/>
                <a:gd name="T9" fmla="*/ 10813 h 11083"/>
                <a:gd name="T10" fmla="*/ 7811 w 11078"/>
                <a:gd name="T11" fmla="*/ 11029 h 11083"/>
                <a:gd name="T12" fmla="*/ 7450 w 11078"/>
                <a:gd name="T13" fmla="*/ 11073 h 11083"/>
                <a:gd name="T14" fmla="*/ 3607 w 11078"/>
                <a:gd name="T15" fmla="*/ 11073 h 11083"/>
                <a:gd name="T16" fmla="*/ 3241 w 11078"/>
                <a:gd name="T17" fmla="*/ 11013 h 11083"/>
                <a:gd name="T18" fmla="*/ 3007 w 11078"/>
                <a:gd name="T19" fmla="*/ 10839 h 11083"/>
                <a:gd name="T20" fmla="*/ 258 w 11078"/>
                <a:gd name="T21" fmla="*/ 8093 h 11083"/>
                <a:gd name="T22" fmla="*/ 65 w 11078"/>
                <a:gd name="T23" fmla="*/ 7812 h 11083"/>
                <a:gd name="T24" fmla="*/ 0 w 11078"/>
                <a:gd name="T25" fmla="*/ 7470 h 11083"/>
                <a:gd name="T26" fmla="*/ 0 w 11078"/>
                <a:gd name="T27" fmla="*/ 6844 h 11083"/>
                <a:gd name="T28" fmla="*/ 0 w 11078"/>
                <a:gd name="T29" fmla="*/ 3664 h 11083"/>
                <a:gd name="T30" fmla="*/ 74 w 11078"/>
                <a:gd name="T31" fmla="*/ 3278 h 11083"/>
                <a:gd name="T32" fmla="*/ 275 w 11078"/>
                <a:gd name="T33" fmla="*/ 2978 h 11083"/>
                <a:gd name="T34" fmla="*/ 2963 w 11078"/>
                <a:gd name="T35" fmla="*/ 276 h 11083"/>
                <a:gd name="T36" fmla="*/ 3263 w 11078"/>
                <a:gd name="T37" fmla="*/ 61 h 11083"/>
                <a:gd name="T38" fmla="*/ 3676 w 11078"/>
                <a:gd name="T39" fmla="*/ 1 h 11083"/>
                <a:gd name="T40" fmla="*/ 7479 w 11078"/>
                <a:gd name="T41" fmla="*/ 1 h 11083"/>
                <a:gd name="T42" fmla="*/ 7809 w 11078"/>
                <a:gd name="T43" fmla="*/ 66 h 11083"/>
                <a:gd name="T44" fmla="*/ 8056 w 11078"/>
                <a:gd name="T45" fmla="*/ 225 h 11083"/>
                <a:gd name="T46" fmla="*/ 10811 w 11078"/>
                <a:gd name="T47" fmla="*/ 2981 h 11083"/>
                <a:gd name="T48" fmla="*/ 11021 w 11078"/>
                <a:gd name="T49" fmla="*/ 3261 h 11083"/>
                <a:gd name="T50" fmla="*/ 11073 w 11078"/>
                <a:gd name="T51" fmla="*/ 3625 h 11083"/>
                <a:gd name="T52" fmla="*/ 11073 w 11078"/>
                <a:gd name="T53" fmla="*/ 4220 h 11083"/>
                <a:gd name="T54" fmla="*/ 11073 w 11078"/>
                <a:gd name="T55" fmla="*/ 6844 h 1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078" h="11083">
                  <a:moveTo>
                    <a:pt x="11073" y="6844"/>
                  </a:moveTo>
                  <a:lnTo>
                    <a:pt x="11073" y="7488"/>
                  </a:lnTo>
                  <a:cubicBezTo>
                    <a:pt x="11073" y="7488"/>
                    <a:pt x="11078" y="7697"/>
                    <a:pt x="11029" y="7817"/>
                  </a:cubicBezTo>
                  <a:cubicBezTo>
                    <a:pt x="10977" y="7941"/>
                    <a:pt x="10816" y="8088"/>
                    <a:pt x="10816" y="8088"/>
                  </a:cubicBezTo>
                  <a:lnTo>
                    <a:pt x="8092" y="10813"/>
                  </a:lnTo>
                  <a:cubicBezTo>
                    <a:pt x="8092" y="10813"/>
                    <a:pt x="7945" y="10977"/>
                    <a:pt x="7811" y="11029"/>
                  </a:cubicBezTo>
                  <a:cubicBezTo>
                    <a:pt x="7677" y="11083"/>
                    <a:pt x="7450" y="11073"/>
                    <a:pt x="7450" y="11073"/>
                  </a:cubicBezTo>
                  <a:lnTo>
                    <a:pt x="3607" y="11073"/>
                  </a:lnTo>
                  <a:cubicBezTo>
                    <a:pt x="3607" y="11073"/>
                    <a:pt x="3363" y="11081"/>
                    <a:pt x="3241" y="11013"/>
                  </a:cubicBezTo>
                  <a:cubicBezTo>
                    <a:pt x="3116" y="10942"/>
                    <a:pt x="3007" y="10839"/>
                    <a:pt x="3007" y="10839"/>
                  </a:cubicBezTo>
                  <a:lnTo>
                    <a:pt x="258" y="8093"/>
                  </a:lnTo>
                  <a:cubicBezTo>
                    <a:pt x="258" y="8093"/>
                    <a:pt x="126" y="7942"/>
                    <a:pt x="65" y="7812"/>
                  </a:cubicBezTo>
                  <a:cubicBezTo>
                    <a:pt x="6" y="7687"/>
                    <a:pt x="0" y="7470"/>
                    <a:pt x="0" y="7470"/>
                  </a:cubicBezTo>
                  <a:lnTo>
                    <a:pt x="0" y="6844"/>
                  </a:lnTo>
                  <a:lnTo>
                    <a:pt x="0" y="3664"/>
                  </a:lnTo>
                  <a:cubicBezTo>
                    <a:pt x="0" y="3664"/>
                    <a:pt x="10" y="3439"/>
                    <a:pt x="74" y="3278"/>
                  </a:cubicBezTo>
                  <a:cubicBezTo>
                    <a:pt x="141" y="3112"/>
                    <a:pt x="275" y="2978"/>
                    <a:pt x="275" y="2978"/>
                  </a:cubicBezTo>
                  <a:lnTo>
                    <a:pt x="2963" y="276"/>
                  </a:lnTo>
                  <a:cubicBezTo>
                    <a:pt x="2963" y="276"/>
                    <a:pt x="3109" y="126"/>
                    <a:pt x="3263" y="61"/>
                  </a:cubicBezTo>
                  <a:cubicBezTo>
                    <a:pt x="3383" y="9"/>
                    <a:pt x="3676" y="1"/>
                    <a:pt x="3676" y="1"/>
                  </a:cubicBezTo>
                  <a:lnTo>
                    <a:pt x="7479" y="1"/>
                  </a:lnTo>
                  <a:cubicBezTo>
                    <a:pt x="7479" y="1"/>
                    <a:pt x="7665" y="0"/>
                    <a:pt x="7809" y="66"/>
                  </a:cubicBezTo>
                  <a:cubicBezTo>
                    <a:pt x="7938" y="124"/>
                    <a:pt x="8056" y="225"/>
                    <a:pt x="8056" y="225"/>
                  </a:cubicBezTo>
                  <a:lnTo>
                    <a:pt x="10811" y="2981"/>
                  </a:lnTo>
                  <a:cubicBezTo>
                    <a:pt x="10811" y="2981"/>
                    <a:pt x="10969" y="3135"/>
                    <a:pt x="11021" y="3261"/>
                  </a:cubicBezTo>
                  <a:cubicBezTo>
                    <a:pt x="11077" y="3393"/>
                    <a:pt x="11073" y="3625"/>
                    <a:pt x="11073" y="3625"/>
                  </a:cubicBezTo>
                  <a:lnTo>
                    <a:pt x="11073" y="4220"/>
                  </a:lnTo>
                  <a:lnTo>
                    <a:pt x="11073" y="68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936024C-503F-4183-9B5D-AA2057040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603"/>
              <a:ext cx="3825" cy="1459"/>
            </a:xfrm>
            <a:custGeom>
              <a:avLst/>
              <a:gdLst>
                <a:gd name="T0" fmla="*/ 0 w 10594"/>
                <a:gd name="T1" fmla="*/ 0 h 4054"/>
                <a:gd name="T2" fmla="*/ 0 w 10594"/>
                <a:gd name="T3" fmla="*/ 599 h 4054"/>
                <a:gd name="T4" fmla="*/ 62 w 10594"/>
                <a:gd name="T5" fmla="*/ 925 h 4054"/>
                <a:gd name="T6" fmla="*/ 246 w 10594"/>
                <a:gd name="T7" fmla="*/ 1194 h 4054"/>
                <a:gd name="T8" fmla="*/ 2875 w 10594"/>
                <a:gd name="T9" fmla="*/ 3820 h 4054"/>
                <a:gd name="T10" fmla="*/ 3100 w 10594"/>
                <a:gd name="T11" fmla="*/ 3986 h 4054"/>
                <a:gd name="T12" fmla="*/ 3449 w 10594"/>
                <a:gd name="T13" fmla="*/ 4045 h 4054"/>
                <a:gd name="T14" fmla="*/ 7123 w 10594"/>
                <a:gd name="T15" fmla="*/ 4045 h 4054"/>
                <a:gd name="T16" fmla="*/ 7469 w 10594"/>
                <a:gd name="T17" fmla="*/ 4002 h 4054"/>
                <a:gd name="T18" fmla="*/ 7737 w 10594"/>
                <a:gd name="T19" fmla="*/ 3795 h 4054"/>
                <a:gd name="T20" fmla="*/ 10343 w 10594"/>
                <a:gd name="T21" fmla="*/ 1189 h 4054"/>
                <a:gd name="T22" fmla="*/ 10546 w 10594"/>
                <a:gd name="T23" fmla="*/ 930 h 4054"/>
                <a:gd name="T24" fmla="*/ 10587 w 10594"/>
                <a:gd name="T25" fmla="*/ 615 h 4054"/>
                <a:gd name="T26" fmla="*/ 10587 w 10594"/>
                <a:gd name="T27" fmla="*/ 0 h 4054"/>
                <a:gd name="T28" fmla="*/ 10055 w 10594"/>
                <a:gd name="T29" fmla="*/ 0 h 4054"/>
                <a:gd name="T30" fmla="*/ 10057 w 10594"/>
                <a:gd name="T31" fmla="*/ 397 h 4054"/>
                <a:gd name="T32" fmla="*/ 10016 w 10594"/>
                <a:gd name="T33" fmla="*/ 711 h 4054"/>
                <a:gd name="T34" fmla="*/ 9835 w 10594"/>
                <a:gd name="T35" fmla="*/ 948 h 4054"/>
                <a:gd name="T36" fmla="*/ 7532 w 10594"/>
                <a:gd name="T37" fmla="*/ 3260 h 4054"/>
                <a:gd name="T38" fmla="*/ 7243 w 10594"/>
                <a:gd name="T39" fmla="*/ 3473 h 4054"/>
                <a:gd name="T40" fmla="*/ 6878 w 10594"/>
                <a:gd name="T41" fmla="*/ 3515 h 4054"/>
                <a:gd name="T42" fmla="*/ 3741 w 10594"/>
                <a:gd name="T43" fmla="*/ 3519 h 4054"/>
                <a:gd name="T44" fmla="*/ 3333 w 10594"/>
                <a:gd name="T45" fmla="*/ 3470 h 4054"/>
                <a:gd name="T46" fmla="*/ 3046 w 10594"/>
                <a:gd name="T47" fmla="*/ 3243 h 4054"/>
                <a:gd name="T48" fmla="*/ 793 w 10594"/>
                <a:gd name="T49" fmla="*/ 990 h 4054"/>
                <a:gd name="T50" fmla="*/ 573 w 10594"/>
                <a:gd name="T51" fmla="*/ 716 h 4054"/>
                <a:gd name="T52" fmla="*/ 566 w 10594"/>
                <a:gd name="T53" fmla="*/ 699 h 4054"/>
                <a:gd name="T54" fmla="*/ 522 w 10594"/>
                <a:gd name="T55" fmla="*/ 331 h 4054"/>
                <a:gd name="T56" fmla="*/ 522 w 10594"/>
                <a:gd name="T57" fmla="*/ 0 h 4054"/>
                <a:gd name="T58" fmla="*/ 0 w 10594"/>
                <a:gd name="T59" fmla="*/ 0 h 4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594" h="4054">
                  <a:moveTo>
                    <a:pt x="0" y="0"/>
                  </a:moveTo>
                  <a:lnTo>
                    <a:pt x="0" y="599"/>
                  </a:lnTo>
                  <a:cubicBezTo>
                    <a:pt x="0" y="599"/>
                    <a:pt x="5" y="806"/>
                    <a:pt x="62" y="925"/>
                  </a:cubicBezTo>
                  <a:cubicBezTo>
                    <a:pt x="120" y="1050"/>
                    <a:pt x="246" y="1194"/>
                    <a:pt x="246" y="1194"/>
                  </a:cubicBezTo>
                  <a:lnTo>
                    <a:pt x="2875" y="3820"/>
                  </a:lnTo>
                  <a:cubicBezTo>
                    <a:pt x="2875" y="3820"/>
                    <a:pt x="2980" y="3919"/>
                    <a:pt x="3100" y="3986"/>
                  </a:cubicBezTo>
                  <a:cubicBezTo>
                    <a:pt x="3216" y="4052"/>
                    <a:pt x="3449" y="4045"/>
                    <a:pt x="3449" y="4045"/>
                  </a:cubicBezTo>
                  <a:lnTo>
                    <a:pt x="7123" y="4045"/>
                  </a:lnTo>
                  <a:cubicBezTo>
                    <a:pt x="7123" y="4045"/>
                    <a:pt x="7340" y="4054"/>
                    <a:pt x="7469" y="4002"/>
                  </a:cubicBezTo>
                  <a:cubicBezTo>
                    <a:pt x="7596" y="3952"/>
                    <a:pt x="7737" y="3795"/>
                    <a:pt x="7737" y="3795"/>
                  </a:cubicBezTo>
                  <a:lnTo>
                    <a:pt x="10343" y="1189"/>
                  </a:lnTo>
                  <a:cubicBezTo>
                    <a:pt x="10343" y="1189"/>
                    <a:pt x="10496" y="1049"/>
                    <a:pt x="10546" y="930"/>
                  </a:cubicBezTo>
                  <a:cubicBezTo>
                    <a:pt x="10594" y="816"/>
                    <a:pt x="10587" y="615"/>
                    <a:pt x="10587" y="615"/>
                  </a:cubicBezTo>
                  <a:lnTo>
                    <a:pt x="10587" y="0"/>
                  </a:lnTo>
                  <a:lnTo>
                    <a:pt x="10055" y="0"/>
                  </a:lnTo>
                  <a:lnTo>
                    <a:pt x="10057" y="397"/>
                  </a:lnTo>
                  <a:cubicBezTo>
                    <a:pt x="10057" y="397"/>
                    <a:pt x="10060" y="609"/>
                    <a:pt x="10016" y="711"/>
                  </a:cubicBezTo>
                  <a:cubicBezTo>
                    <a:pt x="9964" y="832"/>
                    <a:pt x="9835" y="948"/>
                    <a:pt x="9835" y="948"/>
                  </a:cubicBezTo>
                  <a:lnTo>
                    <a:pt x="7532" y="3260"/>
                  </a:lnTo>
                  <a:cubicBezTo>
                    <a:pt x="7532" y="3260"/>
                    <a:pt x="7411" y="3405"/>
                    <a:pt x="7243" y="3473"/>
                  </a:cubicBezTo>
                  <a:cubicBezTo>
                    <a:pt x="7094" y="3532"/>
                    <a:pt x="6878" y="3515"/>
                    <a:pt x="6878" y="3515"/>
                  </a:cubicBezTo>
                  <a:lnTo>
                    <a:pt x="3741" y="3519"/>
                  </a:lnTo>
                  <a:cubicBezTo>
                    <a:pt x="3741" y="3519"/>
                    <a:pt x="3483" y="3535"/>
                    <a:pt x="3333" y="3470"/>
                  </a:cubicBezTo>
                  <a:cubicBezTo>
                    <a:pt x="3191" y="3409"/>
                    <a:pt x="3046" y="3243"/>
                    <a:pt x="3046" y="3243"/>
                  </a:cubicBezTo>
                  <a:lnTo>
                    <a:pt x="793" y="990"/>
                  </a:lnTo>
                  <a:cubicBezTo>
                    <a:pt x="793" y="990"/>
                    <a:pt x="630" y="843"/>
                    <a:pt x="573" y="716"/>
                  </a:cubicBezTo>
                  <a:lnTo>
                    <a:pt x="566" y="699"/>
                  </a:lnTo>
                  <a:cubicBezTo>
                    <a:pt x="513" y="564"/>
                    <a:pt x="522" y="331"/>
                    <a:pt x="522" y="331"/>
                  </a:cubicBezTo>
                  <a:lnTo>
                    <a:pt x="52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2449503E-9AE6-41F1-BB73-39B7CF97A4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6" y="2603"/>
              <a:ext cx="2752" cy="922"/>
            </a:xfrm>
            <a:custGeom>
              <a:avLst/>
              <a:gdLst>
                <a:gd name="T0" fmla="*/ 0 w 7623"/>
                <a:gd name="T1" fmla="*/ 0 h 2562"/>
                <a:gd name="T2" fmla="*/ 0 w 7623"/>
                <a:gd name="T3" fmla="*/ 289 h 2562"/>
                <a:gd name="T4" fmla="*/ 48 w 7623"/>
                <a:gd name="T5" fmla="*/ 380 h 2562"/>
                <a:gd name="T6" fmla="*/ 2198 w 7623"/>
                <a:gd name="T7" fmla="*/ 2531 h 2562"/>
                <a:gd name="T8" fmla="*/ 2265 w 7623"/>
                <a:gd name="T9" fmla="*/ 2562 h 2562"/>
                <a:gd name="T10" fmla="*/ 5352 w 7623"/>
                <a:gd name="T11" fmla="*/ 2561 h 2562"/>
                <a:gd name="T12" fmla="*/ 5422 w 7623"/>
                <a:gd name="T13" fmla="*/ 2531 h 2562"/>
                <a:gd name="T14" fmla="*/ 7596 w 7623"/>
                <a:gd name="T15" fmla="*/ 361 h 2562"/>
                <a:gd name="T16" fmla="*/ 7623 w 7623"/>
                <a:gd name="T17" fmla="*/ 289 h 2562"/>
                <a:gd name="T18" fmla="*/ 7623 w 7623"/>
                <a:gd name="T19" fmla="*/ 0 h 2562"/>
                <a:gd name="T20" fmla="*/ 7589 w 7623"/>
                <a:gd name="T21" fmla="*/ 1 h 2562"/>
                <a:gd name="T22" fmla="*/ 0 w 7623"/>
                <a:gd name="T23" fmla="*/ 0 h 2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23" h="2562">
                  <a:moveTo>
                    <a:pt x="0" y="0"/>
                  </a:moveTo>
                  <a:lnTo>
                    <a:pt x="0" y="289"/>
                  </a:lnTo>
                  <a:cubicBezTo>
                    <a:pt x="0" y="333"/>
                    <a:pt x="18" y="350"/>
                    <a:pt x="48" y="380"/>
                  </a:cubicBezTo>
                  <a:lnTo>
                    <a:pt x="2198" y="2531"/>
                  </a:lnTo>
                  <a:cubicBezTo>
                    <a:pt x="2209" y="2542"/>
                    <a:pt x="2249" y="2562"/>
                    <a:pt x="2265" y="2562"/>
                  </a:cubicBezTo>
                  <a:lnTo>
                    <a:pt x="5352" y="2561"/>
                  </a:lnTo>
                  <a:cubicBezTo>
                    <a:pt x="5368" y="2561"/>
                    <a:pt x="5411" y="2543"/>
                    <a:pt x="5422" y="2531"/>
                  </a:cubicBezTo>
                  <a:lnTo>
                    <a:pt x="7596" y="361"/>
                  </a:lnTo>
                  <a:cubicBezTo>
                    <a:pt x="7611" y="344"/>
                    <a:pt x="7623" y="317"/>
                    <a:pt x="7623" y="289"/>
                  </a:cubicBezTo>
                  <a:lnTo>
                    <a:pt x="7623" y="0"/>
                  </a:lnTo>
                  <a:cubicBezTo>
                    <a:pt x="7610" y="1"/>
                    <a:pt x="7615" y="1"/>
                    <a:pt x="7589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462E6CBD-3A38-4D5E-B7BA-063C20263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1" y="247"/>
              <a:ext cx="3824" cy="1452"/>
            </a:xfrm>
            <a:custGeom>
              <a:avLst/>
              <a:gdLst>
                <a:gd name="T0" fmla="*/ 3514 w 10592"/>
                <a:gd name="T1" fmla="*/ 0 h 4035"/>
                <a:gd name="T2" fmla="*/ 3120 w 10592"/>
                <a:gd name="T3" fmla="*/ 58 h 4035"/>
                <a:gd name="T4" fmla="*/ 2833 w 10592"/>
                <a:gd name="T5" fmla="*/ 263 h 4035"/>
                <a:gd name="T6" fmla="*/ 262 w 10592"/>
                <a:gd name="T7" fmla="*/ 2847 h 4035"/>
                <a:gd name="T8" fmla="*/ 71 w 10592"/>
                <a:gd name="T9" fmla="*/ 3134 h 4035"/>
                <a:gd name="T10" fmla="*/ 0 w 10592"/>
                <a:gd name="T11" fmla="*/ 3503 h 4035"/>
                <a:gd name="T12" fmla="*/ 0 w 10592"/>
                <a:gd name="T13" fmla="*/ 4035 h 4035"/>
                <a:gd name="T14" fmla="*/ 522 w 10592"/>
                <a:gd name="T15" fmla="*/ 4035 h 4035"/>
                <a:gd name="T16" fmla="*/ 522 w 10592"/>
                <a:gd name="T17" fmla="*/ 3723 h 4035"/>
                <a:gd name="T18" fmla="*/ 535 w 10592"/>
                <a:gd name="T19" fmla="*/ 3503 h 4035"/>
                <a:gd name="T20" fmla="*/ 540 w 10592"/>
                <a:gd name="T21" fmla="*/ 3474 h 4035"/>
                <a:gd name="T22" fmla="*/ 561 w 10592"/>
                <a:gd name="T23" fmla="*/ 3389 h 4035"/>
                <a:gd name="T24" fmla="*/ 595 w 10592"/>
                <a:gd name="T25" fmla="*/ 3302 h 4035"/>
                <a:gd name="T26" fmla="*/ 782 w 10592"/>
                <a:gd name="T27" fmla="*/ 3067 h 4035"/>
                <a:gd name="T28" fmla="*/ 3062 w 10592"/>
                <a:gd name="T29" fmla="*/ 778 h 4035"/>
                <a:gd name="T30" fmla="*/ 3332 w 10592"/>
                <a:gd name="T31" fmla="*/ 569 h 4035"/>
                <a:gd name="T32" fmla="*/ 3334 w 10592"/>
                <a:gd name="T33" fmla="*/ 569 h 4035"/>
                <a:gd name="T34" fmla="*/ 3735 w 10592"/>
                <a:gd name="T35" fmla="*/ 530 h 4035"/>
                <a:gd name="T36" fmla="*/ 6925 w 10592"/>
                <a:gd name="T37" fmla="*/ 530 h 4035"/>
                <a:gd name="T38" fmla="*/ 6994 w 10592"/>
                <a:gd name="T39" fmla="*/ 533 h 4035"/>
                <a:gd name="T40" fmla="*/ 7193 w 10592"/>
                <a:gd name="T41" fmla="*/ 562 h 4035"/>
                <a:gd name="T42" fmla="*/ 7217 w 10592"/>
                <a:gd name="T43" fmla="*/ 569 h 4035"/>
                <a:gd name="T44" fmla="*/ 7240 w 10592"/>
                <a:gd name="T45" fmla="*/ 576 h 4035"/>
                <a:gd name="T46" fmla="*/ 7252 w 10592"/>
                <a:gd name="T47" fmla="*/ 581 h 4035"/>
                <a:gd name="T48" fmla="*/ 7524 w 10592"/>
                <a:gd name="T49" fmla="*/ 785 h 4035"/>
                <a:gd name="T50" fmla="*/ 9816 w 10592"/>
                <a:gd name="T51" fmla="*/ 3078 h 4035"/>
                <a:gd name="T52" fmla="*/ 10006 w 10592"/>
                <a:gd name="T53" fmla="*/ 3320 h 4035"/>
                <a:gd name="T54" fmla="*/ 10024 w 10592"/>
                <a:gd name="T55" fmla="*/ 3363 h 4035"/>
                <a:gd name="T56" fmla="*/ 10055 w 10592"/>
                <a:gd name="T57" fmla="*/ 3676 h 4035"/>
                <a:gd name="T58" fmla="*/ 10055 w 10592"/>
                <a:gd name="T59" fmla="*/ 4035 h 4035"/>
                <a:gd name="T60" fmla="*/ 10587 w 10592"/>
                <a:gd name="T61" fmla="*/ 4035 h 4035"/>
                <a:gd name="T62" fmla="*/ 10587 w 10592"/>
                <a:gd name="T63" fmla="*/ 3466 h 4035"/>
                <a:gd name="T64" fmla="*/ 10539 w 10592"/>
                <a:gd name="T65" fmla="*/ 3119 h 4035"/>
                <a:gd name="T66" fmla="*/ 10338 w 10592"/>
                <a:gd name="T67" fmla="*/ 2850 h 4035"/>
                <a:gd name="T68" fmla="*/ 7703 w 10592"/>
                <a:gd name="T69" fmla="*/ 215 h 4035"/>
                <a:gd name="T70" fmla="*/ 7467 w 10592"/>
                <a:gd name="T71" fmla="*/ 62 h 4035"/>
                <a:gd name="T72" fmla="*/ 7151 w 10592"/>
                <a:gd name="T73" fmla="*/ 0 h 4035"/>
                <a:gd name="T74" fmla="*/ 3514 w 10592"/>
                <a:gd name="T75" fmla="*/ 0 h 4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92" h="4035">
                  <a:moveTo>
                    <a:pt x="3514" y="0"/>
                  </a:moveTo>
                  <a:cubicBezTo>
                    <a:pt x="3514" y="0"/>
                    <a:pt x="3234" y="8"/>
                    <a:pt x="3120" y="58"/>
                  </a:cubicBezTo>
                  <a:cubicBezTo>
                    <a:pt x="2973" y="121"/>
                    <a:pt x="2833" y="263"/>
                    <a:pt x="2833" y="263"/>
                  </a:cubicBezTo>
                  <a:lnTo>
                    <a:pt x="262" y="2847"/>
                  </a:lnTo>
                  <a:cubicBezTo>
                    <a:pt x="262" y="2847"/>
                    <a:pt x="135" y="2976"/>
                    <a:pt x="71" y="3134"/>
                  </a:cubicBezTo>
                  <a:cubicBezTo>
                    <a:pt x="9" y="3288"/>
                    <a:pt x="0" y="3503"/>
                    <a:pt x="0" y="3503"/>
                  </a:cubicBezTo>
                  <a:lnTo>
                    <a:pt x="0" y="4035"/>
                  </a:lnTo>
                  <a:lnTo>
                    <a:pt x="522" y="4035"/>
                  </a:lnTo>
                  <a:lnTo>
                    <a:pt x="522" y="3723"/>
                  </a:lnTo>
                  <a:cubicBezTo>
                    <a:pt x="522" y="3723"/>
                    <a:pt x="518" y="3618"/>
                    <a:pt x="535" y="3503"/>
                  </a:cubicBezTo>
                  <a:cubicBezTo>
                    <a:pt x="537" y="3494"/>
                    <a:pt x="538" y="3484"/>
                    <a:pt x="540" y="3474"/>
                  </a:cubicBezTo>
                  <a:cubicBezTo>
                    <a:pt x="545" y="3445"/>
                    <a:pt x="552" y="3416"/>
                    <a:pt x="561" y="3389"/>
                  </a:cubicBezTo>
                  <a:lnTo>
                    <a:pt x="595" y="3302"/>
                  </a:lnTo>
                  <a:cubicBezTo>
                    <a:pt x="656" y="3180"/>
                    <a:pt x="782" y="3067"/>
                    <a:pt x="782" y="3067"/>
                  </a:cubicBezTo>
                  <a:lnTo>
                    <a:pt x="3062" y="778"/>
                  </a:lnTo>
                  <a:cubicBezTo>
                    <a:pt x="3062" y="778"/>
                    <a:pt x="3202" y="622"/>
                    <a:pt x="3332" y="569"/>
                  </a:cubicBezTo>
                  <a:lnTo>
                    <a:pt x="3334" y="569"/>
                  </a:lnTo>
                  <a:cubicBezTo>
                    <a:pt x="3461" y="516"/>
                    <a:pt x="3735" y="530"/>
                    <a:pt x="3735" y="530"/>
                  </a:cubicBezTo>
                  <a:lnTo>
                    <a:pt x="6925" y="530"/>
                  </a:lnTo>
                  <a:cubicBezTo>
                    <a:pt x="6925" y="530"/>
                    <a:pt x="6953" y="530"/>
                    <a:pt x="6994" y="533"/>
                  </a:cubicBezTo>
                  <a:cubicBezTo>
                    <a:pt x="7049" y="537"/>
                    <a:pt x="7127" y="545"/>
                    <a:pt x="7193" y="562"/>
                  </a:cubicBezTo>
                  <a:cubicBezTo>
                    <a:pt x="7201" y="564"/>
                    <a:pt x="7209" y="566"/>
                    <a:pt x="7217" y="569"/>
                  </a:cubicBezTo>
                  <a:cubicBezTo>
                    <a:pt x="7225" y="571"/>
                    <a:pt x="7233" y="573"/>
                    <a:pt x="7240" y="576"/>
                  </a:cubicBezTo>
                  <a:lnTo>
                    <a:pt x="7252" y="581"/>
                  </a:lnTo>
                  <a:cubicBezTo>
                    <a:pt x="7388" y="637"/>
                    <a:pt x="7524" y="785"/>
                    <a:pt x="7524" y="785"/>
                  </a:cubicBezTo>
                  <a:lnTo>
                    <a:pt x="9816" y="3078"/>
                  </a:lnTo>
                  <a:cubicBezTo>
                    <a:pt x="9816" y="3078"/>
                    <a:pt x="9945" y="3196"/>
                    <a:pt x="10006" y="3320"/>
                  </a:cubicBezTo>
                  <a:lnTo>
                    <a:pt x="10024" y="3363"/>
                  </a:lnTo>
                  <a:cubicBezTo>
                    <a:pt x="10064" y="3481"/>
                    <a:pt x="10055" y="3676"/>
                    <a:pt x="10055" y="3676"/>
                  </a:cubicBezTo>
                  <a:lnTo>
                    <a:pt x="10055" y="4035"/>
                  </a:lnTo>
                  <a:lnTo>
                    <a:pt x="10587" y="4035"/>
                  </a:lnTo>
                  <a:lnTo>
                    <a:pt x="10587" y="3466"/>
                  </a:lnTo>
                  <a:cubicBezTo>
                    <a:pt x="10587" y="3466"/>
                    <a:pt x="10592" y="3244"/>
                    <a:pt x="10539" y="3119"/>
                  </a:cubicBezTo>
                  <a:cubicBezTo>
                    <a:pt x="10488" y="2998"/>
                    <a:pt x="10338" y="2850"/>
                    <a:pt x="10338" y="2850"/>
                  </a:cubicBezTo>
                  <a:lnTo>
                    <a:pt x="7703" y="215"/>
                  </a:lnTo>
                  <a:cubicBezTo>
                    <a:pt x="7703" y="215"/>
                    <a:pt x="7590" y="118"/>
                    <a:pt x="7467" y="62"/>
                  </a:cubicBezTo>
                  <a:cubicBezTo>
                    <a:pt x="7329" y="0"/>
                    <a:pt x="7151" y="0"/>
                    <a:pt x="7151" y="0"/>
                  </a:cubicBezTo>
                  <a:lnTo>
                    <a:pt x="3514" y="0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3C1FFCFD-B2E6-4CD9-A797-2B195C3EEE63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5" y="781"/>
              <a:ext cx="2757" cy="919"/>
            </a:xfrm>
            <a:custGeom>
              <a:avLst/>
              <a:gdLst>
                <a:gd name="T0" fmla="*/ 2274 w 7636"/>
                <a:gd name="T1" fmla="*/ 0 h 2553"/>
                <a:gd name="T2" fmla="*/ 2206 w 7636"/>
                <a:gd name="T3" fmla="*/ 29 h 2553"/>
                <a:gd name="T4" fmla="*/ 74 w 7636"/>
                <a:gd name="T5" fmla="*/ 2159 h 2553"/>
                <a:gd name="T6" fmla="*/ 0 w 7636"/>
                <a:gd name="T7" fmla="*/ 2314 h 2553"/>
                <a:gd name="T8" fmla="*/ 0 w 7636"/>
                <a:gd name="T9" fmla="*/ 2553 h 2553"/>
                <a:gd name="T10" fmla="*/ 7636 w 7636"/>
                <a:gd name="T11" fmla="*/ 2553 h 2553"/>
                <a:gd name="T12" fmla="*/ 7636 w 7636"/>
                <a:gd name="T13" fmla="*/ 2270 h 2553"/>
                <a:gd name="T14" fmla="*/ 7598 w 7636"/>
                <a:gd name="T15" fmla="*/ 2202 h 2553"/>
                <a:gd name="T16" fmla="*/ 5423 w 7636"/>
                <a:gd name="T17" fmla="*/ 29 h 2553"/>
                <a:gd name="T18" fmla="*/ 5355 w 7636"/>
                <a:gd name="T19" fmla="*/ 0 h 2553"/>
                <a:gd name="T20" fmla="*/ 2274 w 7636"/>
                <a:gd name="T21" fmla="*/ 0 h 2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36" h="2553">
                  <a:moveTo>
                    <a:pt x="2274" y="0"/>
                  </a:moveTo>
                  <a:cubicBezTo>
                    <a:pt x="2258" y="0"/>
                    <a:pt x="2217" y="17"/>
                    <a:pt x="2206" y="29"/>
                  </a:cubicBezTo>
                  <a:lnTo>
                    <a:pt x="74" y="2159"/>
                  </a:lnTo>
                  <a:cubicBezTo>
                    <a:pt x="7" y="2223"/>
                    <a:pt x="0" y="2267"/>
                    <a:pt x="0" y="2314"/>
                  </a:cubicBezTo>
                  <a:lnTo>
                    <a:pt x="0" y="2553"/>
                  </a:lnTo>
                  <a:lnTo>
                    <a:pt x="7636" y="2553"/>
                  </a:lnTo>
                  <a:lnTo>
                    <a:pt x="7636" y="2270"/>
                  </a:lnTo>
                  <a:cubicBezTo>
                    <a:pt x="7636" y="2267"/>
                    <a:pt x="7620" y="2225"/>
                    <a:pt x="7598" y="2202"/>
                  </a:cubicBezTo>
                  <a:lnTo>
                    <a:pt x="5423" y="29"/>
                  </a:lnTo>
                  <a:cubicBezTo>
                    <a:pt x="5412" y="17"/>
                    <a:pt x="5371" y="0"/>
                    <a:pt x="5355" y="0"/>
                  </a:cubicBezTo>
                  <a:lnTo>
                    <a:pt x="2274" y="0"/>
                  </a:lnTo>
                  <a:close/>
                </a:path>
              </a:pathLst>
            </a:custGeom>
            <a:solidFill>
              <a:srgbClr val="008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26A82DC6-D52D-4B34-91C7-0BFB8758DE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" y="1808"/>
              <a:ext cx="3184" cy="705"/>
            </a:xfrm>
            <a:custGeom>
              <a:avLst/>
              <a:gdLst>
                <a:gd name="T0" fmla="*/ 6717 w 8820"/>
                <a:gd name="T1" fmla="*/ 1550 h 1959"/>
                <a:gd name="T2" fmla="*/ 6434 w 8820"/>
                <a:gd name="T3" fmla="*/ 1135 h 1959"/>
                <a:gd name="T4" fmla="*/ 7274 w 8820"/>
                <a:gd name="T5" fmla="*/ 862 h 1959"/>
                <a:gd name="T6" fmla="*/ 7239 w 8820"/>
                <a:gd name="T7" fmla="*/ 684 h 1959"/>
                <a:gd name="T8" fmla="*/ 6476 w 8820"/>
                <a:gd name="T9" fmla="*/ 434 h 1959"/>
                <a:gd name="T10" fmla="*/ 7523 w 8820"/>
                <a:gd name="T11" fmla="*/ 718 h 1959"/>
                <a:gd name="T12" fmla="*/ 6684 w 8820"/>
                <a:gd name="T13" fmla="*/ 1135 h 1959"/>
                <a:gd name="T14" fmla="*/ 7273 w 8820"/>
                <a:gd name="T15" fmla="*/ 1101 h 1959"/>
                <a:gd name="T16" fmla="*/ 6717 w 8820"/>
                <a:gd name="T17" fmla="*/ 1300 h 1959"/>
                <a:gd name="T18" fmla="*/ 6684 w 8820"/>
                <a:gd name="T19" fmla="*/ 1135 h 1959"/>
                <a:gd name="T20" fmla="*/ 6242 w 8820"/>
                <a:gd name="T21" fmla="*/ 717 h 1959"/>
                <a:gd name="T22" fmla="*/ 5958 w 8820"/>
                <a:gd name="T23" fmla="*/ 1550 h 1959"/>
                <a:gd name="T24" fmla="*/ 5155 w 8820"/>
                <a:gd name="T25" fmla="*/ 0 h 1959"/>
                <a:gd name="T26" fmla="*/ 5404 w 8820"/>
                <a:gd name="T27" fmla="*/ 434 h 1959"/>
                <a:gd name="T28" fmla="*/ 5404 w 8820"/>
                <a:gd name="T29" fmla="*/ 1300 h 1959"/>
                <a:gd name="T30" fmla="*/ 5958 w 8820"/>
                <a:gd name="T31" fmla="*/ 684 h 1959"/>
                <a:gd name="T32" fmla="*/ 5993 w 8820"/>
                <a:gd name="T33" fmla="*/ 1265 h 1959"/>
                <a:gd name="T34" fmla="*/ 5404 w 8820"/>
                <a:gd name="T35" fmla="*/ 1300 h 1959"/>
                <a:gd name="T36" fmla="*/ 4663 w 8820"/>
                <a:gd name="T37" fmla="*/ 434 h 1959"/>
                <a:gd name="T38" fmla="*/ 3856 w 8820"/>
                <a:gd name="T39" fmla="*/ 719 h 1959"/>
                <a:gd name="T40" fmla="*/ 4139 w 8820"/>
                <a:gd name="T41" fmla="*/ 1550 h 1959"/>
                <a:gd name="T42" fmla="*/ 4948 w 8820"/>
                <a:gd name="T43" fmla="*/ 1300 h 1959"/>
                <a:gd name="T44" fmla="*/ 4105 w 8820"/>
                <a:gd name="T45" fmla="*/ 1265 h 1959"/>
                <a:gd name="T46" fmla="*/ 4948 w 8820"/>
                <a:gd name="T47" fmla="*/ 1139 h 1959"/>
                <a:gd name="T48" fmla="*/ 4105 w 8820"/>
                <a:gd name="T49" fmla="*/ 903 h 1959"/>
                <a:gd name="T50" fmla="*/ 4140 w 8820"/>
                <a:gd name="T51" fmla="*/ 684 h 1959"/>
                <a:gd name="T52" fmla="*/ 4699 w 8820"/>
                <a:gd name="T53" fmla="*/ 717 h 1959"/>
                <a:gd name="T54" fmla="*/ 4105 w 8820"/>
                <a:gd name="T55" fmla="*/ 903 h 1959"/>
                <a:gd name="T56" fmla="*/ 3659 w 8820"/>
                <a:gd name="T57" fmla="*/ 1681 h 1959"/>
                <a:gd name="T58" fmla="*/ 2863 w 8820"/>
                <a:gd name="T59" fmla="*/ 434 h 1959"/>
                <a:gd name="T60" fmla="*/ 2579 w 8820"/>
                <a:gd name="T61" fmla="*/ 1265 h 1959"/>
                <a:gd name="T62" fmla="*/ 3410 w 8820"/>
                <a:gd name="T63" fmla="*/ 1550 h 1959"/>
                <a:gd name="T64" fmla="*/ 3375 w 8820"/>
                <a:gd name="T65" fmla="*/ 1716 h 1959"/>
                <a:gd name="T66" fmla="*/ 2624 w 8820"/>
                <a:gd name="T67" fmla="*/ 1959 h 1959"/>
                <a:gd name="T68" fmla="*/ 2863 w 8820"/>
                <a:gd name="T69" fmla="*/ 1300 h 1959"/>
                <a:gd name="T70" fmla="*/ 2828 w 8820"/>
                <a:gd name="T71" fmla="*/ 718 h 1959"/>
                <a:gd name="T72" fmla="*/ 3410 w 8820"/>
                <a:gd name="T73" fmla="*/ 684 h 1959"/>
                <a:gd name="T74" fmla="*/ 2863 w 8820"/>
                <a:gd name="T75" fmla="*/ 1300 h 1959"/>
                <a:gd name="T76" fmla="*/ 1557 w 8820"/>
                <a:gd name="T77" fmla="*/ 1550 h 1959"/>
                <a:gd name="T78" fmla="*/ 1273 w 8820"/>
                <a:gd name="T79" fmla="*/ 1135 h 1959"/>
                <a:gd name="T80" fmla="*/ 2113 w 8820"/>
                <a:gd name="T81" fmla="*/ 862 h 1959"/>
                <a:gd name="T82" fmla="*/ 2079 w 8820"/>
                <a:gd name="T83" fmla="*/ 684 h 1959"/>
                <a:gd name="T84" fmla="*/ 1315 w 8820"/>
                <a:gd name="T85" fmla="*/ 434 h 1959"/>
                <a:gd name="T86" fmla="*/ 2363 w 8820"/>
                <a:gd name="T87" fmla="*/ 718 h 1959"/>
                <a:gd name="T88" fmla="*/ 1524 w 8820"/>
                <a:gd name="T89" fmla="*/ 1135 h 1959"/>
                <a:gd name="T90" fmla="*/ 2112 w 8820"/>
                <a:gd name="T91" fmla="*/ 1101 h 1959"/>
                <a:gd name="T92" fmla="*/ 1557 w 8820"/>
                <a:gd name="T93" fmla="*/ 1300 h 1959"/>
                <a:gd name="T94" fmla="*/ 1524 w 8820"/>
                <a:gd name="T95" fmla="*/ 1135 h 1959"/>
                <a:gd name="T96" fmla="*/ 8820 w 8820"/>
                <a:gd name="T97" fmla="*/ 434 h 1959"/>
                <a:gd name="T98" fmla="*/ 8571 w 8820"/>
                <a:gd name="T99" fmla="*/ 1300 h 1959"/>
                <a:gd name="T100" fmla="*/ 7979 w 8820"/>
                <a:gd name="T101" fmla="*/ 1263 h 1959"/>
                <a:gd name="T102" fmla="*/ 7728 w 8820"/>
                <a:gd name="T103" fmla="*/ 434 h 1959"/>
                <a:gd name="T104" fmla="*/ 8011 w 8820"/>
                <a:gd name="T105" fmla="*/ 1550 h 1959"/>
                <a:gd name="T106" fmla="*/ 1089 w 8820"/>
                <a:gd name="T107" fmla="*/ 718 h 1959"/>
                <a:gd name="T108" fmla="*/ 252 w 8820"/>
                <a:gd name="T109" fmla="*/ 434 h 1959"/>
                <a:gd name="T110" fmla="*/ 0 w 8820"/>
                <a:gd name="T111" fmla="*/ 0 h 1959"/>
                <a:gd name="T112" fmla="*/ 252 w 8820"/>
                <a:gd name="T113" fmla="*/ 1550 h 1959"/>
                <a:gd name="T114" fmla="*/ 804 w 8820"/>
                <a:gd name="T115" fmla="*/ 684 h 1959"/>
                <a:gd name="T116" fmla="*/ 841 w 8820"/>
                <a:gd name="T117" fmla="*/ 1550 h 1959"/>
                <a:gd name="T118" fmla="*/ 1089 w 8820"/>
                <a:gd name="T119" fmla="*/ 718 h 1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20" h="1959">
                  <a:moveTo>
                    <a:pt x="7523" y="1550"/>
                  </a:moveTo>
                  <a:lnTo>
                    <a:pt x="6717" y="1550"/>
                  </a:lnTo>
                  <a:cubicBezTo>
                    <a:pt x="6561" y="1549"/>
                    <a:pt x="6434" y="1422"/>
                    <a:pt x="6434" y="1265"/>
                  </a:cubicBezTo>
                  <a:lnTo>
                    <a:pt x="6434" y="1135"/>
                  </a:lnTo>
                  <a:cubicBezTo>
                    <a:pt x="6434" y="984"/>
                    <a:pt x="6556" y="862"/>
                    <a:pt x="6707" y="862"/>
                  </a:cubicBezTo>
                  <a:lnTo>
                    <a:pt x="7274" y="862"/>
                  </a:lnTo>
                  <a:lnTo>
                    <a:pt x="7274" y="718"/>
                  </a:lnTo>
                  <a:cubicBezTo>
                    <a:pt x="7274" y="699"/>
                    <a:pt x="7258" y="684"/>
                    <a:pt x="7239" y="684"/>
                  </a:cubicBezTo>
                  <a:lnTo>
                    <a:pt x="6476" y="684"/>
                  </a:lnTo>
                  <a:lnTo>
                    <a:pt x="6476" y="434"/>
                  </a:lnTo>
                  <a:lnTo>
                    <a:pt x="7239" y="434"/>
                  </a:lnTo>
                  <a:cubicBezTo>
                    <a:pt x="7396" y="434"/>
                    <a:pt x="7523" y="561"/>
                    <a:pt x="7523" y="718"/>
                  </a:cubicBezTo>
                  <a:lnTo>
                    <a:pt x="7523" y="1550"/>
                  </a:lnTo>
                  <a:close/>
                  <a:moveTo>
                    <a:pt x="6684" y="1135"/>
                  </a:moveTo>
                  <a:cubicBezTo>
                    <a:pt x="6684" y="1116"/>
                    <a:pt x="6699" y="1101"/>
                    <a:pt x="6717" y="1101"/>
                  </a:cubicBezTo>
                  <a:lnTo>
                    <a:pt x="7273" y="1101"/>
                  </a:lnTo>
                  <a:lnTo>
                    <a:pt x="7273" y="1300"/>
                  </a:lnTo>
                  <a:lnTo>
                    <a:pt x="6717" y="1300"/>
                  </a:lnTo>
                  <a:cubicBezTo>
                    <a:pt x="6698" y="1300"/>
                    <a:pt x="6684" y="1283"/>
                    <a:pt x="6684" y="1265"/>
                  </a:cubicBezTo>
                  <a:lnTo>
                    <a:pt x="6684" y="1135"/>
                  </a:lnTo>
                  <a:close/>
                  <a:moveTo>
                    <a:pt x="5957" y="434"/>
                  </a:moveTo>
                  <a:cubicBezTo>
                    <a:pt x="6115" y="434"/>
                    <a:pt x="6241" y="561"/>
                    <a:pt x="6242" y="717"/>
                  </a:cubicBezTo>
                  <a:lnTo>
                    <a:pt x="6242" y="1266"/>
                  </a:lnTo>
                  <a:cubicBezTo>
                    <a:pt x="6242" y="1422"/>
                    <a:pt x="6115" y="1550"/>
                    <a:pt x="5958" y="1550"/>
                  </a:cubicBezTo>
                  <a:lnTo>
                    <a:pt x="5155" y="1550"/>
                  </a:lnTo>
                  <a:lnTo>
                    <a:pt x="5155" y="0"/>
                  </a:lnTo>
                  <a:lnTo>
                    <a:pt x="5404" y="0"/>
                  </a:lnTo>
                  <a:lnTo>
                    <a:pt x="5404" y="434"/>
                  </a:lnTo>
                  <a:lnTo>
                    <a:pt x="5957" y="434"/>
                  </a:lnTo>
                  <a:close/>
                  <a:moveTo>
                    <a:pt x="5404" y="1300"/>
                  </a:moveTo>
                  <a:lnTo>
                    <a:pt x="5404" y="684"/>
                  </a:lnTo>
                  <a:lnTo>
                    <a:pt x="5958" y="684"/>
                  </a:lnTo>
                  <a:cubicBezTo>
                    <a:pt x="5977" y="684"/>
                    <a:pt x="5993" y="699"/>
                    <a:pt x="5993" y="718"/>
                  </a:cubicBezTo>
                  <a:lnTo>
                    <a:pt x="5993" y="1265"/>
                  </a:lnTo>
                  <a:cubicBezTo>
                    <a:pt x="5993" y="1285"/>
                    <a:pt x="5978" y="1300"/>
                    <a:pt x="5958" y="1300"/>
                  </a:cubicBezTo>
                  <a:lnTo>
                    <a:pt x="5404" y="1300"/>
                  </a:lnTo>
                  <a:close/>
                  <a:moveTo>
                    <a:pt x="4948" y="718"/>
                  </a:moveTo>
                  <a:cubicBezTo>
                    <a:pt x="4948" y="561"/>
                    <a:pt x="4821" y="434"/>
                    <a:pt x="4663" y="434"/>
                  </a:cubicBezTo>
                  <a:lnTo>
                    <a:pt x="4139" y="434"/>
                  </a:lnTo>
                  <a:cubicBezTo>
                    <a:pt x="3983" y="435"/>
                    <a:pt x="3856" y="562"/>
                    <a:pt x="3856" y="719"/>
                  </a:cubicBezTo>
                  <a:lnTo>
                    <a:pt x="3856" y="1265"/>
                  </a:lnTo>
                  <a:cubicBezTo>
                    <a:pt x="3856" y="1422"/>
                    <a:pt x="3983" y="1549"/>
                    <a:pt x="4139" y="1550"/>
                  </a:cubicBezTo>
                  <a:lnTo>
                    <a:pt x="4948" y="1550"/>
                  </a:lnTo>
                  <a:lnTo>
                    <a:pt x="4948" y="1300"/>
                  </a:lnTo>
                  <a:lnTo>
                    <a:pt x="4140" y="1300"/>
                  </a:lnTo>
                  <a:cubicBezTo>
                    <a:pt x="4121" y="1300"/>
                    <a:pt x="4105" y="1285"/>
                    <a:pt x="4105" y="1265"/>
                  </a:cubicBezTo>
                  <a:lnTo>
                    <a:pt x="4105" y="1139"/>
                  </a:lnTo>
                  <a:lnTo>
                    <a:pt x="4948" y="1139"/>
                  </a:lnTo>
                  <a:lnTo>
                    <a:pt x="4948" y="718"/>
                  </a:lnTo>
                  <a:close/>
                  <a:moveTo>
                    <a:pt x="4105" y="903"/>
                  </a:moveTo>
                  <a:lnTo>
                    <a:pt x="4105" y="718"/>
                  </a:lnTo>
                  <a:cubicBezTo>
                    <a:pt x="4105" y="700"/>
                    <a:pt x="4120" y="684"/>
                    <a:pt x="4140" y="684"/>
                  </a:cubicBezTo>
                  <a:lnTo>
                    <a:pt x="4664" y="684"/>
                  </a:lnTo>
                  <a:cubicBezTo>
                    <a:pt x="4683" y="684"/>
                    <a:pt x="4699" y="698"/>
                    <a:pt x="4699" y="717"/>
                  </a:cubicBezTo>
                  <a:lnTo>
                    <a:pt x="4699" y="903"/>
                  </a:lnTo>
                  <a:lnTo>
                    <a:pt x="4105" y="903"/>
                  </a:lnTo>
                  <a:close/>
                  <a:moveTo>
                    <a:pt x="3377" y="1959"/>
                  </a:moveTo>
                  <a:cubicBezTo>
                    <a:pt x="3534" y="1959"/>
                    <a:pt x="3659" y="1838"/>
                    <a:pt x="3659" y="1681"/>
                  </a:cubicBezTo>
                  <a:lnTo>
                    <a:pt x="3659" y="434"/>
                  </a:lnTo>
                  <a:lnTo>
                    <a:pt x="2863" y="434"/>
                  </a:lnTo>
                  <a:cubicBezTo>
                    <a:pt x="2706" y="435"/>
                    <a:pt x="2579" y="561"/>
                    <a:pt x="2579" y="717"/>
                  </a:cubicBezTo>
                  <a:lnTo>
                    <a:pt x="2579" y="1265"/>
                  </a:lnTo>
                  <a:cubicBezTo>
                    <a:pt x="2579" y="1422"/>
                    <a:pt x="2706" y="1549"/>
                    <a:pt x="2862" y="1550"/>
                  </a:cubicBezTo>
                  <a:lnTo>
                    <a:pt x="3410" y="1550"/>
                  </a:lnTo>
                  <a:lnTo>
                    <a:pt x="3410" y="1680"/>
                  </a:lnTo>
                  <a:cubicBezTo>
                    <a:pt x="3410" y="1700"/>
                    <a:pt x="3395" y="1716"/>
                    <a:pt x="3375" y="1716"/>
                  </a:cubicBezTo>
                  <a:lnTo>
                    <a:pt x="2624" y="1716"/>
                  </a:lnTo>
                  <a:lnTo>
                    <a:pt x="2624" y="1959"/>
                  </a:lnTo>
                  <a:lnTo>
                    <a:pt x="3377" y="1959"/>
                  </a:lnTo>
                  <a:close/>
                  <a:moveTo>
                    <a:pt x="2863" y="1300"/>
                  </a:moveTo>
                  <a:cubicBezTo>
                    <a:pt x="2844" y="1300"/>
                    <a:pt x="2828" y="1285"/>
                    <a:pt x="2828" y="1265"/>
                  </a:cubicBezTo>
                  <a:lnTo>
                    <a:pt x="2828" y="718"/>
                  </a:lnTo>
                  <a:cubicBezTo>
                    <a:pt x="2828" y="699"/>
                    <a:pt x="2844" y="684"/>
                    <a:pt x="2863" y="684"/>
                  </a:cubicBezTo>
                  <a:lnTo>
                    <a:pt x="3410" y="684"/>
                  </a:lnTo>
                  <a:lnTo>
                    <a:pt x="3410" y="1300"/>
                  </a:lnTo>
                  <a:lnTo>
                    <a:pt x="2863" y="1300"/>
                  </a:lnTo>
                  <a:close/>
                  <a:moveTo>
                    <a:pt x="2363" y="1550"/>
                  </a:moveTo>
                  <a:lnTo>
                    <a:pt x="1557" y="1550"/>
                  </a:lnTo>
                  <a:cubicBezTo>
                    <a:pt x="1400" y="1549"/>
                    <a:pt x="1273" y="1422"/>
                    <a:pt x="1273" y="1265"/>
                  </a:cubicBezTo>
                  <a:lnTo>
                    <a:pt x="1273" y="1135"/>
                  </a:lnTo>
                  <a:cubicBezTo>
                    <a:pt x="1273" y="984"/>
                    <a:pt x="1396" y="862"/>
                    <a:pt x="1547" y="862"/>
                  </a:cubicBezTo>
                  <a:lnTo>
                    <a:pt x="2113" y="862"/>
                  </a:lnTo>
                  <a:lnTo>
                    <a:pt x="2113" y="718"/>
                  </a:lnTo>
                  <a:cubicBezTo>
                    <a:pt x="2113" y="699"/>
                    <a:pt x="2098" y="684"/>
                    <a:pt x="2079" y="684"/>
                  </a:cubicBezTo>
                  <a:lnTo>
                    <a:pt x="1315" y="684"/>
                  </a:lnTo>
                  <a:lnTo>
                    <a:pt x="1315" y="434"/>
                  </a:lnTo>
                  <a:lnTo>
                    <a:pt x="2079" y="434"/>
                  </a:lnTo>
                  <a:cubicBezTo>
                    <a:pt x="2235" y="434"/>
                    <a:pt x="2363" y="561"/>
                    <a:pt x="2363" y="718"/>
                  </a:cubicBezTo>
                  <a:lnTo>
                    <a:pt x="2363" y="1550"/>
                  </a:lnTo>
                  <a:close/>
                  <a:moveTo>
                    <a:pt x="1524" y="1135"/>
                  </a:moveTo>
                  <a:cubicBezTo>
                    <a:pt x="1524" y="1116"/>
                    <a:pt x="1539" y="1101"/>
                    <a:pt x="1557" y="1101"/>
                  </a:cubicBezTo>
                  <a:lnTo>
                    <a:pt x="2112" y="1101"/>
                  </a:lnTo>
                  <a:lnTo>
                    <a:pt x="2112" y="1300"/>
                  </a:lnTo>
                  <a:lnTo>
                    <a:pt x="1557" y="1300"/>
                  </a:lnTo>
                  <a:cubicBezTo>
                    <a:pt x="1538" y="1300"/>
                    <a:pt x="1524" y="1283"/>
                    <a:pt x="1524" y="1265"/>
                  </a:cubicBezTo>
                  <a:lnTo>
                    <a:pt x="1524" y="1135"/>
                  </a:lnTo>
                  <a:close/>
                  <a:moveTo>
                    <a:pt x="8820" y="1550"/>
                  </a:moveTo>
                  <a:lnTo>
                    <a:pt x="8820" y="434"/>
                  </a:lnTo>
                  <a:lnTo>
                    <a:pt x="8571" y="434"/>
                  </a:lnTo>
                  <a:lnTo>
                    <a:pt x="8571" y="1300"/>
                  </a:lnTo>
                  <a:lnTo>
                    <a:pt x="8012" y="1300"/>
                  </a:lnTo>
                  <a:cubicBezTo>
                    <a:pt x="7992" y="1300"/>
                    <a:pt x="7979" y="1282"/>
                    <a:pt x="7979" y="1263"/>
                  </a:cubicBezTo>
                  <a:lnTo>
                    <a:pt x="7979" y="434"/>
                  </a:lnTo>
                  <a:lnTo>
                    <a:pt x="7728" y="434"/>
                  </a:lnTo>
                  <a:lnTo>
                    <a:pt x="7728" y="1265"/>
                  </a:lnTo>
                  <a:cubicBezTo>
                    <a:pt x="7728" y="1422"/>
                    <a:pt x="7855" y="1550"/>
                    <a:pt x="8011" y="1550"/>
                  </a:cubicBezTo>
                  <a:lnTo>
                    <a:pt x="8820" y="1550"/>
                  </a:lnTo>
                  <a:close/>
                  <a:moveTo>
                    <a:pt x="1089" y="718"/>
                  </a:moveTo>
                  <a:cubicBezTo>
                    <a:pt x="1089" y="561"/>
                    <a:pt x="962" y="434"/>
                    <a:pt x="805" y="434"/>
                  </a:cubicBezTo>
                  <a:lnTo>
                    <a:pt x="252" y="434"/>
                  </a:lnTo>
                  <a:lnTo>
                    <a:pt x="252" y="0"/>
                  </a:lnTo>
                  <a:lnTo>
                    <a:pt x="0" y="0"/>
                  </a:lnTo>
                  <a:lnTo>
                    <a:pt x="0" y="1550"/>
                  </a:lnTo>
                  <a:lnTo>
                    <a:pt x="252" y="1550"/>
                  </a:lnTo>
                  <a:lnTo>
                    <a:pt x="252" y="684"/>
                  </a:lnTo>
                  <a:lnTo>
                    <a:pt x="804" y="684"/>
                  </a:lnTo>
                  <a:cubicBezTo>
                    <a:pt x="825" y="684"/>
                    <a:pt x="841" y="699"/>
                    <a:pt x="841" y="718"/>
                  </a:cubicBezTo>
                  <a:lnTo>
                    <a:pt x="841" y="1550"/>
                  </a:lnTo>
                  <a:lnTo>
                    <a:pt x="1089" y="1550"/>
                  </a:lnTo>
                  <a:lnTo>
                    <a:pt x="1089" y="718"/>
                  </a:lnTo>
                  <a:close/>
                </a:path>
              </a:pathLst>
            </a:custGeom>
            <a:solidFill>
              <a:srgbClr val="E03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39" name="Picture 98">
            <a:extLst>
              <a:ext uri="{FF2B5EF4-FFF2-40B4-BE49-F238E27FC236}">
                <a16:creationId xmlns:a16="http://schemas.microsoft.com/office/drawing/2014/main" id="{41AF7C3C-93EE-4F92-8E33-44F6DEEC2DA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77393" y="1874571"/>
            <a:ext cx="781885" cy="463115"/>
          </a:xfrm>
          <a:prstGeom prst="rect">
            <a:avLst/>
          </a:prstGeom>
        </p:spPr>
      </p:pic>
      <p:pic>
        <p:nvPicPr>
          <p:cNvPr id="102" name="Grafik 101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63FC300-0B20-40CD-86A2-947AC998171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23888" y="1967647"/>
            <a:ext cx="1402360" cy="276964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E36A96DF-D64B-4803-974C-7A511F0634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gray">
          <a:xfrm>
            <a:off x="2686782" y="1919443"/>
            <a:ext cx="1412290" cy="373371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61E02F6D-FAAA-4084-970C-9BCC1303FEA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9606" y="1946763"/>
            <a:ext cx="1401014" cy="318731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BBC442DE-64DF-49F9-BB74-ABA7E5AF4BF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21154" y="1967743"/>
            <a:ext cx="1299403" cy="276772"/>
          </a:xfrm>
          <a:prstGeom prst="rect">
            <a:avLst/>
          </a:prstGeom>
        </p:spPr>
      </p:pic>
      <p:pic>
        <p:nvPicPr>
          <p:cNvPr id="106" name="Grafik 105" descr="Ein Bild, das Text enthält.&#10;&#10;Automatisch generierte Beschreibung">
            <a:extLst>
              <a:ext uri="{FF2B5EF4-FFF2-40B4-BE49-F238E27FC236}">
                <a16:creationId xmlns:a16="http://schemas.microsoft.com/office/drawing/2014/main" id="{07EF8B7D-0BCB-451F-87FE-A413B60489F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81091" y="1995213"/>
            <a:ext cx="1135768" cy="221831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A0965304-4B4A-460C-95D9-C7BB55D8DD3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93641" y="2935180"/>
            <a:ext cx="862854" cy="519734"/>
          </a:xfrm>
          <a:prstGeom prst="rect">
            <a:avLst/>
          </a:prstGeom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CF77EF23-D6FF-44C0-8637-87FE82D29DF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32954" y="2920906"/>
            <a:ext cx="519945" cy="548282"/>
          </a:xfrm>
          <a:prstGeom prst="rect">
            <a:avLst/>
          </a:prstGeom>
        </p:spPr>
      </p:pic>
      <p:pic>
        <p:nvPicPr>
          <p:cNvPr id="115" name="Grafik 114">
            <a:extLst>
              <a:ext uri="{FF2B5EF4-FFF2-40B4-BE49-F238E27FC236}">
                <a16:creationId xmlns:a16="http://schemas.microsoft.com/office/drawing/2014/main" id="{35770897-BC92-4A54-B573-4FE862F1B72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 bwMode="gray">
          <a:xfrm>
            <a:off x="10549402" y="2930886"/>
            <a:ext cx="837866" cy="528322"/>
          </a:xfrm>
          <a:prstGeom prst="rect">
            <a:avLst/>
          </a:prstGeom>
        </p:spPr>
      </p:pic>
      <p:pic>
        <p:nvPicPr>
          <p:cNvPr id="118" name="Grafik 117" descr="Ein Bild, das Text, Schild, gelb, bemalt enthält.&#10;&#10;Automatisch generierte Beschreibung">
            <a:extLst>
              <a:ext uri="{FF2B5EF4-FFF2-40B4-BE49-F238E27FC236}">
                <a16:creationId xmlns:a16="http://schemas.microsoft.com/office/drawing/2014/main" id="{49D39226-9185-452F-AF28-D9F8E790D74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1080099" y="5108087"/>
            <a:ext cx="489939" cy="587517"/>
          </a:xfrm>
          <a:prstGeom prst="rect">
            <a:avLst/>
          </a:prstGeom>
        </p:spPr>
      </p:pic>
      <p:pic>
        <p:nvPicPr>
          <p:cNvPr id="121" name="Grafik 120">
            <a:extLst>
              <a:ext uri="{FF2B5EF4-FFF2-40B4-BE49-F238E27FC236}">
                <a16:creationId xmlns:a16="http://schemas.microsoft.com/office/drawing/2014/main" id="{D4146880-F707-4BE6-A6B4-EA852EA9271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4387" y="5109348"/>
            <a:ext cx="557081" cy="584995"/>
          </a:xfrm>
          <a:prstGeom prst="rect">
            <a:avLst/>
          </a:prstGeom>
        </p:spPr>
      </p:pic>
      <p:pic>
        <p:nvPicPr>
          <p:cNvPr id="124" name="Grafik 123">
            <a:extLst>
              <a:ext uri="{FF2B5EF4-FFF2-40B4-BE49-F238E27FC236}">
                <a16:creationId xmlns:a16="http://schemas.microsoft.com/office/drawing/2014/main" id="{610E8B51-4CFF-4AB1-B8DE-27F1A625811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151239" y="5092971"/>
            <a:ext cx="617749" cy="617749"/>
          </a:xfrm>
          <a:prstGeom prst="rect">
            <a:avLst/>
          </a:prstGeom>
        </p:spPr>
      </p:pic>
      <p:pic>
        <p:nvPicPr>
          <p:cNvPr id="127" name="Grafik 12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FB80C7E-36D4-430A-9E74-FAFA50FC5F0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 bwMode="gray">
          <a:xfrm>
            <a:off x="4492301" y="2915014"/>
            <a:ext cx="1935626" cy="560066"/>
          </a:xfrm>
          <a:prstGeom prst="rect">
            <a:avLst/>
          </a:prstGeom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F8EDDA85-7109-45ED-9A56-03D85C153C3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 bwMode="gray">
          <a:xfrm>
            <a:off x="8360189" y="3023555"/>
            <a:ext cx="1977573" cy="342985"/>
          </a:xfrm>
          <a:prstGeom prst="rect">
            <a:avLst/>
          </a:prstGeom>
        </p:spPr>
      </p:pic>
      <p:pic>
        <p:nvPicPr>
          <p:cNvPr id="133" name="Grafik 132">
            <a:extLst>
              <a:ext uri="{FF2B5EF4-FFF2-40B4-BE49-F238E27FC236}">
                <a16:creationId xmlns:a16="http://schemas.microsoft.com/office/drawing/2014/main" id="{03265680-27FE-439F-A41B-477DE51844D7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2626" y="4145483"/>
            <a:ext cx="1304885" cy="272035"/>
          </a:xfrm>
          <a:prstGeom prst="rect">
            <a:avLst/>
          </a:prstGeom>
        </p:spPr>
      </p:pic>
      <p:pic>
        <p:nvPicPr>
          <p:cNvPr id="136" name="Grafik 135">
            <a:extLst>
              <a:ext uri="{FF2B5EF4-FFF2-40B4-BE49-F238E27FC236}">
                <a16:creationId xmlns:a16="http://schemas.microsoft.com/office/drawing/2014/main" id="{F87E18F0-8030-4162-B512-0CB19572B628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76509" y="4084770"/>
            <a:ext cx="983653" cy="393461"/>
          </a:xfrm>
          <a:prstGeom prst="rect">
            <a:avLst/>
          </a:prstGeom>
        </p:spPr>
      </p:pic>
      <p:pic>
        <p:nvPicPr>
          <p:cNvPr id="139" name="Grafik 138">
            <a:extLst>
              <a:ext uri="{FF2B5EF4-FFF2-40B4-BE49-F238E27FC236}">
                <a16:creationId xmlns:a16="http://schemas.microsoft.com/office/drawing/2014/main" id="{3BDFFC21-F7E3-4C45-93B9-F3F9F74A117F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t="34951" b="40777"/>
          <a:stretch/>
        </p:blipFill>
        <p:spPr bwMode="gray">
          <a:xfrm>
            <a:off x="4761418" y="4111915"/>
            <a:ext cx="1397391" cy="339172"/>
          </a:xfrm>
          <a:prstGeom prst="rect">
            <a:avLst/>
          </a:prstGeom>
        </p:spPr>
      </p:pic>
      <p:pic>
        <p:nvPicPr>
          <p:cNvPr id="142" name="Grafik 141">
            <a:extLst>
              <a:ext uri="{FF2B5EF4-FFF2-40B4-BE49-F238E27FC236}">
                <a16:creationId xmlns:a16="http://schemas.microsoft.com/office/drawing/2014/main" id="{BFFB7859-B56D-4695-AC0E-59062FDE6F4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34187" y="4084770"/>
            <a:ext cx="1273336" cy="393461"/>
          </a:xfrm>
          <a:prstGeom prst="rect">
            <a:avLst/>
          </a:prstGeom>
        </p:spPr>
      </p:pic>
      <p:pic>
        <p:nvPicPr>
          <p:cNvPr id="145" name="Grafik 144">
            <a:extLst>
              <a:ext uri="{FF2B5EF4-FFF2-40B4-BE49-F238E27FC236}">
                <a16:creationId xmlns:a16="http://schemas.microsoft.com/office/drawing/2014/main" id="{F59D5C4E-467B-40BC-AC75-5C38063A1652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821666" y="4084771"/>
            <a:ext cx="1054618" cy="39346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C3540FC-091E-47CD-8AB0-89594215B2FD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 bwMode="gray">
          <a:xfrm>
            <a:off x="2597664" y="4030198"/>
            <a:ext cx="1590526" cy="502606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F7A9BF40-EEC4-4ABD-8E84-77AD9D787488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17409" y="5272185"/>
            <a:ext cx="1306892" cy="25932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AA75A33-A30C-4DC8-8674-4AEA26CB64A4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 bwMode="gray">
          <a:xfrm>
            <a:off x="8589215" y="5255592"/>
            <a:ext cx="1519521" cy="292507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23FE1D-762E-4BB1-91D4-0310722753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08911768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84E8E91-3C8E-4309-B170-D757EDA604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6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84E8E91-3C8E-4309-B170-D757EDA6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889089AA-AC3E-4D44-9835-E27D01EB18F7}"/>
              </a:ext>
            </a:extLst>
          </p:cNvPr>
          <p:cNvGrpSpPr/>
          <p:nvPr/>
        </p:nvGrpSpPr>
        <p:grpSpPr bwMode="gray">
          <a:xfrm>
            <a:off x="6695514" y="1594269"/>
            <a:ext cx="2829486" cy="646578"/>
            <a:chOff x="2121408" y="5422392"/>
            <a:chExt cx="2829486" cy="646578"/>
          </a:xfrm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E627FEF5-ABBB-41E0-B138-1AC56C302495}"/>
                </a:ext>
              </a:extLst>
            </p:cNvPr>
            <p:cNvSpPr/>
            <p:nvPr/>
          </p:nvSpPr>
          <p:spPr bwMode="gray">
            <a:xfrm>
              <a:off x="2121408" y="5422392"/>
              <a:ext cx="1653149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2B99F463-EF4D-4808-9684-FCBD87E313DD}"/>
                </a:ext>
              </a:extLst>
            </p:cNvPr>
            <p:cNvSpPr txBox="1"/>
            <p:nvPr/>
          </p:nvSpPr>
          <p:spPr bwMode="gray">
            <a:xfrm>
              <a:off x="3836289" y="5444515"/>
              <a:ext cx="11146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hey OBI-App-Icons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5744438-A4B0-4E1A-B051-F0D3329711A5}"/>
              </a:ext>
            </a:extLst>
          </p:cNvPr>
          <p:cNvGrpSpPr/>
          <p:nvPr/>
        </p:nvGrpSpPr>
        <p:grpSpPr bwMode="gray">
          <a:xfrm>
            <a:off x="2112264" y="5422392"/>
            <a:ext cx="3136392" cy="859252"/>
            <a:chOff x="2112264" y="5422392"/>
            <a:chExt cx="3136392" cy="85925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6A5BB8B-A094-46F3-9E52-4035AE108F41}"/>
                </a:ext>
              </a:extLst>
            </p:cNvPr>
            <p:cNvSpPr/>
            <p:nvPr/>
          </p:nvSpPr>
          <p:spPr bwMode="gray">
            <a:xfrm>
              <a:off x="2121408" y="5422392"/>
              <a:ext cx="3127248" cy="646578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144000" bIns="72000" rtlCol="0" anchor="t"/>
            <a:lstStyle/>
            <a:p>
              <a:pPr marL="266700" indent="-266700" algn="l">
                <a:buAutoNum type="arabicPeriod"/>
              </a:pPr>
              <a:endParaRPr lang="de-DE" sz="1400" dirty="0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8355000-F595-4D38-85A3-B61CD4E808B9}"/>
                </a:ext>
              </a:extLst>
            </p:cNvPr>
            <p:cNvSpPr txBox="1"/>
            <p:nvPr/>
          </p:nvSpPr>
          <p:spPr bwMode="gray">
            <a:xfrm>
              <a:off x="2112264" y="6096978"/>
              <a:ext cx="313639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300"/>
                </a:spcAft>
              </a:pPr>
              <a:r>
                <a:rPr lang="de-DE" sz="1200" dirty="0"/>
                <a:t>Machbar-Logo invertiert für farbige Hintergründe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EE9879E-1E13-45A2-A7BF-07E7CEA94E6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ogos (2/2)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14E7AB74-0309-4D13-A9B8-E08BB62859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OBI-Logos und Zie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FC1D483-D5C7-43A2-B254-AE21D2BC84B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C0C32DF-1629-40E9-B17C-DBEF3ADA6F3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122D19-6C14-48C3-A6EA-CA914DFCDB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5</a:t>
            </a:fld>
            <a:endParaRPr lang="de-DE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3E315650-D70A-4BA4-80AC-F895576E89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83301" y="4767869"/>
            <a:ext cx="2830046" cy="554039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E9A2EA5-B29F-4F3F-B312-C6481A6872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00963" y="5402495"/>
            <a:ext cx="2912384" cy="700344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3195F9AB-536A-4DFF-A383-8050C3667E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3888" y="1592263"/>
            <a:ext cx="1704466" cy="710074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2AF156C8-D7A7-4201-99A6-CF063D7E226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28833" y="1666185"/>
            <a:ext cx="429230" cy="42922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09F52345-5C70-4E9E-84D4-175A4E5AABA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634384" y="1670123"/>
            <a:ext cx="421101" cy="511104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EB8E0D5-3AEF-430E-B2AF-74D944A798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 bwMode="gray">
          <a:xfrm>
            <a:off x="2414318" y="1592263"/>
            <a:ext cx="1902701" cy="715337"/>
          </a:xfrm>
          <a:prstGeom prst="rect">
            <a:avLst/>
          </a:prstGeom>
        </p:spPr>
      </p:pic>
      <p:pic>
        <p:nvPicPr>
          <p:cNvPr id="54" name="Picture 6">
            <a:extLst>
              <a:ext uri="{FF2B5EF4-FFF2-40B4-BE49-F238E27FC236}">
                <a16:creationId xmlns:a16="http://schemas.microsoft.com/office/drawing/2014/main" id="{D11ED64E-7436-4BAD-ACE0-59F6BFC7340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49383" y="1807164"/>
            <a:ext cx="1540883" cy="500436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9953CEAC-458D-4615-A87D-FF3CFB9CA8E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57254" y="4823607"/>
            <a:ext cx="1113713" cy="1113713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ACAC111-183C-461C-AD20-41508EAE242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981" y="4763697"/>
            <a:ext cx="1595872" cy="61676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980CB898-9D93-4790-88C6-35EE7AE6C05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4104" y="5517677"/>
            <a:ext cx="1596749" cy="617643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6BF46633-35B6-49D6-BBEC-17A32E4874D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4763697"/>
            <a:ext cx="1785884" cy="465194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7B55DD5A-219A-4798-8E32-05ECFE4C810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28812" y="5418779"/>
            <a:ext cx="751833" cy="751833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10076E8-3D2D-4B9A-A47F-6A5C47DF6804}"/>
              </a:ext>
            </a:extLst>
          </p:cNvPr>
          <p:cNvGrpSpPr>
            <a:grpSpLocks/>
          </p:cNvGrpSpPr>
          <p:nvPr/>
        </p:nvGrpSpPr>
        <p:grpSpPr bwMode="gray">
          <a:xfrm>
            <a:off x="5857908" y="2704999"/>
            <a:ext cx="1877660" cy="1709483"/>
            <a:chOff x="4538307" y="2814727"/>
            <a:chExt cx="1877660" cy="1709483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800D9D4-20BB-4BBF-B611-F01C8D988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786707"/>
              <a:ext cx="997461" cy="737503"/>
            </a:xfrm>
            <a:prstGeom prst="rect">
              <a:avLst/>
            </a:prstGeom>
          </p:spPr>
        </p:pic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008D9878-103D-4639-951E-B8024C9944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538307" y="3280626"/>
              <a:ext cx="1877660" cy="536108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4B8A7FD0-683A-4364-9F9B-6787B063B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645380" y="2814727"/>
              <a:ext cx="1770587" cy="465194"/>
            </a:xfrm>
            <a:prstGeom prst="rect">
              <a:avLst/>
            </a:prstGeom>
          </p:spPr>
        </p:pic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F484136-D6DE-4BAB-8D33-9805564AD0BC}"/>
              </a:ext>
            </a:extLst>
          </p:cNvPr>
          <p:cNvGrpSpPr/>
          <p:nvPr/>
        </p:nvGrpSpPr>
        <p:grpSpPr bwMode="gray">
          <a:xfrm>
            <a:off x="3147525" y="2704999"/>
            <a:ext cx="1877659" cy="1709483"/>
            <a:chOff x="3147525" y="2704999"/>
            <a:chExt cx="1877659" cy="1709483"/>
          </a:xfrm>
        </p:grpSpPr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03EC3EB0-736B-484E-825D-F55814441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235126" y="2704999"/>
              <a:ext cx="1372833" cy="465194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D5B245C0-925D-4E7D-BE0A-3C5C353CD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47525" y="3170898"/>
              <a:ext cx="1877659" cy="536108"/>
            </a:xfrm>
            <a:prstGeom prst="rect">
              <a:avLst/>
            </a:prstGeom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9E095FDB-135A-4A2A-9CFA-6595B846BE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157401" y="3676979"/>
              <a:ext cx="998392" cy="737503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A2BD702-CA18-447B-9E4F-378A2A707797}"/>
              </a:ext>
            </a:extLst>
          </p:cNvPr>
          <p:cNvGrpSpPr/>
          <p:nvPr/>
        </p:nvGrpSpPr>
        <p:grpSpPr bwMode="gray">
          <a:xfrm>
            <a:off x="8568291" y="2704999"/>
            <a:ext cx="2600601" cy="1658348"/>
            <a:chOff x="6538323" y="2814727"/>
            <a:chExt cx="2600601" cy="1658348"/>
          </a:xfrm>
        </p:grpSpPr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B789A204-3600-4B47-9669-EC14DB6DE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202558" y="3548680"/>
              <a:ext cx="936366" cy="924395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EE02A6DA-8C56-4546-B22F-CD69F95DF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38323" y="3445959"/>
              <a:ext cx="1492747" cy="681495"/>
            </a:xfrm>
            <a:prstGeom prst="rect">
              <a:avLst/>
            </a:prstGeom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42E92221-AF20-48F3-B6F7-4F63A7FF4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598844" y="2814727"/>
              <a:ext cx="2185707" cy="465194"/>
            </a:xfrm>
            <a:prstGeom prst="rect">
              <a:avLst/>
            </a:prstGeom>
          </p:spPr>
        </p:pic>
      </p:grp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52E5E51-197A-4C9F-825C-9C7A415E620E}"/>
              </a:ext>
            </a:extLst>
          </p:cNvPr>
          <p:cNvCxnSpPr/>
          <p:nvPr/>
        </p:nvCxnSpPr>
        <p:spPr bwMode="gray">
          <a:xfrm>
            <a:off x="623887" y="2468880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E5E11F37-05BF-49D2-B64F-A0B49AF003FF}"/>
              </a:ext>
            </a:extLst>
          </p:cNvPr>
          <p:cNvCxnSpPr/>
          <p:nvPr/>
        </p:nvCxnSpPr>
        <p:spPr bwMode="gray">
          <a:xfrm>
            <a:off x="623887" y="4544568"/>
            <a:ext cx="108362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7E511F8-1DDF-4BC4-94EC-A263FF12FF1F}"/>
              </a:ext>
            </a:extLst>
          </p:cNvPr>
          <p:cNvGrpSpPr/>
          <p:nvPr/>
        </p:nvGrpSpPr>
        <p:grpSpPr bwMode="gray">
          <a:xfrm>
            <a:off x="624016" y="2704999"/>
            <a:ext cx="1877659" cy="1709483"/>
            <a:chOff x="624016" y="2704999"/>
            <a:chExt cx="1877659" cy="1709483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40F274C-A996-4648-8B09-AEDCFE675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2704999"/>
              <a:ext cx="1690786" cy="466126"/>
            </a:xfrm>
            <a:prstGeom prst="rect">
              <a:avLst/>
            </a:prstGeom>
          </p:spPr>
        </p:pic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D80803FC-52FE-4C09-9A8B-6B97790D0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170898"/>
              <a:ext cx="1877659" cy="536108"/>
            </a:xfrm>
            <a:prstGeom prst="rect">
              <a:avLst/>
            </a:prstGeom>
          </p:spPr>
        </p:pic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95005AD2-D051-4E73-B5D9-EEF0068AC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24016" y="3676979"/>
              <a:ext cx="998392" cy="737503"/>
            </a:xfrm>
            <a:prstGeom prst="rect">
              <a:avLst/>
            </a:prstGeom>
          </p:spPr>
        </p:pic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D7ED09-9930-476B-9D75-EC21E07E83D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86096560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8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Weltkar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3B430DD-BC7E-4E96-9160-DE8B38AC7E4A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6</a:t>
            </a:fld>
            <a:endParaRPr lang="de-DE" dirty="0"/>
          </a:p>
        </p:txBody>
      </p:sp>
      <p:grpSp>
        <p:nvGrpSpPr>
          <p:cNvPr id="11" name="Welt, Karte, Weltkarte, World">
            <a:extLst>
              <a:ext uri="{FF2B5EF4-FFF2-40B4-BE49-F238E27FC236}">
                <a16:creationId xmlns:a16="http://schemas.microsoft.com/office/drawing/2014/main" id="{F7665D6C-3C7A-4979-B73D-845FC0FD2DC7}"/>
              </a:ext>
            </a:extLst>
          </p:cNvPr>
          <p:cNvGrpSpPr>
            <a:grpSpLocks/>
          </p:cNvGrpSpPr>
          <p:nvPr/>
        </p:nvGrpSpPr>
        <p:grpSpPr bwMode="gray">
          <a:xfrm>
            <a:off x="1479547" y="1796800"/>
            <a:ext cx="9124954" cy="4307388"/>
            <a:chOff x="1295" y="1144"/>
            <a:chExt cx="3463" cy="1635"/>
          </a:xfrm>
          <a:solidFill>
            <a:schemeClr val="bg2"/>
          </a:solidFill>
        </p:grpSpPr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16B91BF9-CB04-4F19-AD2F-76715C08D6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49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B1C9EC55-ABFF-4E7F-97E8-B80A9C5AB1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048"/>
              <a:ext cx="108" cy="108"/>
            </a:xfrm>
            <a:custGeom>
              <a:avLst/>
              <a:gdLst>
                <a:gd name="T0" fmla="*/ 108 w 108"/>
                <a:gd name="T1" fmla="*/ 48 h 108"/>
                <a:gd name="T2" fmla="*/ 102 w 108"/>
                <a:gd name="T3" fmla="*/ 42 h 108"/>
                <a:gd name="T4" fmla="*/ 102 w 108"/>
                <a:gd name="T5" fmla="*/ 42 h 108"/>
                <a:gd name="T6" fmla="*/ 96 w 108"/>
                <a:gd name="T7" fmla="*/ 60 h 108"/>
                <a:gd name="T8" fmla="*/ 96 w 108"/>
                <a:gd name="T9" fmla="*/ 60 h 108"/>
                <a:gd name="T10" fmla="*/ 96 w 108"/>
                <a:gd name="T11" fmla="*/ 66 h 108"/>
                <a:gd name="T12" fmla="*/ 90 w 108"/>
                <a:gd name="T13" fmla="*/ 72 h 108"/>
                <a:gd name="T14" fmla="*/ 84 w 108"/>
                <a:gd name="T15" fmla="*/ 78 h 108"/>
                <a:gd name="T16" fmla="*/ 84 w 108"/>
                <a:gd name="T17" fmla="*/ 84 h 108"/>
                <a:gd name="T18" fmla="*/ 84 w 108"/>
                <a:gd name="T19" fmla="*/ 84 h 108"/>
                <a:gd name="T20" fmla="*/ 84 w 108"/>
                <a:gd name="T21" fmla="*/ 90 h 108"/>
                <a:gd name="T22" fmla="*/ 78 w 108"/>
                <a:gd name="T23" fmla="*/ 90 h 108"/>
                <a:gd name="T24" fmla="*/ 78 w 108"/>
                <a:gd name="T25" fmla="*/ 102 h 108"/>
                <a:gd name="T26" fmla="*/ 60 w 108"/>
                <a:gd name="T27" fmla="*/ 108 h 108"/>
                <a:gd name="T28" fmla="*/ 60 w 108"/>
                <a:gd name="T29" fmla="*/ 102 h 108"/>
                <a:gd name="T30" fmla="*/ 60 w 108"/>
                <a:gd name="T31" fmla="*/ 96 h 108"/>
                <a:gd name="T32" fmla="*/ 54 w 108"/>
                <a:gd name="T33" fmla="*/ 96 h 108"/>
                <a:gd name="T34" fmla="*/ 42 w 108"/>
                <a:gd name="T35" fmla="*/ 96 h 108"/>
                <a:gd name="T36" fmla="*/ 36 w 108"/>
                <a:gd name="T37" fmla="*/ 96 h 108"/>
                <a:gd name="T38" fmla="*/ 30 w 108"/>
                <a:gd name="T39" fmla="*/ 102 h 108"/>
                <a:gd name="T40" fmla="*/ 30 w 108"/>
                <a:gd name="T41" fmla="*/ 90 h 108"/>
                <a:gd name="T42" fmla="*/ 18 w 108"/>
                <a:gd name="T43" fmla="*/ 96 h 108"/>
                <a:gd name="T44" fmla="*/ 24 w 108"/>
                <a:gd name="T45" fmla="*/ 90 h 108"/>
                <a:gd name="T46" fmla="*/ 18 w 108"/>
                <a:gd name="T47" fmla="*/ 96 h 108"/>
                <a:gd name="T48" fmla="*/ 12 w 108"/>
                <a:gd name="T49" fmla="*/ 90 h 108"/>
                <a:gd name="T50" fmla="*/ 12 w 108"/>
                <a:gd name="T51" fmla="*/ 78 h 108"/>
                <a:gd name="T52" fmla="*/ 12 w 108"/>
                <a:gd name="T53" fmla="*/ 72 h 108"/>
                <a:gd name="T54" fmla="*/ 6 w 108"/>
                <a:gd name="T55" fmla="*/ 66 h 108"/>
                <a:gd name="T56" fmla="*/ 6 w 108"/>
                <a:gd name="T57" fmla="*/ 66 h 108"/>
                <a:gd name="T58" fmla="*/ 0 w 108"/>
                <a:gd name="T59" fmla="*/ 60 h 108"/>
                <a:gd name="T60" fmla="*/ 6 w 108"/>
                <a:gd name="T61" fmla="*/ 54 h 108"/>
                <a:gd name="T62" fmla="*/ 0 w 108"/>
                <a:gd name="T63" fmla="*/ 48 h 108"/>
                <a:gd name="T64" fmla="*/ 6 w 108"/>
                <a:gd name="T65" fmla="*/ 42 h 108"/>
                <a:gd name="T66" fmla="*/ 0 w 108"/>
                <a:gd name="T67" fmla="*/ 42 h 108"/>
                <a:gd name="T68" fmla="*/ 6 w 108"/>
                <a:gd name="T69" fmla="*/ 30 h 108"/>
                <a:gd name="T70" fmla="*/ 12 w 108"/>
                <a:gd name="T71" fmla="*/ 42 h 108"/>
                <a:gd name="T72" fmla="*/ 24 w 108"/>
                <a:gd name="T73" fmla="*/ 48 h 108"/>
                <a:gd name="T74" fmla="*/ 36 w 108"/>
                <a:gd name="T75" fmla="*/ 42 h 108"/>
                <a:gd name="T76" fmla="*/ 42 w 108"/>
                <a:gd name="T77" fmla="*/ 36 h 108"/>
                <a:gd name="T78" fmla="*/ 54 w 108"/>
                <a:gd name="T79" fmla="*/ 42 h 108"/>
                <a:gd name="T80" fmla="*/ 66 w 108"/>
                <a:gd name="T81" fmla="*/ 36 h 108"/>
                <a:gd name="T82" fmla="*/ 66 w 108"/>
                <a:gd name="T83" fmla="*/ 24 h 108"/>
                <a:gd name="T84" fmla="*/ 72 w 108"/>
                <a:gd name="T85" fmla="*/ 18 h 108"/>
                <a:gd name="T86" fmla="*/ 72 w 108"/>
                <a:gd name="T87" fmla="*/ 12 h 108"/>
                <a:gd name="T88" fmla="*/ 78 w 108"/>
                <a:gd name="T89" fmla="*/ 0 h 108"/>
                <a:gd name="T90" fmla="*/ 84 w 108"/>
                <a:gd name="T91" fmla="*/ 6 h 108"/>
                <a:gd name="T92" fmla="*/ 96 w 108"/>
                <a:gd name="T93" fmla="*/ 6 h 108"/>
                <a:gd name="T94" fmla="*/ 96 w 108"/>
                <a:gd name="T95" fmla="*/ 6 h 108"/>
                <a:gd name="T96" fmla="*/ 96 w 108"/>
                <a:gd name="T97" fmla="*/ 6 h 108"/>
                <a:gd name="T98" fmla="*/ 96 w 108"/>
                <a:gd name="T99" fmla="*/ 12 h 108"/>
                <a:gd name="T100" fmla="*/ 96 w 108"/>
                <a:gd name="T101" fmla="*/ 12 h 108"/>
                <a:gd name="T102" fmla="*/ 90 w 108"/>
                <a:gd name="T103" fmla="*/ 12 h 108"/>
                <a:gd name="T104" fmla="*/ 90 w 108"/>
                <a:gd name="T105" fmla="*/ 18 h 108"/>
                <a:gd name="T106" fmla="*/ 102 w 108"/>
                <a:gd name="T107" fmla="*/ 30 h 108"/>
                <a:gd name="T108" fmla="*/ 96 w 108"/>
                <a:gd name="T109" fmla="*/ 36 h 108"/>
                <a:gd name="T110" fmla="*/ 102 w 108"/>
                <a:gd name="T111" fmla="*/ 42 h 108"/>
                <a:gd name="T112" fmla="*/ 108 w 108"/>
                <a:gd name="T113" fmla="*/ 4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08">
                  <a:moveTo>
                    <a:pt x="108" y="48"/>
                  </a:moveTo>
                  <a:lnTo>
                    <a:pt x="102" y="42"/>
                  </a:lnTo>
                  <a:lnTo>
                    <a:pt x="102" y="4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78" y="90"/>
                  </a:lnTo>
                  <a:lnTo>
                    <a:pt x="78" y="102"/>
                  </a:lnTo>
                  <a:lnTo>
                    <a:pt x="60" y="108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54" y="96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0" y="90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30"/>
                  </a:lnTo>
                  <a:lnTo>
                    <a:pt x="12" y="42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66" y="36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102" y="30"/>
                  </a:lnTo>
                  <a:lnTo>
                    <a:pt x="96" y="36"/>
                  </a:lnTo>
                  <a:lnTo>
                    <a:pt x="102" y="42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B3C47CCE-4844-4733-9FD0-8114FB5C8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2036"/>
              <a:ext cx="120" cy="138"/>
            </a:xfrm>
            <a:custGeom>
              <a:avLst/>
              <a:gdLst>
                <a:gd name="T0" fmla="*/ 120 w 120"/>
                <a:gd name="T1" fmla="*/ 108 h 138"/>
                <a:gd name="T2" fmla="*/ 120 w 120"/>
                <a:gd name="T3" fmla="*/ 108 h 138"/>
                <a:gd name="T4" fmla="*/ 114 w 120"/>
                <a:gd name="T5" fmla="*/ 126 h 138"/>
                <a:gd name="T6" fmla="*/ 114 w 120"/>
                <a:gd name="T7" fmla="*/ 138 h 138"/>
                <a:gd name="T8" fmla="*/ 108 w 120"/>
                <a:gd name="T9" fmla="*/ 138 h 138"/>
                <a:gd name="T10" fmla="*/ 108 w 120"/>
                <a:gd name="T11" fmla="*/ 138 h 138"/>
                <a:gd name="T12" fmla="*/ 102 w 120"/>
                <a:gd name="T13" fmla="*/ 138 h 138"/>
                <a:gd name="T14" fmla="*/ 102 w 120"/>
                <a:gd name="T15" fmla="*/ 138 h 138"/>
                <a:gd name="T16" fmla="*/ 90 w 120"/>
                <a:gd name="T17" fmla="*/ 132 h 138"/>
                <a:gd name="T18" fmla="*/ 84 w 120"/>
                <a:gd name="T19" fmla="*/ 126 h 138"/>
                <a:gd name="T20" fmla="*/ 78 w 120"/>
                <a:gd name="T21" fmla="*/ 120 h 138"/>
                <a:gd name="T22" fmla="*/ 72 w 120"/>
                <a:gd name="T23" fmla="*/ 114 h 138"/>
                <a:gd name="T24" fmla="*/ 66 w 120"/>
                <a:gd name="T25" fmla="*/ 108 h 138"/>
                <a:gd name="T26" fmla="*/ 66 w 120"/>
                <a:gd name="T27" fmla="*/ 96 h 138"/>
                <a:gd name="T28" fmla="*/ 60 w 120"/>
                <a:gd name="T29" fmla="*/ 84 h 138"/>
                <a:gd name="T30" fmla="*/ 60 w 120"/>
                <a:gd name="T31" fmla="*/ 84 h 138"/>
                <a:gd name="T32" fmla="*/ 54 w 120"/>
                <a:gd name="T33" fmla="*/ 78 h 138"/>
                <a:gd name="T34" fmla="*/ 48 w 120"/>
                <a:gd name="T35" fmla="*/ 66 h 138"/>
                <a:gd name="T36" fmla="*/ 42 w 120"/>
                <a:gd name="T37" fmla="*/ 60 h 138"/>
                <a:gd name="T38" fmla="*/ 36 w 120"/>
                <a:gd name="T39" fmla="*/ 48 h 138"/>
                <a:gd name="T40" fmla="*/ 30 w 120"/>
                <a:gd name="T41" fmla="*/ 42 h 138"/>
                <a:gd name="T42" fmla="*/ 24 w 120"/>
                <a:gd name="T43" fmla="*/ 30 h 138"/>
                <a:gd name="T44" fmla="*/ 12 w 120"/>
                <a:gd name="T45" fmla="*/ 24 h 138"/>
                <a:gd name="T46" fmla="*/ 6 w 120"/>
                <a:gd name="T47" fmla="*/ 12 h 138"/>
                <a:gd name="T48" fmla="*/ 0 w 120"/>
                <a:gd name="T49" fmla="*/ 0 h 138"/>
                <a:gd name="T50" fmla="*/ 6 w 120"/>
                <a:gd name="T51" fmla="*/ 0 h 138"/>
                <a:gd name="T52" fmla="*/ 12 w 120"/>
                <a:gd name="T53" fmla="*/ 6 h 138"/>
                <a:gd name="T54" fmla="*/ 24 w 120"/>
                <a:gd name="T55" fmla="*/ 6 h 138"/>
                <a:gd name="T56" fmla="*/ 30 w 120"/>
                <a:gd name="T57" fmla="*/ 18 h 138"/>
                <a:gd name="T58" fmla="*/ 36 w 120"/>
                <a:gd name="T59" fmla="*/ 18 h 138"/>
                <a:gd name="T60" fmla="*/ 42 w 120"/>
                <a:gd name="T61" fmla="*/ 24 h 138"/>
                <a:gd name="T62" fmla="*/ 54 w 120"/>
                <a:gd name="T63" fmla="*/ 36 h 138"/>
                <a:gd name="T64" fmla="*/ 60 w 120"/>
                <a:gd name="T65" fmla="*/ 42 h 138"/>
                <a:gd name="T66" fmla="*/ 60 w 120"/>
                <a:gd name="T67" fmla="*/ 42 h 138"/>
                <a:gd name="T68" fmla="*/ 72 w 120"/>
                <a:gd name="T69" fmla="*/ 48 h 138"/>
                <a:gd name="T70" fmla="*/ 78 w 120"/>
                <a:gd name="T71" fmla="*/ 54 h 138"/>
                <a:gd name="T72" fmla="*/ 84 w 120"/>
                <a:gd name="T73" fmla="*/ 60 h 138"/>
                <a:gd name="T74" fmla="*/ 90 w 120"/>
                <a:gd name="T75" fmla="*/ 60 h 138"/>
                <a:gd name="T76" fmla="*/ 96 w 120"/>
                <a:gd name="T77" fmla="*/ 66 h 138"/>
                <a:gd name="T78" fmla="*/ 90 w 120"/>
                <a:gd name="T79" fmla="*/ 72 h 138"/>
                <a:gd name="T80" fmla="*/ 90 w 120"/>
                <a:gd name="T81" fmla="*/ 72 h 138"/>
                <a:gd name="T82" fmla="*/ 90 w 120"/>
                <a:gd name="T83" fmla="*/ 78 h 138"/>
                <a:gd name="T84" fmla="*/ 90 w 120"/>
                <a:gd name="T85" fmla="*/ 78 h 138"/>
                <a:gd name="T86" fmla="*/ 102 w 120"/>
                <a:gd name="T87" fmla="*/ 84 h 138"/>
                <a:gd name="T88" fmla="*/ 102 w 120"/>
                <a:gd name="T89" fmla="*/ 90 h 138"/>
                <a:gd name="T90" fmla="*/ 102 w 120"/>
                <a:gd name="T91" fmla="*/ 96 h 138"/>
                <a:gd name="T92" fmla="*/ 102 w 120"/>
                <a:gd name="T93" fmla="*/ 96 h 138"/>
                <a:gd name="T94" fmla="*/ 114 w 120"/>
                <a:gd name="T95" fmla="*/ 96 h 138"/>
                <a:gd name="T96" fmla="*/ 120 w 120"/>
                <a:gd name="T97" fmla="*/ 10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0" h="138">
                  <a:moveTo>
                    <a:pt x="120" y="108"/>
                  </a:moveTo>
                  <a:lnTo>
                    <a:pt x="120" y="108"/>
                  </a:lnTo>
                  <a:lnTo>
                    <a:pt x="114" y="126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90" y="132"/>
                  </a:lnTo>
                  <a:lnTo>
                    <a:pt x="84" y="126"/>
                  </a:lnTo>
                  <a:lnTo>
                    <a:pt x="78" y="120"/>
                  </a:lnTo>
                  <a:lnTo>
                    <a:pt x="72" y="114"/>
                  </a:lnTo>
                  <a:lnTo>
                    <a:pt x="66" y="108"/>
                  </a:lnTo>
                  <a:lnTo>
                    <a:pt x="66" y="96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54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30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36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0" y="60"/>
                  </a:lnTo>
                  <a:lnTo>
                    <a:pt x="96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14" y="96"/>
                  </a:lnTo>
                  <a:lnTo>
                    <a:pt x="120" y="10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F083338A-DB54-47A8-944C-AA1CF0D9EF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2108"/>
              <a:ext cx="108" cy="108"/>
            </a:xfrm>
            <a:custGeom>
              <a:avLst/>
              <a:gdLst>
                <a:gd name="T0" fmla="*/ 78 w 108"/>
                <a:gd name="T1" fmla="*/ 96 h 108"/>
                <a:gd name="T2" fmla="*/ 84 w 108"/>
                <a:gd name="T3" fmla="*/ 96 h 108"/>
                <a:gd name="T4" fmla="*/ 96 w 108"/>
                <a:gd name="T5" fmla="*/ 102 h 108"/>
                <a:gd name="T6" fmla="*/ 102 w 108"/>
                <a:gd name="T7" fmla="*/ 102 h 108"/>
                <a:gd name="T8" fmla="*/ 102 w 108"/>
                <a:gd name="T9" fmla="*/ 78 h 108"/>
                <a:gd name="T10" fmla="*/ 102 w 108"/>
                <a:gd name="T11" fmla="*/ 60 h 108"/>
                <a:gd name="T12" fmla="*/ 108 w 108"/>
                <a:gd name="T13" fmla="*/ 42 h 108"/>
                <a:gd name="T14" fmla="*/ 96 w 108"/>
                <a:gd name="T15" fmla="*/ 30 h 108"/>
                <a:gd name="T16" fmla="*/ 72 w 108"/>
                <a:gd name="T17" fmla="*/ 18 h 108"/>
                <a:gd name="T18" fmla="*/ 54 w 108"/>
                <a:gd name="T19" fmla="*/ 24 h 108"/>
                <a:gd name="T20" fmla="*/ 36 w 108"/>
                <a:gd name="T21" fmla="*/ 36 h 108"/>
                <a:gd name="T22" fmla="*/ 36 w 108"/>
                <a:gd name="T23" fmla="*/ 30 h 108"/>
                <a:gd name="T24" fmla="*/ 30 w 108"/>
                <a:gd name="T25" fmla="*/ 12 h 108"/>
                <a:gd name="T26" fmla="*/ 18 w 108"/>
                <a:gd name="T27" fmla="*/ 6 h 108"/>
                <a:gd name="T28" fmla="*/ 0 w 108"/>
                <a:gd name="T29" fmla="*/ 12 h 108"/>
                <a:gd name="T30" fmla="*/ 6 w 108"/>
                <a:gd name="T31" fmla="*/ 18 h 108"/>
                <a:gd name="T32" fmla="*/ 18 w 108"/>
                <a:gd name="T33" fmla="*/ 24 h 108"/>
                <a:gd name="T34" fmla="*/ 30 w 108"/>
                <a:gd name="T35" fmla="*/ 24 h 108"/>
                <a:gd name="T36" fmla="*/ 24 w 108"/>
                <a:gd name="T37" fmla="*/ 30 h 108"/>
                <a:gd name="T38" fmla="*/ 12 w 108"/>
                <a:gd name="T39" fmla="*/ 30 h 108"/>
                <a:gd name="T40" fmla="*/ 18 w 108"/>
                <a:gd name="T41" fmla="*/ 42 h 108"/>
                <a:gd name="T42" fmla="*/ 18 w 108"/>
                <a:gd name="T43" fmla="*/ 48 h 108"/>
                <a:gd name="T44" fmla="*/ 24 w 108"/>
                <a:gd name="T45" fmla="*/ 42 h 108"/>
                <a:gd name="T46" fmla="*/ 36 w 108"/>
                <a:gd name="T47" fmla="*/ 48 h 108"/>
                <a:gd name="T48" fmla="*/ 48 w 108"/>
                <a:gd name="T49" fmla="*/ 54 h 108"/>
                <a:gd name="T50" fmla="*/ 60 w 108"/>
                <a:gd name="T51" fmla="*/ 60 h 108"/>
                <a:gd name="T52" fmla="*/ 72 w 108"/>
                <a:gd name="T53" fmla="*/ 66 h 108"/>
                <a:gd name="T54" fmla="*/ 84 w 108"/>
                <a:gd name="T55" fmla="*/ 84 h 108"/>
                <a:gd name="T56" fmla="*/ 84 w 108"/>
                <a:gd name="T57" fmla="*/ 84 h 108"/>
                <a:gd name="T58" fmla="*/ 78 w 108"/>
                <a:gd name="T59" fmla="*/ 90 h 108"/>
                <a:gd name="T60" fmla="*/ 66 w 108"/>
                <a:gd name="T61" fmla="*/ 102 h 108"/>
                <a:gd name="T62" fmla="*/ 78 w 108"/>
                <a:gd name="T6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8" h="108">
                  <a:moveTo>
                    <a:pt x="78" y="90"/>
                  </a:moveTo>
                  <a:lnTo>
                    <a:pt x="78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2" y="72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102"/>
                  </a:lnTo>
                  <a:lnTo>
                    <a:pt x="78" y="102"/>
                  </a:lnTo>
                  <a:lnTo>
                    <a:pt x="78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50EE6579-2AC9-45F1-81B3-B42841D743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084"/>
              <a:ext cx="72" cy="90"/>
            </a:xfrm>
            <a:custGeom>
              <a:avLst/>
              <a:gdLst>
                <a:gd name="T0" fmla="*/ 72 w 72"/>
                <a:gd name="T1" fmla="*/ 0 h 90"/>
                <a:gd name="T2" fmla="*/ 66 w 72"/>
                <a:gd name="T3" fmla="*/ 0 h 90"/>
                <a:gd name="T4" fmla="*/ 60 w 72"/>
                <a:gd name="T5" fmla="*/ 12 h 90"/>
                <a:gd name="T6" fmla="*/ 42 w 72"/>
                <a:gd name="T7" fmla="*/ 6 h 90"/>
                <a:gd name="T8" fmla="*/ 30 w 72"/>
                <a:gd name="T9" fmla="*/ 6 h 90"/>
                <a:gd name="T10" fmla="*/ 24 w 72"/>
                <a:gd name="T11" fmla="*/ 6 h 90"/>
                <a:gd name="T12" fmla="*/ 18 w 72"/>
                <a:gd name="T13" fmla="*/ 12 h 90"/>
                <a:gd name="T14" fmla="*/ 18 w 72"/>
                <a:gd name="T15" fmla="*/ 12 h 90"/>
                <a:gd name="T16" fmla="*/ 12 w 72"/>
                <a:gd name="T17" fmla="*/ 18 h 90"/>
                <a:gd name="T18" fmla="*/ 12 w 72"/>
                <a:gd name="T19" fmla="*/ 30 h 90"/>
                <a:gd name="T20" fmla="*/ 12 w 72"/>
                <a:gd name="T21" fmla="*/ 30 h 90"/>
                <a:gd name="T22" fmla="*/ 6 w 72"/>
                <a:gd name="T23" fmla="*/ 42 h 90"/>
                <a:gd name="T24" fmla="*/ 0 w 72"/>
                <a:gd name="T25" fmla="*/ 54 h 90"/>
                <a:gd name="T26" fmla="*/ 0 w 72"/>
                <a:gd name="T27" fmla="*/ 66 h 90"/>
                <a:gd name="T28" fmla="*/ 6 w 72"/>
                <a:gd name="T29" fmla="*/ 66 h 90"/>
                <a:gd name="T30" fmla="*/ 6 w 72"/>
                <a:gd name="T31" fmla="*/ 72 h 90"/>
                <a:gd name="T32" fmla="*/ 6 w 72"/>
                <a:gd name="T33" fmla="*/ 84 h 90"/>
                <a:gd name="T34" fmla="*/ 6 w 72"/>
                <a:gd name="T35" fmla="*/ 90 h 90"/>
                <a:gd name="T36" fmla="*/ 18 w 72"/>
                <a:gd name="T37" fmla="*/ 90 h 90"/>
                <a:gd name="T38" fmla="*/ 18 w 72"/>
                <a:gd name="T39" fmla="*/ 72 h 90"/>
                <a:gd name="T40" fmla="*/ 18 w 72"/>
                <a:gd name="T41" fmla="*/ 60 h 90"/>
                <a:gd name="T42" fmla="*/ 24 w 72"/>
                <a:gd name="T43" fmla="*/ 54 h 90"/>
                <a:gd name="T44" fmla="*/ 24 w 72"/>
                <a:gd name="T45" fmla="*/ 60 h 90"/>
                <a:gd name="T46" fmla="*/ 24 w 72"/>
                <a:gd name="T47" fmla="*/ 66 h 90"/>
                <a:gd name="T48" fmla="*/ 30 w 72"/>
                <a:gd name="T49" fmla="*/ 72 h 90"/>
                <a:gd name="T50" fmla="*/ 30 w 72"/>
                <a:gd name="T51" fmla="*/ 78 h 90"/>
                <a:gd name="T52" fmla="*/ 36 w 72"/>
                <a:gd name="T53" fmla="*/ 78 h 90"/>
                <a:gd name="T54" fmla="*/ 42 w 72"/>
                <a:gd name="T55" fmla="*/ 72 h 90"/>
                <a:gd name="T56" fmla="*/ 42 w 72"/>
                <a:gd name="T57" fmla="*/ 72 h 90"/>
                <a:gd name="T58" fmla="*/ 36 w 72"/>
                <a:gd name="T59" fmla="*/ 66 h 90"/>
                <a:gd name="T60" fmla="*/ 42 w 72"/>
                <a:gd name="T61" fmla="*/ 60 h 90"/>
                <a:gd name="T62" fmla="*/ 36 w 72"/>
                <a:gd name="T63" fmla="*/ 54 h 90"/>
                <a:gd name="T64" fmla="*/ 30 w 72"/>
                <a:gd name="T65" fmla="*/ 42 h 90"/>
                <a:gd name="T66" fmla="*/ 30 w 72"/>
                <a:gd name="T67" fmla="*/ 42 h 90"/>
                <a:gd name="T68" fmla="*/ 42 w 72"/>
                <a:gd name="T69" fmla="*/ 36 h 90"/>
                <a:gd name="T70" fmla="*/ 48 w 72"/>
                <a:gd name="T71" fmla="*/ 30 h 90"/>
                <a:gd name="T72" fmla="*/ 54 w 72"/>
                <a:gd name="T73" fmla="*/ 30 h 90"/>
                <a:gd name="T74" fmla="*/ 48 w 72"/>
                <a:gd name="T75" fmla="*/ 30 h 90"/>
                <a:gd name="T76" fmla="*/ 48 w 72"/>
                <a:gd name="T77" fmla="*/ 30 h 90"/>
                <a:gd name="T78" fmla="*/ 30 w 72"/>
                <a:gd name="T79" fmla="*/ 30 h 90"/>
                <a:gd name="T80" fmla="*/ 24 w 72"/>
                <a:gd name="T81" fmla="*/ 36 h 90"/>
                <a:gd name="T82" fmla="*/ 12 w 72"/>
                <a:gd name="T83" fmla="*/ 24 h 90"/>
                <a:gd name="T84" fmla="*/ 18 w 72"/>
                <a:gd name="T85" fmla="*/ 12 h 90"/>
                <a:gd name="T86" fmla="*/ 36 w 72"/>
                <a:gd name="T87" fmla="*/ 18 h 90"/>
                <a:gd name="T88" fmla="*/ 48 w 72"/>
                <a:gd name="T89" fmla="*/ 18 h 90"/>
                <a:gd name="T90" fmla="*/ 66 w 72"/>
                <a:gd name="T91" fmla="*/ 12 h 90"/>
                <a:gd name="T92" fmla="*/ 72 w 72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" h="90">
                  <a:moveTo>
                    <a:pt x="72" y="0"/>
                  </a:moveTo>
                  <a:lnTo>
                    <a:pt x="66" y="0"/>
                  </a:lnTo>
                  <a:lnTo>
                    <a:pt x="60" y="12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18" y="90"/>
                  </a:lnTo>
                  <a:lnTo>
                    <a:pt x="18" y="72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36" y="5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24" y="36"/>
                  </a:lnTo>
                  <a:lnTo>
                    <a:pt x="12" y="24"/>
                  </a:lnTo>
                  <a:lnTo>
                    <a:pt x="18" y="12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66" y="12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8FA1C2FB-9AAC-4B19-A0A2-29DCC50479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80"/>
              <a:ext cx="102" cy="36"/>
            </a:xfrm>
            <a:custGeom>
              <a:avLst/>
              <a:gdLst>
                <a:gd name="T0" fmla="*/ 102 w 102"/>
                <a:gd name="T1" fmla="*/ 36 h 36"/>
                <a:gd name="T2" fmla="*/ 102 w 102"/>
                <a:gd name="T3" fmla="*/ 30 h 36"/>
                <a:gd name="T4" fmla="*/ 102 w 102"/>
                <a:gd name="T5" fmla="*/ 24 h 36"/>
                <a:gd name="T6" fmla="*/ 90 w 102"/>
                <a:gd name="T7" fmla="*/ 24 h 36"/>
                <a:gd name="T8" fmla="*/ 84 w 102"/>
                <a:gd name="T9" fmla="*/ 18 h 36"/>
                <a:gd name="T10" fmla="*/ 78 w 102"/>
                <a:gd name="T11" fmla="*/ 12 h 36"/>
                <a:gd name="T12" fmla="*/ 66 w 102"/>
                <a:gd name="T13" fmla="*/ 6 h 36"/>
                <a:gd name="T14" fmla="*/ 60 w 102"/>
                <a:gd name="T15" fmla="*/ 6 h 36"/>
                <a:gd name="T16" fmla="*/ 60 w 102"/>
                <a:gd name="T17" fmla="*/ 12 h 36"/>
                <a:gd name="T18" fmla="*/ 48 w 102"/>
                <a:gd name="T19" fmla="*/ 12 h 36"/>
                <a:gd name="T20" fmla="*/ 42 w 102"/>
                <a:gd name="T21" fmla="*/ 12 h 36"/>
                <a:gd name="T22" fmla="*/ 36 w 102"/>
                <a:gd name="T23" fmla="*/ 6 h 36"/>
                <a:gd name="T24" fmla="*/ 24 w 102"/>
                <a:gd name="T25" fmla="*/ 0 h 36"/>
                <a:gd name="T26" fmla="*/ 12 w 102"/>
                <a:gd name="T27" fmla="*/ 0 h 36"/>
                <a:gd name="T28" fmla="*/ 6 w 102"/>
                <a:gd name="T29" fmla="*/ 6 h 36"/>
                <a:gd name="T30" fmla="*/ 0 w 102"/>
                <a:gd name="T31" fmla="*/ 6 h 36"/>
                <a:gd name="T32" fmla="*/ 12 w 102"/>
                <a:gd name="T33" fmla="*/ 12 h 36"/>
                <a:gd name="T34" fmla="*/ 12 w 102"/>
                <a:gd name="T35" fmla="*/ 12 h 36"/>
                <a:gd name="T36" fmla="*/ 24 w 102"/>
                <a:gd name="T37" fmla="*/ 18 h 36"/>
                <a:gd name="T38" fmla="*/ 36 w 102"/>
                <a:gd name="T39" fmla="*/ 18 h 36"/>
                <a:gd name="T40" fmla="*/ 42 w 102"/>
                <a:gd name="T41" fmla="*/ 24 h 36"/>
                <a:gd name="T42" fmla="*/ 54 w 102"/>
                <a:gd name="T43" fmla="*/ 24 h 36"/>
                <a:gd name="T44" fmla="*/ 66 w 102"/>
                <a:gd name="T45" fmla="*/ 24 h 36"/>
                <a:gd name="T46" fmla="*/ 84 w 102"/>
                <a:gd name="T47" fmla="*/ 30 h 36"/>
                <a:gd name="T48" fmla="*/ 90 w 102"/>
                <a:gd name="T49" fmla="*/ 30 h 36"/>
                <a:gd name="T50" fmla="*/ 102 w 102"/>
                <a:gd name="T5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" h="36">
                  <a:moveTo>
                    <a:pt x="102" y="36"/>
                  </a:moveTo>
                  <a:lnTo>
                    <a:pt x="102" y="30"/>
                  </a:lnTo>
                  <a:lnTo>
                    <a:pt x="102" y="24"/>
                  </a:lnTo>
                  <a:lnTo>
                    <a:pt x="90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CA0F236-17D6-4E3B-B26E-988F9215B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2210"/>
              <a:ext cx="42" cy="24"/>
            </a:xfrm>
            <a:custGeom>
              <a:avLst/>
              <a:gdLst>
                <a:gd name="T0" fmla="*/ 42 w 42"/>
                <a:gd name="T1" fmla="*/ 0 h 24"/>
                <a:gd name="T2" fmla="*/ 24 w 42"/>
                <a:gd name="T3" fmla="*/ 0 h 24"/>
                <a:gd name="T4" fmla="*/ 18 w 42"/>
                <a:gd name="T5" fmla="*/ 6 h 24"/>
                <a:gd name="T6" fmla="*/ 6 w 42"/>
                <a:gd name="T7" fmla="*/ 12 h 24"/>
                <a:gd name="T8" fmla="*/ 0 w 42"/>
                <a:gd name="T9" fmla="*/ 18 h 24"/>
                <a:gd name="T10" fmla="*/ 0 w 42"/>
                <a:gd name="T11" fmla="*/ 24 h 24"/>
                <a:gd name="T12" fmla="*/ 0 w 42"/>
                <a:gd name="T13" fmla="*/ 24 h 24"/>
                <a:gd name="T14" fmla="*/ 12 w 42"/>
                <a:gd name="T15" fmla="*/ 18 h 24"/>
                <a:gd name="T16" fmla="*/ 30 w 42"/>
                <a:gd name="T17" fmla="*/ 6 h 24"/>
                <a:gd name="T18" fmla="*/ 42 w 42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24">
                  <a:moveTo>
                    <a:pt x="42" y="0"/>
                  </a:move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30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F84902BA-1D34-4E74-BC5C-73813A32A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7" y="2078"/>
              <a:ext cx="18" cy="36"/>
            </a:xfrm>
            <a:custGeom>
              <a:avLst/>
              <a:gdLst>
                <a:gd name="T0" fmla="*/ 18 w 18"/>
                <a:gd name="T1" fmla="*/ 24 h 36"/>
                <a:gd name="T2" fmla="*/ 12 w 18"/>
                <a:gd name="T3" fmla="*/ 18 h 36"/>
                <a:gd name="T4" fmla="*/ 12 w 18"/>
                <a:gd name="T5" fmla="*/ 12 h 36"/>
                <a:gd name="T6" fmla="*/ 12 w 18"/>
                <a:gd name="T7" fmla="*/ 6 h 36"/>
                <a:gd name="T8" fmla="*/ 6 w 18"/>
                <a:gd name="T9" fmla="*/ 12 h 36"/>
                <a:gd name="T10" fmla="*/ 6 w 18"/>
                <a:gd name="T11" fmla="*/ 18 h 36"/>
                <a:gd name="T12" fmla="*/ 6 w 18"/>
                <a:gd name="T13" fmla="*/ 12 h 36"/>
                <a:gd name="T14" fmla="*/ 6 w 18"/>
                <a:gd name="T15" fmla="*/ 6 h 36"/>
                <a:gd name="T16" fmla="*/ 6 w 18"/>
                <a:gd name="T17" fmla="*/ 0 h 36"/>
                <a:gd name="T18" fmla="*/ 0 w 18"/>
                <a:gd name="T19" fmla="*/ 12 h 36"/>
                <a:gd name="T20" fmla="*/ 0 w 18"/>
                <a:gd name="T21" fmla="*/ 18 h 36"/>
                <a:gd name="T22" fmla="*/ 0 w 18"/>
                <a:gd name="T23" fmla="*/ 24 h 36"/>
                <a:gd name="T24" fmla="*/ 12 w 18"/>
                <a:gd name="T25" fmla="*/ 36 h 36"/>
                <a:gd name="T26" fmla="*/ 6 w 18"/>
                <a:gd name="T27" fmla="*/ 24 h 36"/>
                <a:gd name="T28" fmla="*/ 18 w 18"/>
                <a:gd name="T2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36">
                  <a:moveTo>
                    <a:pt x="18" y="24"/>
                  </a:moveTo>
                  <a:lnTo>
                    <a:pt x="12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0D453A37-CB65-4E16-826C-777D6E60385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3" y="2138"/>
              <a:ext cx="30" cy="12"/>
            </a:xfrm>
            <a:custGeom>
              <a:avLst/>
              <a:gdLst>
                <a:gd name="T0" fmla="*/ 30 w 30"/>
                <a:gd name="T1" fmla="*/ 12 h 12"/>
                <a:gd name="T2" fmla="*/ 30 w 30"/>
                <a:gd name="T3" fmla="*/ 12 h 12"/>
                <a:gd name="T4" fmla="*/ 18 w 30"/>
                <a:gd name="T5" fmla="*/ 6 h 12"/>
                <a:gd name="T6" fmla="*/ 6 w 30"/>
                <a:gd name="T7" fmla="*/ 12 h 12"/>
                <a:gd name="T8" fmla="*/ 0 w 30"/>
                <a:gd name="T9" fmla="*/ 6 h 12"/>
                <a:gd name="T10" fmla="*/ 0 w 30"/>
                <a:gd name="T11" fmla="*/ 12 h 12"/>
                <a:gd name="T12" fmla="*/ 0 w 30"/>
                <a:gd name="T13" fmla="*/ 6 h 12"/>
                <a:gd name="T14" fmla="*/ 6 w 30"/>
                <a:gd name="T15" fmla="*/ 0 h 12"/>
                <a:gd name="T16" fmla="*/ 12 w 30"/>
                <a:gd name="T17" fmla="*/ 0 h 12"/>
                <a:gd name="T18" fmla="*/ 24 w 30"/>
                <a:gd name="T19" fmla="*/ 6 h 12"/>
                <a:gd name="T20" fmla="*/ 30 w 30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2">
                  <a:moveTo>
                    <a:pt x="30" y="12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A63638F0-327A-45AB-9219-E7A811877F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220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36 w 36"/>
                <a:gd name="T3" fmla="*/ 0 h 12"/>
                <a:gd name="T4" fmla="*/ 30 w 36"/>
                <a:gd name="T5" fmla="*/ 6 h 12"/>
                <a:gd name="T6" fmla="*/ 24 w 36"/>
                <a:gd name="T7" fmla="*/ 6 h 12"/>
                <a:gd name="T8" fmla="*/ 18 w 36"/>
                <a:gd name="T9" fmla="*/ 6 h 12"/>
                <a:gd name="T10" fmla="*/ 6 w 36"/>
                <a:gd name="T11" fmla="*/ 6 h 12"/>
                <a:gd name="T12" fmla="*/ 0 w 36"/>
                <a:gd name="T13" fmla="*/ 6 h 12"/>
                <a:gd name="T14" fmla="*/ 6 w 36"/>
                <a:gd name="T15" fmla="*/ 12 h 12"/>
                <a:gd name="T16" fmla="*/ 18 w 36"/>
                <a:gd name="T17" fmla="*/ 12 h 12"/>
                <a:gd name="T18" fmla="*/ 30 w 36"/>
                <a:gd name="T19" fmla="*/ 12 h 12"/>
                <a:gd name="T20" fmla="*/ 36 w 36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1B199D1-01DA-44A0-85ED-1711DB664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1" y="2126"/>
              <a:ext cx="18" cy="18"/>
            </a:xfrm>
            <a:custGeom>
              <a:avLst/>
              <a:gdLst>
                <a:gd name="T0" fmla="*/ 18 w 18"/>
                <a:gd name="T1" fmla="*/ 12 h 18"/>
                <a:gd name="T2" fmla="*/ 18 w 18"/>
                <a:gd name="T3" fmla="*/ 18 h 18"/>
                <a:gd name="T4" fmla="*/ 6 w 18"/>
                <a:gd name="T5" fmla="*/ 12 h 18"/>
                <a:gd name="T6" fmla="*/ 6 w 18"/>
                <a:gd name="T7" fmla="*/ 6 h 18"/>
                <a:gd name="T8" fmla="*/ 0 w 18"/>
                <a:gd name="T9" fmla="*/ 0 h 18"/>
                <a:gd name="T10" fmla="*/ 6 w 18"/>
                <a:gd name="T11" fmla="*/ 0 h 18"/>
                <a:gd name="T12" fmla="*/ 6 w 18"/>
                <a:gd name="T13" fmla="*/ 0 h 18"/>
                <a:gd name="T14" fmla="*/ 12 w 18"/>
                <a:gd name="T15" fmla="*/ 6 h 18"/>
                <a:gd name="T16" fmla="*/ 18 w 18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8">
                  <a:moveTo>
                    <a:pt x="18" y="12"/>
                  </a:moveTo>
                  <a:lnTo>
                    <a:pt x="18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A73249CA-2CB4-4D02-AB65-C74A50E80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7" y="2204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6 h 12"/>
                <a:gd name="T4" fmla="*/ 18 w 24"/>
                <a:gd name="T5" fmla="*/ 6 h 12"/>
                <a:gd name="T6" fmla="*/ 12 w 24"/>
                <a:gd name="T7" fmla="*/ 0 h 12"/>
                <a:gd name="T8" fmla="*/ 12 w 24"/>
                <a:gd name="T9" fmla="*/ 6 h 12"/>
                <a:gd name="T10" fmla="*/ 12 w 24"/>
                <a:gd name="T11" fmla="*/ 6 h 12"/>
                <a:gd name="T12" fmla="*/ 0 w 24"/>
                <a:gd name="T13" fmla="*/ 6 h 12"/>
                <a:gd name="T14" fmla="*/ 0 w 24"/>
                <a:gd name="T15" fmla="*/ 12 h 12"/>
                <a:gd name="T16" fmla="*/ 6 w 24"/>
                <a:gd name="T17" fmla="*/ 12 h 12"/>
                <a:gd name="T18" fmla="*/ 18 w 24"/>
                <a:gd name="T19" fmla="*/ 6 h 12"/>
                <a:gd name="T20" fmla="*/ 18 w 24"/>
                <a:gd name="T21" fmla="*/ 12 h 12"/>
                <a:gd name="T22" fmla="*/ 18 w 24"/>
                <a:gd name="T23" fmla="*/ 12 h 12"/>
                <a:gd name="T24" fmla="*/ 24 w 24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6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955435A2-0B35-490B-8A78-26B1CF98D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222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E2BF8428-F6C4-4DD9-9AEC-BC68BED501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9" y="214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2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614D1603-F5EC-4E5B-9396-66A73C20DF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2204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9FB05EC3-6403-4AA7-854C-61C90AC4D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7" y="2084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223B0937-C2EF-44D8-9B44-3489C6793A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5" y="2204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0 h 12"/>
                <a:gd name="T4" fmla="*/ 0 w 12"/>
                <a:gd name="T5" fmla="*/ 12 h 12"/>
                <a:gd name="T6" fmla="*/ 6 w 12"/>
                <a:gd name="T7" fmla="*/ 12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44628E31-3503-4C08-AE46-0C40A4E8D95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1" y="2138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CBDD668E-0823-4A06-B5FF-EDBAB479C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0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" name="Rectangle 27">
              <a:extLst>
                <a:ext uri="{FF2B5EF4-FFF2-40B4-BE49-F238E27FC236}">
                  <a16:creationId xmlns:a16="http://schemas.microsoft.com/office/drawing/2014/main" id="{0C5E1C7C-BA4F-48D4-9946-9612FBE8741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174"/>
              <a:ext cx="6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A1C295E-E61B-4F6A-BF0C-B21964655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211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12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41426F41-F248-4B06-B8E4-721DE5AB41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2162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0 h 12"/>
                <a:gd name="T4" fmla="*/ 6 w 6"/>
                <a:gd name="T5" fmla="*/ 0 h 12"/>
                <a:gd name="T6" fmla="*/ 0 w 6"/>
                <a:gd name="T7" fmla="*/ 12 h 12"/>
                <a:gd name="T8" fmla="*/ 6 w 6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5F7D80A4-C593-4355-9A3E-2EFC46152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1" y="2126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54A4FE7C-124F-41D0-AB75-57E52C07B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180"/>
              <a:ext cx="1" cy="12"/>
            </a:xfrm>
            <a:custGeom>
              <a:avLst/>
              <a:gdLst>
                <a:gd name="T0" fmla="*/ 6 h 12"/>
                <a:gd name="T1" fmla="*/ 12 h 12"/>
                <a:gd name="T2" fmla="*/ 0 h 12"/>
                <a:gd name="T3" fmla="*/ 6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2">
                  <a:moveTo>
                    <a:pt x="0" y="6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" name="Rectangle 32">
              <a:extLst>
                <a:ext uri="{FF2B5EF4-FFF2-40B4-BE49-F238E27FC236}">
                  <a16:creationId xmlns:a16="http://schemas.microsoft.com/office/drawing/2014/main" id="{CA580CCC-05CA-4794-B041-22E0099275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5" y="2192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B1E3FE46-C173-4D9A-940B-FD87D1CEC8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7" y="2042"/>
              <a:ext cx="12" cy="12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12 w 12"/>
                <a:gd name="T5" fmla="*/ 0 h 12"/>
                <a:gd name="T6" fmla="*/ 12 w 12"/>
                <a:gd name="T7" fmla="*/ 0 h 12"/>
                <a:gd name="T8" fmla="*/ 12 w 12"/>
                <a:gd name="T9" fmla="*/ 6 h 12"/>
                <a:gd name="T10" fmla="*/ 6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69A83D5A-A96B-4EC1-BC0F-636948AB2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6" y="2018"/>
              <a:ext cx="6" cy="1"/>
            </a:xfrm>
            <a:custGeom>
              <a:avLst/>
              <a:gdLst>
                <a:gd name="T0" fmla="*/ 0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  <a:gd name="T7" fmla="*/ 6 w 6"/>
                <a:gd name="T8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B48D1424-B062-4296-949B-8B1D31228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0" y="2036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11F50416-47F9-4978-975B-7283F47AC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5" y="1988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6 w 6"/>
                <a:gd name="T4" fmla="*/ 6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6DC0CEE1-01A0-40DC-BBDC-61BDDAA742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776A084E-30BB-405F-A80A-3203365C2A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9" y="2018"/>
              <a:ext cx="108" cy="78"/>
            </a:xfrm>
            <a:custGeom>
              <a:avLst/>
              <a:gdLst>
                <a:gd name="T0" fmla="*/ 84 w 108"/>
                <a:gd name="T1" fmla="*/ 0 h 78"/>
                <a:gd name="T2" fmla="*/ 90 w 108"/>
                <a:gd name="T3" fmla="*/ 6 h 78"/>
                <a:gd name="T4" fmla="*/ 84 w 108"/>
                <a:gd name="T5" fmla="*/ 12 h 78"/>
                <a:gd name="T6" fmla="*/ 90 w 108"/>
                <a:gd name="T7" fmla="*/ 12 h 78"/>
                <a:gd name="T8" fmla="*/ 90 w 108"/>
                <a:gd name="T9" fmla="*/ 18 h 78"/>
                <a:gd name="T10" fmla="*/ 96 w 108"/>
                <a:gd name="T11" fmla="*/ 18 h 78"/>
                <a:gd name="T12" fmla="*/ 108 w 108"/>
                <a:gd name="T13" fmla="*/ 24 h 78"/>
                <a:gd name="T14" fmla="*/ 96 w 108"/>
                <a:gd name="T15" fmla="*/ 24 h 78"/>
                <a:gd name="T16" fmla="*/ 96 w 108"/>
                <a:gd name="T17" fmla="*/ 30 h 78"/>
                <a:gd name="T18" fmla="*/ 90 w 108"/>
                <a:gd name="T19" fmla="*/ 36 h 78"/>
                <a:gd name="T20" fmla="*/ 90 w 108"/>
                <a:gd name="T21" fmla="*/ 36 h 78"/>
                <a:gd name="T22" fmla="*/ 78 w 108"/>
                <a:gd name="T23" fmla="*/ 36 h 78"/>
                <a:gd name="T24" fmla="*/ 72 w 108"/>
                <a:gd name="T25" fmla="*/ 30 h 78"/>
                <a:gd name="T26" fmla="*/ 66 w 108"/>
                <a:gd name="T27" fmla="*/ 42 h 78"/>
                <a:gd name="T28" fmla="*/ 66 w 108"/>
                <a:gd name="T29" fmla="*/ 48 h 78"/>
                <a:gd name="T30" fmla="*/ 60 w 108"/>
                <a:gd name="T31" fmla="*/ 54 h 78"/>
                <a:gd name="T32" fmla="*/ 60 w 108"/>
                <a:gd name="T33" fmla="*/ 66 h 78"/>
                <a:gd name="T34" fmla="*/ 48 w 108"/>
                <a:gd name="T35" fmla="*/ 72 h 78"/>
                <a:gd name="T36" fmla="*/ 36 w 108"/>
                <a:gd name="T37" fmla="*/ 66 h 78"/>
                <a:gd name="T38" fmla="*/ 30 w 108"/>
                <a:gd name="T39" fmla="*/ 72 h 78"/>
                <a:gd name="T40" fmla="*/ 18 w 108"/>
                <a:gd name="T41" fmla="*/ 78 h 78"/>
                <a:gd name="T42" fmla="*/ 6 w 108"/>
                <a:gd name="T43" fmla="*/ 72 h 78"/>
                <a:gd name="T44" fmla="*/ 0 w 108"/>
                <a:gd name="T45" fmla="*/ 60 h 78"/>
                <a:gd name="T46" fmla="*/ 0 w 108"/>
                <a:gd name="T47" fmla="*/ 60 h 78"/>
                <a:gd name="T48" fmla="*/ 12 w 108"/>
                <a:gd name="T49" fmla="*/ 66 h 78"/>
                <a:gd name="T50" fmla="*/ 18 w 108"/>
                <a:gd name="T51" fmla="*/ 72 h 78"/>
                <a:gd name="T52" fmla="*/ 18 w 108"/>
                <a:gd name="T53" fmla="*/ 66 h 78"/>
                <a:gd name="T54" fmla="*/ 18 w 108"/>
                <a:gd name="T55" fmla="*/ 66 h 78"/>
                <a:gd name="T56" fmla="*/ 18 w 108"/>
                <a:gd name="T57" fmla="*/ 60 h 78"/>
                <a:gd name="T58" fmla="*/ 18 w 108"/>
                <a:gd name="T59" fmla="*/ 60 h 78"/>
                <a:gd name="T60" fmla="*/ 24 w 108"/>
                <a:gd name="T61" fmla="*/ 54 h 78"/>
                <a:gd name="T62" fmla="*/ 30 w 108"/>
                <a:gd name="T63" fmla="*/ 48 h 78"/>
                <a:gd name="T64" fmla="*/ 36 w 108"/>
                <a:gd name="T65" fmla="*/ 48 h 78"/>
                <a:gd name="T66" fmla="*/ 42 w 108"/>
                <a:gd name="T67" fmla="*/ 42 h 78"/>
                <a:gd name="T68" fmla="*/ 48 w 108"/>
                <a:gd name="T69" fmla="*/ 30 h 78"/>
                <a:gd name="T70" fmla="*/ 54 w 108"/>
                <a:gd name="T71" fmla="*/ 36 h 78"/>
                <a:gd name="T72" fmla="*/ 60 w 108"/>
                <a:gd name="T73" fmla="*/ 30 h 78"/>
                <a:gd name="T74" fmla="*/ 60 w 108"/>
                <a:gd name="T75" fmla="*/ 24 h 78"/>
                <a:gd name="T76" fmla="*/ 60 w 108"/>
                <a:gd name="T77" fmla="*/ 30 h 78"/>
                <a:gd name="T78" fmla="*/ 60 w 108"/>
                <a:gd name="T79" fmla="*/ 30 h 78"/>
                <a:gd name="T80" fmla="*/ 66 w 108"/>
                <a:gd name="T81" fmla="*/ 24 h 78"/>
                <a:gd name="T82" fmla="*/ 66 w 108"/>
                <a:gd name="T83" fmla="*/ 24 h 78"/>
                <a:gd name="T84" fmla="*/ 66 w 108"/>
                <a:gd name="T85" fmla="*/ 18 h 78"/>
                <a:gd name="T86" fmla="*/ 72 w 108"/>
                <a:gd name="T87" fmla="*/ 12 h 78"/>
                <a:gd name="T88" fmla="*/ 78 w 108"/>
                <a:gd name="T89" fmla="*/ 0 h 78"/>
                <a:gd name="T90" fmla="*/ 78 w 108"/>
                <a:gd name="T91" fmla="*/ 6 h 78"/>
                <a:gd name="T92" fmla="*/ 84 w 108"/>
                <a:gd name="T9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78">
                  <a:moveTo>
                    <a:pt x="84" y="0"/>
                  </a:moveTo>
                  <a:lnTo>
                    <a:pt x="90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54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12" y="66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8" y="30"/>
                  </a:lnTo>
                  <a:lnTo>
                    <a:pt x="54" y="36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BF9316A4-8068-4CAB-B3D2-B0BB6ADCD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2024"/>
              <a:ext cx="48" cy="66"/>
            </a:xfrm>
            <a:custGeom>
              <a:avLst/>
              <a:gdLst>
                <a:gd name="T0" fmla="*/ 36 w 48"/>
                <a:gd name="T1" fmla="*/ 66 h 66"/>
                <a:gd name="T2" fmla="*/ 24 w 48"/>
                <a:gd name="T3" fmla="*/ 54 h 66"/>
                <a:gd name="T4" fmla="*/ 12 w 48"/>
                <a:gd name="T5" fmla="*/ 42 h 66"/>
                <a:gd name="T6" fmla="*/ 6 w 48"/>
                <a:gd name="T7" fmla="*/ 30 h 66"/>
                <a:gd name="T8" fmla="*/ 0 w 48"/>
                <a:gd name="T9" fmla="*/ 18 h 66"/>
                <a:gd name="T10" fmla="*/ 0 w 48"/>
                <a:gd name="T11" fmla="*/ 0 h 66"/>
                <a:gd name="T12" fmla="*/ 0 w 48"/>
                <a:gd name="T13" fmla="*/ 0 h 66"/>
                <a:gd name="T14" fmla="*/ 6 w 48"/>
                <a:gd name="T15" fmla="*/ 6 h 66"/>
                <a:gd name="T16" fmla="*/ 6 w 48"/>
                <a:gd name="T17" fmla="*/ 12 h 66"/>
                <a:gd name="T18" fmla="*/ 18 w 48"/>
                <a:gd name="T19" fmla="*/ 12 h 66"/>
                <a:gd name="T20" fmla="*/ 18 w 48"/>
                <a:gd name="T21" fmla="*/ 6 h 66"/>
                <a:gd name="T22" fmla="*/ 24 w 48"/>
                <a:gd name="T23" fmla="*/ 12 h 66"/>
                <a:gd name="T24" fmla="*/ 30 w 48"/>
                <a:gd name="T25" fmla="*/ 18 h 66"/>
                <a:gd name="T26" fmla="*/ 36 w 48"/>
                <a:gd name="T27" fmla="*/ 30 h 66"/>
                <a:gd name="T28" fmla="*/ 36 w 48"/>
                <a:gd name="T29" fmla="*/ 42 h 66"/>
                <a:gd name="T30" fmla="*/ 42 w 48"/>
                <a:gd name="T31" fmla="*/ 54 h 66"/>
                <a:gd name="T32" fmla="*/ 48 w 48"/>
                <a:gd name="T33" fmla="*/ 60 h 66"/>
                <a:gd name="T34" fmla="*/ 42 w 48"/>
                <a:gd name="T35" fmla="*/ 60 h 66"/>
                <a:gd name="T36" fmla="*/ 36 w 48"/>
                <a:gd name="T3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66">
                  <a:moveTo>
                    <a:pt x="36" y="66"/>
                  </a:moveTo>
                  <a:lnTo>
                    <a:pt x="24" y="54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" name="Rectangle 40">
              <a:extLst>
                <a:ext uri="{FF2B5EF4-FFF2-40B4-BE49-F238E27FC236}">
                  <a16:creationId xmlns:a16="http://schemas.microsoft.com/office/drawing/2014/main" id="{94F2818E-1146-4AA4-BA75-558A11D03A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6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83C3E85F-1370-42EE-987F-5E357F25A82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6" y="201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63257888-3342-4066-BFA3-FF1FBB23BB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6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07B5233C-CB7A-4301-B4DA-0466D75B0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" y="211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2DDCC77F-0086-4CB8-A364-0EC499F2E3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E5D41983-7165-4B2C-93E9-A954A2C92B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2"/>
              <a:ext cx="1" cy="6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0 h 6"/>
                <a:gd name="T4" fmla="*/ 0 h 6"/>
                <a:gd name="T5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0" name="Rectangle 46">
              <a:extLst>
                <a:ext uri="{FF2B5EF4-FFF2-40B4-BE49-F238E27FC236}">
                  <a16:creationId xmlns:a16="http://schemas.microsoft.com/office/drawing/2014/main" id="{F9DF2BD4-B8E1-4887-B8D9-96B26CD9BA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1" name="Rectangle 47">
              <a:extLst>
                <a:ext uri="{FF2B5EF4-FFF2-40B4-BE49-F238E27FC236}">
                  <a16:creationId xmlns:a16="http://schemas.microsoft.com/office/drawing/2014/main" id="{DE7110C0-63BC-4E9F-B427-49307A58C0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79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A438E3DA-3F13-42E1-A66A-9F8A6E94A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9" y="201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3928FFA7-D519-46B2-BBE3-C3CF722ED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1" y="2138"/>
              <a:ext cx="108" cy="96"/>
            </a:xfrm>
            <a:custGeom>
              <a:avLst/>
              <a:gdLst>
                <a:gd name="T0" fmla="*/ 108 w 108"/>
                <a:gd name="T1" fmla="*/ 96 h 96"/>
                <a:gd name="T2" fmla="*/ 102 w 108"/>
                <a:gd name="T3" fmla="*/ 96 h 96"/>
                <a:gd name="T4" fmla="*/ 102 w 108"/>
                <a:gd name="T5" fmla="*/ 96 h 96"/>
                <a:gd name="T6" fmla="*/ 96 w 108"/>
                <a:gd name="T7" fmla="*/ 96 h 96"/>
                <a:gd name="T8" fmla="*/ 84 w 108"/>
                <a:gd name="T9" fmla="*/ 96 h 96"/>
                <a:gd name="T10" fmla="*/ 72 w 108"/>
                <a:gd name="T11" fmla="*/ 90 h 96"/>
                <a:gd name="T12" fmla="*/ 66 w 108"/>
                <a:gd name="T13" fmla="*/ 84 h 96"/>
                <a:gd name="T14" fmla="*/ 60 w 108"/>
                <a:gd name="T15" fmla="*/ 78 h 96"/>
                <a:gd name="T16" fmla="*/ 54 w 108"/>
                <a:gd name="T17" fmla="*/ 72 h 96"/>
                <a:gd name="T18" fmla="*/ 54 w 108"/>
                <a:gd name="T19" fmla="*/ 66 h 96"/>
                <a:gd name="T20" fmla="*/ 36 w 108"/>
                <a:gd name="T21" fmla="*/ 60 h 96"/>
                <a:gd name="T22" fmla="*/ 36 w 108"/>
                <a:gd name="T23" fmla="*/ 66 h 96"/>
                <a:gd name="T24" fmla="*/ 30 w 108"/>
                <a:gd name="T25" fmla="*/ 60 h 96"/>
                <a:gd name="T26" fmla="*/ 30 w 108"/>
                <a:gd name="T27" fmla="*/ 66 h 96"/>
                <a:gd name="T28" fmla="*/ 24 w 108"/>
                <a:gd name="T29" fmla="*/ 66 h 96"/>
                <a:gd name="T30" fmla="*/ 30 w 108"/>
                <a:gd name="T31" fmla="*/ 72 h 96"/>
                <a:gd name="T32" fmla="*/ 12 w 108"/>
                <a:gd name="T33" fmla="*/ 66 h 96"/>
                <a:gd name="T34" fmla="*/ 24 w 108"/>
                <a:gd name="T35" fmla="*/ 78 h 96"/>
                <a:gd name="T36" fmla="*/ 18 w 108"/>
                <a:gd name="T37" fmla="*/ 78 h 96"/>
                <a:gd name="T38" fmla="*/ 12 w 108"/>
                <a:gd name="T39" fmla="*/ 78 h 96"/>
                <a:gd name="T40" fmla="*/ 0 w 108"/>
                <a:gd name="T41" fmla="*/ 78 h 96"/>
                <a:gd name="T42" fmla="*/ 0 w 108"/>
                <a:gd name="T43" fmla="*/ 72 h 96"/>
                <a:gd name="T44" fmla="*/ 0 w 108"/>
                <a:gd name="T45" fmla="*/ 60 h 96"/>
                <a:gd name="T46" fmla="*/ 0 w 108"/>
                <a:gd name="T47" fmla="*/ 48 h 96"/>
                <a:gd name="T48" fmla="*/ 0 w 108"/>
                <a:gd name="T49" fmla="*/ 42 h 96"/>
                <a:gd name="T50" fmla="*/ 0 w 108"/>
                <a:gd name="T51" fmla="*/ 30 h 96"/>
                <a:gd name="T52" fmla="*/ 6 w 108"/>
                <a:gd name="T53" fmla="*/ 18 h 96"/>
                <a:gd name="T54" fmla="*/ 6 w 108"/>
                <a:gd name="T55" fmla="*/ 12 h 96"/>
                <a:gd name="T56" fmla="*/ 6 w 108"/>
                <a:gd name="T57" fmla="*/ 0 h 96"/>
                <a:gd name="T58" fmla="*/ 12 w 108"/>
                <a:gd name="T59" fmla="*/ 6 h 96"/>
                <a:gd name="T60" fmla="*/ 24 w 108"/>
                <a:gd name="T61" fmla="*/ 12 h 96"/>
                <a:gd name="T62" fmla="*/ 36 w 108"/>
                <a:gd name="T63" fmla="*/ 12 h 96"/>
                <a:gd name="T64" fmla="*/ 48 w 108"/>
                <a:gd name="T65" fmla="*/ 18 h 96"/>
                <a:gd name="T66" fmla="*/ 54 w 108"/>
                <a:gd name="T67" fmla="*/ 30 h 96"/>
                <a:gd name="T68" fmla="*/ 54 w 108"/>
                <a:gd name="T69" fmla="*/ 36 h 96"/>
                <a:gd name="T70" fmla="*/ 66 w 108"/>
                <a:gd name="T71" fmla="*/ 42 h 96"/>
                <a:gd name="T72" fmla="*/ 72 w 108"/>
                <a:gd name="T73" fmla="*/ 42 h 96"/>
                <a:gd name="T74" fmla="*/ 78 w 108"/>
                <a:gd name="T75" fmla="*/ 48 h 96"/>
                <a:gd name="T76" fmla="*/ 66 w 108"/>
                <a:gd name="T77" fmla="*/ 54 h 96"/>
                <a:gd name="T78" fmla="*/ 72 w 108"/>
                <a:gd name="T79" fmla="*/ 60 h 96"/>
                <a:gd name="T80" fmla="*/ 78 w 108"/>
                <a:gd name="T81" fmla="*/ 72 h 96"/>
                <a:gd name="T82" fmla="*/ 84 w 108"/>
                <a:gd name="T83" fmla="*/ 78 h 96"/>
                <a:gd name="T84" fmla="*/ 90 w 108"/>
                <a:gd name="T85" fmla="*/ 78 h 96"/>
                <a:gd name="T86" fmla="*/ 90 w 108"/>
                <a:gd name="T87" fmla="*/ 84 h 96"/>
                <a:gd name="T88" fmla="*/ 96 w 108"/>
                <a:gd name="T89" fmla="*/ 90 h 96"/>
                <a:gd name="T90" fmla="*/ 96 w 108"/>
                <a:gd name="T91" fmla="*/ 90 h 96"/>
                <a:gd name="T92" fmla="*/ 108 w 108"/>
                <a:gd name="T9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96">
                  <a:moveTo>
                    <a:pt x="108" y="96"/>
                  </a:moveTo>
                  <a:lnTo>
                    <a:pt x="102" y="96"/>
                  </a:lnTo>
                  <a:lnTo>
                    <a:pt x="102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2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54" y="36"/>
                  </a:lnTo>
                  <a:lnTo>
                    <a:pt x="66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66" y="54"/>
                  </a:lnTo>
                  <a:lnTo>
                    <a:pt x="72" y="60"/>
                  </a:lnTo>
                  <a:lnTo>
                    <a:pt x="78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108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E242CBF5-BF3B-4F10-805B-FEFA16AA8B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156"/>
              <a:ext cx="41" cy="24"/>
            </a:xfrm>
            <a:custGeom>
              <a:avLst/>
              <a:gdLst>
                <a:gd name="T0" fmla="*/ 41 w 41"/>
                <a:gd name="T1" fmla="*/ 0 h 24"/>
                <a:gd name="T2" fmla="*/ 41 w 41"/>
                <a:gd name="T3" fmla="*/ 12 h 24"/>
                <a:gd name="T4" fmla="*/ 36 w 41"/>
                <a:gd name="T5" fmla="*/ 12 h 24"/>
                <a:gd name="T6" fmla="*/ 41 w 41"/>
                <a:gd name="T7" fmla="*/ 18 h 24"/>
                <a:gd name="T8" fmla="*/ 30 w 41"/>
                <a:gd name="T9" fmla="*/ 18 h 24"/>
                <a:gd name="T10" fmla="*/ 18 w 41"/>
                <a:gd name="T11" fmla="*/ 24 h 24"/>
                <a:gd name="T12" fmla="*/ 6 w 41"/>
                <a:gd name="T13" fmla="*/ 24 h 24"/>
                <a:gd name="T14" fmla="*/ 0 w 41"/>
                <a:gd name="T15" fmla="*/ 18 h 24"/>
                <a:gd name="T16" fmla="*/ 0 w 41"/>
                <a:gd name="T17" fmla="*/ 18 h 24"/>
                <a:gd name="T18" fmla="*/ 12 w 41"/>
                <a:gd name="T19" fmla="*/ 18 h 24"/>
                <a:gd name="T20" fmla="*/ 18 w 41"/>
                <a:gd name="T21" fmla="*/ 12 h 24"/>
                <a:gd name="T22" fmla="*/ 18 w 41"/>
                <a:gd name="T23" fmla="*/ 12 h 24"/>
                <a:gd name="T24" fmla="*/ 24 w 41"/>
                <a:gd name="T25" fmla="*/ 18 h 24"/>
                <a:gd name="T26" fmla="*/ 36 w 41"/>
                <a:gd name="T27" fmla="*/ 12 h 24"/>
                <a:gd name="T28" fmla="*/ 36 w 41"/>
                <a:gd name="T29" fmla="*/ 0 h 24"/>
                <a:gd name="T30" fmla="*/ 41 w 41"/>
                <a:gd name="T31" fmla="*/ 0 h 24"/>
                <a:gd name="T32" fmla="*/ 41 w 41"/>
                <a:gd name="T3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24">
                  <a:moveTo>
                    <a:pt x="41" y="0"/>
                  </a:moveTo>
                  <a:lnTo>
                    <a:pt x="41" y="12"/>
                  </a:lnTo>
                  <a:lnTo>
                    <a:pt x="36" y="12"/>
                  </a:lnTo>
                  <a:lnTo>
                    <a:pt x="41" y="18"/>
                  </a:lnTo>
                  <a:lnTo>
                    <a:pt x="30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28E4B856-3BA5-4FC5-98BE-A134A83955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00" y="2174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8 h 18"/>
                <a:gd name="T4" fmla="*/ 6 w 12"/>
                <a:gd name="T5" fmla="*/ 6 h 18"/>
                <a:gd name="T6" fmla="*/ 0 w 12"/>
                <a:gd name="T7" fmla="*/ 0 h 18"/>
                <a:gd name="T8" fmla="*/ 6 w 12"/>
                <a:gd name="T9" fmla="*/ 6 h 18"/>
                <a:gd name="T10" fmla="*/ 12 w 12"/>
                <a:gd name="T1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3E1F2A7D-8BCD-4B5E-A874-A59E6DFF63B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" y="2138"/>
              <a:ext cx="23" cy="24"/>
            </a:xfrm>
            <a:custGeom>
              <a:avLst/>
              <a:gdLst>
                <a:gd name="T0" fmla="*/ 23 w 23"/>
                <a:gd name="T1" fmla="*/ 24 h 24"/>
                <a:gd name="T2" fmla="*/ 17 w 23"/>
                <a:gd name="T3" fmla="*/ 24 h 24"/>
                <a:gd name="T4" fmla="*/ 11 w 23"/>
                <a:gd name="T5" fmla="*/ 12 h 24"/>
                <a:gd name="T6" fmla="*/ 6 w 23"/>
                <a:gd name="T7" fmla="*/ 6 h 24"/>
                <a:gd name="T8" fmla="*/ 0 w 23"/>
                <a:gd name="T9" fmla="*/ 0 h 24"/>
                <a:gd name="T10" fmla="*/ 6 w 23"/>
                <a:gd name="T11" fmla="*/ 6 h 24"/>
                <a:gd name="T12" fmla="*/ 17 w 23"/>
                <a:gd name="T13" fmla="*/ 12 h 24"/>
                <a:gd name="T14" fmla="*/ 23 w 2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4">
                  <a:moveTo>
                    <a:pt x="23" y="24"/>
                  </a:moveTo>
                  <a:lnTo>
                    <a:pt x="17" y="24"/>
                  </a:lnTo>
                  <a:lnTo>
                    <a:pt x="11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7" y="12"/>
                  </a:lnTo>
                  <a:lnTo>
                    <a:pt x="23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7" name="Rectangle 53">
              <a:extLst>
                <a:ext uri="{FF2B5EF4-FFF2-40B4-BE49-F238E27FC236}">
                  <a16:creationId xmlns:a16="http://schemas.microsoft.com/office/drawing/2014/main" id="{B5F80573-1D91-4945-B8D6-07FFF38FE8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59" y="22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F752D49E-5A5C-4D40-9D12-EDD671F6A6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5A3D0BA5-F540-488B-97DA-245BB0ABE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3" y="1916"/>
              <a:ext cx="1" cy="6"/>
            </a:xfrm>
            <a:custGeom>
              <a:avLst/>
              <a:gdLst>
                <a:gd name="T0" fmla="*/ 0 h 6"/>
                <a:gd name="T1" fmla="*/ 6 h 6"/>
                <a:gd name="T2" fmla="*/ 6 h 6"/>
                <a:gd name="T3" fmla="*/ 6 h 6"/>
                <a:gd name="T4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0" name="Rectangle 56">
              <a:extLst>
                <a:ext uri="{FF2B5EF4-FFF2-40B4-BE49-F238E27FC236}">
                  <a16:creationId xmlns:a16="http://schemas.microsoft.com/office/drawing/2014/main" id="{7467C766-45EF-4335-8B48-D75F00D0EA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2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1" name="Rectangle 57">
              <a:extLst>
                <a:ext uri="{FF2B5EF4-FFF2-40B4-BE49-F238E27FC236}">
                  <a16:creationId xmlns:a16="http://schemas.microsoft.com/office/drawing/2014/main" id="{39D872D2-D689-4FB2-8232-192FD81956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88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2" name="Rectangle 58">
              <a:extLst>
                <a:ext uri="{FF2B5EF4-FFF2-40B4-BE49-F238E27FC236}">
                  <a16:creationId xmlns:a16="http://schemas.microsoft.com/office/drawing/2014/main" id="{2D8B2D88-B881-4914-B9B9-3592CEDD02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1" y="187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3" name="Rectangle 59">
              <a:extLst>
                <a:ext uri="{FF2B5EF4-FFF2-40B4-BE49-F238E27FC236}">
                  <a16:creationId xmlns:a16="http://schemas.microsoft.com/office/drawing/2014/main" id="{51D1FF3B-0C4F-4A51-A5AF-B73DE95494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87" y="190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F4BC773D-E569-46EF-9225-B5F5DBC468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79"/>
              <a:ext cx="54" cy="66"/>
            </a:xfrm>
            <a:custGeom>
              <a:avLst/>
              <a:gdLst>
                <a:gd name="T0" fmla="*/ 18 w 54"/>
                <a:gd name="T1" fmla="*/ 54 h 66"/>
                <a:gd name="T2" fmla="*/ 18 w 54"/>
                <a:gd name="T3" fmla="*/ 54 h 66"/>
                <a:gd name="T4" fmla="*/ 12 w 54"/>
                <a:gd name="T5" fmla="*/ 54 h 66"/>
                <a:gd name="T6" fmla="*/ 12 w 54"/>
                <a:gd name="T7" fmla="*/ 54 h 66"/>
                <a:gd name="T8" fmla="*/ 12 w 54"/>
                <a:gd name="T9" fmla="*/ 48 h 66"/>
                <a:gd name="T10" fmla="*/ 6 w 54"/>
                <a:gd name="T11" fmla="*/ 36 h 66"/>
                <a:gd name="T12" fmla="*/ 6 w 54"/>
                <a:gd name="T13" fmla="*/ 30 h 66"/>
                <a:gd name="T14" fmla="*/ 0 w 54"/>
                <a:gd name="T15" fmla="*/ 24 h 66"/>
                <a:gd name="T16" fmla="*/ 0 w 54"/>
                <a:gd name="T17" fmla="*/ 18 h 66"/>
                <a:gd name="T18" fmla="*/ 6 w 54"/>
                <a:gd name="T19" fmla="*/ 12 h 66"/>
                <a:gd name="T20" fmla="*/ 0 w 54"/>
                <a:gd name="T21" fmla="*/ 6 h 66"/>
                <a:gd name="T22" fmla="*/ 0 w 54"/>
                <a:gd name="T23" fmla="*/ 0 h 66"/>
                <a:gd name="T24" fmla="*/ 6 w 54"/>
                <a:gd name="T25" fmla="*/ 0 h 66"/>
                <a:gd name="T26" fmla="*/ 12 w 54"/>
                <a:gd name="T27" fmla="*/ 6 h 66"/>
                <a:gd name="T28" fmla="*/ 12 w 54"/>
                <a:gd name="T29" fmla="*/ 0 h 66"/>
                <a:gd name="T30" fmla="*/ 18 w 54"/>
                <a:gd name="T31" fmla="*/ 12 h 66"/>
                <a:gd name="T32" fmla="*/ 30 w 54"/>
                <a:gd name="T33" fmla="*/ 12 h 66"/>
                <a:gd name="T34" fmla="*/ 36 w 54"/>
                <a:gd name="T35" fmla="*/ 12 h 66"/>
                <a:gd name="T36" fmla="*/ 42 w 54"/>
                <a:gd name="T37" fmla="*/ 18 h 66"/>
                <a:gd name="T38" fmla="*/ 42 w 54"/>
                <a:gd name="T39" fmla="*/ 24 h 66"/>
                <a:gd name="T40" fmla="*/ 36 w 54"/>
                <a:gd name="T41" fmla="*/ 30 h 66"/>
                <a:gd name="T42" fmla="*/ 36 w 54"/>
                <a:gd name="T43" fmla="*/ 42 h 66"/>
                <a:gd name="T44" fmla="*/ 36 w 54"/>
                <a:gd name="T45" fmla="*/ 42 h 66"/>
                <a:gd name="T46" fmla="*/ 42 w 54"/>
                <a:gd name="T47" fmla="*/ 30 h 66"/>
                <a:gd name="T48" fmla="*/ 48 w 54"/>
                <a:gd name="T49" fmla="*/ 42 h 66"/>
                <a:gd name="T50" fmla="*/ 54 w 54"/>
                <a:gd name="T51" fmla="*/ 54 h 66"/>
                <a:gd name="T52" fmla="*/ 54 w 54"/>
                <a:gd name="T53" fmla="*/ 60 h 66"/>
                <a:gd name="T54" fmla="*/ 48 w 54"/>
                <a:gd name="T55" fmla="*/ 66 h 66"/>
                <a:gd name="T56" fmla="*/ 54 w 54"/>
                <a:gd name="T57" fmla="*/ 66 h 66"/>
                <a:gd name="T58" fmla="*/ 42 w 54"/>
                <a:gd name="T59" fmla="*/ 54 h 66"/>
                <a:gd name="T60" fmla="*/ 36 w 54"/>
                <a:gd name="T61" fmla="*/ 42 h 66"/>
                <a:gd name="T62" fmla="*/ 30 w 54"/>
                <a:gd name="T63" fmla="*/ 42 h 66"/>
                <a:gd name="T64" fmla="*/ 30 w 54"/>
                <a:gd name="T65" fmla="*/ 36 h 66"/>
                <a:gd name="T66" fmla="*/ 18 w 54"/>
                <a:gd name="T67" fmla="*/ 30 h 66"/>
                <a:gd name="T68" fmla="*/ 12 w 54"/>
                <a:gd name="T69" fmla="*/ 30 h 66"/>
                <a:gd name="T70" fmla="*/ 24 w 54"/>
                <a:gd name="T71" fmla="*/ 36 h 66"/>
                <a:gd name="T72" fmla="*/ 30 w 54"/>
                <a:gd name="T73" fmla="*/ 42 h 66"/>
                <a:gd name="T74" fmla="*/ 30 w 54"/>
                <a:gd name="T75" fmla="*/ 48 h 66"/>
                <a:gd name="T76" fmla="*/ 24 w 54"/>
                <a:gd name="T77" fmla="*/ 54 h 66"/>
                <a:gd name="T78" fmla="*/ 24 w 54"/>
                <a:gd name="T79" fmla="*/ 54 h 66"/>
                <a:gd name="T80" fmla="*/ 24 w 54"/>
                <a:gd name="T81" fmla="*/ 54 h 66"/>
                <a:gd name="T82" fmla="*/ 18 w 54"/>
                <a:gd name="T83" fmla="*/ 54 h 66"/>
                <a:gd name="T84" fmla="*/ 18 w 54"/>
                <a:gd name="T85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" h="66">
                  <a:moveTo>
                    <a:pt x="18" y="54"/>
                  </a:moveTo>
                  <a:lnTo>
                    <a:pt x="18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42" y="30"/>
                  </a:lnTo>
                  <a:lnTo>
                    <a:pt x="48" y="42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2" y="54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24" y="36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8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E8DC83B7-E230-4AA4-86F8-37C33DE7E4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" y="1755"/>
              <a:ext cx="36" cy="18"/>
            </a:xfrm>
            <a:custGeom>
              <a:avLst/>
              <a:gdLst>
                <a:gd name="T0" fmla="*/ 24 w 36"/>
                <a:gd name="T1" fmla="*/ 0 h 18"/>
                <a:gd name="T2" fmla="*/ 6 w 36"/>
                <a:gd name="T3" fmla="*/ 0 h 18"/>
                <a:gd name="T4" fmla="*/ 0 w 36"/>
                <a:gd name="T5" fmla="*/ 12 h 18"/>
                <a:gd name="T6" fmla="*/ 0 w 36"/>
                <a:gd name="T7" fmla="*/ 18 h 18"/>
                <a:gd name="T8" fmla="*/ 18 w 36"/>
                <a:gd name="T9" fmla="*/ 18 h 18"/>
                <a:gd name="T10" fmla="*/ 24 w 36"/>
                <a:gd name="T11" fmla="*/ 18 h 18"/>
                <a:gd name="T12" fmla="*/ 36 w 36"/>
                <a:gd name="T13" fmla="*/ 18 h 18"/>
                <a:gd name="T14" fmla="*/ 30 w 36"/>
                <a:gd name="T15" fmla="*/ 12 h 18"/>
                <a:gd name="T16" fmla="*/ 30 w 36"/>
                <a:gd name="T17" fmla="*/ 6 h 18"/>
                <a:gd name="T18" fmla="*/ 24 w 36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24" y="0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405792A1-3BB2-4046-AB2E-A6D3A3937D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5" y="1922"/>
              <a:ext cx="54" cy="54"/>
            </a:xfrm>
            <a:custGeom>
              <a:avLst/>
              <a:gdLst>
                <a:gd name="T0" fmla="*/ 36 w 54"/>
                <a:gd name="T1" fmla="*/ 42 h 54"/>
                <a:gd name="T2" fmla="*/ 42 w 54"/>
                <a:gd name="T3" fmla="*/ 48 h 54"/>
                <a:gd name="T4" fmla="*/ 36 w 54"/>
                <a:gd name="T5" fmla="*/ 48 h 54"/>
                <a:gd name="T6" fmla="*/ 30 w 54"/>
                <a:gd name="T7" fmla="*/ 48 h 54"/>
                <a:gd name="T8" fmla="*/ 24 w 54"/>
                <a:gd name="T9" fmla="*/ 54 h 54"/>
                <a:gd name="T10" fmla="*/ 18 w 54"/>
                <a:gd name="T11" fmla="*/ 54 h 54"/>
                <a:gd name="T12" fmla="*/ 12 w 54"/>
                <a:gd name="T13" fmla="*/ 48 h 54"/>
                <a:gd name="T14" fmla="*/ 12 w 54"/>
                <a:gd name="T15" fmla="*/ 48 h 54"/>
                <a:gd name="T16" fmla="*/ 6 w 54"/>
                <a:gd name="T17" fmla="*/ 48 h 54"/>
                <a:gd name="T18" fmla="*/ 6 w 54"/>
                <a:gd name="T19" fmla="*/ 42 h 54"/>
                <a:gd name="T20" fmla="*/ 6 w 54"/>
                <a:gd name="T21" fmla="*/ 36 h 54"/>
                <a:gd name="T22" fmla="*/ 0 w 54"/>
                <a:gd name="T23" fmla="*/ 30 h 54"/>
                <a:gd name="T24" fmla="*/ 0 w 54"/>
                <a:gd name="T25" fmla="*/ 18 h 54"/>
                <a:gd name="T26" fmla="*/ 6 w 54"/>
                <a:gd name="T27" fmla="*/ 6 h 54"/>
                <a:gd name="T28" fmla="*/ 18 w 54"/>
                <a:gd name="T29" fmla="*/ 6 h 54"/>
                <a:gd name="T30" fmla="*/ 30 w 54"/>
                <a:gd name="T31" fmla="*/ 6 h 54"/>
                <a:gd name="T32" fmla="*/ 36 w 54"/>
                <a:gd name="T33" fmla="*/ 12 h 54"/>
                <a:gd name="T34" fmla="*/ 36 w 54"/>
                <a:gd name="T35" fmla="*/ 6 h 54"/>
                <a:gd name="T36" fmla="*/ 42 w 54"/>
                <a:gd name="T37" fmla="*/ 6 h 54"/>
                <a:gd name="T38" fmla="*/ 42 w 54"/>
                <a:gd name="T39" fmla="*/ 6 h 54"/>
                <a:gd name="T40" fmla="*/ 54 w 54"/>
                <a:gd name="T41" fmla="*/ 0 h 54"/>
                <a:gd name="T42" fmla="*/ 54 w 54"/>
                <a:gd name="T43" fmla="*/ 12 h 54"/>
                <a:gd name="T44" fmla="*/ 54 w 54"/>
                <a:gd name="T45" fmla="*/ 24 h 54"/>
                <a:gd name="T46" fmla="*/ 54 w 54"/>
                <a:gd name="T47" fmla="*/ 30 h 54"/>
                <a:gd name="T48" fmla="*/ 42 w 54"/>
                <a:gd name="T49" fmla="*/ 36 h 54"/>
                <a:gd name="T50" fmla="*/ 36 w 54"/>
                <a:gd name="T5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54">
                  <a:moveTo>
                    <a:pt x="36" y="42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6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42" y="36"/>
                  </a:lnTo>
                  <a:lnTo>
                    <a:pt x="3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50E2C025-75D6-4888-9AEE-A8AAFF511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1" y="1934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  <a:gd name="T8" fmla="*/ 0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8ED903C9-1E2D-40B7-9BA8-65F502DBE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" y="1827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1D218D38-6B99-4AFE-80A4-787DBD10D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" y="1827"/>
              <a:ext cx="90" cy="107"/>
            </a:xfrm>
            <a:custGeom>
              <a:avLst/>
              <a:gdLst>
                <a:gd name="T0" fmla="*/ 48 w 90"/>
                <a:gd name="T1" fmla="*/ 30 h 107"/>
                <a:gd name="T2" fmla="*/ 48 w 90"/>
                <a:gd name="T3" fmla="*/ 24 h 107"/>
                <a:gd name="T4" fmla="*/ 42 w 90"/>
                <a:gd name="T5" fmla="*/ 18 h 107"/>
                <a:gd name="T6" fmla="*/ 36 w 90"/>
                <a:gd name="T7" fmla="*/ 24 h 107"/>
                <a:gd name="T8" fmla="*/ 24 w 90"/>
                <a:gd name="T9" fmla="*/ 12 h 107"/>
                <a:gd name="T10" fmla="*/ 24 w 90"/>
                <a:gd name="T11" fmla="*/ 12 h 107"/>
                <a:gd name="T12" fmla="*/ 18 w 90"/>
                <a:gd name="T13" fmla="*/ 0 h 107"/>
                <a:gd name="T14" fmla="*/ 12 w 90"/>
                <a:gd name="T15" fmla="*/ 0 h 107"/>
                <a:gd name="T16" fmla="*/ 12 w 90"/>
                <a:gd name="T17" fmla="*/ 18 h 107"/>
                <a:gd name="T18" fmla="*/ 6 w 90"/>
                <a:gd name="T19" fmla="*/ 12 h 107"/>
                <a:gd name="T20" fmla="*/ 6 w 90"/>
                <a:gd name="T21" fmla="*/ 12 h 107"/>
                <a:gd name="T22" fmla="*/ 0 w 90"/>
                <a:gd name="T23" fmla="*/ 18 h 107"/>
                <a:gd name="T24" fmla="*/ 0 w 90"/>
                <a:gd name="T25" fmla="*/ 24 h 107"/>
                <a:gd name="T26" fmla="*/ 0 w 90"/>
                <a:gd name="T27" fmla="*/ 30 h 107"/>
                <a:gd name="T28" fmla="*/ 0 w 90"/>
                <a:gd name="T29" fmla="*/ 36 h 107"/>
                <a:gd name="T30" fmla="*/ 12 w 90"/>
                <a:gd name="T31" fmla="*/ 36 h 107"/>
                <a:gd name="T32" fmla="*/ 12 w 90"/>
                <a:gd name="T33" fmla="*/ 47 h 107"/>
                <a:gd name="T34" fmla="*/ 12 w 90"/>
                <a:gd name="T35" fmla="*/ 59 h 107"/>
                <a:gd name="T36" fmla="*/ 24 w 90"/>
                <a:gd name="T37" fmla="*/ 53 h 107"/>
                <a:gd name="T38" fmla="*/ 30 w 90"/>
                <a:gd name="T39" fmla="*/ 53 h 107"/>
                <a:gd name="T40" fmla="*/ 36 w 90"/>
                <a:gd name="T41" fmla="*/ 53 h 107"/>
                <a:gd name="T42" fmla="*/ 42 w 90"/>
                <a:gd name="T43" fmla="*/ 47 h 107"/>
                <a:gd name="T44" fmla="*/ 54 w 90"/>
                <a:gd name="T45" fmla="*/ 59 h 107"/>
                <a:gd name="T46" fmla="*/ 54 w 90"/>
                <a:gd name="T47" fmla="*/ 71 h 107"/>
                <a:gd name="T48" fmla="*/ 66 w 90"/>
                <a:gd name="T49" fmla="*/ 83 h 107"/>
                <a:gd name="T50" fmla="*/ 66 w 90"/>
                <a:gd name="T51" fmla="*/ 95 h 107"/>
                <a:gd name="T52" fmla="*/ 66 w 90"/>
                <a:gd name="T53" fmla="*/ 101 h 107"/>
                <a:gd name="T54" fmla="*/ 72 w 90"/>
                <a:gd name="T55" fmla="*/ 107 h 107"/>
                <a:gd name="T56" fmla="*/ 72 w 90"/>
                <a:gd name="T57" fmla="*/ 101 h 107"/>
                <a:gd name="T58" fmla="*/ 78 w 90"/>
                <a:gd name="T59" fmla="*/ 101 h 107"/>
                <a:gd name="T60" fmla="*/ 78 w 90"/>
                <a:gd name="T61" fmla="*/ 101 h 107"/>
                <a:gd name="T62" fmla="*/ 90 w 90"/>
                <a:gd name="T63" fmla="*/ 95 h 107"/>
                <a:gd name="T64" fmla="*/ 84 w 90"/>
                <a:gd name="T65" fmla="*/ 83 h 107"/>
                <a:gd name="T66" fmla="*/ 84 w 90"/>
                <a:gd name="T67" fmla="*/ 83 h 107"/>
                <a:gd name="T68" fmla="*/ 84 w 90"/>
                <a:gd name="T69" fmla="*/ 77 h 107"/>
                <a:gd name="T70" fmla="*/ 72 w 90"/>
                <a:gd name="T71" fmla="*/ 71 h 107"/>
                <a:gd name="T72" fmla="*/ 72 w 90"/>
                <a:gd name="T73" fmla="*/ 65 h 107"/>
                <a:gd name="T74" fmla="*/ 60 w 90"/>
                <a:gd name="T75" fmla="*/ 53 h 107"/>
                <a:gd name="T76" fmla="*/ 54 w 90"/>
                <a:gd name="T77" fmla="*/ 47 h 107"/>
                <a:gd name="T78" fmla="*/ 42 w 90"/>
                <a:gd name="T79" fmla="*/ 36 h 107"/>
                <a:gd name="T80" fmla="*/ 42 w 90"/>
                <a:gd name="T81" fmla="*/ 36 h 107"/>
                <a:gd name="T82" fmla="*/ 48 w 90"/>
                <a:gd name="T83" fmla="*/ 30 h 107"/>
                <a:gd name="T84" fmla="*/ 48 w 90"/>
                <a:gd name="T85" fmla="*/ 3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" h="107">
                  <a:moveTo>
                    <a:pt x="48" y="30"/>
                  </a:move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2" y="47"/>
                  </a:lnTo>
                  <a:lnTo>
                    <a:pt x="12" y="59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3"/>
                  </a:lnTo>
                  <a:lnTo>
                    <a:pt x="42" y="47"/>
                  </a:lnTo>
                  <a:lnTo>
                    <a:pt x="54" y="59"/>
                  </a:lnTo>
                  <a:lnTo>
                    <a:pt x="54" y="71"/>
                  </a:lnTo>
                  <a:lnTo>
                    <a:pt x="66" y="83"/>
                  </a:lnTo>
                  <a:lnTo>
                    <a:pt x="66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72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90" y="95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4" y="77"/>
                  </a:lnTo>
                  <a:lnTo>
                    <a:pt x="72" y="71"/>
                  </a:lnTo>
                  <a:lnTo>
                    <a:pt x="72" y="65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8" y="30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5D7863D3-2A6E-4561-8629-B2FA4371875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749"/>
              <a:ext cx="95" cy="227"/>
            </a:xfrm>
            <a:custGeom>
              <a:avLst/>
              <a:gdLst>
                <a:gd name="T0" fmla="*/ 53 w 95"/>
                <a:gd name="T1" fmla="*/ 60 h 227"/>
                <a:gd name="T2" fmla="*/ 53 w 95"/>
                <a:gd name="T3" fmla="*/ 48 h 227"/>
                <a:gd name="T4" fmla="*/ 59 w 95"/>
                <a:gd name="T5" fmla="*/ 36 h 227"/>
                <a:gd name="T6" fmla="*/ 53 w 95"/>
                <a:gd name="T7" fmla="*/ 12 h 227"/>
                <a:gd name="T8" fmla="*/ 41 w 95"/>
                <a:gd name="T9" fmla="*/ 0 h 227"/>
                <a:gd name="T10" fmla="*/ 41 w 95"/>
                <a:gd name="T11" fmla="*/ 12 h 227"/>
                <a:gd name="T12" fmla="*/ 41 w 95"/>
                <a:gd name="T13" fmla="*/ 18 h 227"/>
                <a:gd name="T14" fmla="*/ 23 w 95"/>
                <a:gd name="T15" fmla="*/ 30 h 227"/>
                <a:gd name="T16" fmla="*/ 17 w 95"/>
                <a:gd name="T17" fmla="*/ 42 h 227"/>
                <a:gd name="T18" fmla="*/ 12 w 95"/>
                <a:gd name="T19" fmla="*/ 60 h 227"/>
                <a:gd name="T20" fmla="*/ 6 w 95"/>
                <a:gd name="T21" fmla="*/ 84 h 227"/>
                <a:gd name="T22" fmla="*/ 6 w 95"/>
                <a:gd name="T23" fmla="*/ 90 h 227"/>
                <a:gd name="T24" fmla="*/ 6 w 95"/>
                <a:gd name="T25" fmla="*/ 108 h 227"/>
                <a:gd name="T26" fmla="*/ 12 w 95"/>
                <a:gd name="T27" fmla="*/ 102 h 227"/>
                <a:gd name="T28" fmla="*/ 12 w 95"/>
                <a:gd name="T29" fmla="*/ 108 h 227"/>
                <a:gd name="T30" fmla="*/ 23 w 95"/>
                <a:gd name="T31" fmla="*/ 114 h 227"/>
                <a:gd name="T32" fmla="*/ 23 w 95"/>
                <a:gd name="T33" fmla="*/ 120 h 227"/>
                <a:gd name="T34" fmla="*/ 29 w 95"/>
                <a:gd name="T35" fmla="*/ 125 h 227"/>
                <a:gd name="T36" fmla="*/ 29 w 95"/>
                <a:gd name="T37" fmla="*/ 149 h 227"/>
                <a:gd name="T38" fmla="*/ 35 w 95"/>
                <a:gd name="T39" fmla="*/ 149 h 227"/>
                <a:gd name="T40" fmla="*/ 41 w 95"/>
                <a:gd name="T41" fmla="*/ 161 h 227"/>
                <a:gd name="T42" fmla="*/ 41 w 95"/>
                <a:gd name="T43" fmla="*/ 155 h 227"/>
                <a:gd name="T44" fmla="*/ 53 w 95"/>
                <a:gd name="T45" fmla="*/ 155 h 227"/>
                <a:gd name="T46" fmla="*/ 53 w 95"/>
                <a:gd name="T47" fmla="*/ 149 h 227"/>
                <a:gd name="T48" fmla="*/ 59 w 95"/>
                <a:gd name="T49" fmla="*/ 149 h 227"/>
                <a:gd name="T50" fmla="*/ 71 w 95"/>
                <a:gd name="T51" fmla="*/ 167 h 227"/>
                <a:gd name="T52" fmla="*/ 77 w 95"/>
                <a:gd name="T53" fmla="*/ 185 h 227"/>
                <a:gd name="T54" fmla="*/ 83 w 95"/>
                <a:gd name="T55" fmla="*/ 203 h 227"/>
                <a:gd name="T56" fmla="*/ 83 w 95"/>
                <a:gd name="T57" fmla="*/ 221 h 227"/>
                <a:gd name="T58" fmla="*/ 89 w 95"/>
                <a:gd name="T59" fmla="*/ 227 h 227"/>
                <a:gd name="T60" fmla="*/ 95 w 95"/>
                <a:gd name="T61" fmla="*/ 209 h 227"/>
                <a:gd name="T62" fmla="*/ 89 w 95"/>
                <a:gd name="T63" fmla="*/ 191 h 227"/>
                <a:gd name="T64" fmla="*/ 77 w 95"/>
                <a:gd name="T65" fmla="*/ 173 h 227"/>
                <a:gd name="T66" fmla="*/ 77 w 95"/>
                <a:gd name="T67" fmla="*/ 161 h 227"/>
                <a:gd name="T68" fmla="*/ 77 w 95"/>
                <a:gd name="T69" fmla="*/ 155 h 227"/>
                <a:gd name="T70" fmla="*/ 59 w 95"/>
                <a:gd name="T71" fmla="*/ 125 h 227"/>
                <a:gd name="T72" fmla="*/ 65 w 95"/>
                <a:gd name="T73" fmla="*/ 114 h 227"/>
                <a:gd name="T74" fmla="*/ 83 w 95"/>
                <a:gd name="T75" fmla="*/ 108 h 227"/>
                <a:gd name="T76" fmla="*/ 89 w 95"/>
                <a:gd name="T77" fmla="*/ 96 h 227"/>
                <a:gd name="T78" fmla="*/ 95 w 95"/>
                <a:gd name="T79" fmla="*/ 90 h 227"/>
                <a:gd name="T80" fmla="*/ 77 w 95"/>
                <a:gd name="T81" fmla="*/ 84 h 227"/>
                <a:gd name="T82" fmla="*/ 77 w 95"/>
                <a:gd name="T83" fmla="*/ 72 h 227"/>
                <a:gd name="T84" fmla="*/ 65 w 95"/>
                <a:gd name="T85" fmla="*/ 6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227">
                  <a:moveTo>
                    <a:pt x="65" y="60"/>
                  </a:moveTo>
                  <a:lnTo>
                    <a:pt x="53" y="60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9" y="42"/>
                  </a:lnTo>
                  <a:lnTo>
                    <a:pt x="59" y="36"/>
                  </a:lnTo>
                  <a:lnTo>
                    <a:pt x="59" y="24"/>
                  </a:lnTo>
                  <a:lnTo>
                    <a:pt x="53" y="12"/>
                  </a:lnTo>
                  <a:lnTo>
                    <a:pt x="47" y="12"/>
                  </a:lnTo>
                  <a:lnTo>
                    <a:pt x="41" y="0"/>
                  </a:lnTo>
                  <a:lnTo>
                    <a:pt x="41" y="6"/>
                  </a:lnTo>
                  <a:lnTo>
                    <a:pt x="41" y="12"/>
                  </a:lnTo>
                  <a:lnTo>
                    <a:pt x="35" y="18"/>
                  </a:lnTo>
                  <a:lnTo>
                    <a:pt x="41" y="18"/>
                  </a:lnTo>
                  <a:lnTo>
                    <a:pt x="29" y="18"/>
                  </a:lnTo>
                  <a:lnTo>
                    <a:pt x="23" y="30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60"/>
                  </a:lnTo>
                  <a:lnTo>
                    <a:pt x="12" y="60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7" y="108"/>
                  </a:lnTo>
                  <a:lnTo>
                    <a:pt x="23" y="114"/>
                  </a:lnTo>
                  <a:lnTo>
                    <a:pt x="17" y="120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29" y="125"/>
                  </a:lnTo>
                  <a:lnTo>
                    <a:pt x="29" y="137"/>
                  </a:lnTo>
                  <a:lnTo>
                    <a:pt x="29" y="149"/>
                  </a:lnTo>
                  <a:lnTo>
                    <a:pt x="29" y="155"/>
                  </a:lnTo>
                  <a:lnTo>
                    <a:pt x="35" y="149"/>
                  </a:lnTo>
                  <a:lnTo>
                    <a:pt x="35" y="155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55"/>
                  </a:lnTo>
                  <a:lnTo>
                    <a:pt x="41" y="161"/>
                  </a:lnTo>
                  <a:lnTo>
                    <a:pt x="53" y="155"/>
                  </a:lnTo>
                  <a:lnTo>
                    <a:pt x="53" y="149"/>
                  </a:lnTo>
                  <a:lnTo>
                    <a:pt x="53" y="149"/>
                  </a:lnTo>
                  <a:lnTo>
                    <a:pt x="59" y="143"/>
                  </a:lnTo>
                  <a:lnTo>
                    <a:pt x="59" y="149"/>
                  </a:lnTo>
                  <a:lnTo>
                    <a:pt x="65" y="149"/>
                  </a:lnTo>
                  <a:lnTo>
                    <a:pt x="71" y="167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3" y="191"/>
                  </a:lnTo>
                  <a:lnTo>
                    <a:pt x="83" y="203"/>
                  </a:lnTo>
                  <a:lnTo>
                    <a:pt x="83" y="209"/>
                  </a:lnTo>
                  <a:lnTo>
                    <a:pt x="83" y="221"/>
                  </a:lnTo>
                  <a:lnTo>
                    <a:pt x="83" y="227"/>
                  </a:lnTo>
                  <a:lnTo>
                    <a:pt x="89" y="227"/>
                  </a:lnTo>
                  <a:lnTo>
                    <a:pt x="89" y="221"/>
                  </a:lnTo>
                  <a:lnTo>
                    <a:pt x="95" y="209"/>
                  </a:lnTo>
                  <a:lnTo>
                    <a:pt x="89" y="197"/>
                  </a:lnTo>
                  <a:lnTo>
                    <a:pt x="89" y="191"/>
                  </a:lnTo>
                  <a:lnTo>
                    <a:pt x="83" y="179"/>
                  </a:lnTo>
                  <a:lnTo>
                    <a:pt x="77" y="173"/>
                  </a:lnTo>
                  <a:lnTo>
                    <a:pt x="77" y="167"/>
                  </a:lnTo>
                  <a:lnTo>
                    <a:pt x="77" y="161"/>
                  </a:lnTo>
                  <a:lnTo>
                    <a:pt x="83" y="155"/>
                  </a:lnTo>
                  <a:lnTo>
                    <a:pt x="77" y="155"/>
                  </a:lnTo>
                  <a:lnTo>
                    <a:pt x="71" y="137"/>
                  </a:lnTo>
                  <a:lnTo>
                    <a:pt x="59" y="125"/>
                  </a:lnTo>
                  <a:lnTo>
                    <a:pt x="65" y="125"/>
                  </a:lnTo>
                  <a:lnTo>
                    <a:pt x="65" y="114"/>
                  </a:lnTo>
                  <a:lnTo>
                    <a:pt x="77" y="114"/>
                  </a:lnTo>
                  <a:lnTo>
                    <a:pt x="83" y="108"/>
                  </a:lnTo>
                  <a:lnTo>
                    <a:pt x="89" y="102"/>
                  </a:lnTo>
                  <a:lnTo>
                    <a:pt x="89" y="96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83" y="90"/>
                  </a:lnTo>
                  <a:lnTo>
                    <a:pt x="77" y="84"/>
                  </a:lnTo>
                  <a:lnTo>
                    <a:pt x="77" y="78"/>
                  </a:lnTo>
                  <a:lnTo>
                    <a:pt x="77" y="72"/>
                  </a:lnTo>
                  <a:lnTo>
                    <a:pt x="65" y="66"/>
                  </a:lnTo>
                  <a:lnTo>
                    <a:pt x="65" y="60"/>
                  </a:lnTo>
                  <a:lnTo>
                    <a:pt x="65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4E2FEF8F-C5FB-43B9-8408-154906FB029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1" y="1874"/>
              <a:ext cx="48" cy="72"/>
            </a:xfrm>
            <a:custGeom>
              <a:avLst/>
              <a:gdLst>
                <a:gd name="T0" fmla="*/ 6 w 48"/>
                <a:gd name="T1" fmla="*/ 48 h 72"/>
                <a:gd name="T2" fmla="*/ 6 w 48"/>
                <a:gd name="T3" fmla="*/ 54 h 72"/>
                <a:gd name="T4" fmla="*/ 0 w 48"/>
                <a:gd name="T5" fmla="*/ 36 h 72"/>
                <a:gd name="T6" fmla="*/ 0 w 48"/>
                <a:gd name="T7" fmla="*/ 30 h 72"/>
                <a:gd name="T8" fmla="*/ 6 w 48"/>
                <a:gd name="T9" fmla="*/ 30 h 72"/>
                <a:gd name="T10" fmla="*/ 0 w 48"/>
                <a:gd name="T11" fmla="*/ 18 h 72"/>
                <a:gd name="T12" fmla="*/ 0 w 48"/>
                <a:gd name="T13" fmla="*/ 6 h 72"/>
                <a:gd name="T14" fmla="*/ 0 w 48"/>
                <a:gd name="T15" fmla="*/ 0 h 72"/>
                <a:gd name="T16" fmla="*/ 18 w 48"/>
                <a:gd name="T17" fmla="*/ 0 h 72"/>
                <a:gd name="T18" fmla="*/ 18 w 48"/>
                <a:gd name="T19" fmla="*/ 6 h 72"/>
                <a:gd name="T20" fmla="*/ 24 w 48"/>
                <a:gd name="T21" fmla="*/ 18 h 72"/>
                <a:gd name="T22" fmla="*/ 24 w 48"/>
                <a:gd name="T23" fmla="*/ 24 h 72"/>
                <a:gd name="T24" fmla="*/ 24 w 48"/>
                <a:gd name="T25" fmla="*/ 30 h 72"/>
                <a:gd name="T26" fmla="*/ 18 w 48"/>
                <a:gd name="T27" fmla="*/ 36 h 72"/>
                <a:gd name="T28" fmla="*/ 18 w 48"/>
                <a:gd name="T29" fmla="*/ 42 h 72"/>
                <a:gd name="T30" fmla="*/ 24 w 48"/>
                <a:gd name="T31" fmla="*/ 60 h 72"/>
                <a:gd name="T32" fmla="*/ 30 w 48"/>
                <a:gd name="T33" fmla="*/ 60 h 72"/>
                <a:gd name="T34" fmla="*/ 30 w 48"/>
                <a:gd name="T35" fmla="*/ 54 h 72"/>
                <a:gd name="T36" fmla="*/ 36 w 48"/>
                <a:gd name="T37" fmla="*/ 54 h 72"/>
                <a:gd name="T38" fmla="*/ 36 w 48"/>
                <a:gd name="T39" fmla="*/ 60 h 72"/>
                <a:gd name="T40" fmla="*/ 42 w 48"/>
                <a:gd name="T41" fmla="*/ 60 h 72"/>
                <a:gd name="T42" fmla="*/ 42 w 48"/>
                <a:gd name="T43" fmla="*/ 60 h 72"/>
                <a:gd name="T44" fmla="*/ 42 w 48"/>
                <a:gd name="T45" fmla="*/ 60 h 72"/>
                <a:gd name="T46" fmla="*/ 48 w 48"/>
                <a:gd name="T47" fmla="*/ 66 h 72"/>
                <a:gd name="T48" fmla="*/ 48 w 48"/>
                <a:gd name="T49" fmla="*/ 72 h 72"/>
                <a:gd name="T50" fmla="*/ 48 w 48"/>
                <a:gd name="T51" fmla="*/ 72 h 72"/>
                <a:gd name="T52" fmla="*/ 48 w 48"/>
                <a:gd name="T53" fmla="*/ 72 h 72"/>
                <a:gd name="T54" fmla="*/ 42 w 48"/>
                <a:gd name="T55" fmla="*/ 66 h 72"/>
                <a:gd name="T56" fmla="*/ 36 w 48"/>
                <a:gd name="T57" fmla="*/ 60 h 72"/>
                <a:gd name="T58" fmla="*/ 30 w 48"/>
                <a:gd name="T59" fmla="*/ 60 h 72"/>
                <a:gd name="T60" fmla="*/ 30 w 48"/>
                <a:gd name="T61" fmla="*/ 66 h 72"/>
                <a:gd name="T62" fmla="*/ 24 w 48"/>
                <a:gd name="T63" fmla="*/ 60 h 72"/>
                <a:gd name="T64" fmla="*/ 12 w 48"/>
                <a:gd name="T65" fmla="*/ 60 h 72"/>
                <a:gd name="T66" fmla="*/ 12 w 48"/>
                <a:gd name="T67" fmla="*/ 60 h 72"/>
                <a:gd name="T68" fmla="*/ 12 w 48"/>
                <a:gd name="T69" fmla="*/ 54 h 72"/>
                <a:gd name="T70" fmla="*/ 12 w 48"/>
                <a:gd name="T71" fmla="*/ 48 h 72"/>
                <a:gd name="T72" fmla="*/ 6 w 48"/>
                <a:gd name="T73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" h="72">
                  <a:moveTo>
                    <a:pt x="6" y="48"/>
                  </a:moveTo>
                  <a:lnTo>
                    <a:pt x="6" y="54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18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2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66"/>
                  </a:lnTo>
                  <a:lnTo>
                    <a:pt x="2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AB0AF17D-4AA0-45AE-937B-4A892CD420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82"/>
              <a:ext cx="54" cy="54"/>
            </a:xfrm>
            <a:custGeom>
              <a:avLst/>
              <a:gdLst>
                <a:gd name="T0" fmla="*/ 42 w 54"/>
                <a:gd name="T1" fmla="*/ 54 h 54"/>
                <a:gd name="T2" fmla="*/ 42 w 54"/>
                <a:gd name="T3" fmla="*/ 48 h 54"/>
                <a:gd name="T4" fmla="*/ 36 w 54"/>
                <a:gd name="T5" fmla="*/ 48 h 54"/>
                <a:gd name="T6" fmla="*/ 24 w 54"/>
                <a:gd name="T7" fmla="*/ 42 h 54"/>
                <a:gd name="T8" fmla="*/ 30 w 54"/>
                <a:gd name="T9" fmla="*/ 30 h 54"/>
                <a:gd name="T10" fmla="*/ 24 w 54"/>
                <a:gd name="T11" fmla="*/ 24 h 54"/>
                <a:gd name="T12" fmla="*/ 18 w 54"/>
                <a:gd name="T13" fmla="*/ 30 h 54"/>
                <a:gd name="T14" fmla="*/ 12 w 54"/>
                <a:gd name="T15" fmla="*/ 30 h 54"/>
                <a:gd name="T16" fmla="*/ 12 w 54"/>
                <a:gd name="T17" fmla="*/ 30 h 54"/>
                <a:gd name="T18" fmla="*/ 12 w 54"/>
                <a:gd name="T19" fmla="*/ 24 h 54"/>
                <a:gd name="T20" fmla="*/ 6 w 54"/>
                <a:gd name="T21" fmla="*/ 36 h 54"/>
                <a:gd name="T22" fmla="*/ 0 w 54"/>
                <a:gd name="T23" fmla="*/ 36 h 54"/>
                <a:gd name="T24" fmla="*/ 6 w 54"/>
                <a:gd name="T25" fmla="*/ 30 h 54"/>
                <a:gd name="T26" fmla="*/ 12 w 54"/>
                <a:gd name="T27" fmla="*/ 18 h 54"/>
                <a:gd name="T28" fmla="*/ 18 w 54"/>
                <a:gd name="T29" fmla="*/ 18 h 54"/>
                <a:gd name="T30" fmla="*/ 24 w 54"/>
                <a:gd name="T31" fmla="*/ 24 h 54"/>
                <a:gd name="T32" fmla="*/ 24 w 54"/>
                <a:gd name="T33" fmla="*/ 18 h 54"/>
                <a:gd name="T34" fmla="*/ 30 w 54"/>
                <a:gd name="T35" fmla="*/ 18 h 54"/>
                <a:gd name="T36" fmla="*/ 30 w 54"/>
                <a:gd name="T37" fmla="*/ 12 h 54"/>
                <a:gd name="T38" fmla="*/ 36 w 54"/>
                <a:gd name="T39" fmla="*/ 12 h 54"/>
                <a:gd name="T40" fmla="*/ 36 w 54"/>
                <a:gd name="T41" fmla="*/ 12 h 54"/>
                <a:gd name="T42" fmla="*/ 36 w 54"/>
                <a:gd name="T43" fmla="*/ 0 h 54"/>
                <a:gd name="T44" fmla="*/ 48 w 54"/>
                <a:gd name="T45" fmla="*/ 6 h 54"/>
                <a:gd name="T46" fmla="*/ 48 w 54"/>
                <a:gd name="T47" fmla="*/ 18 h 54"/>
                <a:gd name="T48" fmla="*/ 54 w 54"/>
                <a:gd name="T49" fmla="*/ 30 h 54"/>
                <a:gd name="T50" fmla="*/ 48 w 54"/>
                <a:gd name="T51" fmla="*/ 36 h 54"/>
                <a:gd name="T52" fmla="*/ 48 w 54"/>
                <a:gd name="T53" fmla="*/ 42 h 54"/>
                <a:gd name="T54" fmla="*/ 42 w 54"/>
                <a:gd name="T55" fmla="*/ 36 h 54"/>
                <a:gd name="T56" fmla="*/ 42 w 54"/>
                <a:gd name="T57" fmla="*/ 36 h 54"/>
                <a:gd name="T58" fmla="*/ 42 w 54"/>
                <a:gd name="T59" fmla="*/ 42 h 54"/>
                <a:gd name="T60" fmla="*/ 42 w 54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54">
                  <a:moveTo>
                    <a:pt x="42" y="54"/>
                  </a:moveTo>
                  <a:lnTo>
                    <a:pt x="42" y="48"/>
                  </a:lnTo>
                  <a:lnTo>
                    <a:pt x="36" y="48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65830A82-EA9A-4532-A04D-B59AC850D55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7" y="1970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6 w 12"/>
                <a:gd name="T3" fmla="*/ 18 h 24"/>
                <a:gd name="T4" fmla="*/ 6 w 12"/>
                <a:gd name="T5" fmla="*/ 24 h 24"/>
                <a:gd name="T6" fmla="*/ 0 w 12"/>
                <a:gd name="T7" fmla="*/ 12 h 24"/>
                <a:gd name="T8" fmla="*/ 0 w 12"/>
                <a:gd name="T9" fmla="*/ 12 h 24"/>
                <a:gd name="T10" fmla="*/ 6 w 12"/>
                <a:gd name="T11" fmla="*/ 0 h 24"/>
                <a:gd name="T12" fmla="*/ 12 w 1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6" y="18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4" name="Freeform 70">
              <a:extLst>
                <a:ext uri="{FF2B5EF4-FFF2-40B4-BE49-F238E27FC236}">
                  <a16:creationId xmlns:a16="http://schemas.microsoft.com/office/drawing/2014/main" id="{EF104927-3D9C-4BDE-83D6-889A7FEE4A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46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18 h 24"/>
                <a:gd name="T4" fmla="*/ 0 w 18"/>
                <a:gd name="T5" fmla="*/ 6 h 24"/>
                <a:gd name="T6" fmla="*/ 6 w 18"/>
                <a:gd name="T7" fmla="*/ 0 h 24"/>
                <a:gd name="T8" fmla="*/ 12 w 18"/>
                <a:gd name="T9" fmla="*/ 12 h 24"/>
                <a:gd name="T10" fmla="*/ 18 w 18"/>
                <a:gd name="T11" fmla="*/ 24 h 24"/>
                <a:gd name="T12" fmla="*/ 12 w 18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4DA80963-5914-4A31-828D-C450273CE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1" y="1958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0 w 12"/>
                <a:gd name="T3" fmla="*/ 0 h 18"/>
                <a:gd name="T4" fmla="*/ 0 w 12"/>
                <a:gd name="T5" fmla="*/ 0 h 18"/>
                <a:gd name="T6" fmla="*/ 0 w 12"/>
                <a:gd name="T7" fmla="*/ 18 h 18"/>
                <a:gd name="T8" fmla="*/ 12 w 12"/>
                <a:gd name="T9" fmla="*/ 6 h 18"/>
                <a:gd name="T10" fmla="*/ 12 w 12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37BA258F-4AD4-4FA0-9A37-DFC6E8407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964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12 w 24"/>
                <a:gd name="T3" fmla="*/ 18 h 36"/>
                <a:gd name="T4" fmla="*/ 6 w 24"/>
                <a:gd name="T5" fmla="*/ 30 h 36"/>
                <a:gd name="T6" fmla="*/ 0 w 24"/>
                <a:gd name="T7" fmla="*/ 36 h 36"/>
                <a:gd name="T8" fmla="*/ 0 w 24"/>
                <a:gd name="T9" fmla="*/ 36 h 36"/>
                <a:gd name="T10" fmla="*/ 6 w 24"/>
                <a:gd name="T11" fmla="*/ 24 h 36"/>
                <a:gd name="T12" fmla="*/ 12 w 24"/>
                <a:gd name="T13" fmla="*/ 12 h 36"/>
                <a:gd name="T14" fmla="*/ 18 w 24"/>
                <a:gd name="T15" fmla="*/ 6 h 36"/>
                <a:gd name="T16" fmla="*/ 18 w 24"/>
                <a:gd name="T17" fmla="*/ 0 h 36"/>
                <a:gd name="T18" fmla="*/ 24 w 24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8ECD0690-E636-4368-A80D-05BD250470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940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12 h 12"/>
                <a:gd name="T4" fmla="*/ 6 w 18"/>
                <a:gd name="T5" fmla="*/ 6 h 12"/>
                <a:gd name="T6" fmla="*/ 0 w 18"/>
                <a:gd name="T7" fmla="*/ 0 h 12"/>
                <a:gd name="T8" fmla="*/ 12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130B6E34-88F7-46AE-AD51-23213E4B40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964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12 w 12"/>
                <a:gd name="T3" fmla="*/ 12 h 18"/>
                <a:gd name="T4" fmla="*/ 6 w 12"/>
                <a:gd name="T5" fmla="*/ 12 h 18"/>
                <a:gd name="T6" fmla="*/ 6 w 12"/>
                <a:gd name="T7" fmla="*/ 18 h 18"/>
                <a:gd name="T8" fmla="*/ 6 w 12"/>
                <a:gd name="T9" fmla="*/ 6 h 18"/>
                <a:gd name="T10" fmla="*/ 0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12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79" name="Freeform 75">
              <a:extLst>
                <a:ext uri="{FF2B5EF4-FFF2-40B4-BE49-F238E27FC236}">
                  <a16:creationId xmlns:a16="http://schemas.microsoft.com/office/drawing/2014/main" id="{48AD1ECF-4A68-45EE-87C4-76F996CF7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5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0 w 6"/>
                <a:gd name="T7" fmla="*/ 0 h 6"/>
                <a:gd name="T8" fmla="*/ 6 w 6"/>
                <a:gd name="T9" fmla="*/ 6 h 6"/>
                <a:gd name="T10" fmla="*/ 6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0" name="Freeform 76">
              <a:extLst>
                <a:ext uri="{FF2B5EF4-FFF2-40B4-BE49-F238E27FC236}">
                  <a16:creationId xmlns:a16="http://schemas.microsoft.com/office/drawing/2014/main" id="{A12EAAF1-3F23-4591-92CD-9A55FFDA124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982"/>
              <a:ext cx="12" cy="1"/>
            </a:xfrm>
            <a:custGeom>
              <a:avLst/>
              <a:gdLst>
                <a:gd name="T0" fmla="*/ 12 w 12"/>
                <a:gd name="T1" fmla="*/ 6 w 12"/>
                <a:gd name="T2" fmla="*/ 0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1" name="Freeform 77">
              <a:extLst>
                <a:ext uri="{FF2B5EF4-FFF2-40B4-BE49-F238E27FC236}">
                  <a16:creationId xmlns:a16="http://schemas.microsoft.com/office/drawing/2014/main" id="{681387A5-66EB-4EDA-902E-E4529B264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3" y="1964"/>
              <a:ext cx="12" cy="24"/>
            </a:xfrm>
            <a:custGeom>
              <a:avLst/>
              <a:gdLst>
                <a:gd name="T0" fmla="*/ 12 w 12"/>
                <a:gd name="T1" fmla="*/ 0 h 24"/>
                <a:gd name="T2" fmla="*/ 12 w 12"/>
                <a:gd name="T3" fmla="*/ 6 h 24"/>
                <a:gd name="T4" fmla="*/ 6 w 12"/>
                <a:gd name="T5" fmla="*/ 18 h 24"/>
                <a:gd name="T6" fmla="*/ 0 w 12"/>
                <a:gd name="T7" fmla="*/ 24 h 24"/>
                <a:gd name="T8" fmla="*/ 6 w 12"/>
                <a:gd name="T9" fmla="*/ 12 h 24"/>
                <a:gd name="T10" fmla="*/ 12 w 12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4">
                  <a:moveTo>
                    <a:pt x="12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2" name="Freeform 78">
              <a:extLst>
                <a:ext uri="{FF2B5EF4-FFF2-40B4-BE49-F238E27FC236}">
                  <a16:creationId xmlns:a16="http://schemas.microsoft.com/office/drawing/2014/main" id="{E0A819EB-E738-4339-92C5-4FA79232E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9" y="1851"/>
              <a:ext cx="96" cy="185"/>
            </a:xfrm>
            <a:custGeom>
              <a:avLst/>
              <a:gdLst>
                <a:gd name="T0" fmla="*/ 30 w 96"/>
                <a:gd name="T1" fmla="*/ 131 h 185"/>
                <a:gd name="T2" fmla="*/ 36 w 96"/>
                <a:gd name="T3" fmla="*/ 107 h 185"/>
                <a:gd name="T4" fmla="*/ 36 w 96"/>
                <a:gd name="T5" fmla="*/ 89 h 185"/>
                <a:gd name="T6" fmla="*/ 48 w 96"/>
                <a:gd name="T7" fmla="*/ 95 h 185"/>
                <a:gd name="T8" fmla="*/ 66 w 96"/>
                <a:gd name="T9" fmla="*/ 101 h 185"/>
                <a:gd name="T10" fmla="*/ 66 w 96"/>
                <a:gd name="T11" fmla="*/ 101 h 185"/>
                <a:gd name="T12" fmla="*/ 72 w 96"/>
                <a:gd name="T13" fmla="*/ 77 h 185"/>
                <a:gd name="T14" fmla="*/ 96 w 96"/>
                <a:gd name="T15" fmla="*/ 77 h 185"/>
                <a:gd name="T16" fmla="*/ 96 w 96"/>
                <a:gd name="T17" fmla="*/ 59 h 185"/>
                <a:gd name="T18" fmla="*/ 84 w 96"/>
                <a:gd name="T19" fmla="*/ 35 h 185"/>
                <a:gd name="T20" fmla="*/ 66 w 96"/>
                <a:gd name="T21" fmla="*/ 29 h 185"/>
                <a:gd name="T22" fmla="*/ 54 w 96"/>
                <a:gd name="T23" fmla="*/ 29 h 185"/>
                <a:gd name="T24" fmla="*/ 42 w 96"/>
                <a:gd name="T25" fmla="*/ 23 h 185"/>
                <a:gd name="T26" fmla="*/ 30 w 96"/>
                <a:gd name="T27" fmla="*/ 12 h 185"/>
                <a:gd name="T28" fmla="*/ 30 w 96"/>
                <a:gd name="T29" fmla="*/ 0 h 185"/>
                <a:gd name="T30" fmla="*/ 18 w 96"/>
                <a:gd name="T31" fmla="*/ 12 h 185"/>
                <a:gd name="T32" fmla="*/ 6 w 96"/>
                <a:gd name="T33" fmla="*/ 23 h 185"/>
                <a:gd name="T34" fmla="*/ 12 w 96"/>
                <a:gd name="T35" fmla="*/ 35 h 185"/>
                <a:gd name="T36" fmla="*/ 24 w 96"/>
                <a:gd name="T37" fmla="*/ 53 h 185"/>
                <a:gd name="T38" fmla="*/ 18 w 96"/>
                <a:gd name="T39" fmla="*/ 65 h 185"/>
                <a:gd name="T40" fmla="*/ 24 w 96"/>
                <a:gd name="T41" fmla="*/ 77 h 185"/>
                <a:gd name="T42" fmla="*/ 30 w 96"/>
                <a:gd name="T43" fmla="*/ 95 h 185"/>
                <a:gd name="T44" fmla="*/ 30 w 96"/>
                <a:gd name="T45" fmla="*/ 119 h 185"/>
                <a:gd name="T46" fmla="*/ 30 w 96"/>
                <a:gd name="T47" fmla="*/ 125 h 185"/>
                <a:gd name="T48" fmla="*/ 24 w 96"/>
                <a:gd name="T49" fmla="*/ 155 h 185"/>
                <a:gd name="T50" fmla="*/ 30 w 96"/>
                <a:gd name="T51" fmla="*/ 155 h 185"/>
                <a:gd name="T52" fmla="*/ 42 w 96"/>
                <a:gd name="T53" fmla="*/ 167 h 185"/>
                <a:gd name="T54" fmla="*/ 48 w 96"/>
                <a:gd name="T55" fmla="*/ 173 h 185"/>
                <a:gd name="T56" fmla="*/ 54 w 96"/>
                <a:gd name="T57" fmla="*/ 185 h 185"/>
                <a:gd name="T58" fmla="*/ 66 w 96"/>
                <a:gd name="T59" fmla="*/ 179 h 185"/>
                <a:gd name="T60" fmla="*/ 54 w 96"/>
                <a:gd name="T61" fmla="*/ 167 h 185"/>
                <a:gd name="T62" fmla="*/ 42 w 96"/>
                <a:gd name="T63" fmla="*/ 155 h 185"/>
                <a:gd name="T64" fmla="*/ 36 w 96"/>
                <a:gd name="T65" fmla="*/ 13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185">
                  <a:moveTo>
                    <a:pt x="36" y="137"/>
                  </a:moveTo>
                  <a:lnTo>
                    <a:pt x="30" y="131"/>
                  </a:lnTo>
                  <a:lnTo>
                    <a:pt x="36" y="119"/>
                  </a:lnTo>
                  <a:lnTo>
                    <a:pt x="36" y="107"/>
                  </a:lnTo>
                  <a:lnTo>
                    <a:pt x="36" y="101"/>
                  </a:lnTo>
                  <a:lnTo>
                    <a:pt x="36" y="89"/>
                  </a:lnTo>
                  <a:lnTo>
                    <a:pt x="48" y="89"/>
                  </a:lnTo>
                  <a:lnTo>
                    <a:pt x="48" y="95"/>
                  </a:lnTo>
                  <a:lnTo>
                    <a:pt x="60" y="95"/>
                  </a:lnTo>
                  <a:lnTo>
                    <a:pt x="66" y="101"/>
                  </a:lnTo>
                  <a:lnTo>
                    <a:pt x="72" y="107"/>
                  </a:lnTo>
                  <a:lnTo>
                    <a:pt x="66" y="101"/>
                  </a:lnTo>
                  <a:lnTo>
                    <a:pt x="66" y="89"/>
                  </a:lnTo>
                  <a:lnTo>
                    <a:pt x="72" y="77"/>
                  </a:lnTo>
                  <a:lnTo>
                    <a:pt x="84" y="77"/>
                  </a:lnTo>
                  <a:lnTo>
                    <a:pt x="96" y="77"/>
                  </a:lnTo>
                  <a:lnTo>
                    <a:pt x="96" y="71"/>
                  </a:lnTo>
                  <a:lnTo>
                    <a:pt x="96" y="59"/>
                  </a:lnTo>
                  <a:lnTo>
                    <a:pt x="84" y="47"/>
                  </a:lnTo>
                  <a:lnTo>
                    <a:pt x="84" y="35"/>
                  </a:lnTo>
                  <a:lnTo>
                    <a:pt x="72" y="23"/>
                  </a:lnTo>
                  <a:lnTo>
                    <a:pt x="66" y="29"/>
                  </a:lnTo>
                  <a:lnTo>
                    <a:pt x="60" y="29"/>
                  </a:lnTo>
                  <a:lnTo>
                    <a:pt x="54" y="29"/>
                  </a:lnTo>
                  <a:lnTo>
                    <a:pt x="42" y="35"/>
                  </a:lnTo>
                  <a:lnTo>
                    <a:pt x="42" y="23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23"/>
                  </a:lnTo>
                  <a:lnTo>
                    <a:pt x="0" y="23"/>
                  </a:lnTo>
                  <a:lnTo>
                    <a:pt x="12" y="35"/>
                  </a:lnTo>
                  <a:lnTo>
                    <a:pt x="18" y="53"/>
                  </a:lnTo>
                  <a:lnTo>
                    <a:pt x="24" y="53"/>
                  </a:lnTo>
                  <a:lnTo>
                    <a:pt x="18" y="59"/>
                  </a:lnTo>
                  <a:lnTo>
                    <a:pt x="18" y="65"/>
                  </a:lnTo>
                  <a:lnTo>
                    <a:pt x="18" y="71"/>
                  </a:lnTo>
                  <a:lnTo>
                    <a:pt x="24" y="77"/>
                  </a:lnTo>
                  <a:lnTo>
                    <a:pt x="30" y="89"/>
                  </a:lnTo>
                  <a:lnTo>
                    <a:pt x="30" y="95"/>
                  </a:lnTo>
                  <a:lnTo>
                    <a:pt x="36" y="107"/>
                  </a:lnTo>
                  <a:lnTo>
                    <a:pt x="30" y="119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24" y="13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54" y="179"/>
                  </a:lnTo>
                  <a:lnTo>
                    <a:pt x="54" y="185"/>
                  </a:lnTo>
                  <a:lnTo>
                    <a:pt x="66" y="185"/>
                  </a:lnTo>
                  <a:lnTo>
                    <a:pt x="66" y="179"/>
                  </a:lnTo>
                  <a:lnTo>
                    <a:pt x="60" y="167"/>
                  </a:lnTo>
                  <a:lnTo>
                    <a:pt x="54" y="167"/>
                  </a:lnTo>
                  <a:lnTo>
                    <a:pt x="48" y="161"/>
                  </a:lnTo>
                  <a:lnTo>
                    <a:pt x="42" y="155"/>
                  </a:lnTo>
                  <a:lnTo>
                    <a:pt x="42" y="137"/>
                  </a:lnTo>
                  <a:lnTo>
                    <a:pt x="36" y="13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3" name="Freeform 79">
              <a:extLst>
                <a:ext uri="{FF2B5EF4-FFF2-40B4-BE49-F238E27FC236}">
                  <a16:creationId xmlns:a16="http://schemas.microsoft.com/office/drawing/2014/main" id="{9BBA411A-265F-4533-BCAA-BB32F61EF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7" y="1815"/>
              <a:ext cx="96" cy="185"/>
            </a:xfrm>
            <a:custGeom>
              <a:avLst/>
              <a:gdLst>
                <a:gd name="T0" fmla="*/ 30 w 96"/>
                <a:gd name="T1" fmla="*/ 36 h 185"/>
                <a:gd name="T2" fmla="*/ 18 w 96"/>
                <a:gd name="T3" fmla="*/ 36 h 185"/>
                <a:gd name="T4" fmla="*/ 6 w 96"/>
                <a:gd name="T5" fmla="*/ 24 h 185"/>
                <a:gd name="T6" fmla="*/ 0 w 96"/>
                <a:gd name="T7" fmla="*/ 12 h 185"/>
                <a:gd name="T8" fmla="*/ 6 w 96"/>
                <a:gd name="T9" fmla="*/ 12 h 185"/>
                <a:gd name="T10" fmla="*/ 18 w 96"/>
                <a:gd name="T11" fmla="*/ 12 h 185"/>
                <a:gd name="T12" fmla="*/ 18 w 96"/>
                <a:gd name="T13" fmla="*/ 12 h 185"/>
                <a:gd name="T14" fmla="*/ 30 w 96"/>
                <a:gd name="T15" fmla="*/ 6 h 185"/>
                <a:gd name="T16" fmla="*/ 48 w 96"/>
                <a:gd name="T17" fmla="*/ 18 h 185"/>
                <a:gd name="T18" fmla="*/ 60 w 96"/>
                <a:gd name="T19" fmla="*/ 24 h 185"/>
                <a:gd name="T20" fmla="*/ 48 w 96"/>
                <a:gd name="T21" fmla="*/ 30 h 185"/>
                <a:gd name="T22" fmla="*/ 48 w 96"/>
                <a:gd name="T23" fmla="*/ 42 h 185"/>
                <a:gd name="T24" fmla="*/ 48 w 96"/>
                <a:gd name="T25" fmla="*/ 65 h 185"/>
                <a:gd name="T26" fmla="*/ 60 w 96"/>
                <a:gd name="T27" fmla="*/ 77 h 185"/>
                <a:gd name="T28" fmla="*/ 78 w 96"/>
                <a:gd name="T29" fmla="*/ 89 h 185"/>
                <a:gd name="T30" fmla="*/ 90 w 96"/>
                <a:gd name="T31" fmla="*/ 113 h 185"/>
                <a:gd name="T32" fmla="*/ 90 w 96"/>
                <a:gd name="T33" fmla="*/ 137 h 185"/>
                <a:gd name="T34" fmla="*/ 90 w 96"/>
                <a:gd name="T35" fmla="*/ 149 h 185"/>
                <a:gd name="T36" fmla="*/ 78 w 96"/>
                <a:gd name="T37" fmla="*/ 161 h 185"/>
                <a:gd name="T38" fmla="*/ 66 w 96"/>
                <a:gd name="T39" fmla="*/ 161 h 185"/>
                <a:gd name="T40" fmla="*/ 66 w 96"/>
                <a:gd name="T41" fmla="*/ 167 h 185"/>
                <a:gd name="T42" fmla="*/ 60 w 96"/>
                <a:gd name="T43" fmla="*/ 173 h 185"/>
                <a:gd name="T44" fmla="*/ 48 w 96"/>
                <a:gd name="T45" fmla="*/ 185 h 185"/>
                <a:gd name="T46" fmla="*/ 42 w 96"/>
                <a:gd name="T47" fmla="*/ 161 h 185"/>
                <a:gd name="T48" fmla="*/ 54 w 96"/>
                <a:gd name="T49" fmla="*/ 155 h 185"/>
                <a:gd name="T50" fmla="*/ 54 w 96"/>
                <a:gd name="T51" fmla="*/ 149 h 185"/>
                <a:gd name="T52" fmla="*/ 72 w 96"/>
                <a:gd name="T53" fmla="*/ 137 h 185"/>
                <a:gd name="T54" fmla="*/ 72 w 96"/>
                <a:gd name="T55" fmla="*/ 119 h 185"/>
                <a:gd name="T56" fmla="*/ 66 w 96"/>
                <a:gd name="T57" fmla="*/ 95 h 185"/>
                <a:gd name="T58" fmla="*/ 66 w 96"/>
                <a:gd name="T59" fmla="*/ 89 h 185"/>
                <a:gd name="T60" fmla="*/ 54 w 96"/>
                <a:gd name="T61" fmla="*/ 77 h 185"/>
                <a:gd name="T62" fmla="*/ 36 w 96"/>
                <a:gd name="T63" fmla="*/ 59 h 185"/>
                <a:gd name="T64" fmla="*/ 24 w 96"/>
                <a:gd name="T65" fmla="*/ 48 h 185"/>
                <a:gd name="T66" fmla="*/ 30 w 96"/>
                <a:gd name="T67" fmla="*/ 4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6" h="185">
                  <a:moveTo>
                    <a:pt x="30" y="42"/>
                  </a:moveTo>
                  <a:lnTo>
                    <a:pt x="30" y="36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42"/>
                  </a:lnTo>
                  <a:lnTo>
                    <a:pt x="42" y="54"/>
                  </a:lnTo>
                  <a:lnTo>
                    <a:pt x="48" y="65"/>
                  </a:lnTo>
                  <a:lnTo>
                    <a:pt x="54" y="71"/>
                  </a:lnTo>
                  <a:lnTo>
                    <a:pt x="60" y="77"/>
                  </a:lnTo>
                  <a:lnTo>
                    <a:pt x="66" y="83"/>
                  </a:lnTo>
                  <a:lnTo>
                    <a:pt x="78" y="89"/>
                  </a:lnTo>
                  <a:lnTo>
                    <a:pt x="84" y="101"/>
                  </a:lnTo>
                  <a:lnTo>
                    <a:pt x="90" y="113"/>
                  </a:lnTo>
                  <a:lnTo>
                    <a:pt x="96" y="131"/>
                  </a:lnTo>
                  <a:lnTo>
                    <a:pt x="90" y="137"/>
                  </a:lnTo>
                  <a:lnTo>
                    <a:pt x="90" y="143"/>
                  </a:lnTo>
                  <a:lnTo>
                    <a:pt x="90" y="149"/>
                  </a:lnTo>
                  <a:lnTo>
                    <a:pt x="84" y="155"/>
                  </a:lnTo>
                  <a:lnTo>
                    <a:pt x="78" y="161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73"/>
                  </a:lnTo>
                  <a:lnTo>
                    <a:pt x="60" y="173"/>
                  </a:lnTo>
                  <a:lnTo>
                    <a:pt x="54" y="179"/>
                  </a:lnTo>
                  <a:lnTo>
                    <a:pt x="48" y="185"/>
                  </a:lnTo>
                  <a:lnTo>
                    <a:pt x="48" y="167"/>
                  </a:lnTo>
                  <a:lnTo>
                    <a:pt x="42" y="161"/>
                  </a:lnTo>
                  <a:lnTo>
                    <a:pt x="48" y="155"/>
                  </a:lnTo>
                  <a:lnTo>
                    <a:pt x="54" y="155"/>
                  </a:lnTo>
                  <a:lnTo>
                    <a:pt x="60" y="155"/>
                  </a:lnTo>
                  <a:lnTo>
                    <a:pt x="54" y="149"/>
                  </a:lnTo>
                  <a:lnTo>
                    <a:pt x="60" y="143"/>
                  </a:lnTo>
                  <a:lnTo>
                    <a:pt x="72" y="137"/>
                  </a:lnTo>
                  <a:lnTo>
                    <a:pt x="72" y="131"/>
                  </a:lnTo>
                  <a:lnTo>
                    <a:pt x="72" y="119"/>
                  </a:lnTo>
                  <a:lnTo>
                    <a:pt x="72" y="107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6" y="89"/>
                  </a:lnTo>
                  <a:lnTo>
                    <a:pt x="54" y="83"/>
                  </a:lnTo>
                  <a:lnTo>
                    <a:pt x="54" y="77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30" y="42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4" name="Freeform 80">
              <a:extLst>
                <a:ext uri="{FF2B5EF4-FFF2-40B4-BE49-F238E27FC236}">
                  <a16:creationId xmlns:a16="http://schemas.microsoft.com/office/drawing/2014/main" id="{8C5D5883-4D4C-4594-B79C-205702A14C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50" y="178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0 w 12"/>
                <a:gd name="T5" fmla="*/ 12 h 18"/>
                <a:gd name="T6" fmla="*/ 0 w 12"/>
                <a:gd name="T7" fmla="*/ 0 h 18"/>
                <a:gd name="T8" fmla="*/ 6 w 12"/>
                <a:gd name="T9" fmla="*/ 0 h 18"/>
                <a:gd name="T10" fmla="*/ 12 w 12"/>
                <a:gd name="T11" fmla="*/ 6 h 18"/>
                <a:gd name="T12" fmla="*/ 6 w 1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0" y="1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5BB8B725-2B50-4BAC-9758-8617A92FB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611"/>
              <a:ext cx="222" cy="180"/>
            </a:xfrm>
            <a:custGeom>
              <a:avLst/>
              <a:gdLst>
                <a:gd name="T0" fmla="*/ 24 w 222"/>
                <a:gd name="T1" fmla="*/ 78 h 180"/>
                <a:gd name="T2" fmla="*/ 24 w 222"/>
                <a:gd name="T3" fmla="*/ 60 h 180"/>
                <a:gd name="T4" fmla="*/ 18 w 222"/>
                <a:gd name="T5" fmla="*/ 48 h 180"/>
                <a:gd name="T6" fmla="*/ 0 w 222"/>
                <a:gd name="T7" fmla="*/ 24 h 180"/>
                <a:gd name="T8" fmla="*/ 0 w 222"/>
                <a:gd name="T9" fmla="*/ 6 h 180"/>
                <a:gd name="T10" fmla="*/ 6 w 222"/>
                <a:gd name="T11" fmla="*/ 6 h 180"/>
                <a:gd name="T12" fmla="*/ 18 w 222"/>
                <a:gd name="T13" fmla="*/ 12 h 180"/>
                <a:gd name="T14" fmla="*/ 36 w 222"/>
                <a:gd name="T15" fmla="*/ 0 h 180"/>
                <a:gd name="T16" fmla="*/ 36 w 222"/>
                <a:gd name="T17" fmla="*/ 12 h 180"/>
                <a:gd name="T18" fmla="*/ 54 w 222"/>
                <a:gd name="T19" fmla="*/ 30 h 180"/>
                <a:gd name="T20" fmla="*/ 78 w 222"/>
                <a:gd name="T21" fmla="*/ 36 h 180"/>
                <a:gd name="T22" fmla="*/ 96 w 222"/>
                <a:gd name="T23" fmla="*/ 36 h 180"/>
                <a:gd name="T24" fmla="*/ 102 w 222"/>
                <a:gd name="T25" fmla="*/ 36 h 180"/>
                <a:gd name="T26" fmla="*/ 108 w 222"/>
                <a:gd name="T27" fmla="*/ 30 h 180"/>
                <a:gd name="T28" fmla="*/ 126 w 222"/>
                <a:gd name="T29" fmla="*/ 24 h 180"/>
                <a:gd name="T30" fmla="*/ 150 w 222"/>
                <a:gd name="T31" fmla="*/ 30 h 180"/>
                <a:gd name="T32" fmla="*/ 168 w 222"/>
                <a:gd name="T33" fmla="*/ 36 h 180"/>
                <a:gd name="T34" fmla="*/ 180 w 222"/>
                <a:gd name="T35" fmla="*/ 54 h 180"/>
                <a:gd name="T36" fmla="*/ 180 w 222"/>
                <a:gd name="T37" fmla="*/ 72 h 180"/>
                <a:gd name="T38" fmla="*/ 186 w 222"/>
                <a:gd name="T39" fmla="*/ 78 h 180"/>
                <a:gd name="T40" fmla="*/ 186 w 222"/>
                <a:gd name="T41" fmla="*/ 90 h 180"/>
                <a:gd name="T42" fmla="*/ 198 w 222"/>
                <a:gd name="T43" fmla="*/ 108 h 180"/>
                <a:gd name="T44" fmla="*/ 192 w 222"/>
                <a:gd name="T45" fmla="*/ 126 h 180"/>
                <a:gd name="T46" fmla="*/ 204 w 222"/>
                <a:gd name="T47" fmla="*/ 144 h 180"/>
                <a:gd name="T48" fmla="*/ 216 w 222"/>
                <a:gd name="T49" fmla="*/ 156 h 180"/>
                <a:gd name="T50" fmla="*/ 222 w 222"/>
                <a:gd name="T51" fmla="*/ 162 h 180"/>
                <a:gd name="T52" fmla="*/ 210 w 222"/>
                <a:gd name="T53" fmla="*/ 174 h 180"/>
                <a:gd name="T54" fmla="*/ 198 w 222"/>
                <a:gd name="T55" fmla="*/ 180 h 180"/>
                <a:gd name="T56" fmla="*/ 174 w 222"/>
                <a:gd name="T57" fmla="*/ 174 h 180"/>
                <a:gd name="T58" fmla="*/ 156 w 222"/>
                <a:gd name="T59" fmla="*/ 168 h 180"/>
                <a:gd name="T60" fmla="*/ 144 w 222"/>
                <a:gd name="T61" fmla="*/ 162 h 180"/>
                <a:gd name="T62" fmla="*/ 120 w 222"/>
                <a:gd name="T63" fmla="*/ 162 h 180"/>
                <a:gd name="T64" fmla="*/ 102 w 222"/>
                <a:gd name="T65" fmla="*/ 150 h 180"/>
                <a:gd name="T66" fmla="*/ 84 w 222"/>
                <a:gd name="T67" fmla="*/ 132 h 180"/>
                <a:gd name="T68" fmla="*/ 72 w 222"/>
                <a:gd name="T69" fmla="*/ 120 h 180"/>
                <a:gd name="T70" fmla="*/ 66 w 222"/>
                <a:gd name="T71" fmla="*/ 114 h 180"/>
                <a:gd name="T72" fmla="*/ 60 w 222"/>
                <a:gd name="T73" fmla="*/ 126 h 180"/>
                <a:gd name="T74" fmla="*/ 54 w 222"/>
                <a:gd name="T75" fmla="*/ 108 h 180"/>
                <a:gd name="T76" fmla="*/ 48 w 222"/>
                <a:gd name="T77" fmla="*/ 102 h 180"/>
                <a:gd name="T78" fmla="*/ 36 w 222"/>
                <a:gd name="T79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2" h="180">
                  <a:moveTo>
                    <a:pt x="30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48" y="18"/>
                  </a:lnTo>
                  <a:lnTo>
                    <a:pt x="54" y="30"/>
                  </a:lnTo>
                  <a:lnTo>
                    <a:pt x="66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50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0" y="42"/>
                  </a:lnTo>
                  <a:lnTo>
                    <a:pt x="180" y="54"/>
                  </a:lnTo>
                  <a:lnTo>
                    <a:pt x="180" y="66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0" y="84"/>
                  </a:lnTo>
                  <a:lnTo>
                    <a:pt x="186" y="90"/>
                  </a:lnTo>
                  <a:lnTo>
                    <a:pt x="186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26"/>
                  </a:lnTo>
                  <a:lnTo>
                    <a:pt x="198" y="132"/>
                  </a:lnTo>
                  <a:lnTo>
                    <a:pt x="204" y="144"/>
                  </a:lnTo>
                  <a:lnTo>
                    <a:pt x="216" y="144"/>
                  </a:lnTo>
                  <a:lnTo>
                    <a:pt x="216" y="156"/>
                  </a:lnTo>
                  <a:lnTo>
                    <a:pt x="222" y="162"/>
                  </a:lnTo>
                  <a:lnTo>
                    <a:pt x="222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04" y="180"/>
                  </a:lnTo>
                  <a:lnTo>
                    <a:pt x="198" y="180"/>
                  </a:lnTo>
                  <a:lnTo>
                    <a:pt x="186" y="180"/>
                  </a:lnTo>
                  <a:lnTo>
                    <a:pt x="174" y="174"/>
                  </a:lnTo>
                  <a:lnTo>
                    <a:pt x="162" y="174"/>
                  </a:lnTo>
                  <a:lnTo>
                    <a:pt x="156" y="168"/>
                  </a:lnTo>
                  <a:lnTo>
                    <a:pt x="150" y="156"/>
                  </a:lnTo>
                  <a:lnTo>
                    <a:pt x="144" y="162"/>
                  </a:lnTo>
                  <a:lnTo>
                    <a:pt x="132" y="168"/>
                  </a:lnTo>
                  <a:lnTo>
                    <a:pt x="120" y="162"/>
                  </a:lnTo>
                  <a:lnTo>
                    <a:pt x="108" y="156"/>
                  </a:lnTo>
                  <a:lnTo>
                    <a:pt x="102" y="150"/>
                  </a:lnTo>
                  <a:lnTo>
                    <a:pt x="90" y="144"/>
                  </a:lnTo>
                  <a:lnTo>
                    <a:pt x="84" y="132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20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36" y="90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1AF506A0-F8E8-4C40-A801-3C2B07237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641"/>
              <a:ext cx="108" cy="102"/>
            </a:xfrm>
            <a:custGeom>
              <a:avLst/>
              <a:gdLst>
                <a:gd name="T0" fmla="*/ 72 w 108"/>
                <a:gd name="T1" fmla="*/ 48 h 102"/>
                <a:gd name="T2" fmla="*/ 72 w 108"/>
                <a:gd name="T3" fmla="*/ 42 h 102"/>
                <a:gd name="T4" fmla="*/ 72 w 108"/>
                <a:gd name="T5" fmla="*/ 30 h 102"/>
                <a:gd name="T6" fmla="*/ 72 w 108"/>
                <a:gd name="T7" fmla="*/ 24 h 102"/>
                <a:gd name="T8" fmla="*/ 66 w 108"/>
                <a:gd name="T9" fmla="*/ 18 h 102"/>
                <a:gd name="T10" fmla="*/ 54 w 108"/>
                <a:gd name="T11" fmla="*/ 6 h 102"/>
                <a:gd name="T12" fmla="*/ 48 w 108"/>
                <a:gd name="T13" fmla="*/ 6 h 102"/>
                <a:gd name="T14" fmla="*/ 48 w 108"/>
                <a:gd name="T15" fmla="*/ 0 h 102"/>
                <a:gd name="T16" fmla="*/ 36 w 108"/>
                <a:gd name="T17" fmla="*/ 0 h 102"/>
                <a:gd name="T18" fmla="*/ 30 w 108"/>
                <a:gd name="T19" fmla="*/ 6 h 102"/>
                <a:gd name="T20" fmla="*/ 24 w 108"/>
                <a:gd name="T21" fmla="*/ 12 h 102"/>
                <a:gd name="T22" fmla="*/ 24 w 108"/>
                <a:gd name="T23" fmla="*/ 24 h 102"/>
                <a:gd name="T24" fmla="*/ 24 w 108"/>
                <a:gd name="T25" fmla="*/ 36 h 102"/>
                <a:gd name="T26" fmla="*/ 12 w 108"/>
                <a:gd name="T27" fmla="*/ 42 h 102"/>
                <a:gd name="T28" fmla="*/ 0 w 108"/>
                <a:gd name="T29" fmla="*/ 54 h 102"/>
                <a:gd name="T30" fmla="*/ 6 w 108"/>
                <a:gd name="T31" fmla="*/ 66 h 102"/>
                <a:gd name="T32" fmla="*/ 18 w 108"/>
                <a:gd name="T33" fmla="*/ 72 h 102"/>
                <a:gd name="T34" fmla="*/ 30 w 108"/>
                <a:gd name="T35" fmla="*/ 72 h 102"/>
                <a:gd name="T36" fmla="*/ 42 w 108"/>
                <a:gd name="T37" fmla="*/ 78 h 102"/>
                <a:gd name="T38" fmla="*/ 48 w 108"/>
                <a:gd name="T39" fmla="*/ 84 h 102"/>
                <a:gd name="T40" fmla="*/ 60 w 108"/>
                <a:gd name="T41" fmla="*/ 96 h 102"/>
                <a:gd name="T42" fmla="*/ 72 w 108"/>
                <a:gd name="T43" fmla="*/ 102 h 102"/>
                <a:gd name="T44" fmla="*/ 90 w 108"/>
                <a:gd name="T45" fmla="*/ 102 h 102"/>
                <a:gd name="T46" fmla="*/ 96 w 108"/>
                <a:gd name="T47" fmla="*/ 96 h 102"/>
                <a:gd name="T48" fmla="*/ 102 w 108"/>
                <a:gd name="T49" fmla="*/ 90 h 102"/>
                <a:gd name="T50" fmla="*/ 108 w 108"/>
                <a:gd name="T51" fmla="*/ 96 h 102"/>
                <a:gd name="T52" fmla="*/ 108 w 108"/>
                <a:gd name="T53" fmla="*/ 90 h 102"/>
                <a:gd name="T54" fmla="*/ 102 w 108"/>
                <a:gd name="T55" fmla="*/ 78 h 102"/>
                <a:gd name="T56" fmla="*/ 96 w 108"/>
                <a:gd name="T57" fmla="*/ 78 h 102"/>
                <a:gd name="T58" fmla="*/ 96 w 108"/>
                <a:gd name="T59" fmla="*/ 72 h 102"/>
                <a:gd name="T60" fmla="*/ 96 w 108"/>
                <a:gd name="T61" fmla="*/ 66 h 102"/>
                <a:gd name="T62" fmla="*/ 84 w 108"/>
                <a:gd name="T63" fmla="*/ 60 h 102"/>
                <a:gd name="T64" fmla="*/ 78 w 108"/>
                <a:gd name="T65" fmla="*/ 54 h 102"/>
                <a:gd name="T66" fmla="*/ 72 w 108"/>
                <a:gd name="T67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02">
                  <a:moveTo>
                    <a:pt x="72" y="48"/>
                  </a:moveTo>
                  <a:lnTo>
                    <a:pt x="72" y="42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12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2" y="42"/>
                  </a:lnTo>
                  <a:lnTo>
                    <a:pt x="0" y="54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8" y="84"/>
                  </a:lnTo>
                  <a:lnTo>
                    <a:pt x="60" y="96"/>
                  </a:lnTo>
                  <a:lnTo>
                    <a:pt x="72" y="102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08" y="90"/>
                  </a:lnTo>
                  <a:lnTo>
                    <a:pt x="102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96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7" name="Freeform 83">
              <a:extLst>
                <a:ext uri="{FF2B5EF4-FFF2-40B4-BE49-F238E27FC236}">
                  <a16:creationId xmlns:a16="http://schemas.microsoft.com/office/drawing/2014/main" id="{F2BB8A84-3899-47E5-934F-46FAADB6DD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" y="1731"/>
              <a:ext cx="18" cy="18"/>
            </a:xfrm>
            <a:custGeom>
              <a:avLst/>
              <a:gdLst>
                <a:gd name="T0" fmla="*/ 18 w 18"/>
                <a:gd name="T1" fmla="*/ 6 h 18"/>
                <a:gd name="T2" fmla="*/ 12 w 18"/>
                <a:gd name="T3" fmla="*/ 6 h 18"/>
                <a:gd name="T4" fmla="*/ 12 w 18"/>
                <a:gd name="T5" fmla="*/ 12 h 18"/>
                <a:gd name="T6" fmla="*/ 18 w 18"/>
                <a:gd name="T7" fmla="*/ 18 h 18"/>
                <a:gd name="T8" fmla="*/ 12 w 18"/>
                <a:gd name="T9" fmla="*/ 18 h 18"/>
                <a:gd name="T10" fmla="*/ 12 w 18"/>
                <a:gd name="T11" fmla="*/ 18 h 18"/>
                <a:gd name="T12" fmla="*/ 0 w 18"/>
                <a:gd name="T13" fmla="*/ 12 h 18"/>
                <a:gd name="T14" fmla="*/ 6 w 18"/>
                <a:gd name="T15" fmla="*/ 6 h 18"/>
                <a:gd name="T16" fmla="*/ 12 w 18"/>
                <a:gd name="T17" fmla="*/ 0 h 18"/>
                <a:gd name="T18" fmla="*/ 18 w 18"/>
                <a:gd name="T1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18" y="6"/>
                  </a:moveTo>
                  <a:lnTo>
                    <a:pt x="12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02A93509-22C9-4949-8F6F-929ECA530A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6" y="1725"/>
              <a:ext cx="90" cy="54"/>
            </a:xfrm>
            <a:custGeom>
              <a:avLst/>
              <a:gdLst>
                <a:gd name="T0" fmla="*/ 54 w 90"/>
                <a:gd name="T1" fmla="*/ 42 h 54"/>
                <a:gd name="T2" fmla="*/ 36 w 90"/>
                <a:gd name="T3" fmla="*/ 42 h 54"/>
                <a:gd name="T4" fmla="*/ 30 w 90"/>
                <a:gd name="T5" fmla="*/ 36 h 54"/>
                <a:gd name="T6" fmla="*/ 12 w 90"/>
                <a:gd name="T7" fmla="*/ 30 h 54"/>
                <a:gd name="T8" fmla="*/ 0 w 90"/>
                <a:gd name="T9" fmla="*/ 24 h 54"/>
                <a:gd name="T10" fmla="*/ 0 w 90"/>
                <a:gd name="T11" fmla="*/ 18 h 54"/>
                <a:gd name="T12" fmla="*/ 6 w 90"/>
                <a:gd name="T13" fmla="*/ 6 h 54"/>
                <a:gd name="T14" fmla="*/ 6 w 90"/>
                <a:gd name="T15" fmla="*/ 6 h 54"/>
                <a:gd name="T16" fmla="*/ 12 w 90"/>
                <a:gd name="T17" fmla="*/ 0 h 54"/>
                <a:gd name="T18" fmla="*/ 18 w 90"/>
                <a:gd name="T19" fmla="*/ 6 h 54"/>
                <a:gd name="T20" fmla="*/ 36 w 90"/>
                <a:gd name="T21" fmla="*/ 18 h 54"/>
                <a:gd name="T22" fmla="*/ 42 w 90"/>
                <a:gd name="T23" fmla="*/ 18 h 54"/>
                <a:gd name="T24" fmla="*/ 42 w 90"/>
                <a:gd name="T25" fmla="*/ 24 h 54"/>
                <a:gd name="T26" fmla="*/ 54 w 90"/>
                <a:gd name="T27" fmla="*/ 24 h 54"/>
                <a:gd name="T28" fmla="*/ 54 w 90"/>
                <a:gd name="T29" fmla="*/ 30 h 54"/>
                <a:gd name="T30" fmla="*/ 66 w 90"/>
                <a:gd name="T31" fmla="*/ 30 h 54"/>
                <a:gd name="T32" fmla="*/ 72 w 90"/>
                <a:gd name="T33" fmla="*/ 36 h 54"/>
                <a:gd name="T34" fmla="*/ 90 w 90"/>
                <a:gd name="T35" fmla="*/ 36 h 54"/>
                <a:gd name="T36" fmla="*/ 90 w 90"/>
                <a:gd name="T37" fmla="*/ 54 h 54"/>
                <a:gd name="T38" fmla="*/ 78 w 90"/>
                <a:gd name="T39" fmla="*/ 54 h 54"/>
                <a:gd name="T40" fmla="*/ 66 w 90"/>
                <a:gd name="T41" fmla="*/ 48 h 54"/>
                <a:gd name="T42" fmla="*/ 54 w 90"/>
                <a:gd name="T43" fmla="*/ 48 h 54"/>
                <a:gd name="T44" fmla="*/ 54 w 90"/>
                <a:gd name="T4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54">
                  <a:moveTo>
                    <a:pt x="54" y="42"/>
                  </a:moveTo>
                  <a:lnTo>
                    <a:pt x="36" y="42"/>
                  </a:lnTo>
                  <a:lnTo>
                    <a:pt x="30" y="36"/>
                  </a:lnTo>
                  <a:lnTo>
                    <a:pt x="1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66" y="30"/>
                  </a:lnTo>
                  <a:lnTo>
                    <a:pt x="72" y="36"/>
                  </a:lnTo>
                  <a:lnTo>
                    <a:pt x="90" y="36"/>
                  </a:lnTo>
                  <a:lnTo>
                    <a:pt x="90" y="54"/>
                  </a:lnTo>
                  <a:lnTo>
                    <a:pt x="78" y="54"/>
                  </a:lnTo>
                  <a:lnTo>
                    <a:pt x="66" y="48"/>
                  </a:lnTo>
                  <a:lnTo>
                    <a:pt x="54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89" name="Freeform 85">
              <a:extLst>
                <a:ext uri="{FF2B5EF4-FFF2-40B4-BE49-F238E27FC236}">
                  <a16:creationId xmlns:a16="http://schemas.microsoft.com/office/drawing/2014/main" id="{C39C1ED0-4AF6-4D0F-8D53-E00377CBA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647"/>
              <a:ext cx="162" cy="162"/>
            </a:xfrm>
            <a:custGeom>
              <a:avLst/>
              <a:gdLst>
                <a:gd name="T0" fmla="*/ 72 w 162"/>
                <a:gd name="T1" fmla="*/ 150 h 162"/>
                <a:gd name="T2" fmla="*/ 78 w 162"/>
                <a:gd name="T3" fmla="*/ 162 h 162"/>
                <a:gd name="T4" fmla="*/ 96 w 162"/>
                <a:gd name="T5" fmla="*/ 162 h 162"/>
                <a:gd name="T6" fmla="*/ 102 w 162"/>
                <a:gd name="T7" fmla="*/ 156 h 162"/>
                <a:gd name="T8" fmla="*/ 114 w 162"/>
                <a:gd name="T9" fmla="*/ 156 h 162"/>
                <a:gd name="T10" fmla="*/ 108 w 162"/>
                <a:gd name="T11" fmla="*/ 138 h 162"/>
                <a:gd name="T12" fmla="*/ 96 w 162"/>
                <a:gd name="T13" fmla="*/ 126 h 162"/>
                <a:gd name="T14" fmla="*/ 108 w 162"/>
                <a:gd name="T15" fmla="*/ 114 h 162"/>
                <a:gd name="T16" fmla="*/ 126 w 162"/>
                <a:gd name="T17" fmla="*/ 102 h 162"/>
                <a:gd name="T18" fmla="*/ 138 w 162"/>
                <a:gd name="T19" fmla="*/ 84 h 162"/>
                <a:gd name="T20" fmla="*/ 138 w 162"/>
                <a:gd name="T21" fmla="*/ 66 h 162"/>
                <a:gd name="T22" fmla="*/ 138 w 162"/>
                <a:gd name="T23" fmla="*/ 54 h 162"/>
                <a:gd name="T24" fmla="*/ 132 w 162"/>
                <a:gd name="T25" fmla="*/ 48 h 162"/>
                <a:gd name="T26" fmla="*/ 132 w 162"/>
                <a:gd name="T27" fmla="*/ 36 h 162"/>
                <a:gd name="T28" fmla="*/ 126 w 162"/>
                <a:gd name="T29" fmla="*/ 30 h 162"/>
                <a:gd name="T30" fmla="*/ 150 w 162"/>
                <a:gd name="T31" fmla="*/ 30 h 162"/>
                <a:gd name="T32" fmla="*/ 144 w 162"/>
                <a:gd name="T33" fmla="*/ 12 h 162"/>
                <a:gd name="T34" fmla="*/ 132 w 162"/>
                <a:gd name="T35" fmla="*/ 0 h 162"/>
                <a:gd name="T36" fmla="*/ 108 w 162"/>
                <a:gd name="T37" fmla="*/ 0 h 162"/>
                <a:gd name="T38" fmla="*/ 90 w 162"/>
                <a:gd name="T39" fmla="*/ 12 h 162"/>
                <a:gd name="T40" fmla="*/ 96 w 162"/>
                <a:gd name="T41" fmla="*/ 30 h 162"/>
                <a:gd name="T42" fmla="*/ 84 w 162"/>
                <a:gd name="T43" fmla="*/ 36 h 162"/>
                <a:gd name="T44" fmla="*/ 84 w 162"/>
                <a:gd name="T45" fmla="*/ 54 h 162"/>
                <a:gd name="T46" fmla="*/ 72 w 162"/>
                <a:gd name="T47" fmla="*/ 66 h 162"/>
                <a:gd name="T48" fmla="*/ 60 w 162"/>
                <a:gd name="T49" fmla="*/ 72 h 162"/>
                <a:gd name="T50" fmla="*/ 54 w 162"/>
                <a:gd name="T51" fmla="*/ 90 h 162"/>
                <a:gd name="T52" fmla="*/ 36 w 162"/>
                <a:gd name="T53" fmla="*/ 96 h 162"/>
                <a:gd name="T54" fmla="*/ 6 w 162"/>
                <a:gd name="T55" fmla="*/ 90 h 162"/>
                <a:gd name="T56" fmla="*/ 6 w 162"/>
                <a:gd name="T57" fmla="*/ 96 h 162"/>
                <a:gd name="T58" fmla="*/ 24 w 162"/>
                <a:gd name="T59" fmla="*/ 108 h 162"/>
                <a:gd name="T60" fmla="*/ 30 w 162"/>
                <a:gd name="T61" fmla="*/ 126 h 162"/>
                <a:gd name="T62" fmla="*/ 18 w 162"/>
                <a:gd name="T63" fmla="*/ 132 h 162"/>
                <a:gd name="T64" fmla="*/ 12 w 162"/>
                <a:gd name="T65" fmla="*/ 144 h 162"/>
                <a:gd name="T66" fmla="*/ 36 w 162"/>
                <a:gd name="T67" fmla="*/ 144 h 162"/>
                <a:gd name="T68" fmla="*/ 54 w 162"/>
                <a:gd name="T69" fmla="*/ 14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" h="162">
                  <a:moveTo>
                    <a:pt x="66" y="144"/>
                  </a:moveTo>
                  <a:lnTo>
                    <a:pt x="72" y="150"/>
                  </a:lnTo>
                  <a:lnTo>
                    <a:pt x="72" y="150"/>
                  </a:lnTo>
                  <a:lnTo>
                    <a:pt x="78" y="162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96" y="126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14"/>
                  </a:lnTo>
                  <a:lnTo>
                    <a:pt x="126" y="102"/>
                  </a:lnTo>
                  <a:lnTo>
                    <a:pt x="132" y="90"/>
                  </a:lnTo>
                  <a:lnTo>
                    <a:pt x="138" y="84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8" y="54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32" y="36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62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90" y="12"/>
                  </a:lnTo>
                  <a:lnTo>
                    <a:pt x="96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84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12" y="144"/>
                  </a:lnTo>
                  <a:lnTo>
                    <a:pt x="24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54" y="144"/>
                  </a:lnTo>
                  <a:lnTo>
                    <a:pt x="66" y="14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0" name="Freeform 86">
              <a:extLst>
                <a:ext uri="{FF2B5EF4-FFF2-40B4-BE49-F238E27FC236}">
                  <a16:creationId xmlns:a16="http://schemas.microsoft.com/office/drawing/2014/main" id="{7E72034F-FDD7-4932-9BE8-4564EE4329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713"/>
              <a:ext cx="119" cy="120"/>
            </a:xfrm>
            <a:custGeom>
              <a:avLst/>
              <a:gdLst>
                <a:gd name="T0" fmla="*/ 95 w 119"/>
                <a:gd name="T1" fmla="*/ 48 h 120"/>
                <a:gd name="T2" fmla="*/ 83 w 119"/>
                <a:gd name="T3" fmla="*/ 36 h 120"/>
                <a:gd name="T4" fmla="*/ 78 w 119"/>
                <a:gd name="T5" fmla="*/ 24 h 120"/>
                <a:gd name="T6" fmla="*/ 78 w 119"/>
                <a:gd name="T7" fmla="*/ 24 h 120"/>
                <a:gd name="T8" fmla="*/ 83 w 119"/>
                <a:gd name="T9" fmla="*/ 36 h 120"/>
                <a:gd name="T10" fmla="*/ 83 w 119"/>
                <a:gd name="T11" fmla="*/ 42 h 120"/>
                <a:gd name="T12" fmla="*/ 89 w 119"/>
                <a:gd name="T13" fmla="*/ 48 h 120"/>
                <a:gd name="T14" fmla="*/ 95 w 119"/>
                <a:gd name="T15" fmla="*/ 60 h 120"/>
                <a:gd name="T16" fmla="*/ 101 w 119"/>
                <a:gd name="T17" fmla="*/ 72 h 120"/>
                <a:gd name="T18" fmla="*/ 107 w 119"/>
                <a:gd name="T19" fmla="*/ 78 h 120"/>
                <a:gd name="T20" fmla="*/ 113 w 119"/>
                <a:gd name="T21" fmla="*/ 84 h 120"/>
                <a:gd name="T22" fmla="*/ 119 w 119"/>
                <a:gd name="T23" fmla="*/ 96 h 120"/>
                <a:gd name="T24" fmla="*/ 119 w 119"/>
                <a:gd name="T25" fmla="*/ 96 h 120"/>
                <a:gd name="T26" fmla="*/ 119 w 119"/>
                <a:gd name="T27" fmla="*/ 108 h 120"/>
                <a:gd name="T28" fmla="*/ 113 w 119"/>
                <a:gd name="T29" fmla="*/ 108 h 120"/>
                <a:gd name="T30" fmla="*/ 113 w 119"/>
                <a:gd name="T31" fmla="*/ 108 h 120"/>
                <a:gd name="T32" fmla="*/ 107 w 119"/>
                <a:gd name="T33" fmla="*/ 114 h 120"/>
                <a:gd name="T34" fmla="*/ 101 w 119"/>
                <a:gd name="T35" fmla="*/ 120 h 120"/>
                <a:gd name="T36" fmla="*/ 101 w 119"/>
                <a:gd name="T37" fmla="*/ 120 h 120"/>
                <a:gd name="T38" fmla="*/ 83 w 119"/>
                <a:gd name="T39" fmla="*/ 120 h 120"/>
                <a:gd name="T40" fmla="*/ 72 w 119"/>
                <a:gd name="T41" fmla="*/ 120 h 120"/>
                <a:gd name="T42" fmla="*/ 72 w 119"/>
                <a:gd name="T43" fmla="*/ 120 h 120"/>
                <a:gd name="T44" fmla="*/ 72 w 119"/>
                <a:gd name="T45" fmla="*/ 120 h 120"/>
                <a:gd name="T46" fmla="*/ 60 w 119"/>
                <a:gd name="T47" fmla="*/ 120 h 120"/>
                <a:gd name="T48" fmla="*/ 54 w 119"/>
                <a:gd name="T49" fmla="*/ 120 h 120"/>
                <a:gd name="T50" fmla="*/ 48 w 119"/>
                <a:gd name="T51" fmla="*/ 120 h 120"/>
                <a:gd name="T52" fmla="*/ 36 w 119"/>
                <a:gd name="T53" fmla="*/ 120 h 120"/>
                <a:gd name="T54" fmla="*/ 30 w 119"/>
                <a:gd name="T55" fmla="*/ 120 h 120"/>
                <a:gd name="T56" fmla="*/ 18 w 119"/>
                <a:gd name="T57" fmla="*/ 120 h 120"/>
                <a:gd name="T58" fmla="*/ 12 w 119"/>
                <a:gd name="T59" fmla="*/ 120 h 120"/>
                <a:gd name="T60" fmla="*/ 6 w 119"/>
                <a:gd name="T61" fmla="*/ 120 h 120"/>
                <a:gd name="T62" fmla="*/ 6 w 119"/>
                <a:gd name="T63" fmla="*/ 108 h 120"/>
                <a:gd name="T64" fmla="*/ 6 w 119"/>
                <a:gd name="T65" fmla="*/ 96 h 120"/>
                <a:gd name="T66" fmla="*/ 0 w 119"/>
                <a:gd name="T67" fmla="*/ 84 h 120"/>
                <a:gd name="T68" fmla="*/ 0 w 119"/>
                <a:gd name="T69" fmla="*/ 72 h 120"/>
                <a:gd name="T70" fmla="*/ 0 w 119"/>
                <a:gd name="T71" fmla="*/ 60 h 120"/>
                <a:gd name="T72" fmla="*/ 0 w 119"/>
                <a:gd name="T73" fmla="*/ 48 h 120"/>
                <a:gd name="T74" fmla="*/ 0 w 119"/>
                <a:gd name="T75" fmla="*/ 36 h 120"/>
                <a:gd name="T76" fmla="*/ 0 w 119"/>
                <a:gd name="T77" fmla="*/ 30 h 120"/>
                <a:gd name="T78" fmla="*/ 0 w 119"/>
                <a:gd name="T79" fmla="*/ 18 h 120"/>
                <a:gd name="T80" fmla="*/ 0 w 119"/>
                <a:gd name="T81" fmla="*/ 6 h 120"/>
                <a:gd name="T82" fmla="*/ 0 w 119"/>
                <a:gd name="T83" fmla="*/ 0 h 120"/>
                <a:gd name="T84" fmla="*/ 6 w 119"/>
                <a:gd name="T85" fmla="*/ 0 h 120"/>
                <a:gd name="T86" fmla="*/ 24 w 119"/>
                <a:gd name="T87" fmla="*/ 6 h 120"/>
                <a:gd name="T88" fmla="*/ 36 w 119"/>
                <a:gd name="T89" fmla="*/ 12 h 120"/>
                <a:gd name="T90" fmla="*/ 54 w 119"/>
                <a:gd name="T91" fmla="*/ 6 h 120"/>
                <a:gd name="T92" fmla="*/ 60 w 119"/>
                <a:gd name="T93" fmla="*/ 0 h 120"/>
                <a:gd name="T94" fmla="*/ 54 w 119"/>
                <a:gd name="T95" fmla="*/ 0 h 120"/>
                <a:gd name="T96" fmla="*/ 60 w 119"/>
                <a:gd name="T97" fmla="*/ 0 h 120"/>
                <a:gd name="T98" fmla="*/ 72 w 119"/>
                <a:gd name="T99" fmla="*/ 6 h 120"/>
                <a:gd name="T100" fmla="*/ 72 w 119"/>
                <a:gd name="T101" fmla="*/ 6 h 120"/>
                <a:gd name="T102" fmla="*/ 78 w 119"/>
                <a:gd name="T103" fmla="*/ 6 h 120"/>
                <a:gd name="T104" fmla="*/ 95 w 119"/>
                <a:gd name="T105" fmla="*/ 6 h 120"/>
                <a:gd name="T106" fmla="*/ 95 w 119"/>
                <a:gd name="T107" fmla="*/ 18 h 120"/>
                <a:gd name="T108" fmla="*/ 101 w 119"/>
                <a:gd name="T109" fmla="*/ 30 h 120"/>
                <a:gd name="T110" fmla="*/ 101 w 119"/>
                <a:gd name="T111" fmla="*/ 36 h 120"/>
                <a:gd name="T112" fmla="*/ 101 w 119"/>
                <a:gd name="T113" fmla="*/ 48 h 120"/>
                <a:gd name="T114" fmla="*/ 95 w 119"/>
                <a:gd name="T115" fmla="*/ 4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9" h="120">
                  <a:moveTo>
                    <a:pt x="95" y="48"/>
                  </a:moveTo>
                  <a:lnTo>
                    <a:pt x="83" y="36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9" y="48"/>
                  </a:lnTo>
                  <a:lnTo>
                    <a:pt x="95" y="60"/>
                  </a:lnTo>
                  <a:lnTo>
                    <a:pt x="101" y="72"/>
                  </a:lnTo>
                  <a:lnTo>
                    <a:pt x="107" y="78"/>
                  </a:lnTo>
                  <a:lnTo>
                    <a:pt x="113" y="84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07" y="114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83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6" y="108"/>
                  </a:lnTo>
                  <a:lnTo>
                    <a:pt x="6" y="96"/>
                  </a:lnTo>
                  <a:lnTo>
                    <a:pt x="0" y="84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6" y="12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95" y="6"/>
                  </a:lnTo>
                  <a:lnTo>
                    <a:pt x="95" y="18"/>
                  </a:lnTo>
                  <a:lnTo>
                    <a:pt x="101" y="30"/>
                  </a:lnTo>
                  <a:lnTo>
                    <a:pt x="101" y="36"/>
                  </a:lnTo>
                  <a:lnTo>
                    <a:pt x="101" y="48"/>
                  </a:lnTo>
                  <a:lnTo>
                    <a:pt x="95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id="{A603289F-C971-4E40-AE78-ACB0011770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2" y="1665"/>
              <a:ext cx="299" cy="341"/>
            </a:xfrm>
            <a:custGeom>
              <a:avLst/>
              <a:gdLst>
                <a:gd name="T0" fmla="*/ 48 w 299"/>
                <a:gd name="T1" fmla="*/ 12 h 341"/>
                <a:gd name="T2" fmla="*/ 42 w 299"/>
                <a:gd name="T3" fmla="*/ 18 h 341"/>
                <a:gd name="T4" fmla="*/ 48 w 299"/>
                <a:gd name="T5" fmla="*/ 36 h 341"/>
                <a:gd name="T6" fmla="*/ 48 w 299"/>
                <a:gd name="T7" fmla="*/ 48 h 341"/>
                <a:gd name="T8" fmla="*/ 42 w 299"/>
                <a:gd name="T9" fmla="*/ 72 h 341"/>
                <a:gd name="T10" fmla="*/ 18 w 299"/>
                <a:gd name="T11" fmla="*/ 96 h 341"/>
                <a:gd name="T12" fmla="*/ 12 w 299"/>
                <a:gd name="T13" fmla="*/ 114 h 341"/>
                <a:gd name="T14" fmla="*/ 24 w 299"/>
                <a:gd name="T15" fmla="*/ 138 h 341"/>
                <a:gd name="T16" fmla="*/ 6 w 299"/>
                <a:gd name="T17" fmla="*/ 138 h 341"/>
                <a:gd name="T18" fmla="*/ 0 w 299"/>
                <a:gd name="T19" fmla="*/ 150 h 341"/>
                <a:gd name="T20" fmla="*/ 12 w 299"/>
                <a:gd name="T21" fmla="*/ 156 h 341"/>
                <a:gd name="T22" fmla="*/ 12 w 299"/>
                <a:gd name="T23" fmla="*/ 162 h 341"/>
                <a:gd name="T24" fmla="*/ 30 w 299"/>
                <a:gd name="T25" fmla="*/ 186 h 341"/>
                <a:gd name="T26" fmla="*/ 42 w 299"/>
                <a:gd name="T27" fmla="*/ 162 h 341"/>
                <a:gd name="T28" fmla="*/ 48 w 299"/>
                <a:gd name="T29" fmla="*/ 168 h 341"/>
                <a:gd name="T30" fmla="*/ 48 w 299"/>
                <a:gd name="T31" fmla="*/ 180 h 341"/>
                <a:gd name="T32" fmla="*/ 54 w 299"/>
                <a:gd name="T33" fmla="*/ 204 h 341"/>
                <a:gd name="T34" fmla="*/ 66 w 299"/>
                <a:gd name="T35" fmla="*/ 233 h 341"/>
                <a:gd name="T36" fmla="*/ 78 w 299"/>
                <a:gd name="T37" fmla="*/ 263 h 341"/>
                <a:gd name="T38" fmla="*/ 90 w 299"/>
                <a:gd name="T39" fmla="*/ 299 h 341"/>
                <a:gd name="T40" fmla="*/ 102 w 299"/>
                <a:gd name="T41" fmla="*/ 323 h 341"/>
                <a:gd name="T42" fmla="*/ 120 w 299"/>
                <a:gd name="T43" fmla="*/ 335 h 341"/>
                <a:gd name="T44" fmla="*/ 132 w 299"/>
                <a:gd name="T45" fmla="*/ 323 h 341"/>
                <a:gd name="T46" fmla="*/ 138 w 299"/>
                <a:gd name="T47" fmla="*/ 305 h 341"/>
                <a:gd name="T48" fmla="*/ 144 w 299"/>
                <a:gd name="T49" fmla="*/ 275 h 341"/>
                <a:gd name="T50" fmla="*/ 144 w 299"/>
                <a:gd name="T51" fmla="*/ 245 h 341"/>
                <a:gd name="T52" fmla="*/ 150 w 299"/>
                <a:gd name="T53" fmla="*/ 239 h 341"/>
                <a:gd name="T54" fmla="*/ 174 w 299"/>
                <a:gd name="T55" fmla="*/ 215 h 341"/>
                <a:gd name="T56" fmla="*/ 198 w 299"/>
                <a:gd name="T57" fmla="*/ 192 h 341"/>
                <a:gd name="T58" fmla="*/ 216 w 299"/>
                <a:gd name="T59" fmla="*/ 168 h 341"/>
                <a:gd name="T60" fmla="*/ 222 w 299"/>
                <a:gd name="T61" fmla="*/ 174 h 341"/>
                <a:gd name="T62" fmla="*/ 222 w 299"/>
                <a:gd name="T63" fmla="*/ 162 h 341"/>
                <a:gd name="T64" fmla="*/ 210 w 299"/>
                <a:gd name="T65" fmla="*/ 138 h 341"/>
                <a:gd name="T66" fmla="*/ 210 w 299"/>
                <a:gd name="T67" fmla="*/ 120 h 341"/>
                <a:gd name="T68" fmla="*/ 222 w 299"/>
                <a:gd name="T69" fmla="*/ 120 h 341"/>
                <a:gd name="T70" fmla="*/ 240 w 299"/>
                <a:gd name="T71" fmla="*/ 126 h 341"/>
                <a:gd name="T72" fmla="*/ 252 w 299"/>
                <a:gd name="T73" fmla="*/ 138 h 341"/>
                <a:gd name="T74" fmla="*/ 246 w 299"/>
                <a:gd name="T75" fmla="*/ 156 h 341"/>
                <a:gd name="T76" fmla="*/ 264 w 299"/>
                <a:gd name="T77" fmla="*/ 168 h 341"/>
                <a:gd name="T78" fmla="*/ 270 w 299"/>
                <a:gd name="T79" fmla="*/ 144 h 341"/>
                <a:gd name="T80" fmla="*/ 275 w 299"/>
                <a:gd name="T81" fmla="*/ 126 h 341"/>
                <a:gd name="T82" fmla="*/ 299 w 299"/>
                <a:gd name="T83" fmla="*/ 102 h 341"/>
                <a:gd name="T84" fmla="*/ 299 w 299"/>
                <a:gd name="T85" fmla="*/ 90 h 341"/>
                <a:gd name="T86" fmla="*/ 281 w 299"/>
                <a:gd name="T87" fmla="*/ 78 h 341"/>
                <a:gd name="T88" fmla="*/ 275 w 299"/>
                <a:gd name="T89" fmla="*/ 78 h 341"/>
                <a:gd name="T90" fmla="*/ 246 w 299"/>
                <a:gd name="T91" fmla="*/ 90 h 341"/>
                <a:gd name="T92" fmla="*/ 246 w 299"/>
                <a:gd name="T93" fmla="*/ 108 h 341"/>
                <a:gd name="T94" fmla="*/ 210 w 299"/>
                <a:gd name="T95" fmla="*/ 108 h 341"/>
                <a:gd name="T96" fmla="*/ 204 w 299"/>
                <a:gd name="T97" fmla="*/ 96 h 341"/>
                <a:gd name="T98" fmla="*/ 180 w 299"/>
                <a:gd name="T99" fmla="*/ 108 h 341"/>
                <a:gd name="T100" fmla="*/ 150 w 299"/>
                <a:gd name="T101" fmla="*/ 102 h 341"/>
                <a:gd name="T102" fmla="*/ 114 w 299"/>
                <a:gd name="T103" fmla="*/ 84 h 341"/>
                <a:gd name="T104" fmla="*/ 108 w 299"/>
                <a:gd name="T105" fmla="*/ 60 h 341"/>
                <a:gd name="T106" fmla="*/ 90 w 299"/>
                <a:gd name="T107" fmla="*/ 36 h 341"/>
                <a:gd name="T108" fmla="*/ 90 w 299"/>
                <a:gd name="T109" fmla="*/ 24 h 341"/>
                <a:gd name="T110" fmla="*/ 90 w 299"/>
                <a:gd name="T111" fmla="*/ 18 h 341"/>
                <a:gd name="T112" fmla="*/ 84 w 299"/>
                <a:gd name="T113" fmla="*/ 6 h 341"/>
                <a:gd name="T114" fmla="*/ 72 w 299"/>
                <a:gd name="T115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" h="341">
                  <a:moveTo>
                    <a:pt x="72" y="0"/>
                  </a:moveTo>
                  <a:lnTo>
                    <a:pt x="60" y="12"/>
                  </a:lnTo>
                  <a:lnTo>
                    <a:pt x="4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84"/>
                  </a:lnTo>
                  <a:lnTo>
                    <a:pt x="24" y="96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0" y="144"/>
                  </a:lnTo>
                  <a:lnTo>
                    <a:pt x="0" y="150"/>
                  </a:lnTo>
                  <a:lnTo>
                    <a:pt x="12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8" y="174"/>
                  </a:lnTo>
                  <a:lnTo>
                    <a:pt x="30" y="186"/>
                  </a:lnTo>
                  <a:lnTo>
                    <a:pt x="42" y="180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48" y="168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9"/>
                  </a:lnTo>
                  <a:lnTo>
                    <a:pt x="60" y="221"/>
                  </a:lnTo>
                  <a:lnTo>
                    <a:pt x="66" y="233"/>
                  </a:lnTo>
                  <a:lnTo>
                    <a:pt x="66" y="245"/>
                  </a:lnTo>
                  <a:lnTo>
                    <a:pt x="72" y="251"/>
                  </a:lnTo>
                  <a:lnTo>
                    <a:pt x="78" y="263"/>
                  </a:lnTo>
                  <a:lnTo>
                    <a:pt x="84" y="275"/>
                  </a:lnTo>
                  <a:lnTo>
                    <a:pt x="90" y="287"/>
                  </a:lnTo>
                  <a:lnTo>
                    <a:pt x="90" y="299"/>
                  </a:lnTo>
                  <a:lnTo>
                    <a:pt x="96" y="311"/>
                  </a:lnTo>
                  <a:lnTo>
                    <a:pt x="102" y="317"/>
                  </a:lnTo>
                  <a:lnTo>
                    <a:pt x="102" y="323"/>
                  </a:lnTo>
                  <a:lnTo>
                    <a:pt x="108" y="335"/>
                  </a:lnTo>
                  <a:lnTo>
                    <a:pt x="114" y="341"/>
                  </a:lnTo>
                  <a:lnTo>
                    <a:pt x="120" y="335"/>
                  </a:lnTo>
                  <a:lnTo>
                    <a:pt x="126" y="323"/>
                  </a:lnTo>
                  <a:lnTo>
                    <a:pt x="132" y="323"/>
                  </a:lnTo>
                  <a:lnTo>
                    <a:pt x="132" y="323"/>
                  </a:lnTo>
                  <a:lnTo>
                    <a:pt x="138" y="311"/>
                  </a:lnTo>
                  <a:lnTo>
                    <a:pt x="138" y="311"/>
                  </a:lnTo>
                  <a:lnTo>
                    <a:pt x="138" y="305"/>
                  </a:lnTo>
                  <a:lnTo>
                    <a:pt x="138" y="293"/>
                  </a:lnTo>
                  <a:lnTo>
                    <a:pt x="138" y="281"/>
                  </a:lnTo>
                  <a:lnTo>
                    <a:pt x="144" y="275"/>
                  </a:lnTo>
                  <a:lnTo>
                    <a:pt x="138" y="263"/>
                  </a:lnTo>
                  <a:lnTo>
                    <a:pt x="138" y="245"/>
                  </a:lnTo>
                  <a:lnTo>
                    <a:pt x="144" y="245"/>
                  </a:lnTo>
                  <a:lnTo>
                    <a:pt x="144" y="245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62" y="233"/>
                  </a:lnTo>
                  <a:lnTo>
                    <a:pt x="162" y="227"/>
                  </a:lnTo>
                  <a:lnTo>
                    <a:pt x="174" y="215"/>
                  </a:lnTo>
                  <a:lnTo>
                    <a:pt x="180" y="204"/>
                  </a:lnTo>
                  <a:lnTo>
                    <a:pt x="192" y="198"/>
                  </a:lnTo>
                  <a:lnTo>
                    <a:pt x="198" y="192"/>
                  </a:lnTo>
                  <a:lnTo>
                    <a:pt x="204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74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2" y="162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10" y="138"/>
                  </a:lnTo>
                  <a:lnTo>
                    <a:pt x="210" y="132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210" y="114"/>
                  </a:lnTo>
                  <a:lnTo>
                    <a:pt x="216" y="114"/>
                  </a:lnTo>
                  <a:lnTo>
                    <a:pt x="222" y="120"/>
                  </a:lnTo>
                  <a:lnTo>
                    <a:pt x="222" y="114"/>
                  </a:lnTo>
                  <a:lnTo>
                    <a:pt x="228" y="126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46" y="144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52" y="144"/>
                  </a:lnTo>
                  <a:lnTo>
                    <a:pt x="258" y="156"/>
                  </a:lnTo>
                  <a:lnTo>
                    <a:pt x="264" y="168"/>
                  </a:lnTo>
                  <a:lnTo>
                    <a:pt x="264" y="168"/>
                  </a:lnTo>
                  <a:lnTo>
                    <a:pt x="264" y="156"/>
                  </a:lnTo>
                  <a:lnTo>
                    <a:pt x="270" y="144"/>
                  </a:lnTo>
                  <a:lnTo>
                    <a:pt x="275" y="144"/>
                  </a:lnTo>
                  <a:lnTo>
                    <a:pt x="275" y="126"/>
                  </a:lnTo>
                  <a:lnTo>
                    <a:pt x="275" y="126"/>
                  </a:lnTo>
                  <a:lnTo>
                    <a:pt x="281" y="114"/>
                  </a:lnTo>
                  <a:lnTo>
                    <a:pt x="287" y="102"/>
                  </a:lnTo>
                  <a:lnTo>
                    <a:pt x="299" y="102"/>
                  </a:lnTo>
                  <a:lnTo>
                    <a:pt x="293" y="102"/>
                  </a:lnTo>
                  <a:lnTo>
                    <a:pt x="299" y="96"/>
                  </a:lnTo>
                  <a:lnTo>
                    <a:pt x="299" y="90"/>
                  </a:lnTo>
                  <a:lnTo>
                    <a:pt x="287" y="84"/>
                  </a:lnTo>
                  <a:lnTo>
                    <a:pt x="287" y="84"/>
                  </a:lnTo>
                  <a:lnTo>
                    <a:pt x="281" y="78"/>
                  </a:lnTo>
                  <a:lnTo>
                    <a:pt x="281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64" y="78"/>
                  </a:lnTo>
                  <a:lnTo>
                    <a:pt x="258" y="84"/>
                  </a:lnTo>
                  <a:lnTo>
                    <a:pt x="246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28" y="108"/>
                  </a:lnTo>
                  <a:lnTo>
                    <a:pt x="210" y="108"/>
                  </a:lnTo>
                  <a:lnTo>
                    <a:pt x="210" y="102"/>
                  </a:lnTo>
                  <a:lnTo>
                    <a:pt x="204" y="90"/>
                  </a:lnTo>
                  <a:lnTo>
                    <a:pt x="204" y="96"/>
                  </a:lnTo>
                  <a:lnTo>
                    <a:pt x="204" y="114"/>
                  </a:lnTo>
                  <a:lnTo>
                    <a:pt x="192" y="114"/>
                  </a:lnTo>
                  <a:lnTo>
                    <a:pt x="180" y="108"/>
                  </a:lnTo>
                  <a:lnTo>
                    <a:pt x="168" y="108"/>
                  </a:lnTo>
                  <a:lnTo>
                    <a:pt x="168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26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0" y="66"/>
                  </a:lnTo>
                  <a:lnTo>
                    <a:pt x="108" y="60"/>
                  </a:lnTo>
                  <a:lnTo>
                    <a:pt x="96" y="54"/>
                  </a:lnTo>
                  <a:lnTo>
                    <a:pt x="90" y="48"/>
                  </a:lnTo>
                  <a:lnTo>
                    <a:pt x="90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id="{C43DC0F9-94E8-45C8-9CF8-8A506A5077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695"/>
              <a:ext cx="12" cy="48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36 h 48"/>
                <a:gd name="T4" fmla="*/ 0 w 12"/>
                <a:gd name="T5" fmla="*/ 24 h 48"/>
                <a:gd name="T6" fmla="*/ 0 w 12"/>
                <a:gd name="T7" fmla="*/ 12 h 48"/>
                <a:gd name="T8" fmla="*/ 6 w 12"/>
                <a:gd name="T9" fmla="*/ 0 h 48"/>
                <a:gd name="T10" fmla="*/ 12 w 12"/>
                <a:gd name="T11" fmla="*/ 0 h 48"/>
                <a:gd name="T12" fmla="*/ 12 w 12"/>
                <a:gd name="T13" fmla="*/ 6 h 48"/>
                <a:gd name="T14" fmla="*/ 12 w 12"/>
                <a:gd name="T15" fmla="*/ 12 h 48"/>
                <a:gd name="T16" fmla="*/ 12 w 12"/>
                <a:gd name="T17" fmla="*/ 24 h 48"/>
                <a:gd name="T18" fmla="*/ 12 w 12"/>
                <a:gd name="T19" fmla="*/ 36 h 48"/>
                <a:gd name="T20" fmla="*/ 12 w 12"/>
                <a:gd name="T21" fmla="*/ 42 h 48"/>
                <a:gd name="T22" fmla="*/ 6 w 12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3" name="Freeform 89">
              <a:extLst>
                <a:ext uri="{FF2B5EF4-FFF2-40B4-BE49-F238E27FC236}">
                  <a16:creationId xmlns:a16="http://schemas.microsoft.com/office/drawing/2014/main" id="{F2F45900-2ADB-41CE-895C-43967F218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95"/>
              <a:ext cx="36" cy="48"/>
            </a:xfrm>
            <a:custGeom>
              <a:avLst/>
              <a:gdLst>
                <a:gd name="T0" fmla="*/ 12 w 36"/>
                <a:gd name="T1" fmla="*/ 12 h 48"/>
                <a:gd name="T2" fmla="*/ 0 w 36"/>
                <a:gd name="T3" fmla="*/ 6 h 48"/>
                <a:gd name="T4" fmla="*/ 0 w 36"/>
                <a:gd name="T5" fmla="*/ 12 h 48"/>
                <a:gd name="T6" fmla="*/ 0 w 36"/>
                <a:gd name="T7" fmla="*/ 24 h 48"/>
                <a:gd name="T8" fmla="*/ 0 w 36"/>
                <a:gd name="T9" fmla="*/ 36 h 48"/>
                <a:gd name="T10" fmla="*/ 0 w 36"/>
                <a:gd name="T11" fmla="*/ 42 h 48"/>
                <a:gd name="T12" fmla="*/ 0 w 36"/>
                <a:gd name="T13" fmla="*/ 48 h 48"/>
                <a:gd name="T14" fmla="*/ 6 w 36"/>
                <a:gd name="T15" fmla="*/ 48 h 48"/>
                <a:gd name="T16" fmla="*/ 18 w 36"/>
                <a:gd name="T17" fmla="*/ 42 h 48"/>
                <a:gd name="T18" fmla="*/ 24 w 36"/>
                <a:gd name="T19" fmla="*/ 42 h 48"/>
                <a:gd name="T20" fmla="*/ 30 w 36"/>
                <a:gd name="T21" fmla="*/ 30 h 48"/>
                <a:gd name="T22" fmla="*/ 18 w 36"/>
                <a:gd name="T23" fmla="*/ 18 h 48"/>
                <a:gd name="T24" fmla="*/ 24 w 36"/>
                <a:gd name="T25" fmla="*/ 18 h 48"/>
                <a:gd name="T26" fmla="*/ 36 w 36"/>
                <a:gd name="T27" fmla="*/ 12 h 48"/>
                <a:gd name="T28" fmla="*/ 30 w 36"/>
                <a:gd name="T29" fmla="*/ 0 h 48"/>
                <a:gd name="T30" fmla="*/ 24 w 36"/>
                <a:gd name="T31" fmla="*/ 6 h 48"/>
                <a:gd name="T32" fmla="*/ 12 w 36"/>
                <a:gd name="T33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48">
                  <a:moveTo>
                    <a:pt x="12" y="12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4" name="Freeform 90">
              <a:extLst>
                <a:ext uri="{FF2B5EF4-FFF2-40B4-BE49-F238E27FC236}">
                  <a16:creationId xmlns:a16="http://schemas.microsoft.com/office/drawing/2014/main" id="{38CA0F5F-770B-4BFD-8E65-E2B6BB965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" y="1797"/>
              <a:ext cx="84" cy="101"/>
            </a:xfrm>
            <a:custGeom>
              <a:avLst/>
              <a:gdLst>
                <a:gd name="T0" fmla="*/ 84 w 84"/>
                <a:gd name="T1" fmla="*/ 30 h 101"/>
                <a:gd name="T2" fmla="*/ 78 w 84"/>
                <a:gd name="T3" fmla="*/ 24 h 101"/>
                <a:gd name="T4" fmla="*/ 66 w 84"/>
                <a:gd name="T5" fmla="*/ 18 h 101"/>
                <a:gd name="T6" fmla="*/ 60 w 84"/>
                <a:gd name="T7" fmla="*/ 12 h 101"/>
                <a:gd name="T8" fmla="*/ 48 w 84"/>
                <a:gd name="T9" fmla="*/ 6 h 101"/>
                <a:gd name="T10" fmla="*/ 42 w 84"/>
                <a:gd name="T11" fmla="*/ 0 h 101"/>
                <a:gd name="T12" fmla="*/ 42 w 84"/>
                <a:gd name="T13" fmla="*/ 0 h 101"/>
                <a:gd name="T14" fmla="*/ 42 w 84"/>
                <a:gd name="T15" fmla="*/ 0 h 101"/>
                <a:gd name="T16" fmla="*/ 42 w 84"/>
                <a:gd name="T17" fmla="*/ 12 h 101"/>
                <a:gd name="T18" fmla="*/ 36 w 84"/>
                <a:gd name="T19" fmla="*/ 12 h 101"/>
                <a:gd name="T20" fmla="*/ 36 w 84"/>
                <a:gd name="T21" fmla="*/ 30 h 101"/>
                <a:gd name="T22" fmla="*/ 42 w 84"/>
                <a:gd name="T23" fmla="*/ 36 h 101"/>
                <a:gd name="T24" fmla="*/ 36 w 84"/>
                <a:gd name="T25" fmla="*/ 48 h 101"/>
                <a:gd name="T26" fmla="*/ 36 w 84"/>
                <a:gd name="T27" fmla="*/ 60 h 101"/>
                <a:gd name="T28" fmla="*/ 30 w 84"/>
                <a:gd name="T29" fmla="*/ 66 h 101"/>
                <a:gd name="T30" fmla="*/ 18 w 84"/>
                <a:gd name="T31" fmla="*/ 66 h 101"/>
                <a:gd name="T32" fmla="*/ 12 w 84"/>
                <a:gd name="T33" fmla="*/ 72 h 101"/>
                <a:gd name="T34" fmla="*/ 6 w 84"/>
                <a:gd name="T35" fmla="*/ 72 h 101"/>
                <a:gd name="T36" fmla="*/ 0 w 84"/>
                <a:gd name="T37" fmla="*/ 77 h 101"/>
                <a:gd name="T38" fmla="*/ 12 w 84"/>
                <a:gd name="T39" fmla="*/ 89 h 101"/>
                <a:gd name="T40" fmla="*/ 18 w 84"/>
                <a:gd name="T41" fmla="*/ 101 h 101"/>
                <a:gd name="T42" fmla="*/ 24 w 84"/>
                <a:gd name="T43" fmla="*/ 101 h 101"/>
                <a:gd name="T44" fmla="*/ 36 w 84"/>
                <a:gd name="T45" fmla="*/ 95 h 101"/>
                <a:gd name="T46" fmla="*/ 42 w 84"/>
                <a:gd name="T47" fmla="*/ 95 h 101"/>
                <a:gd name="T48" fmla="*/ 42 w 84"/>
                <a:gd name="T49" fmla="*/ 89 h 101"/>
                <a:gd name="T50" fmla="*/ 54 w 84"/>
                <a:gd name="T51" fmla="*/ 83 h 101"/>
                <a:gd name="T52" fmla="*/ 60 w 84"/>
                <a:gd name="T53" fmla="*/ 72 h 101"/>
                <a:gd name="T54" fmla="*/ 66 w 84"/>
                <a:gd name="T55" fmla="*/ 72 h 101"/>
                <a:gd name="T56" fmla="*/ 66 w 84"/>
                <a:gd name="T57" fmla="*/ 60 h 101"/>
                <a:gd name="T58" fmla="*/ 72 w 84"/>
                <a:gd name="T59" fmla="*/ 54 h 101"/>
                <a:gd name="T60" fmla="*/ 72 w 84"/>
                <a:gd name="T61" fmla="*/ 54 h 101"/>
                <a:gd name="T62" fmla="*/ 78 w 84"/>
                <a:gd name="T63" fmla="*/ 42 h 101"/>
                <a:gd name="T64" fmla="*/ 84 w 84"/>
                <a:gd name="T65" fmla="*/ 3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" h="101">
                  <a:moveTo>
                    <a:pt x="84" y="30"/>
                  </a:moveTo>
                  <a:lnTo>
                    <a:pt x="78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30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7"/>
                  </a:lnTo>
                  <a:lnTo>
                    <a:pt x="12" y="89"/>
                  </a:lnTo>
                  <a:lnTo>
                    <a:pt x="18" y="101"/>
                  </a:lnTo>
                  <a:lnTo>
                    <a:pt x="24" y="101"/>
                  </a:lnTo>
                  <a:lnTo>
                    <a:pt x="36" y="95"/>
                  </a:lnTo>
                  <a:lnTo>
                    <a:pt x="42" y="95"/>
                  </a:lnTo>
                  <a:lnTo>
                    <a:pt x="42" y="89"/>
                  </a:lnTo>
                  <a:lnTo>
                    <a:pt x="54" y="83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60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8" y="42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5" name="Freeform 91">
              <a:extLst>
                <a:ext uri="{FF2B5EF4-FFF2-40B4-BE49-F238E27FC236}">
                  <a16:creationId xmlns:a16="http://schemas.microsoft.com/office/drawing/2014/main" id="{00A99A2A-2DB5-4C08-A324-C7176F1F769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17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6" name="Freeform 92">
              <a:extLst>
                <a:ext uri="{FF2B5EF4-FFF2-40B4-BE49-F238E27FC236}">
                  <a16:creationId xmlns:a16="http://schemas.microsoft.com/office/drawing/2014/main" id="{92B1EFEC-79A0-4180-B604-43B1806D06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707"/>
              <a:ext cx="234" cy="203"/>
            </a:xfrm>
            <a:custGeom>
              <a:avLst/>
              <a:gdLst>
                <a:gd name="T0" fmla="*/ 54 w 234"/>
                <a:gd name="T1" fmla="*/ 126 h 203"/>
                <a:gd name="T2" fmla="*/ 48 w 234"/>
                <a:gd name="T3" fmla="*/ 102 h 203"/>
                <a:gd name="T4" fmla="*/ 30 w 234"/>
                <a:gd name="T5" fmla="*/ 90 h 203"/>
                <a:gd name="T6" fmla="*/ 12 w 234"/>
                <a:gd name="T7" fmla="*/ 66 h 203"/>
                <a:gd name="T8" fmla="*/ 0 w 234"/>
                <a:gd name="T9" fmla="*/ 48 h 203"/>
                <a:gd name="T10" fmla="*/ 12 w 234"/>
                <a:gd name="T11" fmla="*/ 36 h 203"/>
                <a:gd name="T12" fmla="*/ 30 w 234"/>
                <a:gd name="T13" fmla="*/ 30 h 203"/>
                <a:gd name="T14" fmla="*/ 24 w 234"/>
                <a:gd name="T15" fmla="*/ 6 h 203"/>
                <a:gd name="T16" fmla="*/ 42 w 234"/>
                <a:gd name="T17" fmla="*/ 0 h 203"/>
                <a:gd name="T18" fmla="*/ 66 w 234"/>
                <a:gd name="T19" fmla="*/ 6 h 203"/>
                <a:gd name="T20" fmla="*/ 84 w 234"/>
                <a:gd name="T21" fmla="*/ 18 h 203"/>
                <a:gd name="T22" fmla="*/ 108 w 234"/>
                <a:gd name="T23" fmla="*/ 36 h 203"/>
                <a:gd name="T24" fmla="*/ 138 w 234"/>
                <a:gd name="T25" fmla="*/ 42 h 203"/>
                <a:gd name="T26" fmla="*/ 144 w 234"/>
                <a:gd name="T27" fmla="*/ 42 h 203"/>
                <a:gd name="T28" fmla="*/ 156 w 234"/>
                <a:gd name="T29" fmla="*/ 60 h 203"/>
                <a:gd name="T30" fmla="*/ 168 w 234"/>
                <a:gd name="T31" fmla="*/ 78 h 203"/>
                <a:gd name="T32" fmla="*/ 174 w 234"/>
                <a:gd name="T33" fmla="*/ 90 h 203"/>
                <a:gd name="T34" fmla="*/ 180 w 234"/>
                <a:gd name="T35" fmla="*/ 96 h 203"/>
                <a:gd name="T36" fmla="*/ 186 w 234"/>
                <a:gd name="T37" fmla="*/ 96 h 203"/>
                <a:gd name="T38" fmla="*/ 186 w 234"/>
                <a:gd name="T39" fmla="*/ 102 h 203"/>
                <a:gd name="T40" fmla="*/ 192 w 234"/>
                <a:gd name="T41" fmla="*/ 114 h 203"/>
                <a:gd name="T42" fmla="*/ 222 w 234"/>
                <a:gd name="T43" fmla="*/ 120 h 203"/>
                <a:gd name="T44" fmla="*/ 234 w 234"/>
                <a:gd name="T45" fmla="*/ 126 h 203"/>
                <a:gd name="T46" fmla="*/ 228 w 234"/>
                <a:gd name="T47" fmla="*/ 150 h 203"/>
                <a:gd name="T48" fmla="*/ 210 w 234"/>
                <a:gd name="T49" fmla="*/ 156 h 203"/>
                <a:gd name="T50" fmla="*/ 198 w 234"/>
                <a:gd name="T51" fmla="*/ 162 h 203"/>
                <a:gd name="T52" fmla="*/ 180 w 234"/>
                <a:gd name="T53" fmla="*/ 167 h 203"/>
                <a:gd name="T54" fmla="*/ 162 w 234"/>
                <a:gd name="T55" fmla="*/ 173 h 203"/>
                <a:gd name="T56" fmla="*/ 150 w 234"/>
                <a:gd name="T57" fmla="*/ 185 h 203"/>
                <a:gd name="T58" fmla="*/ 138 w 234"/>
                <a:gd name="T59" fmla="*/ 203 h 203"/>
                <a:gd name="T60" fmla="*/ 126 w 234"/>
                <a:gd name="T61" fmla="*/ 185 h 203"/>
                <a:gd name="T62" fmla="*/ 102 w 234"/>
                <a:gd name="T63" fmla="*/ 179 h 203"/>
                <a:gd name="T64" fmla="*/ 96 w 234"/>
                <a:gd name="T65" fmla="*/ 197 h 203"/>
                <a:gd name="T66" fmla="*/ 84 w 234"/>
                <a:gd name="T67" fmla="*/ 179 h 203"/>
                <a:gd name="T68" fmla="*/ 66 w 234"/>
                <a:gd name="T69" fmla="*/ 15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4" h="203">
                  <a:moveTo>
                    <a:pt x="60" y="138"/>
                  </a:moveTo>
                  <a:lnTo>
                    <a:pt x="54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12" y="66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6" y="18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42" y="0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84" y="18"/>
                  </a:lnTo>
                  <a:lnTo>
                    <a:pt x="96" y="30"/>
                  </a:lnTo>
                  <a:lnTo>
                    <a:pt x="108" y="36"/>
                  </a:lnTo>
                  <a:lnTo>
                    <a:pt x="126" y="36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0" y="54"/>
                  </a:lnTo>
                  <a:lnTo>
                    <a:pt x="156" y="60"/>
                  </a:lnTo>
                  <a:lnTo>
                    <a:pt x="168" y="66"/>
                  </a:lnTo>
                  <a:lnTo>
                    <a:pt x="168" y="78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2" y="114"/>
                  </a:lnTo>
                  <a:lnTo>
                    <a:pt x="210" y="114"/>
                  </a:lnTo>
                  <a:lnTo>
                    <a:pt x="222" y="120"/>
                  </a:lnTo>
                  <a:lnTo>
                    <a:pt x="228" y="120"/>
                  </a:lnTo>
                  <a:lnTo>
                    <a:pt x="234" y="126"/>
                  </a:lnTo>
                  <a:lnTo>
                    <a:pt x="228" y="138"/>
                  </a:lnTo>
                  <a:lnTo>
                    <a:pt x="228" y="150"/>
                  </a:lnTo>
                  <a:lnTo>
                    <a:pt x="222" y="156"/>
                  </a:lnTo>
                  <a:lnTo>
                    <a:pt x="210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86" y="167"/>
                  </a:lnTo>
                  <a:lnTo>
                    <a:pt x="180" y="167"/>
                  </a:lnTo>
                  <a:lnTo>
                    <a:pt x="168" y="167"/>
                  </a:lnTo>
                  <a:lnTo>
                    <a:pt x="162" y="173"/>
                  </a:lnTo>
                  <a:lnTo>
                    <a:pt x="156" y="179"/>
                  </a:lnTo>
                  <a:lnTo>
                    <a:pt x="150" y="185"/>
                  </a:lnTo>
                  <a:lnTo>
                    <a:pt x="144" y="197"/>
                  </a:lnTo>
                  <a:lnTo>
                    <a:pt x="138" y="203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14" y="185"/>
                  </a:lnTo>
                  <a:lnTo>
                    <a:pt x="102" y="179"/>
                  </a:lnTo>
                  <a:lnTo>
                    <a:pt x="102" y="191"/>
                  </a:lnTo>
                  <a:lnTo>
                    <a:pt x="96" y="197"/>
                  </a:lnTo>
                  <a:lnTo>
                    <a:pt x="90" y="185"/>
                  </a:lnTo>
                  <a:lnTo>
                    <a:pt x="84" y="179"/>
                  </a:lnTo>
                  <a:lnTo>
                    <a:pt x="78" y="162"/>
                  </a:lnTo>
                  <a:lnTo>
                    <a:pt x="66" y="150"/>
                  </a:lnTo>
                  <a:lnTo>
                    <a:pt x="60" y="13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7" name="Freeform 93">
              <a:extLst>
                <a:ext uri="{FF2B5EF4-FFF2-40B4-BE49-F238E27FC236}">
                  <a16:creationId xmlns:a16="http://schemas.microsoft.com/office/drawing/2014/main" id="{D0EA09B5-1542-4424-87EF-FC264439F7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785"/>
              <a:ext cx="48" cy="42"/>
            </a:xfrm>
            <a:custGeom>
              <a:avLst/>
              <a:gdLst>
                <a:gd name="T0" fmla="*/ 0 w 48"/>
                <a:gd name="T1" fmla="*/ 24 h 42"/>
                <a:gd name="T2" fmla="*/ 0 w 48"/>
                <a:gd name="T3" fmla="*/ 24 h 42"/>
                <a:gd name="T4" fmla="*/ 6 w 48"/>
                <a:gd name="T5" fmla="*/ 36 h 42"/>
                <a:gd name="T6" fmla="*/ 24 w 48"/>
                <a:gd name="T7" fmla="*/ 36 h 42"/>
                <a:gd name="T8" fmla="*/ 36 w 48"/>
                <a:gd name="T9" fmla="*/ 42 h 42"/>
                <a:gd name="T10" fmla="*/ 42 w 48"/>
                <a:gd name="T11" fmla="*/ 42 h 42"/>
                <a:gd name="T12" fmla="*/ 42 w 48"/>
                <a:gd name="T13" fmla="*/ 24 h 42"/>
                <a:gd name="T14" fmla="*/ 48 w 48"/>
                <a:gd name="T15" fmla="*/ 24 h 42"/>
                <a:gd name="T16" fmla="*/ 48 w 48"/>
                <a:gd name="T17" fmla="*/ 12 h 42"/>
                <a:gd name="T18" fmla="*/ 48 w 48"/>
                <a:gd name="T19" fmla="*/ 12 h 42"/>
                <a:gd name="T20" fmla="*/ 48 w 48"/>
                <a:gd name="T21" fmla="*/ 12 h 42"/>
                <a:gd name="T22" fmla="*/ 48 w 48"/>
                <a:gd name="T23" fmla="*/ 0 h 42"/>
                <a:gd name="T24" fmla="*/ 42 w 48"/>
                <a:gd name="T25" fmla="*/ 0 h 42"/>
                <a:gd name="T26" fmla="*/ 36 w 48"/>
                <a:gd name="T27" fmla="*/ 12 h 42"/>
                <a:gd name="T28" fmla="*/ 24 w 48"/>
                <a:gd name="T29" fmla="*/ 24 h 42"/>
                <a:gd name="T30" fmla="*/ 6 w 48"/>
                <a:gd name="T31" fmla="*/ 24 h 42"/>
                <a:gd name="T32" fmla="*/ 0 w 48"/>
                <a:gd name="T33" fmla="*/ 24 h 42"/>
                <a:gd name="T34" fmla="*/ 0 w 48"/>
                <a:gd name="T35" fmla="*/ 18 h 42"/>
                <a:gd name="T36" fmla="*/ 0 w 48"/>
                <a:gd name="T37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42">
                  <a:moveTo>
                    <a:pt x="0" y="24"/>
                  </a:moveTo>
                  <a:lnTo>
                    <a:pt x="0" y="24"/>
                  </a:lnTo>
                  <a:lnTo>
                    <a:pt x="6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12"/>
                  </a:lnTo>
                  <a:lnTo>
                    <a:pt x="24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8" name="Freeform 94">
              <a:extLst>
                <a:ext uri="{FF2B5EF4-FFF2-40B4-BE49-F238E27FC236}">
                  <a16:creationId xmlns:a16="http://schemas.microsoft.com/office/drawing/2014/main" id="{1C21E27B-8D0F-4795-96F7-A7E36562B0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869"/>
              <a:ext cx="114" cy="77"/>
            </a:xfrm>
            <a:custGeom>
              <a:avLst/>
              <a:gdLst>
                <a:gd name="T0" fmla="*/ 6 w 114"/>
                <a:gd name="T1" fmla="*/ 29 h 77"/>
                <a:gd name="T2" fmla="*/ 0 w 114"/>
                <a:gd name="T3" fmla="*/ 35 h 77"/>
                <a:gd name="T4" fmla="*/ 0 w 114"/>
                <a:gd name="T5" fmla="*/ 47 h 77"/>
                <a:gd name="T6" fmla="*/ 6 w 114"/>
                <a:gd name="T7" fmla="*/ 65 h 77"/>
                <a:gd name="T8" fmla="*/ 12 w 114"/>
                <a:gd name="T9" fmla="*/ 77 h 77"/>
                <a:gd name="T10" fmla="*/ 24 w 114"/>
                <a:gd name="T11" fmla="*/ 77 h 77"/>
                <a:gd name="T12" fmla="*/ 36 w 114"/>
                <a:gd name="T13" fmla="*/ 71 h 77"/>
                <a:gd name="T14" fmla="*/ 48 w 114"/>
                <a:gd name="T15" fmla="*/ 65 h 77"/>
                <a:gd name="T16" fmla="*/ 60 w 114"/>
                <a:gd name="T17" fmla="*/ 65 h 77"/>
                <a:gd name="T18" fmla="*/ 72 w 114"/>
                <a:gd name="T19" fmla="*/ 59 h 77"/>
                <a:gd name="T20" fmla="*/ 78 w 114"/>
                <a:gd name="T21" fmla="*/ 53 h 77"/>
                <a:gd name="T22" fmla="*/ 90 w 114"/>
                <a:gd name="T23" fmla="*/ 53 h 77"/>
                <a:gd name="T24" fmla="*/ 96 w 114"/>
                <a:gd name="T25" fmla="*/ 47 h 77"/>
                <a:gd name="T26" fmla="*/ 102 w 114"/>
                <a:gd name="T27" fmla="*/ 41 h 77"/>
                <a:gd name="T28" fmla="*/ 102 w 114"/>
                <a:gd name="T29" fmla="*/ 35 h 77"/>
                <a:gd name="T30" fmla="*/ 114 w 114"/>
                <a:gd name="T31" fmla="*/ 29 h 77"/>
                <a:gd name="T32" fmla="*/ 108 w 114"/>
                <a:gd name="T33" fmla="*/ 17 h 77"/>
                <a:gd name="T34" fmla="*/ 96 w 114"/>
                <a:gd name="T35" fmla="*/ 5 h 77"/>
                <a:gd name="T36" fmla="*/ 102 w 114"/>
                <a:gd name="T37" fmla="*/ 0 h 77"/>
                <a:gd name="T38" fmla="*/ 90 w 114"/>
                <a:gd name="T39" fmla="*/ 5 h 77"/>
                <a:gd name="T40" fmla="*/ 84 w 114"/>
                <a:gd name="T41" fmla="*/ 5 h 77"/>
                <a:gd name="T42" fmla="*/ 72 w 114"/>
                <a:gd name="T43" fmla="*/ 5 h 77"/>
                <a:gd name="T44" fmla="*/ 66 w 114"/>
                <a:gd name="T45" fmla="*/ 11 h 77"/>
                <a:gd name="T46" fmla="*/ 60 w 114"/>
                <a:gd name="T47" fmla="*/ 17 h 77"/>
                <a:gd name="T48" fmla="*/ 54 w 114"/>
                <a:gd name="T49" fmla="*/ 23 h 77"/>
                <a:gd name="T50" fmla="*/ 48 w 114"/>
                <a:gd name="T51" fmla="*/ 35 h 77"/>
                <a:gd name="T52" fmla="*/ 42 w 114"/>
                <a:gd name="T53" fmla="*/ 41 h 77"/>
                <a:gd name="T54" fmla="*/ 42 w 114"/>
                <a:gd name="T55" fmla="*/ 29 h 77"/>
                <a:gd name="T56" fmla="*/ 30 w 114"/>
                <a:gd name="T57" fmla="*/ 23 h 77"/>
                <a:gd name="T58" fmla="*/ 18 w 114"/>
                <a:gd name="T59" fmla="*/ 23 h 77"/>
                <a:gd name="T60" fmla="*/ 6 w 114"/>
                <a:gd name="T61" fmla="*/ 17 h 77"/>
                <a:gd name="T62" fmla="*/ 6 w 114"/>
                <a:gd name="T63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4" h="77">
                  <a:moveTo>
                    <a:pt x="6" y="29"/>
                  </a:moveTo>
                  <a:lnTo>
                    <a:pt x="0" y="35"/>
                  </a:lnTo>
                  <a:lnTo>
                    <a:pt x="0" y="47"/>
                  </a:lnTo>
                  <a:lnTo>
                    <a:pt x="6" y="65"/>
                  </a:lnTo>
                  <a:lnTo>
                    <a:pt x="12" y="77"/>
                  </a:lnTo>
                  <a:lnTo>
                    <a:pt x="24" y="77"/>
                  </a:lnTo>
                  <a:lnTo>
                    <a:pt x="36" y="71"/>
                  </a:lnTo>
                  <a:lnTo>
                    <a:pt x="48" y="65"/>
                  </a:lnTo>
                  <a:lnTo>
                    <a:pt x="60" y="65"/>
                  </a:lnTo>
                  <a:lnTo>
                    <a:pt x="72" y="59"/>
                  </a:lnTo>
                  <a:lnTo>
                    <a:pt x="78" y="53"/>
                  </a:lnTo>
                  <a:lnTo>
                    <a:pt x="90" y="53"/>
                  </a:lnTo>
                  <a:lnTo>
                    <a:pt x="96" y="47"/>
                  </a:lnTo>
                  <a:lnTo>
                    <a:pt x="102" y="41"/>
                  </a:lnTo>
                  <a:lnTo>
                    <a:pt x="102" y="35"/>
                  </a:lnTo>
                  <a:lnTo>
                    <a:pt x="114" y="29"/>
                  </a:lnTo>
                  <a:lnTo>
                    <a:pt x="108" y="17"/>
                  </a:lnTo>
                  <a:lnTo>
                    <a:pt x="96" y="5"/>
                  </a:lnTo>
                  <a:lnTo>
                    <a:pt x="102" y="0"/>
                  </a:lnTo>
                  <a:lnTo>
                    <a:pt x="90" y="5"/>
                  </a:lnTo>
                  <a:lnTo>
                    <a:pt x="84" y="5"/>
                  </a:lnTo>
                  <a:lnTo>
                    <a:pt x="72" y="5"/>
                  </a:lnTo>
                  <a:lnTo>
                    <a:pt x="66" y="11"/>
                  </a:lnTo>
                  <a:lnTo>
                    <a:pt x="60" y="17"/>
                  </a:lnTo>
                  <a:lnTo>
                    <a:pt x="54" y="23"/>
                  </a:lnTo>
                  <a:lnTo>
                    <a:pt x="48" y="35"/>
                  </a:lnTo>
                  <a:lnTo>
                    <a:pt x="42" y="41"/>
                  </a:lnTo>
                  <a:lnTo>
                    <a:pt x="42" y="29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17"/>
                  </a:lnTo>
                  <a:lnTo>
                    <a:pt x="6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99" name="Freeform 95">
              <a:extLst>
                <a:ext uri="{FF2B5EF4-FFF2-40B4-BE49-F238E27FC236}">
                  <a16:creationId xmlns:a16="http://schemas.microsoft.com/office/drawing/2014/main" id="{DB88D3E9-C7ED-4A9F-A8C4-7D41B16A98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0" y="1982"/>
              <a:ext cx="24" cy="48"/>
            </a:xfrm>
            <a:custGeom>
              <a:avLst/>
              <a:gdLst>
                <a:gd name="T0" fmla="*/ 6 w 24"/>
                <a:gd name="T1" fmla="*/ 0 h 48"/>
                <a:gd name="T2" fmla="*/ 12 w 24"/>
                <a:gd name="T3" fmla="*/ 6 h 48"/>
                <a:gd name="T4" fmla="*/ 18 w 24"/>
                <a:gd name="T5" fmla="*/ 18 h 48"/>
                <a:gd name="T6" fmla="*/ 24 w 24"/>
                <a:gd name="T7" fmla="*/ 24 h 48"/>
                <a:gd name="T8" fmla="*/ 24 w 24"/>
                <a:gd name="T9" fmla="*/ 36 h 48"/>
                <a:gd name="T10" fmla="*/ 18 w 24"/>
                <a:gd name="T11" fmla="*/ 48 h 48"/>
                <a:gd name="T12" fmla="*/ 12 w 24"/>
                <a:gd name="T13" fmla="*/ 48 h 48"/>
                <a:gd name="T14" fmla="*/ 0 w 24"/>
                <a:gd name="T15" fmla="*/ 30 h 48"/>
                <a:gd name="T16" fmla="*/ 0 w 24"/>
                <a:gd name="T17" fmla="*/ 24 h 48"/>
                <a:gd name="T18" fmla="*/ 0 w 24"/>
                <a:gd name="T19" fmla="*/ 24 h 48"/>
                <a:gd name="T20" fmla="*/ 6 w 24"/>
                <a:gd name="T21" fmla="*/ 12 h 48"/>
                <a:gd name="T22" fmla="*/ 6 w 24"/>
                <a:gd name="T23" fmla="*/ 6 h 48"/>
                <a:gd name="T24" fmla="*/ 6 w 24"/>
                <a:gd name="T25" fmla="*/ 6 h 48"/>
                <a:gd name="T26" fmla="*/ 6 w 24"/>
                <a:gd name="T27" fmla="*/ 0 h 48"/>
                <a:gd name="T28" fmla="*/ 6 w 24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48">
                  <a:moveTo>
                    <a:pt x="6" y="0"/>
                  </a:moveTo>
                  <a:lnTo>
                    <a:pt x="12" y="6"/>
                  </a:lnTo>
                  <a:lnTo>
                    <a:pt x="18" y="18"/>
                  </a:lnTo>
                  <a:lnTo>
                    <a:pt x="24" y="24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0" name="Freeform 96">
              <a:extLst>
                <a:ext uri="{FF2B5EF4-FFF2-40B4-BE49-F238E27FC236}">
                  <a16:creationId xmlns:a16="http://schemas.microsoft.com/office/drawing/2014/main" id="{7913E665-5EE1-499F-8195-752C91BCBF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20"/>
              <a:ext cx="18" cy="18"/>
            </a:xfrm>
            <a:custGeom>
              <a:avLst/>
              <a:gdLst>
                <a:gd name="T0" fmla="*/ 6 w 18"/>
                <a:gd name="T1" fmla="*/ 0 h 18"/>
                <a:gd name="T2" fmla="*/ 0 w 18"/>
                <a:gd name="T3" fmla="*/ 12 h 18"/>
                <a:gd name="T4" fmla="*/ 0 w 18"/>
                <a:gd name="T5" fmla="*/ 18 h 18"/>
                <a:gd name="T6" fmla="*/ 0 w 18"/>
                <a:gd name="T7" fmla="*/ 18 h 18"/>
                <a:gd name="T8" fmla="*/ 0 w 18"/>
                <a:gd name="T9" fmla="*/ 18 h 18"/>
                <a:gd name="T10" fmla="*/ 12 w 18"/>
                <a:gd name="T11" fmla="*/ 18 h 18"/>
                <a:gd name="T12" fmla="*/ 12 w 18"/>
                <a:gd name="T13" fmla="*/ 12 h 18"/>
                <a:gd name="T14" fmla="*/ 18 w 18"/>
                <a:gd name="T15" fmla="*/ 12 h 18"/>
                <a:gd name="T16" fmla="*/ 18 w 18"/>
                <a:gd name="T17" fmla="*/ 12 h 18"/>
                <a:gd name="T18" fmla="*/ 18 w 18"/>
                <a:gd name="T19" fmla="*/ 0 h 18"/>
                <a:gd name="T20" fmla="*/ 12 w 18"/>
                <a:gd name="T21" fmla="*/ 0 h 18"/>
                <a:gd name="T22" fmla="*/ 6 w 18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8">
                  <a:moveTo>
                    <a:pt x="6" y="0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1" name="Rectangle 97">
              <a:extLst>
                <a:ext uri="{FF2B5EF4-FFF2-40B4-BE49-F238E27FC236}">
                  <a16:creationId xmlns:a16="http://schemas.microsoft.com/office/drawing/2014/main" id="{80116443-9299-41B3-97FF-3B0A75FD66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2" name="Freeform 98">
              <a:extLst>
                <a:ext uri="{FF2B5EF4-FFF2-40B4-BE49-F238E27FC236}">
                  <a16:creationId xmlns:a16="http://schemas.microsoft.com/office/drawing/2014/main" id="{C071E0AC-93B7-4F29-94EE-1AFAA56406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10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3" name="Rectangle 99">
              <a:extLst>
                <a:ext uri="{FF2B5EF4-FFF2-40B4-BE49-F238E27FC236}">
                  <a16:creationId xmlns:a16="http://schemas.microsoft.com/office/drawing/2014/main" id="{6B0465A6-5A58-460D-91F5-0AA00AFE5F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4" name="Rectangle 100">
              <a:extLst>
                <a:ext uri="{FF2B5EF4-FFF2-40B4-BE49-F238E27FC236}">
                  <a16:creationId xmlns:a16="http://schemas.microsoft.com/office/drawing/2014/main" id="{1279B021-ED22-4859-A7EB-6E127EBE5E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5" name="Rectangle 101">
              <a:extLst>
                <a:ext uri="{FF2B5EF4-FFF2-40B4-BE49-F238E27FC236}">
                  <a16:creationId xmlns:a16="http://schemas.microsoft.com/office/drawing/2014/main" id="{9F0CA162-F5EB-48AF-9F02-7F92554519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11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6" name="Freeform 102">
              <a:extLst>
                <a:ext uri="{FF2B5EF4-FFF2-40B4-BE49-F238E27FC236}">
                  <a16:creationId xmlns:a16="http://schemas.microsoft.com/office/drawing/2014/main" id="{D55B1BA5-F4C7-464F-8B28-B75AE936D85C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7" name="Freeform 103">
              <a:extLst>
                <a:ext uri="{FF2B5EF4-FFF2-40B4-BE49-F238E27FC236}">
                  <a16:creationId xmlns:a16="http://schemas.microsoft.com/office/drawing/2014/main" id="{BBFAC972-C848-414A-9D8C-2D9D7C4B7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114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8" name="Rectangle 104">
              <a:extLst>
                <a:ext uri="{FF2B5EF4-FFF2-40B4-BE49-F238E27FC236}">
                  <a16:creationId xmlns:a16="http://schemas.microsoft.com/office/drawing/2014/main" id="{57DA988A-8E53-445B-B404-D400CCF6CB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7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09" name="Rectangle 105">
              <a:extLst>
                <a:ext uri="{FF2B5EF4-FFF2-40B4-BE49-F238E27FC236}">
                  <a16:creationId xmlns:a16="http://schemas.microsoft.com/office/drawing/2014/main" id="{9451EB36-1827-48AC-91C6-E939CD1C8B6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0" name="Rectangle 106">
              <a:extLst>
                <a:ext uri="{FF2B5EF4-FFF2-40B4-BE49-F238E27FC236}">
                  <a16:creationId xmlns:a16="http://schemas.microsoft.com/office/drawing/2014/main" id="{0C1BEE81-0611-48D0-803A-9ABA162AD4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1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1" name="Freeform 107">
              <a:extLst>
                <a:ext uri="{FF2B5EF4-FFF2-40B4-BE49-F238E27FC236}">
                  <a16:creationId xmlns:a16="http://schemas.microsoft.com/office/drawing/2014/main" id="{2EA95B4B-A0C8-4E78-A30D-F9D3F412E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3D227237-8ED0-4697-9DD7-A351FB8F53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36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3C9D86A7-D860-45B9-8FCC-1A054265BD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2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C23FAA8D-9A92-4317-833A-046B03644E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08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5" name="Rectangle 111">
              <a:extLst>
                <a:ext uri="{FF2B5EF4-FFF2-40B4-BE49-F238E27FC236}">
                  <a16:creationId xmlns:a16="http://schemas.microsoft.com/office/drawing/2014/main" id="{43351FC4-3FB0-4A98-A9D9-68A393C6DC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6" name="Freeform 112">
              <a:extLst>
                <a:ext uri="{FF2B5EF4-FFF2-40B4-BE49-F238E27FC236}">
                  <a16:creationId xmlns:a16="http://schemas.microsoft.com/office/drawing/2014/main" id="{51942B8E-A792-406C-A6BB-01034A61C5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66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7" name="Rectangle 113">
              <a:extLst>
                <a:ext uri="{FF2B5EF4-FFF2-40B4-BE49-F238E27FC236}">
                  <a16:creationId xmlns:a16="http://schemas.microsoft.com/office/drawing/2014/main" id="{71BEA61B-75DD-47FD-BDE3-45C81E001D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0" y="209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8" name="Rectangle 114">
              <a:extLst>
                <a:ext uri="{FF2B5EF4-FFF2-40B4-BE49-F238E27FC236}">
                  <a16:creationId xmlns:a16="http://schemas.microsoft.com/office/drawing/2014/main" id="{7B89D090-976F-442E-95CC-196F0BBC63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08" y="2018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19" name="Freeform 115">
              <a:extLst>
                <a:ext uri="{FF2B5EF4-FFF2-40B4-BE49-F238E27FC236}">
                  <a16:creationId xmlns:a16="http://schemas.microsoft.com/office/drawing/2014/main" id="{28DAB407-035E-4128-8DBB-B80B537D7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2072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0" name="Freeform 116">
              <a:extLst>
                <a:ext uri="{FF2B5EF4-FFF2-40B4-BE49-F238E27FC236}">
                  <a16:creationId xmlns:a16="http://schemas.microsoft.com/office/drawing/2014/main" id="{FA8DCCD8-94AF-425F-B277-35C8D3EE5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4" y="2048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1" name="Rectangle 117">
              <a:extLst>
                <a:ext uri="{FF2B5EF4-FFF2-40B4-BE49-F238E27FC236}">
                  <a16:creationId xmlns:a16="http://schemas.microsoft.com/office/drawing/2014/main" id="{9A7457AC-F6D8-41F7-81D6-86F300741F1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16" y="216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2" name="Freeform 118">
              <a:extLst>
                <a:ext uri="{FF2B5EF4-FFF2-40B4-BE49-F238E27FC236}">
                  <a16:creationId xmlns:a16="http://schemas.microsoft.com/office/drawing/2014/main" id="{84AAA667-2764-4BE6-9AA3-ED2BDA167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4" y="2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3" name="Rectangle 119">
              <a:extLst>
                <a:ext uri="{FF2B5EF4-FFF2-40B4-BE49-F238E27FC236}">
                  <a16:creationId xmlns:a16="http://schemas.microsoft.com/office/drawing/2014/main" id="{D8974452-BDA1-4D57-82D4-5F3D9720F6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50" y="177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4" name="Freeform 120">
              <a:extLst>
                <a:ext uri="{FF2B5EF4-FFF2-40B4-BE49-F238E27FC236}">
                  <a16:creationId xmlns:a16="http://schemas.microsoft.com/office/drawing/2014/main" id="{DC972894-BFCA-4B95-9128-349E2B89C7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815"/>
              <a:ext cx="108" cy="197"/>
            </a:xfrm>
            <a:custGeom>
              <a:avLst/>
              <a:gdLst>
                <a:gd name="T0" fmla="*/ 108 w 108"/>
                <a:gd name="T1" fmla="*/ 48 h 197"/>
                <a:gd name="T2" fmla="*/ 96 w 108"/>
                <a:gd name="T3" fmla="*/ 42 h 197"/>
                <a:gd name="T4" fmla="*/ 84 w 108"/>
                <a:gd name="T5" fmla="*/ 36 h 197"/>
                <a:gd name="T6" fmla="*/ 78 w 108"/>
                <a:gd name="T7" fmla="*/ 30 h 197"/>
                <a:gd name="T8" fmla="*/ 66 w 108"/>
                <a:gd name="T9" fmla="*/ 24 h 197"/>
                <a:gd name="T10" fmla="*/ 54 w 108"/>
                <a:gd name="T11" fmla="*/ 18 h 197"/>
                <a:gd name="T12" fmla="*/ 42 w 108"/>
                <a:gd name="T13" fmla="*/ 12 h 197"/>
                <a:gd name="T14" fmla="*/ 30 w 108"/>
                <a:gd name="T15" fmla="*/ 6 h 197"/>
                <a:gd name="T16" fmla="*/ 24 w 108"/>
                <a:gd name="T17" fmla="*/ 0 h 197"/>
                <a:gd name="T18" fmla="*/ 12 w 108"/>
                <a:gd name="T19" fmla="*/ 6 h 197"/>
                <a:gd name="T20" fmla="*/ 12 w 108"/>
                <a:gd name="T21" fmla="*/ 12 h 197"/>
                <a:gd name="T22" fmla="*/ 12 w 108"/>
                <a:gd name="T23" fmla="*/ 24 h 197"/>
                <a:gd name="T24" fmla="*/ 24 w 108"/>
                <a:gd name="T25" fmla="*/ 36 h 197"/>
                <a:gd name="T26" fmla="*/ 18 w 108"/>
                <a:gd name="T27" fmla="*/ 42 h 197"/>
                <a:gd name="T28" fmla="*/ 18 w 108"/>
                <a:gd name="T29" fmla="*/ 54 h 197"/>
                <a:gd name="T30" fmla="*/ 18 w 108"/>
                <a:gd name="T31" fmla="*/ 59 h 197"/>
                <a:gd name="T32" fmla="*/ 18 w 108"/>
                <a:gd name="T33" fmla="*/ 71 h 197"/>
                <a:gd name="T34" fmla="*/ 18 w 108"/>
                <a:gd name="T35" fmla="*/ 83 h 197"/>
                <a:gd name="T36" fmla="*/ 12 w 108"/>
                <a:gd name="T37" fmla="*/ 89 h 197"/>
                <a:gd name="T38" fmla="*/ 6 w 108"/>
                <a:gd name="T39" fmla="*/ 95 h 197"/>
                <a:gd name="T40" fmla="*/ 6 w 108"/>
                <a:gd name="T41" fmla="*/ 101 h 197"/>
                <a:gd name="T42" fmla="*/ 0 w 108"/>
                <a:gd name="T43" fmla="*/ 113 h 197"/>
                <a:gd name="T44" fmla="*/ 0 w 108"/>
                <a:gd name="T45" fmla="*/ 119 h 197"/>
                <a:gd name="T46" fmla="*/ 6 w 108"/>
                <a:gd name="T47" fmla="*/ 125 h 197"/>
                <a:gd name="T48" fmla="*/ 6 w 108"/>
                <a:gd name="T49" fmla="*/ 125 h 197"/>
                <a:gd name="T50" fmla="*/ 12 w 108"/>
                <a:gd name="T51" fmla="*/ 137 h 197"/>
                <a:gd name="T52" fmla="*/ 12 w 108"/>
                <a:gd name="T53" fmla="*/ 155 h 197"/>
                <a:gd name="T54" fmla="*/ 24 w 108"/>
                <a:gd name="T55" fmla="*/ 167 h 197"/>
                <a:gd name="T56" fmla="*/ 6 w 108"/>
                <a:gd name="T57" fmla="*/ 167 h 197"/>
                <a:gd name="T58" fmla="*/ 6 w 108"/>
                <a:gd name="T59" fmla="*/ 167 h 197"/>
                <a:gd name="T60" fmla="*/ 12 w 108"/>
                <a:gd name="T61" fmla="*/ 179 h 197"/>
                <a:gd name="T62" fmla="*/ 18 w 108"/>
                <a:gd name="T63" fmla="*/ 197 h 197"/>
                <a:gd name="T64" fmla="*/ 30 w 108"/>
                <a:gd name="T65" fmla="*/ 191 h 197"/>
                <a:gd name="T66" fmla="*/ 30 w 108"/>
                <a:gd name="T67" fmla="*/ 197 h 197"/>
                <a:gd name="T68" fmla="*/ 36 w 108"/>
                <a:gd name="T69" fmla="*/ 191 h 197"/>
                <a:gd name="T70" fmla="*/ 54 w 108"/>
                <a:gd name="T71" fmla="*/ 191 h 197"/>
                <a:gd name="T72" fmla="*/ 60 w 108"/>
                <a:gd name="T73" fmla="*/ 185 h 197"/>
                <a:gd name="T74" fmla="*/ 54 w 108"/>
                <a:gd name="T75" fmla="*/ 179 h 197"/>
                <a:gd name="T76" fmla="*/ 72 w 108"/>
                <a:gd name="T77" fmla="*/ 179 h 197"/>
                <a:gd name="T78" fmla="*/ 78 w 108"/>
                <a:gd name="T79" fmla="*/ 167 h 197"/>
                <a:gd name="T80" fmla="*/ 90 w 108"/>
                <a:gd name="T81" fmla="*/ 155 h 197"/>
                <a:gd name="T82" fmla="*/ 102 w 108"/>
                <a:gd name="T83" fmla="*/ 155 h 197"/>
                <a:gd name="T84" fmla="*/ 96 w 108"/>
                <a:gd name="T85" fmla="*/ 149 h 197"/>
                <a:gd name="T86" fmla="*/ 96 w 108"/>
                <a:gd name="T87" fmla="*/ 143 h 197"/>
                <a:gd name="T88" fmla="*/ 90 w 108"/>
                <a:gd name="T89" fmla="*/ 131 h 197"/>
                <a:gd name="T90" fmla="*/ 90 w 108"/>
                <a:gd name="T91" fmla="*/ 131 h 197"/>
                <a:gd name="T92" fmla="*/ 90 w 108"/>
                <a:gd name="T93" fmla="*/ 119 h 197"/>
                <a:gd name="T94" fmla="*/ 90 w 108"/>
                <a:gd name="T95" fmla="*/ 119 h 197"/>
                <a:gd name="T96" fmla="*/ 96 w 108"/>
                <a:gd name="T97" fmla="*/ 113 h 197"/>
                <a:gd name="T98" fmla="*/ 96 w 108"/>
                <a:gd name="T99" fmla="*/ 107 h 197"/>
                <a:gd name="T100" fmla="*/ 102 w 108"/>
                <a:gd name="T101" fmla="*/ 101 h 197"/>
                <a:gd name="T102" fmla="*/ 102 w 108"/>
                <a:gd name="T103" fmla="*/ 95 h 197"/>
                <a:gd name="T104" fmla="*/ 108 w 108"/>
                <a:gd name="T105" fmla="*/ 95 h 197"/>
                <a:gd name="T106" fmla="*/ 108 w 108"/>
                <a:gd name="T107" fmla="*/ 83 h 197"/>
                <a:gd name="T108" fmla="*/ 108 w 108"/>
                <a:gd name="T109" fmla="*/ 71 h 197"/>
                <a:gd name="T110" fmla="*/ 108 w 108"/>
                <a:gd name="T111" fmla="*/ 59 h 197"/>
                <a:gd name="T112" fmla="*/ 108 w 108"/>
                <a:gd name="T113" fmla="*/ 4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97">
                  <a:moveTo>
                    <a:pt x="108" y="48"/>
                  </a:moveTo>
                  <a:lnTo>
                    <a:pt x="96" y="42"/>
                  </a:lnTo>
                  <a:lnTo>
                    <a:pt x="84" y="36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18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8" y="54"/>
                  </a:lnTo>
                  <a:lnTo>
                    <a:pt x="18" y="59"/>
                  </a:lnTo>
                  <a:lnTo>
                    <a:pt x="18" y="71"/>
                  </a:lnTo>
                  <a:lnTo>
                    <a:pt x="18" y="83"/>
                  </a:lnTo>
                  <a:lnTo>
                    <a:pt x="12" y="89"/>
                  </a:lnTo>
                  <a:lnTo>
                    <a:pt x="6" y="95"/>
                  </a:lnTo>
                  <a:lnTo>
                    <a:pt x="6" y="101"/>
                  </a:lnTo>
                  <a:lnTo>
                    <a:pt x="0" y="113"/>
                  </a:lnTo>
                  <a:lnTo>
                    <a:pt x="0" y="119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37"/>
                  </a:lnTo>
                  <a:lnTo>
                    <a:pt x="12" y="155"/>
                  </a:lnTo>
                  <a:lnTo>
                    <a:pt x="24" y="167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12" y="179"/>
                  </a:lnTo>
                  <a:lnTo>
                    <a:pt x="18" y="197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6" y="191"/>
                  </a:lnTo>
                  <a:lnTo>
                    <a:pt x="54" y="191"/>
                  </a:lnTo>
                  <a:lnTo>
                    <a:pt x="60" y="185"/>
                  </a:lnTo>
                  <a:lnTo>
                    <a:pt x="54" y="179"/>
                  </a:lnTo>
                  <a:lnTo>
                    <a:pt x="72" y="179"/>
                  </a:lnTo>
                  <a:lnTo>
                    <a:pt x="78" y="167"/>
                  </a:lnTo>
                  <a:lnTo>
                    <a:pt x="90" y="155"/>
                  </a:lnTo>
                  <a:lnTo>
                    <a:pt x="102" y="155"/>
                  </a:lnTo>
                  <a:lnTo>
                    <a:pt x="96" y="149"/>
                  </a:lnTo>
                  <a:lnTo>
                    <a:pt x="96" y="143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96" y="113"/>
                  </a:lnTo>
                  <a:lnTo>
                    <a:pt x="96" y="107"/>
                  </a:lnTo>
                  <a:lnTo>
                    <a:pt x="102" y="101"/>
                  </a:lnTo>
                  <a:lnTo>
                    <a:pt x="102" y="95"/>
                  </a:lnTo>
                  <a:lnTo>
                    <a:pt x="108" y="95"/>
                  </a:lnTo>
                  <a:lnTo>
                    <a:pt x="108" y="83"/>
                  </a:lnTo>
                  <a:lnTo>
                    <a:pt x="108" y="71"/>
                  </a:lnTo>
                  <a:lnTo>
                    <a:pt x="108" y="59"/>
                  </a:lnTo>
                  <a:lnTo>
                    <a:pt x="108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5" name="Freeform 121">
              <a:extLst>
                <a:ext uri="{FF2B5EF4-FFF2-40B4-BE49-F238E27FC236}">
                  <a16:creationId xmlns:a16="http://schemas.microsoft.com/office/drawing/2014/main" id="{2C36C8DC-9B8E-4B62-A8B3-5834FA29AF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946"/>
              <a:ext cx="18" cy="24"/>
            </a:xfrm>
            <a:custGeom>
              <a:avLst/>
              <a:gdLst>
                <a:gd name="T0" fmla="*/ 0 w 18"/>
                <a:gd name="T1" fmla="*/ 24 h 24"/>
                <a:gd name="T2" fmla="*/ 12 w 18"/>
                <a:gd name="T3" fmla="*/ 24 h 24"/>
                <a:gd name="T4" fmla="*/ 18 w 18"/>
                <a:gd name="T5" fmla="*/ 18 h 24"/>
                <a:gd name="T6" fmla="*/ 12 w 18"/>
                <a:gd name="T7" fmla="*/ 0 h 24"/>
                <a:gd name="T8" fmla="*/ 6 w 18"/>
                <a:gd name="T9" fmla="*/ 6 h 24"/>
                <a:gd name="T10" fmla="*/ 0 w 18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4">
                  <a:moveTo>
                    <a:pt x="0" y="24"/>
                  </a:moveTo>
                  <a:lnTo>
                    <a:pt x="12" y="24"/>
                  </a:lnTo>
                  <a:lnTo>
                    <a:pt x="18" y="18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6" name="Freeform 122">
              <a:extLst>
                <a:ext uri="{FF2B5EF4-FFF2-40B4-BE49-F238E27FC236}">
                  <a16:creationId xmlns:a16="http://schemas.microsoft.com/office/drawing/2014/main" id="{380EF46E-EB61-47F7-96BE-59998CE1AC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880"/>
              <a:ext cx="72" cy="72"/>
            </a:xfrm>
            <a:custGeom>
              <a:avLst/>
              <a:gdLst>
                <a:gd name="T0" fmla="*/ 0 w 72"/>
                <a:gd name="T1" fmla="*/ 54 h 72"/>
                <a:gd name="T2" fmla="*/ 0 w 72"/>
                <a:gd name="T3" fmla="*/ 48 h 72"/>
                <a:gd name="T4" fmla="*/ 0 w 72"/>
                <a:gd name="T5" fmla="*/ 30 h 72"/>
                <a:gd name="T6" fmla="*/ 6 w 72"/>
                <a:gd name="T7" fmla="*/ 12 h 72"/>
                <a:gd name="T8" fmla="*/ 12 w 72"/>
                <a:gd name="T9" fmla="*/ 6 h 72"/>
                <a:gd name="T10" fmla="*/ 18 w 72"/>
                <a:gd name="T11" fmla="*/ 6 h 72"/>
                <a:gd name="T12" fmla="*/ 24 w 72"/>
                <a:gd name="T13" fmla="*/ 0 h 72"/>
                <a:gd name="T14" fmla="*/ 24 w 72"/>
                <a:gd name="T15" fmla="*/ 12 h 72"/>
                <a:gd name="T16" fmla="*/ 30 w 72"/>
                <a:gd name="T17" fmla="*/ 18 h 72"/>
                <a:gd name="T18" fmla="*/ 30 w 72"/>
                <a:gd name="T19" fmla="*/ 30 h 72"/>
                <a:gd name="T20" fmla="*/ 36 w 72"/>
                <a:gd name="T21" fmla="*/ 36 h 72"/>
                <a:gd name="T22" fmla="*/ 36 w 72"/>
                <a:gd name="T23" fmla="*/ 36 h 72"/>
                <a:gd name="T24" fmla="*/ 36 w 72"/>
                <a:gd name="T25" fmla="*/ 36 h 72"/>
                <a:gd name="T26" fmla="*/ 48 w 72"/>
                <a:gd name="T27" fmla="*/ 42 h 72"/>
                <a:gd name="T28" fmla="*/ 60 w 72"/>
                <a:gd name="T29" fmla="*/ 54 h 72"/>
                <a:gd name="T30" fmla="*/ 72 w 72"/>
                <a:gd name="T31" fmla="*/ 66 h 72"/>
                <a:gd name="T32" fmla="*/ 72 w 72"/>
                <a:gd name="T33" fmla="*/ 66 h 72"/>
                <a:gd name="T34" fmla="*/ 72 w 72"/>
                <a:gd name="T35" fmla="*/ 66 h 72"/>
                <a:gd name="T36" fmla="*/ 66 w 72"/>
                <a:gd name="T37" fmla="*/ 72 h 72"/>
                <a:gd name="T38" fmla="*/ 60 w 72"/>
                <a:gd name="T39" fmla="*/ 72 h 72"/>
                <a:gd name="T40" fmla="*/ 60 w 72"/>
                <a:gd name="T41" fmla="*/ 72 h 72"/>
                <a:gd name="T42" fmla="*/ 54 w 72"/>
                <a:gd name="T43" fmla="*/ 66 h 72"/>
                <a:gd name="T44" fmla="*/ 48 w 72"/>
                <a:gd name="T45" fmla="*/ 60 h 72"/>
                <a:gd name="T46" fmla="*/ 42 w 72"/>
                <a:gd name="T47" fmla="*/ 54 h 72"/>
                <a:gd name="T48" fmla="*/ 36 w 72"/>
                <a:gd name="T49" fmla="*/ 54 h 72"/>
                <a:gd name="T50" fmla="*/ 30 w 72"/>
                <a:gd name="T51" fmla="*/ 48 h 72"/>
                <a:gd name="T52" fmla="*/ 24 w 72"/>
                <a:gd name="T53" fmla="*/ 54 h 72"/>
                <a:gd name="T54" fmla="*/ 18 w 72"/>
                <a:gd name="T55" fmla="*/ 48 h 72"/>
                <a:gd name="T56" fmla="*/ 12 w 72"/>
                <a:gd name="T57" fmla="*/ 54 h 72"/>
                <a:gd name="T58" fmla="*/ 12 w 72"/>
                <a:gd name="T59" fmla="*/ 54 h 72"/>
                <a:gd name="T60" fmla="*/ 6 w 72"/>
                <a:gd name="T61" fmla="*/ 54 h 72"/>
                <a:gd name="T62" fmla="*/ 0 w 72"/>
                <a:gd name="T6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72">
                  <a:moveTo>
                    <a:pt x="0" y="54"/>
                  </a:moveTo>
                  <a:lnTo>
                    <a:pt x="0" y="48"/>
                  </a:lnTo>
                  <a:lnTo>
                    <a:pt x="0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8" y="42"/>
                  </a:lnTo>
                  <a:lnTo>
                    <a:pt x="60" y="54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36" y="54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7" name="Freeform 123">
              <a:extLst>
                <a:ext uri="{FF2B5EF4-FFF2-40B4-BE49-F238E27FC236}">
                  <a16:creationId xmlns:a16="http://schemas.microsoft.com/office/drawing/2014/main" id="{D9EFF9ED-AF2A-4410-932A-0CD599C7D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0" y="1928"/>
              <a:ext cx="162" cy="132"/>
            </a:xfrm>
            <a:custGeom>
              <a:avLst/>
              <a:gdLst>
                <a:gd name="T0" fmla="*/ 54 w 162"/>
                <a:gd name="T1" fmla="*/ 132 h 132"/>
                <a:gd name="T2" fmla="*/ 42 w 162"/>
                <a:gd name="T3" fmla="*/ 120 h 132"/>
                <a:gd name="T4" fmla="*/ 36 w 162"/>
                <a:gd name="T5" fmla="*/ 120 h 132"/>
                <a:gd name="T6" fmla="*/ 30 w 162"/>
                <a:gd name="T7" fmla="*/ 108 h 132"/>
                <a:gd name="T8" fmla="*/ 24 w 162"/>
                <a:gd name="T9" fmla="*/ 108 h 132"/>
                <a:gd name="T10" fmla="*/ 18 w 162"/>
                <a:gd name="T11" fmla="*/ 96 h 132"/>
                <a:gd name="T12" fmla="*/ 18 w 162"/>
                <a:gd name="T13" fmla="*/ 90 h 132"/>
                <a:gd name="T14" fmla="*/ 6 w 162"/>
                <a:gd name="T15" fmla="*/ 84 h 132"/>
                <a:gd name="T16" fmla="*/ 0 w 162"/>
                <a:gd name="T17" fmla="*/ 78 h 132"/>
                <a:gd name="T18" fmla="*/ 6 w 162"/>
                <a:gd name="T19" fmla="*/ 72 h 132"/>
                <a:gd name="T20" fmla="*/ 12 w 162"/>
                <a:gd name="T21" fmla="*/ 72 h 132"/>
                <a:gd name="T22" fmla="*/ 12 w 162"/>
                <a:gd name="T23" fmla="*/ 54 h 132"/>
                <a:gd name="T24" fmla="*/ 18 w 162"/>
                <a:gd name="T25" fmla="*/ 42 h 132"/>
                <a:gd name="T26" fmla="*/ 24 w 162"/>
                <a:gd name="T27" fmla="*/ 42 h 132"/>
                <a:gd name="T28" fmla="*/ 24 w 162"/>
                <a:gd name="T29" fmla="*/ 30 h 132"/>
                <a:gd name="T30" fmla="*/ 36 w 162"/>
                <a:gd name="T31" fmla="*/ 6 h 132"/>
                <a:gd name="T32" fmla="*/ 42 w 162"/>
                <a:gd name="T33" fmla="*/ 6 h 132"/>
                <a:gd name="T34" fmla="*/ 48 w 162"/>
                <a:gd name="T35" fmla="*/ 6 h 132"/>
                <a:gd name="T36" fmla="*/ 48 w 162"/>
                <a:gd name="T37" fmla="*/ 6 h 132"/>
                <a:gd name="T38" fmla="*/ 54 w 162"/>
                <a:gd name="T39" fmla="*/ 0 h 132"/>
                <a:gd name="T40" fmla="*/ 60 w 162"/>
                <a:gd name="T41" fmla="*/ 6 h 132"/>
                <a:gd name="T42" fmla="*/ 66 w 162"/>
                <a:gd name="T43" fmla="*/ 0 h 132"/>
                <a:gd name="T44" fmla="*/ 72 w 162"/>
                <a:gd name="T45" fmla="*/ 6 h 132"/>
                <a:gd name="T46" fmla="*/ 78 w 162"/>
                <a:gd name="T47" fmla="*/ 6 h 132"/>
                <a:gd name="T48" fmla="*/ 84 w 162"/>
                <a:gd name="T49" fmla="*/ 12 h 132"/>
                <a:gd name="T50" fmla="*/ 90 w 162"/>
                <a:gd name="T51" fmla="*/ 18 h 132"/>
                <a:gd name="T52" fmla="*/ 96 w 162"/>
                <a:gd name="T53" fmla="*/ 24 h 132"/>
                <a:gd name="T54" fmla="*/ 96 w 162"/>
                <a:gd name="T55" fmla="*/ 24 h 132"/>
                <a:gd name="T56" fmla="*/ 102 w 162"/>
                <a:gd name="T57" fmla="*/ 24 h 132"/>
                <a:gd name="T58" fmla="*/ 96 w 162"/>
                <a:gd name="T59" fmla="*/ 42 h 132"/>
                <a:gd name="T60" fmla="*/ 108 w 162"/>
                <a:gd name="T61" fmla="*/ 42 h 132"/>
                <a:gd name="T62" fmla="*/ 108 w 162"/>
                <a:gd name="T63" fmla="*/ 48 h 132"/>
                <a:gd name="T64" fmla="*/ 114 w 162"/>
                <a:gd name="T65" fmla="*/ 54 h 132"/>
                <a:gd name="T66" fmla="*/ 120 w 162"/>
                <a:gd name="T67" fmla="*/ 66 h 132"/>
                <a:gd name="T68" fmla="*/ 132 w 162"/>
                <a:gd name="T69" fmla="*/ 66 h 132"/>
                <a:gd name="T70" fmla="*/ 138 w 162"/>
                <a:gd name="T71" fmla="*/ 72 h 132"/>
                <a:gd name="T72" fmla="*/ 144 w 162"/>
                <a:gd name="T73" fmla="*/ 72 h 132"/>
                <a:gd name="T74" fmla="*/ 156 w 162"/>
                <a:gd name="T75" fmla="*/ 78 h 132"/>
                <a:gd name="T76" fmla="*/ 162 w 162"/>
                <a:gd name="T77" fmla="*/ 78 h 132"/>
                <a:gd name="T78" fmla="*/ 156 w 162"/>
                <a:gd name="T79" fmla="*/ 90 h 132"/>
                <a:gd name="T80" fmla="*/ 150 w 162"/>
                <a:gd name="T81" fmla="*/ 96 h 132"/>
                <a:gd name="T82" fmla="*/ 138 w 162"/>
                <a:gd name="T83" fmla="*/ 108 h 132"/>
                <a:gd name="T84" fmla="*/ 132 w 162"/>
                <a:gd name="T85" fmla="*/ 114 h 132"/>
                <a:gd name="T86" fmla="*/ 126 w 162"/>
                <a:gd name="T87" fmla="*/ 120 h 132"/>
                <a:gd name="T88" fmla="*/ 114 w 162"/>
                <a:gd name="T89" fmla="*/ 120 h 132"/>
                <a:gd name="T90" fmla="*/ 102 w 162"/>
                <a:gd name="T91" fmla="*/ 126 h 132"/>
                <a:gd name="T92" fmla="*/ 102 w 162"/>
                <a:gd name="T93" fmla="*/ 126 h 132"/>
                <a:gd name="T94" fmla="*/ 90 w 162"/>
                <a:gd name="T95" fmla="*/ 126 h 132"/>
                <a:gd name="T96" fmla="*/ 78 w 162"/>
                <a:gd name="T97" fmla="*/ 126 h 132"/>
                <a:gd name="T98" fmla="*/ 72 w 162"/>
                <a:gd name="T99" fmla="*/ 132 h 132"/>
                <a:gd name="T100" fmla="*/ 54 w 162"/>
                <a:gd name="T10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2" h="132">
                  <a:moveTo>
                    <a:pt x="54" y="132"/>
                  </a:moveTo>
                  <a:lnTo>
                    <a:pt x="42" y="120"/>
                  </a:lnTo>
                  <a:lnTo>
                    <a:pt x="36" y="120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54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3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108" y="42"/>
                  </a:lnTo>
                  <a:lnTo>
                    <a:pt x="108" y="48"/>
                  </a:lnTo>
                  <a:lnTo>
                    <a:pt x="114" y="54"/>
                  </a:lnTo>
                  <a:lnTo>
                    <a:pt x="120" y="66"/>
                  </a:lnTo>
                  <a:lnTo>
                    <a:pt x="132" y="66"/>
                  </a:lnTo>
                  <a:lnTo>
                    <a:pt x="138" y="72"/>
                  </a:lnTo>
                  <a:lnTo>
                    <a:pt x="144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56" y="90"/>
                  </a:lnTo>
                  <a:lnTo>
                    <a:pt x="150" y="96"/>
                  </a:lnTo>
                  <a:lnTo>
                    <a:pt x="138" y="108"/>
                  </a:lnTo>
                  <a:lnTo>
                    <a:pt x="132" y="114"/>
                  </a:lnTo>
                  <a:lnTo>
                    <a:pt x="126" y="120"/>
                  </a:lnTo>
                  <a:lnTo>
                    <a:pt x="114" y="120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90" y="126"/>
                  </a:lnTo>
                  <a:lnTo>
                    <a:pt x="78" y="126"/>
                  </a:lnTo>
                  <a:lnTo>
                    <a:pt x="72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8" name="Freeform 124">
              <a:extLst>
                <a:ext uri="{FF2B5EF4-FFF2-40B4-BE49-F238E27FC236}">
                  <a16:creationId xmlns:a16="http://schemas.microsoft.com/office/drawing/2014/main" id="{0F014183-6E45-4064-BEDB-F5FD55D094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958"/>
              <a:ext cx="108" cy="168"/>
            </a:xfrm>
            <a:custGeom>
              <a:avLst/>
              <a:gdLst>
                <a:gd name="T0" fmla="*/ 108 w 108"/>
                <a:gd name="T1" fmla="*/ 24 h 168"/>
                <a:gd name="T2" fmla="*/ 102 w 108"/>
                <a:gd name="T3" fmla="*/ 36 h 168"/>
                <a:gd name="T4" fmla="*/ 96 w 108"/>
                <a:gd name="T5" fmla="*/ 48 h 168"/>
                <a:gd name="T6" fmla="*/ 90 w 108"/>
                <a:gd name="T7" fmla="*/ 66 h 168"/>
                <a:gd name="T8" fmla="*/ 78 w 108"/>
                <a:gd name="T9" fmla="*/ 78 h 168"/>
                <a:gd name="T10" fmla="*/ 72 w 108"/>
                <a:gd name="T11" fmla="*/ 96 h 168"/>
                <a:gd name="T12" fmla="*/ 66 w 108"/>
                <a:gd name="T13" fmla="*/ 102 h 168"/>
                <a:gd name="T14" fmla="*/ 60 w 108"/>
                <a:gd name="T15" fmla="*/ 108 h 168"/>
                <a:gd name="T16" fmla="*/ 54 w 108"/>
                <a:gd name="T17" fmla="*/ 114 h 168"/>
                <a:gd name="T18" fmla="*/ 48 w 108"/>
                <a:gd name="T19" fmla="*/ 120 h 168"/>
                <a:gd name="T20" fmla="*/ 36 w 108"/>
                <a:gd name="T21" fmla="*/ 132 h 168"/>
                <a:gd name="T22" fmla="*/ 30 w 108"/>
                <a:gd name="T23" fmla="*/ 138 h 168"/>
                <a:gd name="T24" fmla="*/ 24 w 108"/>
                <a:gd name="T25" fmla="*/ 144 h 168"/>
                <a:gd name="T26" fmla="*/ 18 w 108"/>
                <a:gd name="T27" fmla="*/ 150 h 168"/>
                <a:gd name="T28" fmla="*/ 12 w 108"/>
                <a:gd name="T29" fmla="*/ 162 h 168"/>
                <a:gd name="T30" fmla="*/ 6 w 108"/>
                <a:gd name="T31" fmla="*/ 168 h 168"/>
                <a:gd name="T32" fmla="*/ 0 w 108"/>
                <a:gd name="T33" fmla="*/ 156 h 168"/>
                <a:gd name="T34" fmla="*/ 0 w 108"/>
                <a:gd name="T35" fmla="*/ 144 h 168"/>
                <a:gd name="T36" fmla="*/ 0 w 108"/>
                <a:gd name="T37" fmla="*/ 132 h 168"/>
                <a:gd name="T38" fmla="*/ 0 w 108"/>
                <a:gd name="T39" fmla="*/ 126 h 168"/>
                <a:gd name="T40" fmla="*/ 0 w 108"/>
                <a:gd name="T41" fmla="*/ 114 h 168"/>
                <a:gd name="T42" fmla="*/ 6 w 108"/>
                <a:gd name="T43" fmla="*/ 102 h 168"/>
                <a:gd name="T44" fmla="*/ 12 w 108"/>
                <a:gd name="T45" fmla="*/ 96 h 168"/>
                <a:gd name="T46" fmla="*/ 12 w 108"/>
                <a:gd name="T47" fmla="*/ 96 h 168"/>
                <a:gd name="T48" fmla="*/ 24 w 108"/>
                <a:gd name="T49" fmla="*/ 90 h 168"/>
                <a:gd name="T50" fmla="*/ 36 w 108"/>
                <a:gd name="T51" fmla="*/ 90 h 168"/>
                <a:gd name="T52" fmla="*/ 42 w 108"/>
                <a:gd name="T53" fmla="*/ 84 h 168"/>
                <a:gd name="T54" fmla="*/ 48 w 108"/>
                <a:gd name="T55" fmla="*/ 78 h 168"/>
                <a:gd name="T56" fmla="*/ 60 w 108"/>
                <a:gd name="T57" fmla="*/ 66 h 168"/>
                <a:gd name="T58" fmla="*/ 66 w 108"/>
                <a:gd name="T59" fmla="*/ 60 h 168"/>
                <a:gd name="T60" fmla="*/ 72 w 108"/>
                <a:gd name="T61" fmla="*/ 48 h 168"/>
                <a:gd name="T62" fmla="*/ 66 w 108"/>
                <a:gd name="T63" fmla="*/ 48 h 168"/>
                <a:gd name="T64" fmla="*/ 54 w 108"/>
                <a:gd name="T65" fmla="*/ 42 h 168"/>
                <a:gd name="T66" fmla="*/ 48 w 108"/>
                <a:gd name="T67" fmla="*/ 42 h 168"/>
                <a:gd name="T68" fmla="*/ 42 w 108"/>
                <a:gd name="T69" fmla="*/ 36 h 168"/>
                <a:gd name="T70" fmla="*/ 30 w 108"/>
                <a:gd name="T71" fmla="*/ 36 h 168"/>
                <a:gd name="T72" fmla="*/ 24 w 108"/>
                <a:gd name="T73" fmla="*/ 24 h 168"/>
                <a:gd name="T74" fmla="*/ 18 w 108"/>
                <a:gd name="T75" fmla="*/ 18 h 168"/>
                <a:gd name="T76" fmla="*/ 18 w 108"/>
                <a:gd name="T77" fmla="*/ 12 h 168"/>
                <a:gd name="T78" fmla="*/ 24 w 108"/>
                <a:gd name="T79" fmla="*/ 6 h 168"/>
                <a:gd name="T80" fmla="*/ 30 w 108"/>
                <a:gd name="T81" fmla="*/ 12 h 168"/>
                <a:gd name="T82" fmla="*/ 36 w 108"/>
                <a:gd name="T83" fmla="*/ 18 h 168"/>
                <a:gd name="T84" fmla="*/ 48 w 108"/>
                <a:gd name="T85" fmla="*/ 12 h 168"/>
                <a:gd name="T86" fmla="*/ 60 w 108"/>
                <a:gd name="T87" fmla="*/ 12 h 168"/>
                <a:gd name="T88" fmla="*/ 72 w 108"/>
                <a:gd name="T89" fmla="*/ 12 h 168"/>
                <a:gd name="T90" fmla="*/ 84 w 108"/>
                <a:gd name="T91" fmla="*/ 6 h 168"/>
                <a:gd name="T92" fmla="*/ 102 w 108"/>
                <a:gd name="T93" fmla="*/ 0 h 168"/>
                <a:gd name="T94" fmla="*/ 108 w 108"/>
                <a:gd name="T95" fmla="*/ 0 h 168"/>
                <a:gd name="T96" fmla="*/ 108 w 108"/>
                <a:gd name="T97" fmla="*/ 0 h 168"/>
                <a:gd name="T98" fmla="*/ 108 w 108"/>
                <a:gd name="T99" fmla="*/ 18 h 168"/>
                <a:gd name="T100" fmla="*/ 108 w 108"/>
                <a:gd name="T101" fmla="*/ 18 h 168"/>
                <a:gd name="T102" fmla="*/ 108 w 108"/>
                <a:gd name="T103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8" h="168">
                  <a:moveTo>
                    <a:pt x="108" y="24"/>
                  </a:moveTo>
                  <a:lnTo>
                    <a:pt x="102" y="36"/>
                  </a:lnTo>
                  <a:lnTo>
                    <a:pt x="96" y="48"/>
                  </a:lnTo>
                  <a:lnTo>
                    <a:pt x="90" y="66"/>
                  </a:lnTo>
                  <a:lnTo>
                    <a:pt x="78" y="78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18" y="150"/>
                  </a:lnTo>
                  <a:lnTo>
                    <a:pt x="12" y="162"/>
                  </a:lnTo>
                  <a:lnTo>
                    <a:pt x="6" y="168"/>
                  </a:lnTo>
                  <a:lnTo>
                    <a:pt x="0" y="156"/>
                  </a:lnTo>
                  <a:lnTo>
                    <a:pt x="0" y="144"/>
                  </a:lnTo>
                  <a:lnTo>
                    <a:pt x="0" y="132"/>
                  </a:lnTo>
                  <a:lnTo>
                    <a:pt x="0" y="126"/>
                  </a:lnTo>
                  <a:lnTo>
                    <a:pt x="0" y="114"/>
                  </a:lnTo>
                  <a:lnTo>
                    <a:pt x="6" y="102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42" y="84"/>
                  </a:lnTo>
                  <a:lnTo>
                    <a:pt x="48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102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29" name="Freeform 125">
              <a:extLst>
                <a:ext uri="{FF2B5EF4-FFF2-40B4-BE49-F238E27FC236}">
                  <a16:creationId xmlns:a16="http://schemas.microsoft.com/office/drawing/2014/main" id="{68BCD935-A000-4BB1-8489-206EB58FE1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1821"/>
              <a:ext cx="173" cy="239"/>
            </a:xfrm>
            <a:custGeom>
              <a:avLst/>
              <a:gdLst>
                <a:gd name="T0" fmla="*/ 18 w 173"/>
                <a:gd name="T1" fmla="*/ 36 h 239"/>
                <a:gd name="T2" fmla="*/ 30 w 173"/>
                <a:gd name="T3" fmla="*/ 24 h 239"/>
                <a:gd name="T4" fmla="*/ 36 w 173"/>
                <a:gd name="T5" fmla="*/ 12 h 239"/>
                <a:gd name="T6" fmla="*/ 54 w 173"/>
                <a:gd name="T7" fmla="*/ 12 h 239"/>
                <a:gd name="T8" fmla="*/ 72 w 173"/>
                <a:gd name="T9" fmla="*/ 12 h 239"/>
                <a:gd name="T10" fmla="*/ 84 w 173"/>
                <a:gd name="T11" fmla="*/ 12 h 239"/>
                <a:gd name="T12" fmla="*/ 96 w 173"/>
                <a:gd name="T13" fmla="*/ 12 h 239"/>
                <a:gd name="T14" fmla="*/ 107 w 173"/>
                <a:gd name="T15" fmla="*/ 12 h 239"/>
                <a:gd name="T16" fmla="*/ 125 w 173"/>
                <a:gd name="T17" fmla="*/ 12 h 239"/>
                <a:gd name="T18" fmla="*/ 137 w 173"/>
                <a:gd name="T19" fmla="*/ 0 h 239"/>
                <a:gd name="T20" fmla="*/ 143 w 173"/>
                <a:gd name="T21" fmla="*/ 0 h 239"/>
                <a:gd name="T22" fmla="*/ 155 w 173"/>
                <a:gd name="T23" fmla="*/ 12 h 239"/>
                <a:gd name="T24" fmla="*/ 161 w 173"/>
                <a:gd name="T25" fmla="*/ 36 h 239"/>
                <a:gd name="T26" fmla="*/ 173 w 173"/>
                <a:gd name="T27" fmla="*/ 65 h 239"/>
                <a:gd name="T28" fmla="*/ 161 w 173"/>
                <a:gd name="T29" fmla="*/ 71 h 239"/>
                <a:gd name="T30" fmla="*/ 155 w 173"/>
                <a:gd name="T31" fmla="*/ 107 h 239"/>
                <a:gd name="T32" fmla="*/ 143 w 173"/>
                <a:gd name="T33" fmla="*/ 137 h 239"/>
                <a:gd name="T34" fmla="*/ 137 w 173"/>
                <a:gd name="T35" fmla="*/ 149 h 239"/>
                <a:gd name="T36" fmla="*/ 131 w 173"/>
                <a:gd name="T37" fmla="*/ 179 h 239"/>
                <a:gd name="T38" fmla="*/ 119 w 173"/>
                <a:gd name="T39" fmla="*/ 185 h 239"/>
                <a:gd name="T40" fmla="*/ 137 w 173"/>
                <a:gd name="T41" fmla="*/ 197 h 239"/>
                <a:gd name="T42" fmla="*/ 143 w 173"/>
                <a:gd name="T43" fmla="*/ 215 h 239"/>
                <a:gd name="T44" fmla="*/ 155 w 173"/>
                <a:gd name="T45" fmla="*/ 227 h 239"/>
                <a:gd name="T46" fmla="*/ 137 w 173"/>
                <a:gd name="T47" fmla="*/ 227 h 239"/>
                <a:gd name="T48" fmla="*/ 125 w 173"/>
                <a:gd name="T49" fmla="*/ 239 h 239"/>
                <a:gd name="T50" fmla="*/ 107 w 173"/>
                <a:gd name="T51" fmla="*/ 239 h 239"/>
                <a:gd name="T52" fmla="*/ 102 w 173"/>
                <a:gd name="T53" fmla="*/ 239 h 239"/>
                <a:gd name="T54" fmla="*/ 90 w 173"/>
                <a:gd name="T55" fmla="*/ 233 h 239"/>
                <a:gd name="T56" fmla="*/ 78 w 173"/>
                <a:gd name="T57" fmla="*/ 227 h 239"/>
                <a:gd name="T58" fmla="*/ 66 w 173"/>
                <a:gd name="T59" fmla="*/ 227 h 239"/>
                <a:gd name="T60" fmla="*/ 60 w 173"/>
                <a:gd name="T61" fmla="*/ 221 h 239"/>
                <a:gd name="T62" fmla="*/ 48 w 173"/>
                <a:gd name="T63" fmla="*/ 203 h 239"/>
                <a:gd name="T64" fmla="*/ 36 w 173"/>
                <a:gd name="T65" fmla="*/ 191 h 239"/>
                <a:gd name="T66" fmla="*/ 24 w 173"/>
                <a:gd name="T67" fmla="*/ 179 h 239"/>
                <a:gd name="T68" fmla="*/ 18 w 173"/>
                <a:gd name="T69" fmla="*/ 161 h 239"/>
                <a:gd name="T70" fmla="*/ 12 w 173"/>
                <a:gd name="T71" fmla="*/ 149 h 239"/>
                <a:gd name="T72" fmla="*/ 6 w 173"/>
                <a:gd name="T73" fmla="*/ 137 h 239"/>
                <a:gd name="T74" fmla="*/ 0 w 173"/>
                <a:gd name="T75" fmla="*/ 125 h 239"/>
                <a:gd name="T76" fmla="*/ 0 w 173"/>
                <a:gd name="T77" fmla="*/ 113 h 239"/>
                <a:gd name="T78" fmla="*/ 6 w 173"/>
                <a:gd name="T79" fmla="*/ 101 h 239"/>
                <a:gd name="T80" fmla="*/ 12 w 173"/>
                <a:gd name="T81" fmla="*/ 89 h 239"/>
                <a:gd name="T82" fmla="*/ 18 w 173"/>
                <a:gd name="T83" fmla="*/ 77 h 239"/>
                <a:gd name="T84" fmla="*/ 18 w 173"/>
                <a:gd name="T85" fmla="*/ 5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239">
                  <a:moveTo>
                    <a:pt x="18" y="42"/>
                  </a:moveTo>
                  <a:lnTo>
                    <a:pt x="18" y="36"/>
                  </a:lnTo>
                  <a:lnTo>
                    <a:pt x="30" y="36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7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31" y="6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43" y="0"/>
                  </a:lnTo>
                  <a:lnTo>
                    <a:pt x="149" y="6"/>
                  </a:lnTo>
                  <a:lnTo>
                    <a:pt x="155" y="12"/>
                  </a:lnTo>
                  <a:lnTo>
                    <a:pt x="161" y="24"/>
                  </a:lnTo>
                  <a:lnTo>
                    <a:pt x="161" y="36"/>
                  </a:lnTo>
                  <a:lnTo>
                    <a:pt x="167" y="53"/>
                  </a:lnTo>
                  <a:lnTo>
                    <a:pt x="173" y="65"/>
                  </a:lnTo>
                  <a:lnTo>
                    <a:pt x="167" y="65"/>
                  </a:lnTo>
                  <a:lnTo>
                    <a:pt x="161" y="71"/>
                  </a:lnTo>
                  <a:lnTo>
                    <a:pt x="155" y="89"/>
                  </a:lnTo>
                  <a:lnTo>
                    <a:pt x="155" y="107"/>
                  </a:lnTo>
                  <a:lnTo>
                    <a:pt x="155" y="113"/>
                  </a:lnTo>
                  <a:lnTo>
                    <a:pt x="143" y="137"/>
                  </a:lnTo>
                  <a:lnTo>
                    <a:pt x="143" y="149"/>
                  </a:lnTo>
                  <a:lnTo>
                    <a:pt x="137" y="149"/>
                  </a:lnTo>
                  <a:lnTo>
                    <a:pt x="131" y="161"/>
                  </a:lnTo>
                  <a:lnTo>
                    <a:pt x="131" y="179"/>
                  </a:lnTo>
                  <a:lnTo>
                    <a:pt x="125" y="179"/>
                  </a:lnTo>
                  <a:lnTo>
                    <a:pt x="119" y="185"/>
                  </a:lnTo>
                  <a:lnTo>
                    <a:pt x="125" y="191"/>
                  </a:lnTo>
                  <a:lnTo>
                    <a:pt x="137" y="197"/>
                  </a:lnTo>
                  <a:lnTo>
                    <a:pt x="137" y="203"/>
                  </a:lnTo>
                  <a:lnTo>
                    <a:pt x="143" y="215"/>
                  </a:lnTo>
                  <a:lnTo>
                    <a:pt x="149" y="215"/>
                  </a:lnTo>
                  <a:lnTo>
                    <a:pt x="155" y="227"/>
                  </a:lnTo>
                  <a:lnTo>
                    <a:pt x="143" y="227"/>
                  </a:lnTo>
                  <a:lnTo>
                    <a:pt x="137" y="227"/>
                  </a:lnTo>
                  <a:lnTo>
                    <a:pt x="131" y="233"/>
                  </a:lnTo>
                  <a:lnTo>
                    <a:pt x="125" y="239"/>
                  </a:lnTo>
                  <a:lnTo>
                    <a:pt x="113" y="239"/>
                  </a:lnTo>
                  <a:lnTo>
                    <a:pt x="107" y="239"/>
                  </a:lnTo>
                  <a:lnTo>
                    <a:pt x="107" y="239"/>
                  </a:lnTo>
                  <a:lnTo>
                    <a:pt x="102" y="239"/>
                  </a:lnTo>
                  <a:lnTo>
                    <a:pt x="96" y="239"/>
                  </a:lnTo>
                  <a:lnTo>
                    <a:pt x="90" y="233"/>
                  </a:lnTo>
                  <a:lnTo>
                    <a:pt x="84" y="227"/>
                  </a:lnTo>
                  <a:lnTo>
                    <a:pt x="78" y="227"/>
                  </a:lnTo>
                  <a:lnTo>
                    <a:pt x="72" y="227"/>
                  </a:lnTo>
                  <a:lnTo>
                    <a:pt x="66" y="227"/>
                  </a:lnTo>
                  <a:lnTo>
                    <a:pt x="60" y="221"/>
                  </a:lnTo>
                  <a:lnTo>
                    <a:pt x="60" y="221"/>
                  </a:lnTo>
                  <a:lnTo>
                    <a:pt x="54" y="209"/>
                  </a:lnTo>
                  <a:lnTo>
                    <a:pt x="48" y="203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18" y="179"/>
                  </a:lnTo>
                  <a:lnTo>
                    <a:pt x="18" y="161"/>
                  </a:lnTo>
                  <a:lnTo>
                    <a:pt x="12" y="155"/>
                  </a:lnTo>
                  <a:lnTo>
                    <a:pt x="12" y="149"/>
                  </a:lnTo>
                  <a:lnTo>
                    <a:pt x="6" y="143"/>
                  </a:lnTo>
                  <a:lnTo>
                    <a:pt x="6" y="137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6" y="107"/>
                  </a:lnTo>
                  <a:lnTo>
                    <a:pt x="6" y="101"/>
                  </a:lnTo>
                  <a:lnTo>
                    <a:pt x="12" y="95"/>
                  </a:lnTo>
                  <a:lnTo>
                    <a:pt x="12" y="89"/>
                  </a:lnTo>
                  <a:lnTo>
                    <a:pt x="18" y="89"/>
                  </a:lnTo>
                  <a:lnTo>
                    <a:pt x="18" y="77"/>
                  </a:lnTo>
                  <a:lnTo>
                    <a:pt x="18" y="65"/>
                  </a:lnTo>
                  <a:lnTo>
                    <a:pt x="18" y="53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0" name="Freeform 126">
              <a:extLst>
                <a:ext uri="{FF2B5EF4-FFF2-40B4-BE49-F238E27FC236}">
                  <a16:creationId xmlns:a16="http://schemas.microsoft.com/office/drawing/2014/main" id="{23BEBFE9-6D5E-44EB-836E-03A9CC6EF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2132"/>
              <a:ext cx="18" cy="30"/>
            </a:xfrm>
            <a:custGeom>
              <a:avLst/>
              <a:gdLst>
                <a:gd name="T0" fmla="*/ 18 w 18"/>
                <a:gd name="T1" fmla="*/ 6 h 30"/>
                <a:gd name="T2" fmla="*/ 18 w 18"/>
                <a:gd name="T3" fmla="*/ 0 h 30"/>
                <a:gd name="T4" fmla="*/ 12 w 18"/>
                <a:gd name="T5" fmla="*/ 0 h 30"/>
                <a:gd name="T6" fmla="*/ 12 w 18"/>
                <a:gd name="T7" fmla="*/ 6 h 30"/>
                <a:gd name="T8" fmla="*/ 0 w 18"/>
                <a:gd name="T9" fmla="*/ 6 h 30"/>
                <a:gd name="T10" fmla="*/ 0 w 18"/>
                <a:gd name="T11" fmla="*/ 6 h 30"/>
                <a:gd name="T12" fmla="*/ 0 w 18"/>
                <a:gd name="T13" fmla="*/ 6 h 30"/>
                <a:gd name="T14" fmla="*/ 0 w 18"/>
                <a:gd name="T15" fmla="*/ 18 h 30"/>
                <a:gd name="T16" fmla="*/ 6 w 18"/>
                <a:gd name="T17" fmla="*/ 30 h 30"/>
                <a:gd name="T18" fmla="*/ 6 w 18"/>
                <a:gd name="T19" fmla="*/ 30 h 30"/>
                <a:gd name="T20" fmla="*/ 12 w 18"/>
                <a:gd name="T21" fmla="*/ 18 h 30"/>
                <a:gd name="T22" fmla="*/ 18 w 18"/>
                <a:gd name="T23" fmla="*/ 12 h 30"/>
                <a:gd name="T24" fmla="*/ 18 w 18"/>
                <a:gd name="T2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8" y="6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1" name="Freeform 127">
              <a:extLst>
                <a:ext uri="{FF2B5EF4-FFF2-40B4-BE49-F238E27FC236}">
                  <a16:creationId xmlns:a16="http://schemas.microsoft.com/office/drawing/2014/main" id="{78931B35-87E1-4441-98DE-129940A5EA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2060"/>
              <a:ext cx="84" cy="108"/>
            </a:xfrm>
            <a:custGeom>
              <a:avLst/>
              <a:gdLst>
                <a:gd name="T0" fmla="*/ 18 w 84"/>
                <a:gd name="T1" fmla="*/ 72 h 108"/>
                <a:gd name="T2" fmla="*/ 6 w 84"/>
                <a:gd name="T3" fmla="*/ 78 h 108"/>
                <a:gd name="T4" fmla="*/ 6 w 84"/>
                <a:gd name="T5" fmla="*/ 78 h 108"/>
                <a:gd name="T6" fmla="*/ 6 w 84"/>
                <a:gd name="T7" fmla="*/ 84 h 108"/>
                <a:gd name="T8" fmla="*/ 12 w 84"/>
                <a:gd name="T9" fmla="*/ 90 h 108"/>
                <a:gd name="T10" fmla="*/ 6 w 84"/>
                <a:gd name="T11" fmla="*/ 90 h 108"/>
                <a:gd name="T12" fmla="*/ 6 w 84"/>
                <a:gd name="T13" fmla="*/ 90 h 108"/>
                <a:gd name="T14" fmla="*/ 0 w 84"/>
                <a:gd name="T15" fmla="*/ 96 h 108"/>
                <a:gd name="T16" fmla="*/ 12 w 84"/>
                <a:gd name="T17" fmla="*/ 108 h 108"/>
                <a:gd name="T18" fmla="*/ 18 w 84"/>
                <a:gd name="T19" fmla="*/ 102 h 108"/>
                <a:gd name="T20" fmla="*/ 24 w 84"/>
                <a:gd name="T21" fmla="*/ 102 h 108"/>
                <a:gd name="T22" fmla="*/ 30 w 84"/>
                <a:gd name="T23" fmla="*/ 102 h 108"/>
                <a:gd name="T24" fmla="*/ 30 w 84"/>
                <a:gd name="T25" fmla="*/ 102 h 108"/>
                <a:gd name="T26" fmla="*/ 36 w 84"/>
                <a:gd name="T27" fmla="*/ 102 h 108"/>
                <a:gd name="T28" fmla="*/ 42 w 84"/>
                <a:gd name="T29" fmla="*/ 108 h 108"/>
                <a:gd name="T30" fmla="*/ 48 w 84"/>
                <a:gd name="T31" fmla="*/ 96 h 108"/>
                <a:gd name="T32" fmla="*/ 54 w 84"/>
                <a:gd name="T33" fmla="*/ 90 h 108"/>
                <a:gd name="T34" fmla="*/ 60 w 84"/>
                <a:gd name="T35" fmla="*/ 78 h 108"/>
                <a:gd name="T36" fmla="*/ 60 w 84"/>
                <a:gd name="T37" fmla="*/ 72 h 108"/>
                <a:gd name="T38" fmla="*/ 66 w 84"/>
                <a:gd name="T39" fmla="*/ 60 h 108"/>
                <a:gd name="T40" fmla="*/ 72 w 84"/>
                <a:gd name="T41" fmla="*/ 48 h 108"/>
                <a:gd name="T42" fmla="*/ 78 w 84"/>
                <a:gd name="T43" fmla="*/ 42 h 108"/>
                <a:gd name="T44" fmla="*/ 78 w 84"/>
                <a:gd name="T45" fmla="*/ 30 h 108"/>
                <a:gd name="T46" fmla="*/ 78 w 84"/>
                <a:gd name="T47" fmla="*/ 24 h 108"/>
                <a:gd name="T48" fmla="*/ 84 w 84"/>
                <a:gd name="T49" fmla="*/ 12 h 108"/>
                <a:gd name="T50" fmla="*/ 84 w 84"/>
                <a:gd name="T51" fmla="*/ 0 h 108"/>
                <a:gd name="T52" fmla="*/ 78 w 84"/>
                <a:gd name="T53" fmla="*/ 0 h 108"/>
                <a:gd name="T54" fmla="*/ 66 w 84"/>
                <a:gd name="T55" fmla="*/ 0 h 108"/>
                <a:gd name="T56" fmla="*/ 60 w 84"/>
                <a:gd name="T57" fmla="*/ 6 h 108"/>
                <a:gd name="T58" fmla="*/ 60 w 84"/>
                <a:gd name="T59" fmla="*/ 18 h 108"/>
                <a:gd name="T60" fmla="*/ 54 w 84"/>
                <a:gd name="T61" fmla="*/ 24 h 108"/>
                <a:gd name="T62" fmla="*/ 48 w 84"/>
                <a:gd name="T63" fmla="*/ 18 h 108"/>
                <a:gd name="T64" fmla="*/ 36 w 84"/>
                <a:gd name="T65" fmla="*/ 18 h 108"/>
                <a:gd name="T66" fmla="*/ 24 w 84"/>
                <a:gd name="T67" fmla="*/ 18 h 108"/>
                <a:gd name="T68" fmla="*/ 24 w 84"/>
                <a:gd name="T69" fmla="*/ 30 h 108"/>
                <a:gd name="T70" fmla="*/ 36 w 84"/>
                <a:gd name="T71" fmla="*/ 30 h 108"/>
                <a:gd name="T72" fmla="*/ 36 w 84"/>
                <a:gd name="T73" fmla="*/ 36 h 108"/>
                <a:gd name="T74" fmla="*/ 30 w 84"/>
                <a:gd name="T75" fmla="*/ 42 h 108"/>
                <a:gd name="T76" fmla="*/ 42 w 84"/>
                <a:gd name="T77" fmla="*/ 54 h 108"/>
                <a:gd name="T78" fmla="*/ 36 w 84"/>
                <a:gd name="T79" fmla="*/ 72 h 108"/>
                <a:gd name="T80" fmla="*/ 30 w 84"/>
                <a:gd name="T81" fmla="*/ 78 h 108"/>
                <a:gd name="T82" fmla="*/ 30 w 84"/>
                <a:gd name="T83" fmla="*/ 72 h 108"/>
                <a:gd name="T84" fmla="*/ 24 w 84"/>
                <a:gd name="T85" fmla="*/ 72 h 108"/>
                <a:gd name="T86" fmla="*/ 18 w 84"/>
                <a:gd name="T87" fmla="*/ 66 h 108"/>
                <a:gd name="T88" fmla="*/ 18 w 84"/>
                <a:gd name="T89" fmla="*/ 7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08">
                  <a:moveTo>
                    <a:pt x="18" y="72"/>
                  </a:moveTo>
                  <a:lnTo>
                    <a:pt x="6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12" y="108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54" y="90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6" y="60"/>
                  </a:lnTo>
                  <a:lnTo>
                    <a:pt x="72" y="48"/>
                  </a:lnTo>
                  <a:lnTo>
                    <a:pt x="78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42" y="54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18" y="66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2" name="Freeform 128">
              <a:extLst>
                <a:ext uri="{FF2B5EF4-FFF2-40B4-BE49-F238E27FC236}">
                  <a16:creationId xmlns:a16="http://schemas.microsoft.com/office/drawing/2014/main" id="{A6A54A46-3037-42B6-B711-AE8578208B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2048"/>
              <a:ext cx="90" cy="114"/>
            </a:xfrm>
            <a:custGeom>
              <a:avLst/>
              <a:gdLst>
                <a:gd name="T0" fmla="*/ 42 w 90"/>
                <a:gd name="T1" fmla="*/ 96 h 114"/>
                <a:gd name="T2" fmla="*/ 30 w 90"/>
                <a:gd name="T3" fmla="*/ 90 h 114"/>
                <a:gd name="T4" fmla="*/ 18 w 90"/>
                <a:gd name="T5" fmla="*/ 84 h 114"/>
                <a:gd name="T6" fmla="*/ 12 w 90"/>
                <a:gd name="T7" fmla="*/ 78 h 114"/>
                <a:gd name="T8" fmla="*/ 0 w 90"/>
                <a:gd name="T9" fmla="*/ 72 h 114"/>
                <a:gd name="T10" fmla="*/ 0 w 90"/>
                <a:gd name="T11" fmla="*/ 54 h 114"/>
                <a:gd name="T12" fmla="*/ 6 w 90"/>
                <a:gd name="T13" fmla="*/ 42 h 114"/>
                <a:gd name="T14" fmla="*/ 12 w 90"/>
                <a:gd name="T15" fmla="*/ 36 h 114"/>
                <a:gd name="T16" fmla="*/ 6 w 90"/>
                <a:gd name="T17" fmla="*/ 24 h 114"/>
                <a:gd name="T18" fmla="*/ 6 w 90"/>
                <a:gd name="T19" fmla="*/ 12 h 114"/>
                <a:gd name="T20" fmla="*/ 0 w 90"/>
                <a:gd name="T21" fmla="*/ 6 h 114"/>
                <a:gd name="T22" fmla="*/ 6 w 90"/>
                <a:gd name="T23" fmla="*/ 0 h 114"/>
                <a:gd name="T24" fmla="*/ 12 w 90"/>
                <a:gd name="T25" fmla="*/ 0 h 114"/>
                <a:gd name="T26" fmla="*/ 24 w 90"/>
                <a:gd name="T27" fmla="*/ 0 h 114"/>
                <a:gd name="T28" fmla="*/ 30 w 90"/>
                <a:gd name="T29" fmla="*/ 0 h 114"/>
                <a:gd name="T30" fmla="*/ 42 w 90"/>
                <a:gd name="T31" fmla="*/ 12 h 114"/>
                <a:gd name="T32" fmla="*/ 60 w 90"/>
                <a:gd name="T33" fmla="*/ 12 h 114"/>
                <a:gd name="T34" fmla="*/ 66 w 90"/>
                <a:gd name="T35" fmla="*/ 6 h 114"/>
                <a:gd name="T36" fmla="*/ 78 w 90"/>
                <a:gd name="T37" fmla="*/ 6 h 114"/>
                <a:gd name="T38" fmla="*/ 90 w 90"/>
                <a:gd name="T39" fmla="*/ 6 h 114"/>
                <a:gd name="T40" fmla="*/ 84 w 90"/>
                <a:gd name="T41" fmla="*/ 12 h 114"/>
                <a:gd name="T42" fmla="*/ 78 w 90"/>
                <a:gd name="T43" fmla="*/ 24 h 114"/>
                <a:gd name="T44" fmla="*/ 78 w 90"/>
                <a:gd name="T45" fmla="*/ 36 h 114"/>
                <a:gd name="T46" fmla="*/ 78 w 90"/>
                <a:gd name="T47" fmla="*/ 42 h 114"/>
                <a:gd name="T48" fmla="*/ 78 w 90"/>
                <a:gd name="T49" fmla="*/ 54 h 114"/>
                <a:gd name="T50" fmla="*/ 78 w 90"/>
                <a:gd name="T51" fmla="*/ 66 h 114"/>
                <a:gd name="T52" fmla="*/ 84 w 90"/>
                <a:gd name="T53" fmla="*/ 78 h 114"/>
                <a:gd name="T54" fmla="*/ 78 w 90"/>
                <a:gd name="T55" fmla="*/ 78 h 114"/>
                <a:gd name="T56" fmla="*/ 72 w 90"/>
                <a:gd name="T57" fmla="*/ 90 h 114"/>
                <a:gd name="T58" fmla="*/ 66 w 90"/>
                <a:gd name="T59" fmla="*/ 90 h 114"/>
                <a:gd name="T60" fmla="*/ 60 w 90"/>
                <a:gd name="T61" fmla="*/ 102 h 114"/>
                <a:gd name="T62" fmla="*/ 60 w 90"/>
                <a:gd name="T63" fmla="*/ 114 h 114"/>
                <a:gd name="T64" fmla="*/ 60 w 90"/>
                <a:gd name="T65" fmla="*/ 114 h 114"/>
                <a:gd name="T66" fmla="*/ 48 w 90"/>
                <a:gd name="T67" fmla="*/ 108 h 114"/>
                <a:gd name="T68" fmla="*/ 42 w 90"/>
                <a:gd name="T69" fmla="*/ 96 h 114"/>
                <a:gd name="T70" fmla="*/ 42 w 90"/>
                <a:gd name="T7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4">
                  <a:moveTo>
                    <a:pt x="42" y="96"/>
                  </a:moveTo>
                  <a:lnTo>
                    <a:pt x="30" y="90"/>
                  </a:lnTo>
                  <a:lnTo>
                    <a:pt x="18" y="84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0" y="54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84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54"/>
                  </a:lnTo>
                  <a:lnTo>
                    <a:pt x="78" y="66"/>
                  </a:lnTo>
                  <a:lnTo>
                    <a:pt x="84" y="78"/>
                  </a:lnTo>
                  <a:lnTo>
                    <a:pt x="78" y="78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0" y="102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48" y="108"/>
                  </a:lnTo>
                  <a:lnTo>
                    <a:pt x="42" y="96"/>
                  </a:lnTo>
                  <a:lnTo>
                    <a:pt x="42" y="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3" name="Rectangle 129">
              <a:extLst>
                <a:ext uri="{FF2B5EF4-FFF2-40B4-BE49-F238E27FC236}">
                  <a16:creationId xmlns:a16="http://schemas.microsoft.com/office/drawing/2014/main" id="{154ECA65-46A9-449F-8E9C-E9CD417002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6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4" name="Rectangle 130">
              <a:extLst>
                <a:ext uri="{FF2B5EF4-FFF2-40B4-BE49-F238E27FC236}">
                  <a16:creationId xmlns:a16="http://schemas.microsoft.com/office/drawing/2014/main" id="{B18EF7A3-01C5-4AA1-A557-BF09BAF9F1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5" name="Rectangle 131">
              <a:extLst>
                <a:ext uri="{FF2B5EF4-FFF2-40B4-BE49-F238E27FC236}">
                  <a16:creationId xmlns:a16="http://schemas.microsoft.com/office/drawing/2014/main" id="{F3FF2566-C6D8-4F84-99DC-956727D73AB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04" y="209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6" name="Rectangle 132">
              <a:extLst>
                <a:ext uri="{FF2B5EF4-FFF2-40B4-BE49-F238E27FC236}">
                  <a16:creationId xmlns:a16="http://schemas.microsoft.com/office/drawing/2014/main" id="{03CE4066-0853-4ECD-A6D2-4FB9A280DC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10" y="2078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7" name="Freeform 133">
              <a:extLst>
                <a:ext uri="{FF2B5EF4-FFF2-40B4-BE49-F238E27FC236}">
                  <a16:creationId xmlns:a16="http://schemas.microsoft.com/office/drawing/2014/main" id="{3BC5A7BA-9833-4B46-AF9A-FD9B4144505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4" y="208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8" name="Freeform 134">
              <a:extLst>
                <a:ext uri="{FF2B5EF4-FFF2-40B4-BE49-F238E27FC236}">
                  <a16:creationId xmlns:a16="http://schemas.microsoft.com/office/drawing/2014/main" id="{7146485A-5A25-4321-B3BD-1DC660DC9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934"/>
              <a:ext cx="132" cy="114"/>
            </a:xfrm>
            <a:custGeom>
              <a:avLst/>
              <a:gdLst>
                <a:gd name="T0" fmla="*/ 84 w 132"/>
                <a:gd name="T1" fmla="*/ 84 h 114"/>
                <a:gd name="T2" fmla="*/ 78 w 132"/>
                <a:gd name="T3" fmla="*/ 84 h 114"/>
                <a:gd name="T4" fmla="*/ 72 w 132"/>
                <a:gd name="T5" fmla="*/ 96 h 114"/>
                <a:gd name="T6" fmla="*/ 66 w 132"/>
                <a:gd name="T7" fmla="*/ 102 h 114"/>
                <a:gd name="T8" fmla="*/ 66 w 132"/>
                <a:gd name="T9" fmla="*/ 114 h 114"/>
                <a:gd name="T10" fmla="*/ 60 w 132"/>
                <a:gd name="T11" fmla="*/ 108 h 114"/>
                <a:gd name="T12" fmla="*/ 60 w 132"/>
                <a:gd name="T13" fmla="*/ 114 h 114"/>
                <a:gd name="T14" fmla="*/ 48 w 132"/>
                <a:gd name="T15" fmla="*/ 114 h 114"/>
                <a:gd name="T16" fmla="*/ 48 w 132"/>
                <a:gd name="T17" fmla="*/ 114 h 114"/>
                <a:gd name="T18" fmla="*/ 48 w 132"/>
                <a:gd name="T19" fmla="*/ 114 h 114"/>
                <a:gd name="T20" fmla="*/ 48 w 132"/>
                <a:gd name="T21" fmla="*/ 114 h 114"/>
                <a:gd name="T22" fmla="*/ 42 w 132"/>
                <a:gd name="T23" fmla="*/ 114 h 114"/>
                <a:gd name="T24" fmla="*/ 42 w 132"/>
                <a:gd name="T25" fmla="*/ 114 h 114"/>
                <a:gd name="T26" fmla="*/ 42 w 132"/>
                <a:gd name="T27" fmla="*/ 114 h 114"/>
                <a:gd name="T28" fmla="*/ 42 w 132"/>
                <a:gd name="T29" fmla="*/ 114 h 114"/>
                <a:gd name="T30" fmla="*/ 36 w 132"/>
                <a:gd name="T31" fmla="*/ 114 h 114"/>
                <a:gd name="T32" fmla="*/ 36 w 132"/>
                <a:gd name="T33" fmla="*/ 114 h 114"/>
                <a:gd name="T34" fmla="*/ 30 w 132"/>
                <a:gd name="T35" fmla="*/ 102 h 114"/>
                <a:gd name="T36" fmla="*/ 30 w 132"/>
                <a:gd name="T37" fmla="*/ 102 h 114"/>
                <a:gd name="T38" fmla="*/ 30 w 132"/>
                <a:gd name="T39" fmla="*/ 102 h 114"/>
                <a:gd name="T40" fmla="*/ 30 w 132"/>
                <a:gd name="T41" fmla="*/ 102 h 114"/>
                <a:gd name="T42" fmla="*/ 24 w 132"/>
                <a:gd name="T43" fmla="*/ 102 h 114"/>
                <a:gd name="T44" fmla="*/ 12 w 132"/>
                <a:gd name="T45" fmla="*/ 90 h 114"/>
                <a:gd name="T46" fmla="*/ 12 w 132"/>
                <a:gd name="T47" fmla="*/ 90 h 114"/>
                <a:gd name="T48" fmla="*/ 12 w 132"/>
                <a:gd name="T49" fmla="*/ 90 h 114"/>
                <a:gd name="T50" fmla="*/ 0 w 132"/>
                <a:gd name="T51" fmla="*/ 90 h 114"/>
                <a:gd name="T52" fmla="*/ 0 w 132"/>
                <a:gd name="T53" fmla="*/ 78 h 114"/>
                <a:gd name="T54" fmla="*/ 0 w 132"/>
                <a:gd name="T55" fmla="*/ 60 h 114"/>
                <a:gd name="T56" fmla="*/ 12 w 132"/>
                <a:gd name="T57" fmla="*/ 42 h 114"/>
                <a:gd name="T58" fmla="*/ 12 w 132"/>
                <a:gd name="T59" fmla="*/ 36 h 114"/>
                <a:gd name="T60" fmla="*/ 12 w 132"/>
                <a:gd name="T61" fmla="*/ 24 h 114"/>
                <a:gd name="T62" fmla="*/ 12 w 132"/>
                <a:gd name="T63" fmla="*/ 18 h 114"/>
                <a:gd name="T64" fmla="*/ 12 w 132"/>
                <a:gd name="T65" fmla="*/ 12 h 114"/>
                <a:gd name="T66" fmla="*/ 18 w 132"/>
                <a:gd name="T67" fmla="*/ 6 h 114"/>
                <a:gd name="T68" fmla="*/ 24 w 132"/>
                <a:gd name="T69" fmla="*/ 0 h 114"/>
                <a:gd name="T70" fmla="*/ 36 w 132"/>
                <a:gd name="T71" fmla="*/ 0 h 114"/>
                <a:gd name="T72" fmla="*/ 42 w 132"/>
                <a:gd name="T73" fmla="*/ 6 h 114"/>
                <a:gd name="T74" fmla="*/ 54 w 132"/>
                <a:gd name="T75" fmla="*/ 6 h 114"/>
                <a:gd name="T76" fmla="*/ 66 w 132"/>
                <a:gd name="T77" fmla="*/ 6 h 114"/>
                <a:gd name="T78" fmla="*/ 72 w 132"/>
                <a:gd name="T79" fmla="*/ 12 h 114"/>
                <a:gd name="T80" fmla="*/ 84 w 132"/>
                <a:gd name="T81" fmla="*/ 6 h 114"/>
                <a:gd name="T82" fmla="*/ 96 w 132"/>
                <a:gd name="T83" fmla="*/ 6 h 114"/>
                <a:gd name="T84" fmla="*/ 108 w 132"/>
                <a:gd name="T85" fmla="*/ 6 h 114"/>
                <a:gd name="T86" fmla="*/ 120 w 132"/>
                <a:gd name="T87" fmla="*/ 0 h 114"/>
                <a:gd name="T88" fmla="*/ 126 w 132"/>
                <a:gd name="T89" fmla="*/ 6 h 114"/>
                <a:gd name="T90" fmla="*/ 126 w 132"/>
                <a:gd name="T91" fmla="*/ 18 h 114"/>
                <a:gd name="T92" fmla="*/ 132 w 132"/>
                <a:gd name="T93" fmla="*/ 24 h 114"/>
                <a:gd name="T94" fmla="*/ 126 w 132"/>
                <a:gd name="T95" fmla="*/ 30 h 114"/>
                <a:gd name="T96" fmla="*/ 120 w 132"/>
                <a:gd name="T97" fmla="*/ 36 h 114"/>
                <a:gd name="T98" fmla="*/ 114 w 132"/>
                <a:gd name="T99" fmla="*/ 48 h 114"/>
                <a:gd name="T100" fmla="*/ 114 w 132"/>
                <a:gd name="T101" fmla="*/ 54 h 114"/>
                <a:gd name="T102" fmla="*/ 108 w 132"/>
                <a:gd name="T103" fmla="*/ 66 h 114"/>
                <a:gd name="T104" fmla="*/ 102 w 132"/>
                <a:gd name="T105" fmla="*/ 72 h 114"/>
                <a:gd name="T106" fmla="*/ 102 w 132"/>
                <a:gd name="T107" fmla="*/ 84 h 114"/>
                <a:gd name="T108" fmla="*/ 90 w 132"/>
                <a:gd name="T109" fmla="*/ 90 h 114"/>
                <a:gd name="T110" fmla="*/ 84 w 132"/>
                <a:gd name="T111" fmla="*/ 8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14">
                  <a:moveTo>
                    <a:pt x="84" y="84"/>
                  </a:moveTo>
                  <a:lnTo>
                    <a:pt x="78" y="84"/>
                  </a:lnTo>
                  <a:lnTo>
                    <a:pt x="72" y="96"/>
                  </a:lnTo>
                  <a:lnTo>
                    <a:pt x="66" y="102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6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84" y="6"/>
                  </a:lnTo>
                  <a:lnTo>
                    <a:pt x="96" y="6"/>
                  </a:lnTo>
                  <a:lnTo>
                    <a:pt x="108" y="6"/>
                  </a:lnTo>
                  <a:lnTo>
                    <a:pt x="120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14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102" y="84"/>
                  </a:lnTo>
                  <a:lnTo>
                    <a:pt x="90" y="90"/>
                  </a:lnTo>
                  <a:lnTo>
                    <a:pt x="84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39" name="Freeform 135">
              <a:extLst>
                <a:ext uri="{FF2B5EF4-FFF2-40B4-BE49-F238E27FC236}">
                  <a16:creationId xmlns:a16="http://schemas.microsoft.com/office/drawing/2014/main" id="{DC5D3FA6-11DB-44F6-B9AC-A43D62930BC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7" y="1952"/>
              <a:ext cx="36" cy="78"/>
            </a:xfrm>
            <a:custGeom>
              <a:avLst/>
              <a:gdLst>
                <a:gd name="T0" fmla="*/ 6 w 36"/>
                <a:gd name="T1" fmla="*/ 18 h 78"/>
                <a:gd name="T2" fmla="*/ 0 w 36"/>
                <a:gd name="T3" fmla="*/ 24 h 78"/>
                <a:gd name="T4" fmla="*/ 6 w 36"/>
                <a:gd name="T5" fmla="*/ 30 h 78"/>
                <a:gd name="T6" fmla="*/ 12 w 36"/>
                <a:gd name="T7" fmla="*/ 36 h 78"/>
                <a:gd name="T8" fmla="*/ 12 w 36"/>
                <a:gd name="T9" fmla="*/ 48 h 78"/>
                <a:gd name="T10" fmla="*/ 12 w 36"/>
                <a:gd name="T11" fmla="*/ 60 h 78"/>
                <a:gd name="T12" fmla="*/ 12 w 36"/>
                <a:gd name="T13" fmla="*/ 66 h 78"/>
                <a:gd name="T14" fmla="*/ 12 w 36"/>
                <a:gd name="T15" fmla="*/ 78 h 78"/>
                <a:gd name="T16" fmla="*/ 24 w 36"/>
                <a:gd name="T17" fmla="*/ 72 h 78"/>
                <a:gd name="T18" fmla="*/ 24 w 36"/>
                <a:gd name="T19" fmla="*/ 60 h 78"/>
                <a:gd name="T20" fmla="*/ 24 w 36"/>
                <a:gd name="T21" fmla="*/ 42 h 78"/>
                <a:gd name="T22" fmla="*/ 36 w 36"/>
                <a:gd name="T23" fmla="*/ 24 h 78"/>
                <a:gd name="T24" fmla="*/ 36 w 36"/>
                <a:gd name="T25" fmla="*/ 18 h 78"/>
                <a:gd name="T26" fmla="*/ 36 w 36"/>
                <a:gd name="T27" fmla="*/ 6 h 78"/>
                <a:gd name="T28" fmla="*/ 24 w 36"/>
                <a:gd name="T29" fmla="*/ 0 h 78"/>
                <a:gd name="T30" fmla="*/ 18 w 36"/>
                <a:gd name="T31" fmla="*/ 6 h 78"/>
                <a:gd name="T32" fmla="*/ 18 w 36"/>
                <a:gd name="T33" fmla="*/ 6 h 78"/>
                <a:gd name="T34" fmla="*/ 18 w 36"/>
                <a:gd name="T35" fmla="*/ 6 h 78"/>
                <a:gd name="T36" fmla="*/ 18 w 36"/>
                <a:gd name="T37" fmla="*/ 6 h 78"/>
                <a:gd name="T38" fmla="*/ 12 w 36"/>
                <a:gd name="T39" fmla="*/ 12 h 78"/>
                <a:gd name="T40" fmla="*/ 6 w 36"/>
                <a:gd name="T41" fmla="*/ 1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78">
                  <a:moveTo>
                    <a:pt x="6" y="18"/>
                  </a:moveTo>
                  <a:lnTo>
                    <a:pt x="0" y="24"/>
                  </a:lnTo>
                  <a:lnTo>
                    <a:pt x="6" y="30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78"/>
                  </a:lnTo>
                  <a:lnTo>
                    <a:pt x="24" y="72"/>
                  </a:lnTo>
                  <a:lnTo>
                    <a:pt x="24" y="60"/>
                  </a:lnTo>
                  <a:lnTo>
                    <a:pt x="24" y="4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0" name="Freeform 136">
              <a:extLst>
                <a:ext uri="{FF2B5EF4-FFF2-40B4-BE49-F238E27FC236}">
                  <a16:creationId xmlns:a16="http://schemas.microsoft.com/office/drawing/2014/main" id="{12E5EB20-C306-4C58-A05A-475EA66405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916"/>
              <a:ext cx="84" cy="72"/>
            </a:xfrm>
            <a:custGeom>
              <a:avLst/>
              <a:gdLst>
                <a:gd name="T0" fmla="*/ 72 w 84"/>
                <a:gd name="T1" fmla="*/ 54 h 72"/>
                <a:gd name="T2" fmla="*/ 66 w 84"/>
                <a:gd name="T3" fmla="*/ 54 h 72"/>
                <a:gd name="T4" fmla="*/ 60 w 84"/>
                <a:gd name="T5" fmla="*/ 54 h 72"/>
                <a:gd name="T6" fmla="*/ 54 w 84"/>
                <a:gd name="T7" fmla="*/ 54 h 72"/>
                <a:gd name="T8" fmla="*/ 42 w 84"/>
                <a:gd name="T9" fmla="*/ 54 h 72"/>
                <a:gd name="T10" fmla="*/ 30 w 84"/>
                <a:gd name="T11" fmla="*/ 54 h 72"/>
                <a:gd name="T12" fmla="*/ 30 w 84"/>
                <a:gd name="T13" fmla="*/ 60 h 72"/>
                <a:gd name="T14" fmla="*/ 30 w 84"/>
                <a:gd name="T15" fmla="*/ 72 h 72"/>
                <a:gd name="T16" fmla="*/ 18 w 84"/>
                <a:gd name="T17" fmla="*/ 66 h 72"/>
                <a:gd name="T18" fmla="*/ 12 w 84"/>
                <a:gd name="T19" fmla="*/ 66 h 72"/>
                <a:gd name="T20" fmla="*/ 6 w 84"/>
                <a:gd name="T21" fmla="*/ 60 h 72"/>
                <a:gd name="T22" fmla="*/ 0 w 84"/>
                <a:gd name="T23" fmla="*/ 60 h 72"/>
                <a:gd name="T24" fmla="*/ 0 w 84"/>
                <a:gd name="T25" fmla="*/ 42 h 72"/>
                <a:gd name="T26" fmla="*/ 6 w 84"/>
                <a:gd name="T27" fmla="*/ 42 h 72"/>
                <a:gd name="T28" fmla="*/ 12 w 84"/>
                <a:gd name="T29" fmla="*/ 36 h 72"/>
                <a:gd name="T30" fmla="*/ 12 w 84"/>
                <a:gd name="T31" fmla="*/ 30 h 72"/>
                <a:gd name="T32" fmla="*/ 18 w 84"/>
                <a:gd name="T33" fmla="*/ 24 h 72"/>
                <a:gd name="T34" fmla="*/ 24 w 84"/>
                <a:gd name="T35" fmla="*/ 24 h 72"/>
                <a:gd name="T36" fmla="*/ 24 w 84"/>
                <a:gd name="T37" fmla="*/ 18 h 72"/>
                <a:gd name="T38" fmla="*/ 30 w 84"/>
                <a:gd name="T39" fmla="*/ 18 h 72"/>
                <a:gd name="T40" fmla="*/ 30 w 84"/>
                <a:gd name="T41" fmla="*/ 12 h 72"/>
                <a:gd name="T42" fmla="*/ 36 w 84"/>
                <a:gd name="T43" fmla="*/ 12 h 72"/>
                <a:gd name="T44" fmla="*/ 36 w 84"/>
                <a:gd name="T45" fmla="*/ 6 h 72"/>
                <a:gd name="T46" fmla="*/ 54 w 84"/>
                <a:gd name="T47" fmla="*/ 0 h 72"/>
                <a:gd name="T48" fmla="*/ 60 w 84"/>
                <a:gd name="T49" fmla="*/ 6 h 72"/>
                <a:gd name="T50" fmla="*/ 66 w 84"/>
                <a:gd name="T51" fmla="*/ 12 h 72"/>
                <a:gd name="T52" fmla="*/ 72 w 84"/>
                <a:gd name="T53" fmla="*/ 24 h 72"/>
                <a:gd name="T54" fmla="*/ 72 w 84"/>
                <a:gd name="T55" fmla="*/ 24 h 72"/>
                <a:gd name="T56" fmla="*/ 72 w 84"/>
                <a:gd name="T57" fmla="*/ 24 h 72"/>
                <a:gd name="T58" fmla="*/ 78 w 84"/>
                <a:gd name="T59" fmla="*/ 30 h 72"/>
                <a:gd name="T60" fmla="*/ 78 w 84"/>
                <a:gd name="T61" fmla="*/ 30 h 72"/>
                <a:gd name="T62" fmla="*/ 84 w 84"/>
                <a:gd name="T63" fmla="*/ 36 h 72"/>
                <a:gd name="T64" fmla="*/ 84 w 84"/>
                <a:gd name="T65" fmla="*/ 42 h 72"/>
                <a:gd name="T66" fmla="*/ 84 w 84"/>
                <a:gd name="T67" fmla="*/ 42 h 72"/>
                <a:gd name="T68" fmla="*/ 84 w 84"/>
                <a:gd name="T69" fmla="*/ 42 h 72"/>
                <a:gd name="T70" fmla="*/ 78 w 84"/>
                <a:gd name="T71" fmla="*/ 48 h 72"/>
                <a:gd name="T72" fmla="*/ 72 w 84"/>
                <a:gd name="T73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72">
                  <a:moveTo>
                    <a:pt x="72" y="54"/>
                  </a:moveTo>
                  <a:lnTo>
                    <a:pt x="66" y="54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0" y="72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1" name="Freeform 137">
              <a:extLst>
                <a:ext uri="{FF2B5EF4-FFF2-40B4-BE49-F238E27FC236}">
                  <a16:creationId xmlns:a16="http://schemas.microsoft.com/office/drawing/2014/main" id="{7D547010-8C08-4CFD-8B9A-17A8B60D8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940"/>
              <a:ext cx="84" cy="144"/>
            </a:xfrm>
            <a:custGeom>
              <a:avLst/>
              <a:gdLst>
                <a:gd name="T0" fmla="*/ 78 w 84"/>
                <a:gd name="T1" fmla="*/ 42 h 144"/>
                <a:gd name="T2" fmla="*/ 60 w 84"/>
                <a:gd name="T3" fmla="*/ 42 h 144"/>
                <a:gd name="T4" fmla="*/ 60 w 84"/>
                <a:gd name="T5" fmla="*/ 42 h 144"/>
                <a:gd name="T6" fmla="*/ 66 w 84"/>
                <a:gd name="T7" fmla="*/ 54 h 144"/>
                <a:gd name="T8" fmla="*/ 72 w 84"/>
                <a:gd name="T9" fmla="*/ 72 h 144"/>
                <a:gd name="T10" fmla="*/ 66 w 84"/>
                <a:gd name="T11" fmla="*/ 84 h 144"/>
                <a:gd name="T12" fmla="*/ 60 w 84"/>
                <a:gd name="T13" fmla="*/ 90 h 144"/>
                <a:gd name="T14" fmla="*/ 66 w 84"/>
                <a:gd name="T15" fmla="*/ 108 h 144"/>
                <a:gd name="T16" fmla="*/ 72 w 84"/>
                <a:gd name="T17" fmla="*/ 120 h 144"/>
                <a:gd name="T18" fmla="*/ 78 w 84"/>
                <a:gd name="T19" fmla="*/ 126 h 144"/>
                <a:gd name="T20" fmla="*/ 84 w 84"/>
                <a:gd name="T21" fmla="*/ 138 h 144"/>
                <a:gd name="T22" fmla="*/ 78 w 84"/>
                <a:gd name="T23" fmla="*/ 144 h 144"/>
                <a:gd name="T24" fmla="*/ 72 w 84"/>
                <a:gd name="T25" fmla="*/ 138 h 144"/>
                <a:gd name="T26" fmla="*/ 60 w 84"/>
                <a:gd name="T27" fmla="*/ 138 h 144"/>
                <a:gd name="T28" fmla="*/ 48 w 84"/>
                <a:gd name="T29" fmla="*/ 138 h 144"/>
                <a:gd name="T30" fmla="*/ 36 w 84"/>
                <a:gd name="T31" fmla="*/ 138 h 144"/>
                <a:gd name="T32" fmla="*/ 30 w 84"/>
                <a:gd name="T33" fmla="*/ 138 h 144"/>
                <a:gd name="T34" fmla="*/ 18 w 84"/>
                <a:gd name="T35" fmla="*/ 138 h 144"/>
                <a:gd name="T36" fmla="*/ 12 w 84"/>
                <a:gd name="T37" fmla="*/ 138 h 144"/>
                <a:gd name="T38" fmla="*/ 12 w 84"/>
                <a:gd name="T39" fmla="*/ 120 h 144"/>
                <a:gd name="T40" fmla="*/ 12 w 84"/>
                <a:gd name="T41" fmla="*/ 120 h 144"/>
                <a:gd name="T42" fmla="*/ 12 w 84"/>
                <a:gd name="T43" fmla="*/ 114 h 144"/>
                <a:gd name="T44" fmla="*/ 0 w 84"/>
                <a:gd name="T45" fmla="*/ 114 h 144"/>
                <a:gd name="T46" fmla="*/ 0 w 84"/>
                <a:gd name="T47" fmla="*/ 108 h 144"/>
                <a:gd name="T48" fmla="*/ 0 w 84"/>
                <a:gd name="T49" fmla="*/ 108 h 144"/>
                <a:gd name="T50" fmla="*/ 0 w 84"/>
                <a:gd name="T51" fmla="*/ 108 h 144"/>
                <a:gd name="T52" fmla="*/ 0 w 84"/>
                <a:gd name="T53" fmla="*/ 96 h 144"/>
                <a:gd name="T54" fmla="*/ 6 w 84"/>
                <a:gd name="T55" fmla="*/ 90 h 144"/>
                <a:gd name="T56" fmla="*/ 12 w 84"/>
                <a:gd name="T57" fmla="*/ 78 h 144"/>
                <a:gd name="T58" fmla="*/ 18 w 84"/>
                <a:gd name="T59" fmla="*/ 78 h 144"/>
                <a:gd name="T60" fmla="*/ 24 w 84"/>
                <a:gd name="T61" fmla="*/ 84 h 144"/>
                <a:gd name="T62" fmla="*/ 36 w 84"/>
                <a:gd name="T63" fmla="*/ 78 h 144"/>
                <a:gd name="T64" fmla="*/ 36 w 84"/>
                <a:gd name="T65" fmla="*/ 66 h 144"/>
                <a:gd name="T66" fmla="*/ 42 w 84"/>
                <a:gd name="T67" fmla="*/ 60 h 144"/>
                <a:gd name="T68" fmla="*/ 48 w 84"/>
                <a:gd name="T69" fmla="*/ 48 h 144"/>
                <a:gd name="T70" fmla="*/ 48 w 84"/>
                <a:gd name="T71" fmla="*/ 42 h 144"/>
                <a:gd name="T72" fmla="*/ 54 w 84"/>
                <a:gd name="T73" fmla="*/ 30 h 144"/>
                <a:gd name="T74" fmla="*/ 60 w 84"/>
                <a:gd name="T75" fmla="*/ 24 h 144"/>
                <a:gd name="T76" fmla="*/ 66 w 84"/>
                <a:gd name="T77" fmla="*/ 18 h 144"/>
                <a:gd name="T78" fmla="*/ 60 w 84"/>
                <a:gd name="T79" fmla="*/ 12 h 144"/>
                <a:gd name="T80" fmla="*/ 60 w 84"/>
                <a:gd name="T81" fmla="*/ 0 h 144"/>
                <a:gd name="T82" fmla="*/ 60 w 84"/>
                <a:gd name="T83" fmla="*/ 0 h 144"/>
                <a:gd name="T84" fmla="*/ 66 w 84"/>
                <a:gd name="T85" fmla="*/ 12 h 144"/>
                <a:gd name="T86" fmla="*/ 66 w 84"/>
                <a:gd name="T87" fmla="*/ 30 h 144"/>
                <a:gd name="T88" fmla="*/ 78 w 84"/>
                <a:gd name="T89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144">
                  <a:moveTo>
                    <a:pt x="78" y="42"/>
                  </a:moveTo>
                  <a:lnTo>
                    <a:pt x="60" y="42"/>
                  </a:lnTo>
                  <a:lnTo>
                    <a:pt x="60" y="42"/>
                  </a:lnTo>
                  <a:lnTo>
                    <a:pt x="66" y="54"/>
                  </a:lnTo>
                  <a:lnTo>
                    <a:pt x="72" y="72"/>
                  </a:lnTo>
                  <a:lnTo>
                    <a:pt x="66" y="84"/>
                  </a:lnTo>
                  <a:lnTo>
                    <a:pt x="60" y="90"/>
                  </a:lnTo>
                  <a:lnTo>
                    <a:pt x="66" y="108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84" y="138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12" y="138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0" y="114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78"/>
                  </a:lnTo>
                  <a:lnTo>
                    <a:pt x="36" y="66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30"/>
                  </a:lnTo>
                  <a:lnTo>
                    <a:pt x="7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2" name="Freeform 138">
              <a:extLst>
                <a:ext uri="{FF2B5EF4-FFF2-40B4-BE49-F238E27FC236}">
                  <a16:creationId xmlns:a16="http://schemas.microsoft.com/office/drawing/2014/main" id="{30CED00B-EEA8-43E8-B982-F4A519CCB8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970"/>
              <a:ext cx="144" cy="108"/>
            </a:xfrm>
            <a:custGeom>
              <a:avLst/>
              <a:gdLst>
                <a:gd name="T0" fmla="*/ 54 w 144"/>
                <a:gd name="T1" fmla="*/ 30 h 108"/>
                <a:gd name="T2" fmla="*/ 48 w 144"/>
                <a:gd name="T3" fmla="*/ 24 h 108"/>
                <a:gd name="T4" fmla="*/ 66 w 144"/>
                <a:gd name="T5" fmla="*/ 24 h 108"/>
                <a:gd name="T6" fmla="*/ 72 w 144"/>
                <a:gd name="T7" fmla="*/ 12 h 108"/>
                <a:gd name="T8" fmla="*/ 84 w 144"/>
                <a:gd name="T9" fmla="*/ 0 h 108"/>
                <a:gd name="T10" fmla="*/ 96 w 144"/>
                <a:gd name="T11" fmla="*/ 0 h 108"/>
                <a:gd name="T12" fmla="*/ 96 w 144"/>
                <a:gd name="T13" fmla="*/ 6 h 108"/>
                <a:gd name="T14" fmla="*/ 102 w 144"/>
                <a:gd name="T15" fmla="*/ 12 h 108"/>
                <a:gd name="T16" fmla="*/ 102 w 144"/>
                <a:gd name="T17" fmla="*/ 30 h 108"/>
                <a:gd name="T18" fmla="*/ 108 w 144"/>
                <a:gd name="T19" fmla="*/ 30 h 108"/>
                <a:gd name="T20" fmla="*/ 108 w 144"/>
                <a:gd name="T21" fmla="*/ 30 h 108"/>
                <a:gd name="T22" fmla="*/ 120 w 144"/>
                <a:gd name="T23" fmla="*/ 42 h 108"/>
                <a:gd name="T24" fmla="*/ 120 w 144"/>
                <a:gd name="T25" fmla="*/ 42 h 108"/>
                <a:gd name="T26" fmla="*/ 132 w 144"/>
                <a:gd name="T27" fmla="*/ 54 h 108"/>
                <a:gd name="T28" fmla="*/ 138 w 144"/>
                <a:gd name="T29" fmla="*/ 60 h 108"/>
                <a:gd name="T30" fmla="*/ 144 w 144"/>
                <a:gd name="T31" fmla="*/ 72 h 108"/>
                <a:gd name="T32" fmla="*/ 144 w 144"/>
                <a:gd name="T33" fmla="*/ 72 h 108"/>
                <a:gd name="T34" fmla="*/ 138 w 144"/>
                <a:gd name="T35" fmla="*/ 72 h 108"/>
                <a:gd name="T36" fmla="*/ 132 w 144"/>
                <a:gd name="T37" fmla="*/ 72 h 108"/>
                <a:gd name="T38" fmla="*/ 120 w 144"/>
                <a:gd name="T39" fmla="*/ 72 h 108"/>
                <a:gd name="T40" fmla="*/ 120 w 144"/>
                <a:gd name="T41" fmla="*/ 72 h 108"/>
                <a:gd name="T42" fmla="*/ 108 w 144"/>
                <a:gd name="T43" fmla="*/ 72 h 108"/>
                <a:gd name="T44" fmla="*/ 96 w 144"/>
                <a:gd name="T45" fmla="*/ 78 h 108"/>
                <a:gd name="T46" fmla="*/ 96 w 144"/>
                <a:gd name="T47" fmla="*/ 78 h 108"/>
                <a:gd name="T48" fmla="*/ 90 w 144"/>
                <a:gd name="T49" fmla="*/ 84 h 108"/>
                <a:gd name="T50" fmla="*/ 78 w 144"/>
                <a:gd name="T51" fmla="*/ 78 h 108"/>
                <a:gd name="T52" fmla="*/ 66 w 144"/>
                <a:gd name="T53" fmla="*/ 78 h 108"/>
                <a:gd name="T54" fmla="*/ 54 w 144"/>
                <a:gd name="T55" fmla="*/ 72 h 108"/>
                <a:gd name="T56" fmla="*/ 48 w 144"/>
                <a:gd name="T57" fmla="*/ 84 h 108"/>
                <a:gd name="T58" fmla="*/ 48 w 144"/>
                <a:gd name="T59" fmla="*/ 90 h 108"/>
                <a:gd name="T60" fmla="*/ 42 w 144"/>
                <a:gd name="T61" fmla="*/ 90 h 108"/>
                <a:gd name="T62" fmla="*/ 30 w 144"/>
                <a:gd name="T63" fmla="*/ 90 h 108"/>
                <a:gd name="T64" fmla="*/ 24 w 144"/>
                <a:gd name="T65" fmla="*/ 96 h 108"/>
                <a:gd name="T66" fmla="*/ 24 w 144"/>
                <a:gd name="T67" fmla="*/ 108 h 108"/>
                <a:gd name="T68" fmla="*/ 18 w 144"/>
                <a:gd name="T69" fmla="*/ 96 h 108"/>
                <a:gd name="T70" fmla="*/ 12 w 144"/>
                <a:gd name="T71" fmla="*/ 90 h 108"/>
                <a:gd name="T72" fmla="*/ 6 w 144"/>
                <a:gd name="T73" fmla="*/ 78 h 108"/>
                <a:gd name="T74" fmla="*/ 0 w 144"/>
                <a:gd name="T75" fmla="*/ 60 h 108"/>
                <a:gd name="T76" fmla="*/ 6 w 144"/>
                <a:gd name="T77" fmla="*/ 54 h 108"/>
                <a:gd name="T78" fmla="*/ 12 w 144"/>
                <a:gd name="T79" fmla="*/ 42 h 108"/>
                <a:gd name="T80" fmla="*/ 24 w 144"/>
                <a:gd name="T81" fmla="*/ 36 h 108"/>
                <a:gd name="T82" fmla="*/ 24 w 144"/>
                <a:gd name="T83" fmla="*/ 42 h 108"/>
                <a:gd name="T84" fmla="*/ 30 w 144"/>
                <a:gd name="T85" fmla="*/ 36 h 108"/>
                <a:gd name="T86" fmla="*/ 48 w 144"/>
                <a:gd name="T87" fmla="*/ 36 h 108"/>
                <a:gd name="T88" fmla="*/ 54 w 144"/>
                <a:gd name="T8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4" h="108">
                  <a:moveTo>
                    <a:pt x="54" y="30"/>
                  </a:moveTo>
                  <a:lnTo>
                    <a:pt x="48" y="24"/>
                  </a:lnTo>
                  <a:lnTo>
                    <a:pt x="66" y="24"/>
                  </a:lnTo>
                  <a:lnTo>
                    <a:pt x="72" y="12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32" y="54"/>
                  </a:lnTo>
                  <a:lnTo>
                    <a:pt x="138" y="60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08" y="72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66" y="78"/>
                  </a:lnTo>
                  <a:lnTo>
                    <a:pt x="54" y="72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30" y="90"/>
                  </a:lnTo>
                  <a:lnTo>
                    <a:pt x="24" y="96"/>
                  </a:lnTo>
                  <a:lnTo>
                    <a:pt x="24" y="108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6" y="78"/>
                  </a:lnTo>
                  <a:lnTo>
                    <a:pt x="0" y="60"/>
                  </a:lnTo>
                  <a:lnTo>
                    <a:pt x="6" y="54"/>
                  </a:lnTo>
                  <a:lnTo>
                    <a:pt x="12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8" y="36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3" name="Freeform 139">
              <a:extLst>
                <a:ext uri="{FF2B5EF4-FFF2-40B4-BE49-F238E27FC236}">
                  <a16:creationId xmlns:a16="http://schemas.microsoft.com/office/drawing/2014/main" id="{3359557E-B005-4F63-B786-381D0EA34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34"/>
              <a:ext cx="30" cy="6"/>
            </a:xfrm>
            <a:custGeom>
              <a:avLst/>
              <a:gdLst>
                <a:gd name="T0" fmla="*/ 0 w 30"/>
                <a:gd name="T1" fmla="*/ 6 h 6"/>
                <a:gd name="T2" fmla="*/ 0 w 30"/>
                <a:gd name="T3" fmla="*/ 6 h 6"/>
                <a:gd name="T4" fmla="*/ 6 w 30"/>
                <a:gd name="T5" fmla="*/ 6 h 6"/>
                <a:gd name="T6" fmla="*/ 12 w 30"/>
                <a:gd name="T7" fmla="*/ 6 h 6"/>
                <a:gd name="T8" fmla="*/ 30 w 30"/>
                <a:gd name="T9" fmla="*/ 6 h 6"/>
                <a:gd name="T10" fmla="*/ 24 w 30"/>
                <a:gd name="T11" fmla="*/ 6 h 6"/>
                <a:gd name="T12" fmla="*/ 12 w 30"/>
                <a:gd name="T13" fmla="*/ 0 h 6"/>
                <a:gd name="T14" fmla="*/ 12 w 30"/>
                <a:gd name="T15" fmla="*/ 0 h 6"/>
                <a:gd name="T16" fmla="*/ 0 w 30"/>
                <a:gd name="T17" fmla="*/ 0 h 6"/>
                <a:gd name="T18" fmla="*/ 0 w 30"/>
                <a:gd name="T19" fmla="*/ 6 h 6"/>
                <a:gd name="T20" fmla="*/ 12 w 30"/>
                <a:gd name="T21" fmla="*/ 6 h 6"/>
                <a:gd name="T22" fmla="*/ 6 w 30"/>
                <a:gd name="T23" fmla="*/ 6 h 6"/>
                <a:gd name="T24" fmla="*/ 0 w 30"/>
                <a:gd name="T2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6">
                  <a:moveTo>
                    <a:pt x="0" y="6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4" name="Freeform 140">
              <a:extLst>
                <a:ext uri="{FF2B5EF4-FFF2-40B4-BE49-F238E27FC236}">
                  <a16:creationId xmlns:a16="http://schemas.microsoft.com/office/drawing/2014/main" id="{3D246F85-DC07-4498-9240-05A91B7B22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75" y="1970"/>
              <a:ext cx="48" cy="78"/>
            </a:xfrm>
            <a:custGeom>
              <a:avLst/>
              <a:gdLst>
                <a:gd name="T0" fmla="*/ 42 w 48"/>
                <a:gd name="T1" fmla="*/ 66 h 78"/>
                <a:gd name="T2" fmla="*/ 36 w 48"/>
                <a:gd name="T3" fmla="*/ 66 h 78"/>
                <a:gd name="T4" fmla="*/ 30 w 48"/>
                <a:gd name="T5" fmla="*/ 72 h 78"/>
                <a:gd name="T6" fmla="*/ 18 w 48"/>
                <a:gd name="T7" fmla="*/ 72 h 78"/>
                <a:gd name="T8" fmla="*/ 12 w 48"/>
                <a:gd name="T9" fmla="*/ 78 h 78"/>
                <a:gd name="T10" fmla="*/ 0 w 48"/>
                <a:gd name="T11" fmla="*/ 72 h 78"/>
                <a:gd name="T12" fmla="*/ 6 w 48"/>
                <a:gd name="T13" fmla="*/ 72 h 78"/>
                <a:gd name="T14" fmla="*/ 6 w 48"/>
                <a:gd name="T15" fmla="*/ 60 h 78"/>
                <a:gd name="T16" fmla="*/ 0 w 48"/>
                <a:gd name="T17" fmla="*/ 48 h 78"/>
                <a:gd name="T18" fmla="*/ 6 w 48"/>
                <a:gd name="T19" fmla="*/ 42 h 78"/>
                <a:gd name="T20" fmla="*/ 12 w 48"/>
                <a:gd name="T21" fmla="*/ 36 h 78"/>
                <a:gd name="T22" fmla="*/ 6 w 48"/>
                <a:gd name="T23" fmla="*/ 18 h 78"/>
                <a:gd name="T24" fmla="*/ 6 w 48"/>
                <a:gd name="T25" fmla="*/ 6 h 78"/>
                <a:gd name="T26" fmla="*/ 6 w 48"/>
                <a:gd name="T27" fmla="*/ 0 h 78"/>
                <a:gd name="T28" fmla="*/ 18 w 48"/>
                <a:gd name="T29" fmla="*/ 0 h 78"/>
                <a:gd name="T30" fmla="*/ 30 w 48"/>
                <a:gd name="T31" fmla="*/ 0 h 78"/>
                <a:gd name="T32" fmla="*/ 36 w 48"/>
                <a:gd name="T33" fmla="*/ 0 h 78"/>
                <a:gd name="T34" fmla="*/ 36 w 48"/>
                <a:gd name="T35" fmla="*/ 0 h 78"/>
                <a:gd name="T36" fmla="*/ 42 w 48"/>
                <a:gd name="T37" fmla="*/ 12 h 78"/>
                <a:gd name="T38" fmla="*/ 42 w 48"/>
                <a:gd name="T39" fmla="*/ 18 h 78"/>
                <a:gd name="T40" fmla="*/ 42 w 48"/>
                <a:gd name="T41" fmla="*/ 24 h 78"/>
                <a:gd name="T42" fmla="*/ 42 w 48"/>
                <a:gd name="T43" fmla="*/ 36 h 78"/>
                <a:gd name="T44" fmla="*/ 42 w 48"/>
                <a:gd name="T45" fmla="*/ 42 h 78"/>
                <a:gd name="T46" fmla="*/ 42 w 48"/>
                <a:gd name="T47" fmla="*/ 54 h 78"/>
                <a:gd name="T48" fmla="*/ 48 w 48"/>
                <a:gd name="T49" fmla="*/ 60 h 78"/>
                <a:gd name="T50" fmla="*/ 42 w 48"/>
                <a:gd name="T51" fmla="*/ 66 h 78"/>
                <a:gd name="T52" fmla="*/ 42 w 48"/>
                <a:gd name="T53" fmla="*/ 60 h 78"/>
                <a:gd name="T54" fmla="*/ 42 w 48"/>
                <a:gd name="T55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" h="78">
                  <a:moveTo>
                    <a:pt x="42" y="66"/>
                  </a:move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42"/>
                  </a:lnTo>
                  <a:lnTo>
                    <a:pt x="12" y="36"/>
                  </a:lnTo>
                  <a:lnTo>
                    <a:pt x="6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42" y="54"/>
                  </a:lnTo>
                  <a:lnTo>
                    <a:pt x="48" y="60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5" name="Freeform 141">
              <a:extLst>
                <a:ext uri="{FF2B5EF4-FFF2-40B4-BE49-F238E27FC236}">
                  <a16:creationId xmlns:a16="http://schemas.microsoft.com/office/drawing/2014/main" id="{A7971C58-00A3-483D-8FBB-FD6EC98D3B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9" y="1946"/>
              <a:ext cx="78" cy="66"/>
            </a:xfrm>
            <a:custGeom>
              <a:avLst/>
              <a:gdLst>
                <a:gd name="T0" fmla="*/ 72 w 78"/>
                <a:gd name="T1" fmla="*/ 18 h 66"/>
                <a:gd name="T2" fmla="*/ 66 w 78"/>
                <a:gd name="T3" fmla="*/ 24 h 66"/>
                <a:gd name="T4" fmla="*/ 72 w 78"/>
                <a:gd name="T5" fmla="*/ 24 h 66"/>
                <a:gd name="T6" fmla="*/ 72 w 78"/>
                <a:gd name="T7" fmla="*/ 30 h 66"/>
                <a:gd name="T8" fmla="*/ 72 w 78"/>
                <a:gd name="T9" fmla="*/ 42 h 66"/>
                <a:gd name="T10" fmla="*/ 78 w 78"/>
                <a:gd name="T11" fmla="*/ 42 h 66"/>
                <a:gd name="T12" fmla="*/ 78 w 78"/>
                <a:gd name="T13" fmla="*/ 48 h 66"/>
                <a:gd name="T14" fmla="*/ 78 w 78"/>
                <a:gd name="T15" fmla="*/ 54 h 66"/>
                <a:gd name="T16" fmla="*/ 78 w 78"/>
                <a:gd name="T17" fmla="*/ 54 h 66"/>
                <a:gd name="T18" fmla="*/ 72 w 78"/>
                <a:gd name="T19" fmla="*/ 54 h 66"/>
                <a:gd name="T20" fmla="*/ 72 w 78"/>
                <a:gd name="T21" fmla="*/ 60 h 66"/>
                <a:gd name="T22" fmla="*/ 72 w 78"/>
                <a:gd name="T23" fmla="*/ 66 h 66"/>
                <a:gd name="T24" fmla="*/ 72 w 78"/>
                <a:gd name="T25" fmla="*/ 66 h 66"/>
                <a:gd name="T26" fmla="*/ 66 w 78"/>
                <a:gd name="T27" fmla="*/ 66 h 66"/>
                <a:gd name="T28" fmla="*/ 60 w 78"/>
                <a:gd name="T29" fmla="*/ 66 h 66"/>
                <a:gd name="T30" fmla="*/ 60 w 78"/>
                <a:gd name="T31" fmla="*/ 66 h 66"/>
                <a:gd name="T32" fmla="*/ 54 w 78"/>
                <a:gd name="T33" fmla="*/ 54 h 66"/>
                <a:gd name="T34" fmla="*/ 48 w 78"/>
                <a:gd name="T35" fmla="*/ 54 h 66"/>
                <a:gd name="T36" fmla="*/ 48 w 78"/>
                <a:gd name="T37" fmla="*/ 54 h 66"/>
                <a:gd name="T38" fmla="*/ 48 w 78"/>
                <a:gd name="T39" fmla="*/ 48 h 66"/>
                <a:gd name="T40" fmla="*/ 42 w 78"/>
                <a:gd name="T41" fmla="*/ 36 h 66"/>
                <a:gd name="T42" fmla="*/ 24 w 78"/>
                <a:gd name="T43" fmla="*/ 36 h 66"/>
                <a:gd name="T44" fmla="*/ 18 w 78"/>
                <a:gd name="T45" fmla="*/ 48 h 66"/>
                <a:gd name="T46" fmla="*/ 18 w 78"/>
                <a:gd name="T47" fmla="*/ 42 h 66"/>
                <a:gd name="T48" fmla="*/ 12 w 78"/>
                <a:gd name="T49" fmla="*/ 42 h 66"/>
                <a:gd name="T50" fmla="*/ 12 w 78"/>
                <a:gd name="T51" fmla="*/ 36 h 66"/>
                <a:gd name="T52" fmla="*/ 6 w 78"/>
                <a:gd name="T53" fmla="*/ 36 h 66"/>
                <a:gd name="T54" fmla="*/ 0 w 78"/>
                <a:gd name="T55" fmla="*/ 30 h 66"/>
                <a:gd name="T56" fmla="*/ 0 w 78"/>
                <a:gd name="T57" fmla="*/ 24 h 66"/>
                <a:gd name="T58" fmla="*/ 0 w 78"/>
                <a:gd name="T59" fmla="*/ 24 h 66"/>
                <a:gd name="T60" fmla="*/ 0 w 78"/>
                <a:gd name="T61" fmla="*/ 24 h 66"/>
                <a:gd name="T62" fmla="*/ 0 w 78"/>
                <a:gd name="T63" fmla="*/ 24 h 66"/>
                <a:gd name="T64" fmla="*/ 0 w 78"/>
                <a:gd name="T65" fmla="*/ 24 h 66"/>
                <a:gd name="T66" fmla="*/ 0 w 78"/>
                <a:gd name="T67" fmla="*/ 18 h 66"/>
                <a:gd name="T68" fmla="*/ 12 w 78"/>
                <a:gd name="T69" fmla="*/ 12 h 66"/>
                <a:gd name="T70" fmla="*/ 12 w 78"/>
                <a:gd name="T71" fmla="*/ 6 h 66"/>
                <a:gd name="T72" fmla="*/ 12 w 78"/>
                <a:gd name="T73" fmla="*/ 0 h 66"/>
                <a:gd name="T74" fmla="*/ 24 w 78"/>
                <a:gd name="T75" fmla="*/ 6 h 66"/>
                <a:gd name="T76" fmla="*/ 36 w 78"/>
                <a:gd name="T77" fmla="*/ 6 h 66"/>
                <a:gd name="T78" fmla="*/ 36 w 78"/>
                <a:gd name="T79" fmla="*/ 6 h 66"/>
                <a:gd name="T80" fmla="*/ 42 w 78"/>
                <a:gd name="T81" fmla="*/ 6 h 66"/>
                <a:gd name="T82" fmla="*/ 48 w 78"/>
                <a:gd name="T83" fmla="*/ 12 h 66"/>
                <a:gd name="T84" fmla="*/ 54 w 78"/>
                <a:gd name="T85" fmla="*/ 6 h 66"/>
                <a:gd name="T86" fmla="*/ 60 w 78"/>
                <a:gd name="T87" fmla="*/ 6 h 66"/>
                <a:gd name="T88" fmla="*/ 60 w 78"/>
                <a:gd name="T89" fmla="*/ 6 h 66"/>
                <a:gd name="T90" fmla="*/ 66 w 78"/>
                <a:gd name="T91" fmla="*/ 12 h 66"/>
                <a:gd name="T92" fmla="*/ 72 w 78"/>
                <a:gd name="T9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8" h="66">
                  <a:moveTo>
                    <a:pt x="72" y="18"/>
                  </a:move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6" name="Freeform 142">
              <a:extLst>
                <a:ext uri="{FF2B5EF4-FFF2-40B4-BE49-F238E27FC236}">
                  <a16:creationId xmlns:a16="http://schemas.microsoft.com/office/drawing/2014/main" id="{FBDADAEB-1653-44A5-A92B-5EBEEB7DFB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1946"/>
              <a:ext cx="30" cy="24"/>
            </a:xfrm>
            <a:custGeom>
              <a:avLst/>
              <a:gdLst>
                <a:gd name="T0" fmla="*/ 12 w 30"/>
                <a:gd name="T1" fmla="*/ 12 h 24"/>
                <a:gd name="T2" fmla="*/ 12 w 30"/>
                <a:gd name="T3" fmla="*/ 18 h 24"/>
                <a:gd name="T4" fmla="*/ 18 w 30"/>
                <a:gd name="T5" fmla="*/ 24 h 24"/>
                <a:gd name="T6" fmla="*/ 18 w 30"/>
                <a:gd name="T7" fmla="*/ 24 h 24"/>
                <a:gd name="T8" fmla="*/ 18 w 30"/>
                <a:gd name="T9" fmla="*/ 18 h 24"/>
                <a:gd name="T10" fmla="*/ 30 w 30"/>
                <a:gd name="T11" fmla="*/ 12 h 24"/>
                <a:gd name="T12" fmla="*/ 30 w 30"/>
                <a:gd name="T13" fmla="*/ 6 h 24"/>
                <a:gd name="T14" fmla="*/ 30 w 30"/>
                <a:gd name="T15" fmla="*/ 0 h 24"/>
                <a:gd name="T16" fmla="*/ 24 w 30"/>
                <a:gd name="T17" fmla="*/ 0 h 24"/>
                <a:gd name="T18" fmla="*/ 12 w 30"/>
                <a:gd name="T19" fmla="*/ 0 h 24"/>
                <a:gd name="T20" fmla="*/ 0 w 30"/>
                <a:gd name="T21" fmla="*/ 6 h 24"/>
                <a:gd name="T22" fmla="*/ 6 w 30"/>
                <a:gd name="T23" fmla="*/ 6 h 24"/>
                <a:gd name="T24" fmla="*/ 0 w 30"/>
                <a:gd name="T25" fmla="*/ 6 h 24"/>
                <a:gd name="T26" fmla="*/ 6 w 30"/>
                <a:gd name="T27" fmla="*/ 12 h 24"/>
                <a:gd name="T28" fmla="*/ 6 w 30"/>
                <a:gd name="T29" fmla="*/ 12 h 24"/>
                <a:gd name="T30" fmla="*/ 12 w 30"/>
                <a:gd name="T31" fmla="*/ 12 h 24"/>
                <a:gd name="T32" fmla="*/ 18 w 30"/>
                <a:gd name="T33" fmla="*/ 12 h 24"/>
                <a:gd name="T34" fmla="*/ 12 w 30"/>
                <a:gd name="T35" fmla="*/ 12 h 24"/>
                <a:gd name="T36" fmla="*/ 12 w 30"/>
                <a:gd name="T3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" h="24">
                  <a:moveTo>
                    <a:pt x="12" y="12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7" name="Freeform 143">
              <a:extLst>
                <a:ext uri="{FF2B5EF4-FFF2-40B4-BE49-F238E27FC236}">
                  <a16:creationId xmlns:a16="http://schemas.microsoft.com/office/drawing/2014/main" id="{1ED7A42D-1E39-447D-9F2A-EE332ABAE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970"/>
              <a:ext cx="66" cy="78"/>
            </a:xfrm>
            <a:custGeom>
              <a:avLst/>
              <a:gdLst>
                <a:gd name="T0" fmla="*/ 36 w 66"/>
                <a:gd name="T1" fmla="*/ 6 h 78"/>
                <a:gd name="T2" fmla="*/ 30 w 66"/>
                <a:gd name="T3" fmla="*/ 6 h 78"/>
                <a:gd name="T4" fmla="*/ 24 w 66"/>
                <a:gd name="T5" fmla="*/ 6 h 78"/>
                <a:gd name="T6" fmla="*/ 24 w 66"/>
                <a:gd name="T7" fmla="*/ 0 h 78"/>
                <a:gd name="T8" fmla="*/ 18 w 66"/>
                <a:gd name="T9" fmla="*/ 6 h 78"/>
                <a:gd name="T10" fmla="*/ 12 w 66"/>
                <a:gd name="T11" fmla="*/ 6 h 78"/>
                <a:gd name="T12" fmla="*/ 6 w 66"/>
                <a:gd name="T13" fmla="*/ 6 h 78"/>
                <a:gd name="T14" fmla="*/ 0 w 66"/>
                <a:gd name="T15" fmla="*/ 6 h 78"/>
                <a:gd name="T16" fmla="*/ 0 w 66"/>
                <a:gd name="T17" fmla="*/ 18 h 78"/>
                <a:gd name="T18" fmla="*/ 6 w 66"/>
                <a:gd name="T19" fmla="*/ 18 h 78"/>
                <a:gd name="T20" fmla="*/ 6 w 66"/>
                <a:gd name="T21" fmla="*/ 24 h 78"/>
                <a:gd name="T22" fmla="*/ 6 w 66"/>
                <a:gd name="T23" fmla="*/ 30 h 78"/>
                <a:gd name="T24" fmla="*/ 6 w 66"/>
                <a:gd name="T25" fmla="*/ 30 h 78"/>
                <a:gd name="T26" fmla="*/ 0 w 66"/>
                <a:gd name="T27" fmla="*/ 30 h 78"/>
                <a:gd name="T28" fmla="*/ 0 w 66"/>
                <a:gd name="T29" fmla="*/ 36 h 78"/>
                <a:gd name="T30" fmla="*/ 0 w 66"/>
                <a:gd name="T31" fmla="*/ 42 h 78"/>
                <a:gd name="T32" fmla="*/ 0 w 66"/>
                <a:gd name="T33" fmla="*/ 42 h 78"/>
                <a:gd name="T34" fmla="*/ 0 w 66"/>
                <a:gd name="T35" fmla="*/ 54 h 78"/>
                <a:gd name="T36" fmla="*/ 0 w 66"/>
                <a:gd name="T37" fmla="*/ 54 h 78"/>
                <a:gd name="T38" fmla="*/ 6 w 66"/>
                <a:gd name="T39" fmla="*/ 60 h 78"/>
                <a:gd name="T40" fmla="*/ 12 w 66"/>
                <a:gd name="T41" fmla="*/ 66 h 78"/>
                <a:gd name="T42" fmla="*/ 6 w 66"/>
                <a:gd name="T43" fmla="*/ 78 h 78"/>
                <a:gd name="T44" fmla="*/ 24 w 66"/>
                <a:gd name="T45" fmla="*/ 78 h 78"/>
                <a:gd name="T46" fmla="*/ 36 w 66"/>
                <a:gd name="T47" fmla="*/ 72 h 78"/>
                <a:gd name="T48" fmla="*/ 30 w 66"/>
                <a:gd name="T49" fmla="*/ 72 h 78"/>
                <a:gd name="T50" fmla="*/ 48 w 66"/>
                <a:gd name="T51" fmla="*/ 72 h 78"/>
                <a:gd name="T52" fmla="*/ 36 w 66"/>
                <a:gd name="T53" fmla="*/ 72 h 78"/>
                <a:gd name="T54" fmla="*/ 48 w 66"/>
                <a:gd name="T55" fmla="*/ 72 h 78"/>
                <a:gd name="T56" fmla="*/ 54 w 66"/>
                <a:gd name="T57" fmla="*/ 72 h 78"/>
                <a:gd name="T58" fmla="*/ 54 w 66"/>
                <a:gd name="T59" fmla="*/ 72 h 78"/>
                <a:gd name="T60" fmla="*/ 60 w 66"/>
                <a:gd name="T61" fmla="*/ 72 h 78"/>
                <a:gd name="T62" fmla="*/ 60 w 66"/>
                <a:gd name="T63" fmla="*/ 60 h 78"/>
                <a:gd name="T64" fmla="*/ 54 w 66"/>
                <a:gd name="T65" fmla="*/ 48 h 78"/>
                <a:gd name="T66" fmla="*/ 60 w 66"/>
                <a:gd name="T67" fmla="*/ 42 h 78"/>
                <a:gd name="T68" fmla="*/ 66 w 66"/>
                <a:gd name="T69" fmla="*/ 36 h 78"/>
                <a:gd name="T70" fmla="*/ 60 w 66"/>
                <a:gd name="T71" fmla="*/ 18 h 78"/>
                <a:gd name="T72" fmla="*/ 48 w 66"/>
                <a:gd name="T73" fmla="*/ 12 h 78"/>
                <a:gd name="T74" fmla="*/ 42 w 66"/>
                <a:gd name="T75" fmla="*/ 12 h 78"/>
                <a:gd name="T76" fmla="*/ 36 w 66"/>
                <a:gd name="T77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8">
                  <a:moveTo>
                    <a:pt x="36" y="6"/>
                  </a:moveTo>
                  <a:lnTo>
                    <a:pt x="30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6" y="78"/>
                  </a:lnTo>
                  <a:lnTo>
                    <a:pt x="24" y="78"/>
                  </a:lnTo>
                  <a:lnTo>
                    <a:pt x="36" y="72"/>
                  </a:lnTo>
                  <a:lnTo>
                    <a:pt x="30" y="72"/>
                  </a:lnTo>
                  <a:lnTo>
                    <a:pt x="48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0"/>
                  </a:lnTo>
                  <a:lnTo>
                    <a:pt x="54" y="48"/>
                  </a:lnTo>
                  <a:lnTo>
                    <a:pt x="6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8" name="Freeform 144">
              <a:extLst>
                <a:ext uri="{FF2B5EF4-FFF2-40B4-BE49-F238E27FC236}">
                  <a16:creationId xmlns:a16="http://schemas.microsoft.com/office/drawing/2014/main" id="{87BDAC7F-67E6-45EB-9DE8-ACE09A99BF0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982"/>
              <a:ext cx="30" cy="36"/>
            </a:xfrm>
            <a:custGeom>
              <a:avLst/>
              <a:gdLst>
                <a:gd name="T0" fmla="*/ 30 w 30"/>
                <a:gd name="T1" fmla="*/ 18 h 36"/>
                <a:gd name="T2" fmla="*/ 24 w 30"/>
                <a:gd name="T3" fmla="*/ 24 h 36"/>
                <a:gd name="T4" fmla="*/ 24 w 30"/>
                <a:gd name="T5" fmla="*/ 30 h 36"/>
                <a:gd name="T6" fmla="*/ 18 w 30"/>
                <a:gd name="T7" fmla="*/ 36 h 36"/>
                <a:gd name="T8" fmla="*/ 6 w 30"/>
                <a:gd name="T9" fmla="*/ 30 h 36"/>
                <a:gd name="T10" fmla="*/ 12 w 30"/>
                <a:gd name="T11" fmla="*/ 30 h 36"/>
                <a:gd name="T12" fmla="*/ 6 w 30"/>
                <a:gd name="T13" fmla="*/ 30 h 36"/>
                <a:gd name="T14" fmla="*/ 0 w 30"/>
                <a:gd name="T15" fmla="*/ 18 h 36"/>
                <a:gd name="T16" fmla="*/ 6 w 30"/>
                <a:gd name="T17" fmla="*/ 18 h 36"/>
                <a:gd name="T18" fmla="*/ 0 w 30"/>
                <a:gd name="T19" fmla="*/ 18 h 36"/>
                <a:gd name="T20" fmla="*/ 0 w 30"/>
                <a:gd name="T21" fmla="*/ 12 h 36"/>
                <a:gd name="T22" fmla="*/ 0 w 30"/>
                <a:gd name="T23" fmla="*/ 12 h 36"/>
                <a:gd name="T24" fmla="*/ 6 w 30"/>
                <a:gd name="T25" fmla="*/ 0 h 36"/>
                <a:gd name="T26" fmla="*/ 24 w 30"/>
                <a:gd name="T27" fmla="*/ 0 h 36"/>
                <a:gd name="T28" fmla="*/ 30 w 30"/>
                <a:gd name="T29" fmla="*/ 12 h 36"/>
                <a:gd name="T30" fmla="*/ 30 w 30"/>
                <a:gd name="T31" fmla="*/ 18 h 36"/>
                <a:gd name="T32" fmla="*/ 30 w 30"/>
                <a:gd name="T3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6">
                  <a:moveTo>
                    <a:pt x="30" y="18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18" y="36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0"/>
                  </a:lnTo>
                  <a:lnTo>
                    <a:pt x="2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49" name="Freeform 145">
              <a:extLst>
                <a:ext uri="{FF2B5EF4-FFF2-40B4-BE49-F238E27FC236}">
                  <a16:creationId xmlns:a16="http://schemas.microsoft.com/office/drawing/2014/main" id="{350A9EC5-86DD-4DAB-9919-123BA37FF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970"/>
              <a:ext cx="18" cy="60"/>
            </a:xfrm>
            <a:custGeom>
              <a:avLst/>
              <a:gdLst>
                <a:gd name="T0" fmla="*/ 6 w 18"/>
                <a:gd name="T1" fmla="*/ 0 h 60"/>
                <a:gd name="T2" fmla="*/ 0 w 18"/>
                <a:gd name="T3" fmla="*/ 0 h 60"/>
                <a:gd name="T4" fmla="*/ 0 w 18"/>
                <a:gd name="T5" fmla="*/ 0 h 60"/>
                <a:gd name="T6" fmla="*/ 6 w 18"/>
                <a:gd name="T7" fmla="*/ 12 h 60"/>
                <a:gd name="T8" fmla="*/ 6 w 18"/>
                <a:gd name="T9" fmla="*/ 18 h 60"/>
                <a:gd name="T10" fmla="*/ 6 w 18"/>
                <a:gd name="T11" fmla="*/ 24 h 60"/>
                <a:gd name="T12" fmla="*/ 6 w 18"/>
                <a:gd name="T13" fmla="*/ 36 h 60"/>
                <a:gd name="T14" fmla="*/ 6 w 18"/>
                <a:gd name="T15" fmla="*/ 42 h 60"/>
                <a:gd name="T16" fmla="*/ 6 w 18"/>
                <a:gd name="T17" fmla="*/ 54 h 60"/>
                <a:gd name="T18" fmla="*/ 12 w 18"/>
                <a:gd name="T19" fmla="*/ 60 h 60"/>
                <a:gd name="T20" fmla="*/ 18 w 18"/>
                <a:gd name="T21" fmla="*/ 60 h 60"/>
                <a:gd name="T22" fmla="*/ 18 w 18"/>
                <a:gd name="T23" fmla="*/ 48 h 60"/>
                <a:gd name="T24" fmla="*/ 18 w 18"/>
                <a:gd name="T25" fmla="*/ 42 h 60"/>
                <a:gd name="T26" fmla="*/ 18 w 18"/>
                <a:gd name="T27" fmla="*/ 30 h 60"/>
                <a:gd name="T28" fmla="*/ 18 w 18"/>
                <a:gd name="T29" fmla="*/ 18 h 60"/>
                <a:gd name="T30" fmla="*/ 12 w 18"/>
                <a:gd name="T31" fmla="*/ 12 h 60"/>
                <a:gd name="T32" fmla="*/ 6 w 18"/>
                <a:gd name="T33" fmla="*/ 6 h 60"/>
                <a:gd name="T34" fmla="*/ 12 w 18"/>
                <a:gd name="T35" fmla="*/ 0 h 60"/>
                <a:gd name="T36" fmla="*/ 6 w 18"/>
                <a:gd name="T3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60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0" name="Freeform 146">
              <a:extLst>
                <a:ext uri="{FF2B5EF4-FFF2-40B4-BE49-F238E27FC236}">
                  <a16:creationId xmlns:a16="http://schemas.microsoft.com/office/drawing/2014/main" id="{1080B4FB-68BE-480C-802F-837A63AFAB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647"/>
              <a:ext cx="216" cy="222"/>
            </a:xfrm>
            <a:custGeom>
              <a:avLst/>
              <a:gdLst>
                <a:gd name="T0" fmla="*/ 0 w 216"/>
                <a:gd name="T1" fmla="*/ 114 h 222"/>
                <a:gd name="T2" fmla="*/ 6 w 216"/>
                <a:gd name="T3" fmla="*/ 126 h 222"/>
                <a:gd name="T4" fmla="*/ 30 w 216"/>
                <a:gd name="T5" fmla="*/ 144 h 222"/>
                <a:gd name="T6" fmla="*/ 48 w 216"/>
                <a:gd name="T7" fmla="*/ 156 h 222"/>
                <a:gd name="T8" fmla="*/ 60 w 216"/>
                <a:gd name="T9" fmla="*/ 168 h 222"/>
                <a:gd name="T10" fmla="*/ 78 w 216"/>
                <a:gd name="T11" fmla="*/ 180 h 222"/>
                <a:gd name="T12" fmla="*/ 96 w 216"/>
                <a:gd name="T13" fmla="*/ 192 h 222"/>
                <a:gd name="T14" fmla="*/ 102 w 216"/>
                <a:gd name="T15" fmla="*/ 204 h 222"/>
                <a:gd name="T16" fmla="*/ 120 w 216"/>
                <a:gd name="T17" fmla="*/ 210 h 222"/>
                <a:gd name="T18" fmla="*/ 138 w 216"/>
                <a:gd name="T19" fmla="*/ 222 h 222"/>
                <a:gd name="T20" fmla="*/ 150 w 216"/>
                <a:gd name="T21" fmla="*/ 216 h 222"/>
                <a:gd name="T22" fmla="*/ 168 w 216"/>
                <a:gd name="T23" fmla="*/ 198 h 222"/>
                <a:gd name="T24" fmla="*/ 192 w 216"/>
                <a:gd name="T25" fmla="*/ 186 h 222"/>
                <a:gd name="T26" fmla="*/ 216 w 216"/>
                <a:gd name="T27" fmla="*/ 168 h 222"/>
                <a:gd name="T28" fmla="*/ 204 w 216"/>
                <a:gd name="T29" fmla="*/ 156 h 222"/>
                <a:gd name="T30" fmla="*/ 192 w 216"/>
                <a:gd name="T31" fmla="*/ 132 h 222"/>
                <a:gd name="T32" fmla="*/ 192 w 216"/>
                <a:gd name="T33" fmla="*/ 114 h 222"/>
                <a:gd name="T34" fmla="*/ 192 w 216"/>
                <a:gd name="T35" fmla="*/ 90 h 222"/>
                <a:gd name="T36" fmla="*/ 186 w 216"/>
                <a:gd name="T37" fmla="*/ 72 h 222"/>
                <a:gd name="T38" fmla="*/ 174 w 216"/>
                <a:gd name="T39" fmla="*/ 54 h 222"/>
                <a:gd name="T40" fmla="*/ 174 w 216"/>
                <a:gd name="T41" fmla="*/ 30 h 222"/>
                <a:gd name="T42" fmla="*/ 174 w 216"/>
                <a:gd name="T43" fmla="*/ 6 h 222"/>
                <a:gd name="T44" fmla="*/ 162 w 216"/>
                <a:gd name="T45" fmla="*/ 0 h 222"/>
                <a:gd name="T46" fmla="*/ 144 w 216"/>
                <a:gd name="T47" fmla="*/ 0 h 222"/>
                <a:gd name="T48" fmla="*/ 120 w 216"/>
                <a:gd name="T49" fmla="*/ 0 h 222"/>
                <a:gd name="T50" fmla="*/ 90 w 216"/>
                <a:gd name="T51" fmla="*/ 12 h 222"/>
                <a:gd name="T52" fmla="*/ 78 w 216"/>
                <a:gd name="T53" fmla="*/ 18 h 222"/>
                <a:gd name="T54" fmla="*/ 72 w 216"/>
                <a:gd name="T55" fmla="*/ 24 h 222"/>
                <a:gd name="T56" fmla="*/ 72 w 216"/>
                <a:gd name="T57" fmla="*/ 48 h 222"/>
                <a:gd name="T58" fmla="*/ 78 w 216"/>
                <a:gd name="T59" fmla="*/ 60 h 222"/>
                <a:gd name="T60" fmla="*/ 54 w 216"/>
                <a:gd name="T61" fmla="*/ 66 h 222"/>
                <a:gd name="T62" fmla="*/ 42 w 216"/>
                <a:gd name="T63" fmla="*/ 78 h 222"/>
                <a:gd name="T64" fmla="*/ 30 w 216"/>
                <a:gd name="T65" fmla="*/ 90 h 222"/>
                <a:gd name="T66" fmla="*/ 6 w 216"/>
                <a:gd name="T67" fmla="*/ 9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6" h="222">
                  <a:moveTo>
                    <a:pt x="0" y="102"/>
                  </a:moveTo>
                  <a:lnTo>
                    <a:pt x="0" y="114"/>
                  </a:lnTo>
                  <a:lnTo>
                    <a:pt x="0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36" y="150"/>
                  </a:lnTo>
                  <a:lnTo>
                    <a:pt x="48" y="156"/>
                  </a:lnTo>
                  <a:lnTo>
                    <a:pt x="54" y="162"/>
                  </a:lnTo>
                  <a:lnTo>
                    <a:pt x="60" y="168"/>
                  </a:lnTo>
                  <a:lnTo>
                    <a:pt x="72" y="174"/>
                  </a:lnTo>
                  <a:lnTo>
                    <a:pt x="78" y="180"/>
                  </a:lnTo>
                  <a:lnTo>
                    <a:pt x="84" y="186"/>
                  </a:lnTo>
                  <a:lnTo>
                    <a:pt x="96" y="192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20" y="210"/>
                  </a:lnTo>
                  <a:lnTo>
                    <a:pt x="126" y="222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16"/>
                  </a:lnTo>
                  <a:lnTo>
                    <a:pt x="162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204" y="174"/>
                  </a:lnTo>
                  <a:lnTo>
                    <a:pt x="216" y="168"/>
                  </a:lnTo>
                  <a:lnTo>
                    <a:pt x="216" y="156"/>
                  </a:lnTo>
                  <a:lnTo>
                    <a:pt x="204" y="156"/>
                  </a:lnTo>
                  <a:lnTo>
                    <a:pt x="198" y="144"/>
                  </a:lnTo>
                  <a:lnTo>
                    <a:pt x="192" y="132"/>
                  </a:lnTo>
                  <a:lnTo>
                    <a:pt x="192" y="132"/>
                  </a:lnTo>
                  <a:lnTo>
                    <a:pt x="192" y="114"/>
                  </a:lnTo>
                  <a:lnTo>
                    <a:pt x="192" y="102"/>
                  </a:lnTo>
                  <a:lnTo>
                    <a:pt x="192" y="90"/>
                  </a:lnTo>
                  <a:lnTo>
                    <a:pt x="192" y="84"/>
                  </a:lnTo>
                  <a:lnTo>
                    <a:pt x="186" y="72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8" y="42"/>
                  </a:lnTo>
                  <a:lnTo>
                    <a:pt x="174" y="30"/>
                  </a:lnTo>
                  <a:lnTo>
                    <a:pt x="180" y="24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4" y="0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6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78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2" y="78"/>
                  </a:lnTo>
                  <a:lnTo>
                    <a:pt x="36" y="84"/>
                  </a:lnTo>
                  <a:lnTo>
                    <a:pt x="30" y="90"/>
                  </a:lnTo>
                  <a:lnTo>
                    <a:pt x="18" y="90"/>
                  </a:lnTo>
                  <a:lnTo>
                    <a:pt x="6" y="96"/>
                  </a:lnTo>
                  <a:lnTo>
                    <a:pt x="0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1" name="Freeform 147">
              <a:extLst>
                <a:ext uri="{FF2B5EF4-FFF2-40B4-BE49-F238E27FC236}">
                  <a16:creationId xmlns:a16="http://schemas.microsoft.com/office/drawing/2014/main" id="{1C8629C0-B1F1-4509-BDDB-AF7F438C422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1" y="174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2" name="Rectangle 148">
              <a:extLst>
                <a:ext uri="{FF2B5EF4-FFF2-40B4-BE49-F238E27FC236}">
                  <a16:creationId xmlns:a16="http://schemas.microsoft.com/office/drawing/2014/main" id="{DF9FD059-1CC9-41D4-9B36-5E222F62E3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37" y="1755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3" name="Freeform 149">
              <a:extLst>
                <a:ext uri="{FF2B5EF4-FFF2-40B4-BE49-F238E27FC236}">
                  <a16:creationId xmlns:a16="http://schemas.microsoft.com/office/drawing/2014/main" id="{42D1E79B-27F0-47DE-9854-9C12D027C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3" y="1761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4" name="Freeform 150">
              <a:extLst>
                <a:ext uri="{FF2B5EF4-FFF2-40B4-BE49-F238E27FC236}">
                  <a16:creationId xmlns:a16="http://schemas.microsoft.com/office/drawing/2014/main" id="{15AC9DEF-BEAD-4303-984D-64633D8FEDB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7" y="1743"/>
              <a:ext cx="6" cy="1"/>
            </a:xfrm>
            <a:custGeom>
              <a:avLst/>
              <a:gdLst>
                <a:gd name="T0" fmla="*/ 0 w 6"/>
                <a:gd name="T1" fmla="*/ 6 w 6"/>
                <a:gd name="T2" fmla="*/ 0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5" name="Rectangle 151">
              <a:extLst>
                <a:ext uri="{FF2B5EF4-FFF2-40B4-BE49-F238E27FC236}">
                  <a16:creationId xmlns:a16="http://schemas.microsoft.com/office/drawing/2014/main" id="{31D7C41F-A4C2-4C84-AE8F-5040E67D6A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47" y="1898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6" name="Freeform 152">
              <a:extLst>
                <a:ext uri="{FF2B5EF4-FFF2-40B4-BE49-F238E27FC236}">
                  <a16:creationId xmlns:a16="http://schemas.microsoft.com/office/drawing/2014/main" id="{39A87199-3A52-4709-BC94-6CCB52D584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659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BFBA8DFD-2CEE-4373-9AC3-655363B99A9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695"/>
              <a:ext cx="168" cy="168"/>
            </a:xfrm>
            <a:custGeom>
              <a:avLst/>
              <a:gdLst>
                <a:gd name="T0" fmla="*/ 156 w 168"/>
                <a:gd name="T1" fmla="*/ 168 h 168"/>
                <a:gd name="T2" fmla="*/ 156 w 168"/>
                <a:gd name="T3" fmla="*/ 162 h 168"/>
                <a:gd name="T4" fmla="*/ 168 w 168"/>
                <a:gd name="T5" fmla="*/ 162 h 168"/>
                <a:gd name="T6" fmla="*/ 168 w 168"/>
                <a:gd name="T7" fmla="*/ 150 h 168"/>
                <a:gd name="T8" fmla="*/ 168 w 168"/>
                <a:gd name="T9" fmla="*/ 138 h 168"/>
                <a:gd name="T10" fmla="*/ 168 w 168"/>
                <a:gd name="T11" fmla="*/ 126 h 168"/>
                <a:gd name="T12" fmla="*/ 168 w 168"/>
                <a:gd name="T13" fmla="*/ 114 h 168"/>
                <a:gd name="T14" fmla="*/ 162 w 168"/>
                <a:gd name="T15" fmla="*/ 102 h 168"/>
                <a:gd name="T16" fmla="*/ 162 w 168"/>
                <a:gd name="T17" fmla="*/ 90 h 168"/>
                <a:gd name="T18" fmla="*/ 162 w 168"/>
                <a:gd name="T19" fmla="*/ 78 h 168"/>
                <a:gd name="T20" fmla="*/ 162 w 168"/>
                <a:gd name="T21" fmla="*/ 66 h 168"/>
                <a:gd name="T22" fmla="*/ 162 w 168"/>
                <a:gd name="T23" fmla="*/ 54 h 168"/>
                <a:gd name="T24" fmla="*/ 162 w 168"/>
                <a:gd name="T25" fmla="*/ 48 h 168"/>
                <a:gd name="T26" fmla="*/ 162 w 168"/>
                <a:gd name="T27" fmla="*/ 36 h 168"/>
                <a:gd name="T28" fmla="*/ 162 w 168"/>
                <a:gd name="T29" fmla="*/ 24 h 168"/>
                <a:gd name="T30" fmla="*/ 162 w 168"/>
                <a:gd name="T31" fmla="*/ 18 h 168"/>
                <a:gd name="T32" fmla="*/ 156 w 168"/>
                <a:gd name="T33" fmla="*/ 12 h 168"/>
                <a:gd name="T34" fmla="*/ 138 w 168"/>
                <a:gd name="T35" fmla="*/ 12 h 168"/>
                <a:gd name="T36" fmla="*/ 138 w 168"/>
                <a:gd name="T37" fmla="*/ 6 h 168"/>
                <a:gd name="T38" fmla="*/ 126 w 168"/>
                <a:gd name="T39" fmla="*/ 0 h 168"/>
                <a:gd name="T40" fmla="*/ 114 w 168"/>
                <a:gd name="T41" fmla="*/ 6 h 168"/>
                <a:gd name="T42" fmla="*/ 108 w 168"/>
                <a:gd name="T43" fmla="*/ 12 h 168"/>
                <a:gd name="T44" fmla="*/ 108 w 168"/>
                <a:gd name="T45" fmla="*/ 30 h 168"/>
                <a:gd name="T46" fmla="*/ 96 w 168"/>
                <a:gd name="T47" fmla="*/ 36 h 168"/>
                <a:gd name="T48" fmla="*/ 84 w 168"/>
                <a:gd name="T49" fmla="*/ 30 h 168"/>
                <a:gd name="T50" fmla="*/ 72 w 168"/>
                <a:gd name="T51" fmla="*/ 24 h 168"/>
                <a:gd name="T52" fmla="*/ 60 w 168"/>
                <a:gd name="T53" fmla="*/ 18 h 168"/>
                <a:gd name="T54" fmla="*/ 54 w 168"/>
                <a:gd name="T55" fmla="*/ 12 h 168"/>
                <a:gd name="T56" fmla="*/ 48 w 168"/>
                <a:gd name="T57" fmla="*/ 6 h 168"/>
                <a:gd name="T58" fmla="*/ 36 w 168"/>
                <a:gd name="T59" fmla="*/ 6 h 168"/>
                <a:gd name="T60" fmla="*/ 18 w 168"/>
                <a:gd name="T61" fmla="*/ 0 h 168"/>
                <a:gd name="T62" fmla="*/ 18 w 168"/>
                <a:gd name="T63" fmla="*/ 12 h 168"/>
                <a:gd name="T64" fmla="*/ 12 w 168"/>
                <a:gd name="T65" fmla="*/ 18 h 168"/>
                <a:gd name="T66" fmla="*/ 6 w 168"/>
                <a:gd name="T67" fmla="*/ 24 h 168"/>
                <a:gd name="T68" fmla="*/ 6 w 168"/>
                <a:gd name="T69" fmla="*/ 30 h 168"/>
                <a:gd name="T70" fmla="*/ 0 w 168"/>
                <a:gd name="T71" fmla="*/ 36 h 168"/>
                <a:gd name="T72" fmla="*/ 0 w 168"/>
                <a:gd name="T73" fmla="*/ 42 h 168"/>
                <a:gd name="T74" fmla="*/ 0 w 168"/>
                <a:gd name="T75" fmla="*/ 54 h 168"/>
                <a:gd name="T76" fmla="*/ 0 w 168"/>
                <a:gd name="T77" fmla="*/ 66 h 168"/>
                <a:gd name="T78" fmla="*/ 0 w 168"/>
                <a:gd name="T79" fmla="*/ 84 h 168"/>
                <a:gd name="T80" fmla="*/ 0 w 168"/>
                <a:gd name="T81" fmla="*/ 84 h 168"/>
                <a:gd name="T82" fmla="*/ 6 w 168"/>
                <a:gd name="T83" fmla="*/ 96 h 168"/>
                <a:gd name="T84" fmla="*/ 12 w 168"/>
                <a:gd name="T85" fmla="*/ 108 h 168"/>
                <a:gd name="T86" fmla="*/ 24 w 168"/>
                <a:gd name="T87" fmla="*/ 108 h 168"/>
                <a:gd name="T88" fmla="*/ 24 w 168"/>
                <a:gd name="T89" fmla="*/ 120 h 168"/>
                <a:gd name="T90" fmla="*/ 42 w 168"/>
                <a:gd name="T91" fmla="*/ 126 h 168"/>
                <a:gd name="T92" fmla="*/ 48 w 168"/>
                <a:gd name="T93" fmla="*/ 132 h 168"/>
                <a:gd name="T94" fmla="*/ 60 w 168"/>
                <a:gd name="T95" fmla="*/ 126 h 168"/>
                <a:gd name="T96" fmla="*/ 72 w 168"/>
                <a:gd name="T97" fmla="*/ 120 h 168"/>
                <a:gd name="T98" fmla="*/ 78 w 168"/>
                <a:gd name="T99" fmla="*/ 126 h 168"/>
                <a:gd name="T100" fmla="*/ 90 w 168"/>
                <a:gd name="T101" fmla="*/ 132 h 168"/>
                <a:gd name="T102" fmla="*/ 102 w 168"/>
                <a:gd name="T103" fmla="*/ 138 h 168"/>
                <a:gd name="T104" fmla="*/ 114 w 168"/>
                <a:gd name="T105" fmla="*/ 144 h 168"/>
                <a:gd name="T106" fmla="*/ 126 w 168"/>
                <a:gd name="T107" fmla="*/ 150 h 168"/>
                <a:gd name="T108" fmla="*/ 132 w 168"/>
                <a:gd name="T109" fmla="*/ 156 h 168"/>
                <a:gd name="T110" fmla="*/ 144 w 168"/>
                <a:gd name="T111" fmla="*/ 162 h 168"/>
                <a:gd name="T112" fmla="*/ 156 w 168"/>
                <a:gd name="T113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168">
                  <a:moveTo>
                    <a:pt x="156" y="168"/>
                  </a:moveTo>
                  <a:lnTo>
                    <a:pt x="156" y="162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68" y="138"/>
                  </a:lnTo>
                  <a:lnTo>
                    <a:pt x="168" y="126"/>
                  </a:lnTo>
                  <a:lnTo>
                    <a:pt x="168" y="114"/>
                  </a:lnTo>
                  <a:lnTo>
                    <a:pt x="162" y="102"/>
                  </a:lnTo>
                  <a:lnTo>
                    <a:pt x="162" y="90"/>
                  </a:lnTo>
                  <a:lnTo>
                    <a:pt x="162" y="78"/>
                  </a:lnTo>
                  <a:lnTo>
                    <a:pt x="162" y="66"/>
                  </a:lnTo>
                  <a:lnTo>
                    <a:pt x="162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2" y="18"/>
                  </a:lnTo>
                  <a:lnTo>
                    <a:pt x="156" y="12"/>
                  </a:lnTo>
                  <a:lnTo>
                    <a:pt x="138" y="12"/>
                  </a:lnTo>
                  <a:lnTo>
                    <a:pt x="138" y="6"/>
                  </a:lnTo>
                  <a:lnTo>
                    <a:pt x="126" y="0"/>
                  </a:lnTo>
                  <a:lnTo>
                    <a:pt x="114" y="6"/>
                  </a:lnTo>
                  <a:lnTo>
                    <a:pt x="108" y="12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24"/>
                  </a:lnTo>
                  <a:lnTo>
                    <a:pt x="60" y="18"/>
                  </a:lnTo>
                  <a:lnTo>
                    <a:pt x="54" y="12"/>
                  </a:lnTo>
                  <a:lnTo>
                    <a:pt x="48" y="6"/>
                  </a:lnTo>
                  <a:lnTo>
                    <a:pt x="36" y="6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24" y="108"/>
                  </a:lnTo>
                  <a:lnTo>
                    <a:pt x="24" y="120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60" y="126"/>
                  </a:lnTo>
                  <a:lnTo>
                    <a:pt x="72" y="120"/>
                  </a:lnTo>
                  <a:lnTo>
                    <a:pt x="78" y="126"/>
                  </a:lnTo>
                  <a:lnTo>
                    <a:pt x="90" y="132"/>
                  </a:lnTo>
                  <a:lnTo>
                    <a:pt x="102" y="138"/>
                  </a:lnTo>
                  <a:lnTo>
                    <a:pt x="114" y="144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44" y="162"/>
                  </a:lnTo>
                  <a:lnTo>
                    <a:pt x="156" y="16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C9F7E6B9-EFBB-4956-B33B-5496580A2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9" y="1797"/>
              <a:ext cx="180" cy="179"/>
            </a:xfrm>
            <a:custGeom>
              <a:avLst/>
              <a:gdLst>
                <a:gd name="T0" fmla="*/ 36 w 180"/>
                <a:gd name="T1" fmla="*/ 173 h 179"/>
                <a:gd name="T2" fmla="*/ 42 w 180"/>
                <a:gd name="T3" fmla="*/ 179 h 179"/>
                <a:gd name="T4" fmla="*/ 54 w 180"/>
                <a:gd name="T5" fmla="*/ 179 h 179"/>
                <a:gd name="T6" fmla="*/ 66 w 180"/>
                <a:gd name="T7" fmla="*/ 173 h 179"/>
                <a:gd name="T8" fmla="*/ 72 w 180"/>
                <a:gd name="T9" fmla="*/ 179 h 179"/>
                <a:gd name="T10" fmla="*/ 78 w 180"/>
                <a:gd name="T11" fmla="*/ 161 h 179"/>
                <a:gd name="T12" fmla="*/ 84 w 180"/>
                <a:gd name="T13" fmla="*/ 149 h 179"/>
                <a:gd name="T14" fmla="*/ 96 w 180"/>
                <a:gd name="T15" fmla="*/ 143 h 179"/>
                <a:gd name="T16" fmla="*/ 102 w 180"/>
                <a:gd name="T17" fmla="*/ 137 h 179"/>
                <a:gd name="T18" fmla="*/ 108 w 180"/>
                <a:gd name="T19" fmla="*/ 131 h 179"/>
                <a:gd name="T20" fmla="*/ 126 w 180"/>
                <a:gd name="T21" fmla="*/ 119 h 179"/>
                <a:gd name="T22" fmla="*/ 138 w 180"/>
                <a:gd name="T23" fmla="*/ 125 h 179"/>
                <a:gd name="T24" fmla="*/ 156 w 180"/>
                <a:gd name="T25" fmla="*/ 119 h 179"/>
                <a:gd name="T26" fmla="*/ 174 w 180"/>
                <a:gd name="T27" fmla="*/ 107 h 179"/>
                <a:gd name="T28" fmla="*/ 180 w 180"/>
                <a:gd name="T29" fmla="*/ 89 h 179"/>
                <a:gd name="T30" fmla="*/ 180 w 180"/>
                <a:gd name="T31" fmla="*/ 72 h 179"/>
                <a:gd name="T32" fmla="*/ 162 w 180"/>
                <a:gd name="T33" fmla="*/ 60 h 179"/>
                <a:gd name="T34" fmla="*/ 144 w 180"/>
                <a:gd name="T35" fmla="*/ 54 h 179"/>
                <a:gd name="T36" fmla="*/ 138 w 180"/>
                <a:gd name="T37" fmla="*/ 42 h 179"/>
                <a:gd name="T38" fmla="*/ 120 w 180"/>
                <a:gd name="T39" fmla="*/ 30 h 179"/>
                <a:gd name="T40" fmla="*/ 102 w 180"/>
                <a:gd name="T41" fmla="*/ 18 h 179"/>
                <a:gd name="T42" fmla="*/ 90 w 180"/>
                <a:gd name="T43" fmla="*/ 6 h 179"/>
                <a:gd name="T44" fmla="*/ 72 w 180"/>
                <a:gd name="T45" fmla="*/ 0 h 179"/>
                <a:gd name="T46" fmla="*/ 66 w 180"/>
                <a:gd name="T47" fmla="*/ 12 h 179"/>
                <a:gd name="T48" fmla="*/ 66 w 180"/>
                <a:gd name="T49" fmla="*/ 36 h 179"/>
                <a:gd name="T50" fmla="*/ 66 w 180"/>
                <a:gd name="T51" fmla="*/ 66 h 179"/>
                <a:gd name="T52" fmla="*/ 72 w 180"/>
                <a:gd name="T53" fmla="*/ 89 h 179"/>
                <a:gd name="T54" fmla="*/ 72 w 180"/>
                <a:gd name="T55" fmla="*/ 107 h 179"/>
                <a:gd name="T56" fmla="*/ 60 w 180"/>
                <a:gd name="T57" fmla="*/ 113 h 179"/>
                <a:gd name="T58" fmla="*/ 42 w 180"/>
                <a:gd name="T59" fmla="*/ 113 h 179"/>
                <a:gd name="T60" fmla="*/ 30 w 180"/>
                <a:gd name="T61" fmla="*/ 113 h 179"/>
                <a:gd name="T62" fmla="*/ 12 w 180"/>
                <a:gd name="T63" fmla="*/ 119 h 179"/>
                <a:gd name="T64" fmla="*/ 0 w 180"/>
                <a:gd name="T65" fmla="*/ 125 h 179"/>
                <a:gd name="T66" fmla="*/ 0 w 180"/>
                <a:gd name="T67" fmla="*/ 137 h 179"/>
                <a:gd name="T68" fmla="*/ 6 w 180"/>
                <a:gd name="T69" fmla="*/ 155 h 179"/>
                <a:gd name="T70" fmla="*/ 12 w 180"/>
                <a:gd name="T71" fmla="*/ 155 h 179"/>
                <a:gd name="T72" fmla="*/ 24 w 180"/>
                <a:gd name="T73" fmla="*/ 155 h 179"/>
                <a:gd name="T74" fmla="*/ 30 w 180"/>
                <a:gd name="T75" fmla="*/ 155 h 179"/>
                <a:gd name="T76" fmla="*/ 42 w 180"/>
                <a:gd name="T77" fmla="*/ 16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79">
                  <a:moveTo>
                    <a:pt x="42" y="167"/>
                  </a:moveTo>
                  <a:lnTo>
                    <a:pt x="36" y="173"/>
                  </a:lnTo>
                  <a:lnTo>
                    <a:pt x="42" y="173"/>
                  </a:lnTo>
                  <a:lnTo>
                    <a:pt x="42" y="179"/>
                  </a:lnTo>
                  <a:lnTo>
                    <a:pt x="48" y="179"/>
                  </a:lnTo>
                  <a:lnTo>
                    <a:pt x="54" y="179"/>
                  </a:lnTo>
                  <a:lnTo>
                    <a:pt x="60" y="179"/>
                  </a:lnTo>
                  <a:lnTo>
                    <a:pt x="66" y="173"/>
                  </a:lnTo>
                  <a:lnTo>
                    <a:pt x="66" y="179"/>
                  </a:lnTo>
                  <a:lnTo>
                    <a:pt x="72" y="179"/>
                  </a:lnTo>
                  <a:lnTo>
                    <a:pt x="72" y="161"/>
                  </a:lnTo>
                  <a:lnTo>
                    <a:pt x="78" y="161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6" y="137"/>
                  </a:lnTo>
                  <a:lnTo>
                    <a:pt x="102" y="137"/>
                  </a:lnTo>
                  <a:lnTo>
                    <a:pt x="102" y="131"/>
                  </a:lnTo>
                  <a:lnTo>
                    <a:pt x="108" y="131"/>
                  </a:lnTo>
                  <a:lnTo>
                    <a:pt x="108" y="125"/>
                  </a:lnTo>
                  <a:lnTo>
                    <a:pt x="126" y="119"/>
                  </a:lnTo>
                  <a:lnTo>
                    <a:pt x="132" y="125"/>
                  </a:lnTo>
                  <a:lnTo>
                    <a:pt x="138" y="125"/>
                  </a:lnTo>
                  <a:lnTo>
                    <a:pt x="144" y="119"/>
                  </a:lnTo>
                  <a:lnTo>
                    <a:pt x="156" y="119"/>
                  </a:lnTo>
                  <a:lnTo>
                    <a:pt x="168" y="119"/>
                  </a:lnTo>
                  <a:lnTo>
                    <a:pt x="174" y="107"/>
                  </a:lnTo>
                  <a:lnTo>
                    <a:pt x="174" y="95"/>
                  </a:lnTo>
                  <a:lnTo>
                    <a:pt x="180" y="89"/>
                  </a:lnTo>
                  <a:lnTo>
                    <a:pt x="180" y="77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62" y="60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26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66" y="24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6" y="66"/>
                  </a:lnTo>
                  <a:lnTo>
                    <a:pt x="72" y="77"/>
                  </a:lnTo>
                  <a:lnTo>
                    <a:pt x="72" y="89"/>
                  </a:lnTo>
                  <a:lnTo>
                    <a:pt x="72" y="101"/>
                  </a:lnTo>
                  <a:lnTo>
                    <a:pt x="72" y="107"/>
                  </a:lnTo>
                  <a:lnTo>
                    <a:pt x="72" y="113"/>
                  </a:lnTo>
                  <a:lnTo>
                    <a:pt x="60" y="113"/>
                  </a:lnTo>
                  <a:lnTo>
                    <a:pt x="54" y="113"/>
                  </a:lnTo>
                  <a:lnTo>
                    <a:pt x="42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6" y="11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6" y="143"/>
                  </a:lnTo>
                  <a:lnTo>
                    <a:pt x="6" y="155"/>
                  </a:lnTo>
                  <a:lnTo>
                    <a:pt x="6" y="155"/>
                  </a:lnTo>
                  <a:lnTo>
                    <a:pt x="12" y="155"/>
                  </a:lnTo>
                  <a:lnTo>
                    <a:pt x="18" y="161"/>
                  </a:lnTo>
                  <a:lnTo>
                    <a:pt x="24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6" y="161"/>
                  </a:lnTo>
                  <a:lnTo>
                    <a:pt x="42" y="16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59" name="Rectangle 155">
              <a:extLst>
                <a:ext uri="{FF2B5EF4-FFF2-40B4-BE49-F238E27FC236}">
                  <a16:creationId xmlns:a16="http://schemas.microsoft.com/office/drawing/2014/main" id="{A268B1A5-913D-4FD8-8397-F21574F0EE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61" y="165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0" name="Freeform 156">
              <a:extLst>
                <a:ext uri="{FF2B5EF4-FFF2-40B4-BE49-F238E27FC236}">
                  <a16:creationId xmlns:a16="http://schemas.microsoft.com/office/drawing/2014/main" id="{41F25CBD-A6F4-4833-A41D-DC2E93FB7F3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7"/>
              <a:ext cx="132" cy="155"/>
            </a:xfrm>
            <a:custGeom>
              <a:avLst/>
              <a:gdLst>
                <a:gd name="T0" fmla="*/ 12 w 132"/>
                <a:gd name="T1" fmla="*/ 131 h 155"/>
                <a:gd name="T2" fmla="*/ 6 w 132"/>
                <a:gd name="T3" fmla="*/ 137 h 155"/>
                <a:gd name="T4" fmla="*/ 12 w 132"/>
                <a:gd name="T5" fmla="*/ 125 h 155"/>
                <a:gd name="T6" fmla="*/ 12 w 132"/>
                <a:gd name="T7" fmla="*/ 107 h 155"/>
                <a:gd name="T8" fmla="*/ 12 w 132"/>
                <a:gd name="T9" fmla="*/ 96 h 155"/>
                <a:gd name="T10" fmla="*/ 12 w 132"/>
                <a:gd name="T11" fmla="*/ 84 h 155"/>
                <a:gd name="T12" fmla="*/ 0 w 132"/>
                <a:gd name="T13" fmla="*/ 78 h 155"/>
                <a:gd name="T14" fmla="*/ 0 w 132"/>
                <a:gd name="T15" fmla="*/ 84 h 155"/>
                <a:gd name="T16" fmla="*/ 6 w 132"/>
                <a:gd name="T17" fmla="*/ 72 h 155"/>
                <a:gd name="T18" fmla="*/ 12 w 132"/>
                <a:gd name="T19" fmla="*/ 72 h 155"/>
                <a:gd name="T20" fmla="*/ 24 w 132"/>
                <a:gd name="T21" fmla="*/ 72 h 155"/>
                <a:gd name="T22" fmla="*/ 36 w 132"/>
                <a:gd name="T23" fmla="*/ 72 h 155"/>
                <a:gd name="T24" fmla="*/ 48 w 132"/>
                <a:gd name="T25" fmla="*/ 72 h 155"/>
                <a:gd name="T26" fmla="*/ 48 w 132"/>
                <a:gd name="T27" fmla="*/ 66 h 155"/>
                <a:gd name="T28" fmla="*/ 48 w 132"/>
                <a:gd name="T29" fmla="*/ 54 h 155"/>
                <a:gd name="T30" fmla="*/ 60 w 132"/>
                <a:gd name="T31" fmla="*/ 48 h 155"/>
                <a:gd name="T32" fmla="*/ 60 w 132"/>
                <a:gd name="T33" fmla="*/ 30 h 155"/>
                <a:gd name="T34" fmla="*/ 60 w 132"/>
                <a:gd name="T35" fmla="*/ 18 h 155"/>
                <a:gd name="T36" fmla="*/ 66 w 132"/>
                <a:gd name="T37" fmla="*/ 18 h 155"/>
                <a:gd name="T38" fmla="*/ 78 w 132"/>
                <a:gd name="T39" fmla="*/ 18 h 155"/>
                <a:gd name="T40" fmla="*/ 84 w 132"/>
                <a:gd name="T41" fmla="*/ 18 h 155"/>
                <a:gd name="T42" fmla="*/ 96 w 132"/>
                <a:gd name="T43" fmla="*/ 18 h 155"/>
                <a:gd name="T44" fmla="*/ 96 w 132"/>
                <a:gd name="T45" fmla="*/ 0 h 155"/>
                <a:gd name="T46" fmla="*/ 102 w 132"/>
                <a:gd name="T47" fmla="*/ 6 h 155"/>
                <a:gd name="T48" fmla="*/ 114 w 132"/>
                <a:gd name="T49" fmla="*/ 12 h 155"/>
                <a:gd name="T50" fmla="*/ 126 w 132"/>
                <a:gd name="T51" fmla="*/ 24 h 155"/>
                <a:gd name="T52" fmla="*/ 132 w 132"/>
                <a:gd name="T53" fmla="*/ 30 h 155"/>
                <a:gd name="T54" fmla="*/ 126 w 132"/>
                <a:gd name="T55" fmla="*/ 30 h 155"/>
                <a:gd name="T56" fmla="*/ 114 w 132"/>
                <a:gd name="T57" fmla="*/ 30 h 155"/>
                <a:gd name="T58" fmla="*/ 120 w 132"/>
                <a:gd name="T59" fmla="*/ 42 h 155"/>
                <a:gd name="T60" fmla="*/ 120 w 132"/>
                <a:gd name="T61" fmla="*/ 54 h 155"/>
                <a:gd name="T62" fmla="*/ 120 w 132"/>
                <a:gd name="T63" fmla="*/ 66 h 155"/>
                <a:gd name="T64" fmla="*/ 120 w 132"/>
                <a:gd name="T65" fmla="*/ 84 h 155"/>
                <a:gd name="T66" fmla="*/ 120 w 132"/>
                <a:gd name="T67" fmla="*/ 96 h 155"/>
                <a:gd name="T68" fmla="*/ 126 w 132"/>
                <a:gd name="T69" fmla="*/ 107 h 155"/>
                <a:gd name="T70" fmla="*/ 126 w 132"/>
                <a:gd name="T71" fmla="*/ 119 h 155"/>
                <a:gd name="T72" fmla="*/ 126 w 132"/>
                <a:gd name="T73" fmla="*/ 131 h 155"/>
                <a:gd name="T74" fmla="*/ 126 w 132"/>
                <a:gd name="T75" fmla="*/ 137 h 155"/>
                <a:gd name="T76" fmla="*/ 126 w 132"/>
                <a:gd name="T77" fmla="*/ 143 h 155"/>
                <a:gd name="T78" fmla="*/ 114 w 132"/>
                <a:gd name="T79" fmla="*/ 143 h 155"/>
                <a:gd name="T80" fmla="*/ 108 w 132"/>
                <a:gd name="T81" fmla="*/ 143 h 155"/>
                <a:gd name="T82" fmla="*/ 96 w 132"/>
                <a:gd name="T83" fmla="*/ 143 h 155"/>
                <a:gd name="T84" fmla="*/ 84 w 132"/>
                <a:gd name="T85" fmla="*/ 143 h 155"/>
                <a:gd name="T86" fmla="*/ 84 w 132"/>
                <a:gd name="T87" fmla="*/ 143 h 155"/>
                <a:gd name="T88" fmla="*/ 66 w 132"/>
                <a:gd name="T89" fmla="*/ 149 h 155"/>
                <a:gd name="T90" fmla="*/ 66 w 132"/>
                <a:gd name="T91" fmla="*/ 149 h 155"/>
                <a:gd name="T92" fmla="*/ 60 w 132"/>
                <a:gd name="T93" fmla="*/ 143 h 155"/>
                <a:gd name="T94" fmla="*/ 54 w 132"/>
                <a:gd name="T95" fmla="*/ 155 h 155"/>
                <a:gd name="T96" fmla="*/ 54 w 132"/>
                <a:gd name="T97" fmla="*/ 155 h 155"/>
                <a:gd name="T98" fmla="*/ 48 w 132"/>
                <a:gd name="T99" fmla="*/ 143 h 155"/>
                <a:gd name="T100" fmla="*/ 36 w 132"/>
                <a:gd name="T101" fmla="*/ 137 h 155"/>
                <a:gd name="T102" fmla="*/ 24 w 132"/>
                <a:gd name="T103" fmla="*/ 131 h 155"/>
                <a:gd name="T104" fmla="*/ 18 w 132"/>
                <a:gd name="T105" fmla="*/ 131 h 155"/>
                <a:gd name="T106" fmla="*/ 12 w 132"/>
                <a:gd name="T107" fmla="*/ 13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155">
                  <a:moveTo>
                    <a:pt x="12" y="131"/>
                  </a:moveTo>
                  <a:lnTo>
                    <a:pt x="6" y="137"/>
                  </a:lnTo>
                  <a:lnTo>
                    <a:pt x="12" y="125"/>
                  </a:lnTo>
                  <a:lnTo>
                    <a:pt x="12" y="107"/>
                  </a:lnTo>
                  <a:lnTo>
                    <a:pt x="12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72"/>
                  </a:lnTo>
                  <a:lnTo>
                    <a:pt x="36" y="72"/>
                  </a:lnTo>
                  <a:lnTo>
                    <a:pt x="48" y="72"/>
                  </a:lnTo>
                  <a:lnTo>
                    <a:pt x="48" y="66"/>
                  </a:lnTo>
                  <a:lnTo>
                    <a:pt x="48" y="54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6" y="18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6" y="24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0" y="54"/>
                  </a:lnTo>
                  <a:lnTo>
                    <a:pt x="120" y="66"/>
                  </a:lnTo>
                  <a:lnTo>
                    <a:pt x="120" y="84"/>
                  </a:lnTo>
                  <a:lnTo>
                    <a:pt x="120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126" y="131"/>
                  </a:lnTo>
                  <a:lnTo>
                    <a:pt x="126" y="137"/>
                  </a:lnTo>
                  <a:lnTo>
                    <a:pt x="126" y="143"/>
                  </a:lnTo>
                  <a:lnTo>
                    <a:pt x="114" y="143"/>
                  </a:lnTo>
                  <a:lnTo>
                    <a:pt x="108" y="143"/>
                  </a:lnTo>
                  <a:lnTo>
                    <a:pt x="96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0" y="143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48" y="143"/>
                  </a:lnTo>
                  <a:lnTo>
                    <a:pt x="36" y="137"/>
                  </a:lnTo>
                  <a:lnTo>
                    <a:pt x="24" y="131"/>
                  </a:lnTo>
                  <a:lnTo>
                    <a:pt x="18" y="131"/>
                  </a:lnTo>
                  <a:lnTo>
                    <a:pt x="12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1" name="Freeform 157">
              <a:extLst>
                <a:ext uri="{FF2B5EF4-FFF2-40B4-BE49-F238E27FC236}">
                  <a16:creationId xmlns:a16="http://schemas.microsoft.com/office/drawing/2014/main" id="{1FA4654A-9B27-465B-B43C-370F294DE1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3" y="1659"/>
              <a:ext cx="126" cy="102"/>
            </a:xfrm>
            <a:custGeom>
              <a:avLst/>
              <a:gdLst>
                <a:gd name="T0" fmla="*/ 66 w 126"/>
                <a:gd name="T1" fmla="*/ 24 h 102"/>
                <a:gd name="T2" fmla="*/ 54 w 126"/>
                <a:gd name="T3" fmla="*/ 36 h 102"/>
                <a:gd name="T4" fmla="*/ 48 w 126"/>
                <a:gd name="T5" fmla="*/ 42 h 102"/>
                <a:gd name="T6" fmla="*/ 42 w 126"/>
                <a:gd name="T7" fmla="*/ 48 h 102"/>
                <a:gd name="T8" fmla="*/ 36 w 126"/>
                <a:gd name="T9" fmla="*/ 60 h 102"/>
                <a:gd name="T10" fmla="*/ 36 w 126"/>
                <a:gd name="T11" fmla="*/ 66 h 102"/>
                <a:gd name="T12" fmla="*/ 30 w 126"/>
                <a:gd name="T13" fmla="*/ 78 h 102"/>
                <a:gd name="T14" fmla="*/ 24 w 126"/>
                <a:gd name="T15" fmla="*/ 90 h 102"/>
                <a:gd name="T16" fmla="*/ 18 w 126"/>
                <a:gd name="T17" fmla="*/ 90 h 102"/>
                <a:gd name="T18" fmla="*/ 12 w 126"/>
                <a:gd name="T19" fmla="*/ 96 h 102"/>
                <a:gd name="T20" fmla="*/ 0 w 126"/>
                <a:gd name="T21" fmla="*/ 102 h 102"/>
                <a:gd name="T22" fmla="*/ 12 w 126"/>
                <a:gd name="T23" fmla="*/ 102 h 102"/>
                <a:gd name="T24" fmla="*/ 24 w 126"/>
                <a:gd name="T25" fmla="*/ 102 h 102"/>
                <a:gd name="T26" fmla="*/ 36 w 126"/>
                <a:gd name="T27" fmla="*/ 102 h 102"/>
                <a:gd name="T28" fmla="*/ 48 w 126"/>
                <a:gd name="T29" fmla="*/ 102 h 102"/>
                <a:gd name="T30" fmla="*/ 48 w 126"/>
                <a:gd name="T31" fmla="*/ 90 h 102"/>
                <a:gd name="T32" fmla="*/ 54 w 126"/>
                <a:gd name="T33" fmla="*/ 84 h 102"/>
                <a:gd name="T34" fmla="*/ 66 w 126"/>
                <a:gd name="T35" fmla="*/ 78 h 102"/>
                <a:gd name="T36" fmla="*/ 78 w 126"/>
                <a:gd name="T37" fmla="*/ 78 h 102"/>
                <a:gd name="T38" fmla="*/ 84 w 126"/>
                <a:gd name="T39" fmla="*/ 72 h 102"/>
                <a:gd name="T40" fmla="*/ 90 w 126"/>
                <a:gd name="T41" fmla="*/ 66 h 102"/>
                <a:gd name="T42" fmla="*/ 102 w 126"/>
                <a:gd name="T43" fmla="*/ 60 h 102"/>
                <a:gd name="T44" fmla="*/ 102 w 126"/>
                <a:gd name="T45" fmla="*/ 54 h 102"/>
                <a:gd name="T46" fmla="*/ 114 w 126"/>
                <a:gd name="T47" fmla="*/ 48 h 102"/>
                <a:gd name="T48" fmla="*/ 126 w 126"/>
                <a:gd name="T49" fmla="*/ 48 h 102"/>
                <a:gd name="T50" fmla="*/ 126 w 126"/>
                <a:gd name="T51" fmla="*/ 42 h 102"/>
                <a:gd name="T52" fmla="*/ 120 w 126"/>
                <a:gd name="T53" fmla="*/ 36 h 102"/>
                <a:gd name="T54" fmla="*/ 120 w 126"/>
                <a:gd name="T55" fmla="*/ 24 h 102"/>
                <a:gd name="T56" fmla="*/ 120 w 126"/>
                <a:gd name="T57" fmla="*/ 12 h 102"/>
                <a:gd name="T58" fmla="*/ 114 w 126"/>
                <a:gd name="T59" fmla="*/ 12 h 102"/>
                <a:gd name="T60" fmla="*/ 108 w 126"/>
                <a:gd name="T61" fmla="*/ 12 h 102"/>
                <a:gd name="T62" fmla="*/ 108 w 126"/>
                <a:gd name="T63" fmla="*/ 12 h 102"/>
                <a:gd name="T64" fmla="*/ 90 w 126"/>
                <a:gd name="T65" fmla="*/ 6 h 102"/>
                <a:gd name="T66" fmla="*/ 84 w 126"/>
                <a:gd name="T67" fmla="*/ 0 h 102"/>
                <a:gd name="T68" fmla="*/ 78 w 126"/>
                <a:gd name="T69" fmla="*/ 6 h 102"/>
                <a:gd name="T70" fmla="*/ 72 w 126"/>
                <a:gd name="T71" fmla="*/ 18 h 102"/>
                <a:gd name="T72" fmla="*/ 66 w 126"/>
                <a:gd name="T73" fmla="*/ 2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102">
                  <a:moveTo>
                    <a:pt x="66" y="24"/>
                  </a:moveTo>
                  <a:lnTo>
                    <a:pt x="54" y="36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78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48" y="102"/>
                  </a:lnTo>
                  <a:lnTo>
                    <a:pt x="48" y="90"/>
                  </a:lnTo>
                  <a:lnTo>
                    <a:pt x="54" y="84"/>
                  </a:lnTo>
                  <a:lnTo>
                    <a:pt x="66" y="78"/>
                  </a:lnTo>
                  <a:lnTo>
                    <a:pt x="78" y="78"/>
                  </a:lnTo>
                  <a:lnTo>
                    <a:pt x="84" y="72"/>
                  </a:lnTo>
                  <a:lnTo>
                    <a:pt x="9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14" y="48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120" y="12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2" name="Freeform 158">
              <a:extLst>
                <a:ext uri="{FF2B5EF4-FFF2-40B4-BE49-F238E27FC236}">
                  <a16:creationId xmlns:a16="http://schemas.microsoft.com/office/drawing/2014/main" id="{DEDFAE51-4B26-4DD3-894D-A75D1AAC91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11" y="1815"/>
              <a:ext cx="174" cy="143"/>
            </a:xfrm>
            <a:custGeom>
              <a:avLst/>
              <a:gdLst>
                <a:gd name="T0" fmla="*/ 18 w 174"/>
                <a:gd name="T1" fmla="*/ 131 h 143"/>
                <a:gd name="T2" fmla="*/ 18 w 174"/>
                <a:gd name="T3" fmla="*/ 131 h 143"/>
                <a:gd name="T4" fmla="*/ 12 w 174"/>
                <a:gd name="T5" fmla="*/ 125 h 143"/>
                <a:gd name="T6" fmla="*/ 12 w 174"/>
                <a:gd name="T7" fmla="*/ 125 h 143"/>
                <a:gd name="T8" fmla="*/ 12 w 174"/>
                <a:gd name="T9" fmla="*/ 125 h 143"/>
                <a:gd name="T10" fmla="*/ 6 w 174"/>
                <a:gd name="T11" fmla="*/ 113 h 143"/>
                <a:gd name="T12" fmla="*/ 0 w 174"/>
                <a:gd name="T13" fmla="*/ 107 h 143"/>
                <a:gd name="T14" fmla="*/ 6 w 174"/>
                <a:gd name="T15" fmla="*/ 107 h 143"/>
                <a:gd name="T16" fmla="*/ 12 w 174"/>
                <a:gd name="T17" fmla="*/ 101 h 143"/>
                <a:gd name="T18" fmla="*/ 24 w 174"/>
                <a:gd name="T19" fmla="*/ 101 h 143"/>
                <a:gd name="T20" fmla="*/ 36 w 174"/>
                <a:gd name="T21" fmla="*/ 101 h 143"/>
                <a:gd name="T22" fmla="*/ 42 w 174"/>
                <a:gd name="T23" fmla="*/ 89 h 143"/>
                <a:gd name="T24" fmla="*/ 42 w 174"/>
                <a:gd name="T25" fmla="*/ 77 h 143"/>
                <a:gd name="T26" fmla="*/ 48 w 174"/>
                <a:gd name="T27" fmla="*/ 71 h 143"/>
                <a:gd name="T28" fmla="*/ 48 w 174"/>
                <a:gd name="T29" fmla="*/ 59 h 143"/>
                <a:gd name="T30" fmla="*/ 48 w 174"/>
                <a:gd name="T31" fmla="*/ 54 h 143"/>
                <a:gd name="T32" fmla="*/ 54 w 174"/>
                <a:gd name="T33" fmla="*/ 54 h 143"/>
                <a:gd name="T34" fmla="*/ 60 w 174"/>
                <a:gd name="T35" fmla="*/ 48 h 143"/>
                <a:gd name="T36" fmla="*/ 72 w 174"/>
                <a:gd name="T37" fmla="*/ 42 h 143"/>
                <a:gd name="T38" fmla="*/ 78 w 174"/>
                <a:gd name="T39" fmla="*/ 30 h 143"/>
                <a:gd name="T40" fmla="*/ 90 w 174"/>
                <a:gd name="T41" fmla="*/ 24 h 143"/>
                <a:gd name="T42" fmla="*/ 102 w 174"/>
                <a:gd name="T43" fmla="*/ 18 h 143"/>
                <a:gd name="T44" fmla="*/ 114 w 174"/>
                <a:gd name="T45" fmla="*/ 6 h 143"/>
                <a:gd name="T46" fmla="*/ 126 w 174"/>
                <a:gd name="T47" fmla="*/ 0 h 143"/>
                <a:gd name="T48" fmla="*/ 144 w 174"/>
                <a:gd name="T49" fmla="*/ 6 h 143"/>
                <a:gd name="T50" fmla="*/ 150 w 174"/>
                <a:gd name="T51" fmla="*/ 12 h 143"/>
                <a:gd name="T52" fmla="*/ 162 w 174"/>
                <a:gd name="T53" fmla="*/ 6 h 143"/>
                <a:gd name="T54" fmla="*/ 162 w 174"/>
                <a:gd name="T55" fmla="*/ 12 h 143"/>
                <a:gd name="T56" fmla="*/ 162 w 174"/>
                <a:gd name="T57" fmla="*/ 24 h 143"/>
                <a:gd name="T58" fmla="*/ 174 w 174"/>
                <a:gd name="T59" fmla="*/ 36 h 143"/>
                <a:gd name="T60" fmla="*/ 168 w 174"/>
                <a:gd name="T61" fmla="*/ 42 h 143"/>
                <a:gd name="T62" fmla="*/ 168 w 174"/>
                <a:gd name="T63" fmla="*/ 54 h 143"/>
                <a:gd name="T64" fmla="*/ 168 w 174"/>
                <a:gd name="T65" fmla="*/ 59 h 143"/>
                <a:gd name="T66" fmla="*/ 168 w 174"/>
                <a:gd name="T67" fmla="*/ 71 h 143"/>
                <a:gd name="T68" fmla="*/ 168 w 174"/>
                <a:gd name="T69" fmla="*/ 83 h 143"/>
                <a:gd name="T70" fmla="*/ 162 w 174"/>
                <a:gd name="T71" fmla="*/ 89 h 143"/>
                <a:gd name="T72" fmla="*/ 156 w 174"/>
                <a:gd name="T73" fmla="*/ 95 h 143"/>
                <a:gd name="T74" fmla="*/ 156 w 174"/>
                <a:gd name="T75" fmla="*/ 101 h 143"/>
                <a:gd name="T76" fmla="*/ 150 w 174"/>
                <a:gd name="T77" fmla="*/ 113 h 143"/>
                <a:gd name="T78" fmla="*/ 150 w 174"/>
                <a:gd name="T79" fmla="*/ 119 h 143"/>
                <a:gd name="T80" fmla="*/ 138 w 174"/>
                <a:gd name="T81" fmla="*/ 125 h 143"/>
                <a:gd name="T82" fmla="*/ 126 w 174"/>
                <a:gd name="T83" fmla="*/ 125 h 143"/>
                <a:gd name="T84" fmla="*/ 114 w 174"/>
                <a:gd name="T85" fmla="*/ 125 h 143"/>
                <a:gd name="T86" fmla="*/ 102 w 174"/>
                <a:gd name="T87" fmla="*/ 131 h 143"/>
                <a:gd name="T88" fmla="*/ 96 w 174"/>
                <a:gd name="T89" fmla="*/ 125 h 143"/>
                <a:gd name="T90" fmla="*/ 84 w 174"/>
                <a:gd name="T91" fmla="*/ 125 h 143"/>
                <a:gd name="T92" fmla="*/ 72 w 174"/>
                <a:gd name="T93" fmla="*/ 125 h 143"/>
                <a:gd name="T94" fmla="*/ 66 w 174"/>
                <a:gd name="T95" fmla="*/ 119 h 143"/>
                <a:gd name="T96" fmla="*/ 54 w 174"/>
                <a:gd name="T97" fmla="*/ 119 h 143"/>
                <a:gd name="T98" fmla="*/ 48 w 174"/>
                <a:gd name="T99" fmla="*/ 125 h 143"/>
                <a:gd name="T100" fmla="*/ 42 w 174"/>
                <a:gd name="T101" fmla="*/ 131 h 143"/>
                <a:gd name="T102" fmla="*/ 42 w 174"/>
                <a:gd name="T103" fmla="*/ 137 h 143"/>
                <a:gd name="T104" fmla="*/ 42 w 174"/>
                <a:gd name="T105" fmla="*/ 143 h 143"/>
                <a:gd name="T106" fmla="*/ 30 w 174"/>
                <a:gd name="T107" fmla="*/ 137 h 143"/>
                <a:gd name="T108" fmla="*/ 24 w 174"/>
                <a:gd name="T109" fmla="*/ 143 h 143"/>
                <a:gd name="T110" fmla="*/ 24 w 174"/>
                <a:gd name="T111" fmla="*/ 143 h 143"/>
                <a:gd name="T112" fmla="*/ 24 w 174"/>
                <a:gd name="T113" fmla="*/ 137 h 143"/>
                <a:gd name="T114" fmla="*/ 18 w 174"/>
                <a:gd name="T115" fmla="*/ 13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4" h="143">
                  <a:moveTo>
                    <a:pt x="18" y="131"/>
                  </a:moveTo>
                  <a:lnTo>
                    <a:pt x="18" y="131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6" y="113"/>
                  </a:lnTo>
                  <a:lnTo>
                    <a:pt x="0" y="107"/>
                  </a:lnTo>
                  <a:lnTo>
                    <a:pt x="6" y="107"/>
                  </a:lnTo>
                  <a:lnTo>
                    <a:pt x="12" y="101"/>
                  </a:lnTo>
                  <a:lnTo>
                    <a:pt x="24" y="101"/>
                  </a:lnTo>
                  <a:lnTo>
                    <a:pt x="36" y="101"/>
                  </a:lnTo>
                  <a:lnTo>
                    <a:pt x="42" y="89"/>
                  </a:lnTo>
                  <a:lnTo>
                    <a:pt x="42" y="77"/>
                  </a:lnTo>
                  <a:lnTo>
                    <a:pt x="48" y="71"/>
                  </a:lnTo>
                  <a:lnTo>
                    <a:pt x="48" y="59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26" y="0"/>
                  </a:lnTo>
                  <a:lnTo>
                    <a:pt x="144" y="6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62" y="24"/>
                  </a:lnTo>
                  <a:lnTo>
                    <a:pt x="174" y="36"/>
                  </a:lnTo>
                  <a:lnTo>
                    <a:pt x="168" y="42"/>
                  </a:lnTo>
                  <a:lnTo>
                    <a:pt x="168" y="54"/>
                  </a:lnTo>
                  <a:lnTo>
                    <a:pt x="168" y="59"/>
                  </a:lnTo>
                  <a:lnTo>
                    <a:pt x="168" y="71"/>
                  </a:lnTo>
                  <a:lnTo>
                    <a:pt x="168" y="83"/>
                  </a:lnTo>
                  <a:lnTo>
                    <a:pt x="162" y="89"/>
                  </a:lnTo>
                  <a:lnTo>
                    <a:pt x="156" y="95"/>
                  </a:lnTo>
                  <a:lnTo>
                    <a:pt x="156" y="101"/>
                  </a:lnTo>
                  <a:lnTo>
                    <a:pt x="150" y="113"/>
                  </a:lnTo>
                  <a:lnTo>
                    <a:pt x="150" y="119"/>
                  </a:lnTo>
                  <a:lnTo>
                    <a:pt x="138" y="125"/>
                  </a:lnTo>
                  <a:lnTo>
                    <a:pt x="126" y="125"/>
                  </a:lnTo>
                  <a:lnTo>
                    <a:pt x="114" y="125"/>
                  </a:lnTo>
                  <a:lnTo>
                    <a:pt x="102" y="131"/>
                  </a:lnTo>
                  <a:lnTo>
                    <a:pt x="96" y="125"/>
                  </a:lnTo>
                  <a:lnTo>
                    <a:pt x="84" y="125"/>
                  </a:lnTo>
                  <a:lnTo>
                    <a:pt x="72" y="125"/>
                  </a:lnTo>
                  <a:lnTo>
                    <a:pt x="66" y="119"/>
                  </a:lnTo>
                  <a:lnTo>
                    <a:pt x="54" y="119"/>
                  </a:lnTo>
                  <a:lnTo>
                    <a:pt x="48" y="125"/>
                  </a:lnTo>
                  <a:lnTo>
                    <a:pt x="42" y="131"/>
                  </a:lnTo>
                  <a:lnTo>
                    <a:pt x="42" y="137"/>
                  </a:lnTo>
                  <a:lnTo>
                    <a:pt x="42" y="143"/>
                  </a:lnTo>
                  <a:lnTo>
                    <a:pt x="30" y="137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37"/>
                  </a:lnTo>
                  <a:lnTo>
                    <a:pt x="18" y="1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3" name="Freeform 159">
              <a:extLst>
                <a:ext uri="{FF2B5EF4-FFF2-40B4-BE49-F238E27FC236}">
                  <a16:creationId xmlns:a16="http://schemas.microsoft.com/office/drawing/2014/main" id="{F4A0089C-7BEC-427B-9A68-79E64B398C1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9" y="1898"/>
              <a:ext cx="66" cy="54"/>
            </a:xfrm>
            <a:custGeom>
              <a:avLst/>
              <a:gdLst>
                <a:gd name="T0" fmla="*/ 18 w 66"/>
                <a:gd name="T1" fmla="*/ 0 h 54"/>
                <a:gd name="T2" fmla="*/ 12 w 66"/>
                <a:gd name="T3" fmla="*/ 6 h 54"/>
                <a:gd name="T4" fmla="*/ 6 w 66"/>
                <a:gd name="T5" fmla="*/ 18 h 54"/>
                <a:gd name="T6" fmla="*/ 0 w 66"/>
                <a:gd name="T7" fmla="*/ 24 h 54"/>
                <a:gd name="T8" fmla="*/ 12 w 66"/>
                <a:gd name="T9" fmla="*/ 36 h 54"/>
                <a:gd name="T10" fmla="*/ 12 w 66"/>
                <a:gd name="T11" fmla="*/ 30 h 54"/>
                <a:gd name="T12" fmla="*/ 12 w 66"/>
                <a:gd name="T13" fmla="*/ 36 h 54"/>
                <a:gd name="T14" fmla="*/ 12 w 66"/>
                <a:gd name="T15" fmla="*/ 36 h 54"/>
                <a:gd name="T16" fmla="*/ 12 w 66"/>
                <a:gd name="T17" fmla="*/ 36 h 54"/>
                <a:gd name="T18" fmla="*/ 24 w 66"/>
                <a:gd name="T19" fmla="*/ 36 h 54"/>
                <a:gd name="T20" fmla="*/ 24 w 66"/>
                <a:gd name="T21" fmla="*/ 36 h 54"/>
                <a:gd name="T22" fmla="*/ 36 w 66"/>
                <a:gd name="T23" fmla="*/ 42 h 54"/>
                <a:gd name="T24" fmla="*/ 42 w 66"/>
                <a:gd name="T25" fmla="*/ 42 h 54"/>
                <a:gd name="T26" fmla="*/ 24 w 66"/>
                <a:gd name="T27" fmla="*/ 42 h 54"/>
                <a:gd name="T28" fmla="*/ 18 w 66"/>
                <a:gd name="T29" fmla="*/ 42 h 54"/>
                <a:gd name="T30" fmla="*/ 12 w 66"/>
                <a:gd name="T31" fmla="*/ 42 h 54"/>
                <a:gd name="T32" fmla="*/ 12 w 66"/>
                <a:gd name="T33" fmla="*/ 48 h 54"/>
                <a:gd name="T34" fmla="*/ 18 w 66"/>
                <a:gd name="T35" fmla="*/ 48 h 54"/>
                <a:gd name="T36" fmla="*/ 24 w 66"/>
                <a:gd name="T37" fmla="*/ 48 h 54"/>
                <a:gd name="T38" fmla="*/ 24 w 66"/>
                <a:gd name="T39" fmla="*/ 48 h 54"/>
                <a:gd name="T40" fmla="*/ 12 w 66"/>
                <a:gd name="T41" fmla="*/ 48 h 54"/>
                <a:gd name="T42" fmla="*/ 12 w 66"/>
                <a:gd name="T43" fmla="*/ 54 h 54"/>
                <a:gd name="T44" fmla="*/ 24 w 66"/>
                <a:gd name="T45" fmla="*/ 48 h 54"/>
                <a:gd name="T46" fmla="*/ 36 w 66"/>
                <a:gd name="T47" fmla="*/ 48 h 54"/>
                <a:gd name="T48" fmla="*/ 42 w 66"/>
                <a:gd name="T49" fmla="*/ 48 h 54"/>
                <a:gd name="T50" fmla="*/ 54 w 66"/>
                <a:gd name="T51" fmla="*/ 54 h 54"/>
                <a:gd name="T52" fmla="*/ 66 w 66"/>
                <a:gd name="T53" fmla="*/ 54 h 54"/>
                <a:gd name="T54" fmla="*/ 66 w 66"/>
                <a:gd name="T55" fmla="*/ 42 h 54"/>
                <a:gd name="T56" fmla="*/ 60 w 66"/>
                <a:gd name="T57" fmla="*/ 36 h 54"/>
                <a:gd name="T58" fmla="*/ 60 w 66"/>
                <a:gd name="T59" fmla="*/ 24 h 54"/>
                <a:gd name="T60" fmla="*/ 54 w 66"/>
                <a:gd name="T61" fmla="*/ 12 h 54"/>
                <a:gd name="T62" fmla="*/ 42 w 66"/>
                <a:gd name="T63" fmla="*/ 6 h 54"/>
                <a:gd name="T64" fmla="*/ 30 w 66"/>
                <a:gd name="T65" fmla="*/ 0 h 54"/>
                <a:gd name="T66" fmla="*/ 24 w 66"/>
                <a:gd name="T67" fmla="*/ 0 h 54"/>
                <a:gd name="T68" fmla="*/ 18 w 66"/>
                <a:gd name="T6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" h="54">
                  <a:moveTo>
                    <a:pt x="18" y="0"/>
                  </a:move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24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66" y="54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4" name="Freeform 160">
              <a:extLst>
                <a:ext uri="{FF2B5EF4-FFF2-40B4-BE49-F238E27FC236}">
                  <a16:creationId xmlns:a16="http://schemas.microsoft.com/office/drawing/2014/main" id="{EC468277-744C-4FA9-AFE4-F3C62F51EF5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641"/>
              <a:ext cx="42" cy="90"/>
            </a:xfrm>
            <a:custGeom>
              <a:avLst/>
              <a:gdLst>
                <a:gd name="T0" fmla="*/ 30 w 42"/>
                <a:gd name="T1" fmla="*/ 84 h 90"/>
                <a:gd name="T2" fmla="*/ 24 w 42"/>
                <a:gd name="T3" fmla="*/ 90 h 90"/>
                <a:gd name="T4" fmla="*/ 18 w 42"/>
                <a:gd name="T5" fmla="*/ 78 h 90"/>
                <a:gd name="T6" fmla="*/ 18 w 42"/>
                <a:gd name="T7" fmla="*/ 66 h 90"/>
                <a:gd name="T8" fmla="*/ 6 w 42"/>
                <a:gd name="T9" fmla="*/ 60 h 90"/>
                <a:gd name="T10" fmla="*/ 0 w 42"/>
                <a:gd name="T11" fmla="*/ 48 h 90"/>
                <a:gd name="T12" fmla="*/ 6 w 42"/>
                <a:gd name="T13" fmla="*/ 36 h 90"/>
                <a:gd name="T14" fmla="*/ 12 w 42"/>
                <a:gd name="T15" fmla="*/ 30 h 90"/>
                <a:gd name="T16" fmla="*/ 6 w 42"/>
                <a:gd name="T17" fmla="*/ 12 h 90"/>
                <a:gd name="T18" fmla="*/ 12 w 42"/>
                <a:gd name="T19" fmla="*/ 6 h 90"/>
                <a:gd name="T20" fmla="*/ 24 w 42"/>
                <a:gd name="T21" fmla="*/ 0 h 90"/>
                <a:gd name="T22" fmla="*/ 24 w 42"/>
                <a:gd name="T23" fmla="*/ 6 h 90"/>
                <a:gd name="T24" fmla="*/ 30 w 42"/>
                <a:gd name="T25" fmla="*/ 12 h 90"/>
                <a:gd name="T26" fmla="*/ 36 w 42"/>
                <a:gd name="T27" fmla="*/ 6 h 90"/>
                <a:gd name="T28" fmla="*/ 30 w 42"/>
                <a:gd name="T29" fmla="*/ 18 h 90"/>
                <a:gd name="T30" fmla="*/ 36 w 42"/>
                <a:gd name="T31" fmla="*/ 30 h 90"/>
                <a:gd name="T32" fmla="*/ 30 w 42"/>
                <a:gd name="T33" fmla="*/ 36 h 90"/>
                <a:gd name="T34" fmla="*/ 24 w 42"/>
                <a:gd name="T35" fmla="*/ 42 h 90"/>
                <a:gd name="T36" fmla="*/ 36 w 42"/>
                <a:gd name="T37" fmla="*/ 48 h 90"/>
                <a:gd name="T38" fmla="*/ 42 w 42"/>
                <a:gd name="T39" fmla="*/ 54 h 90"/>
                <a:gd name="T40" fmla="*/ 42 w 42"/>
                <a:gd name="T41" fmla="*/ 66 h 90"/>
                <a:gd name="T42" fmla="*/ 36 w 42"/>
                <a:gd name="T43" fmla="*/ 72 h 90"/>
                <a:gd name="T44" fmla="*/ 30 w 42"/>
                <a:gd name="T45" fmla="*/ 78 h 90"/>
                <a:gd name="T46" fmla="*/ 30 w 42"/>
                <a:gd name="T47" fmla="*/ 8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90">
                  <a:moveTo>
                    <a:pt x="30" y="84"/>
                  </a:moveTo>
                  <a:lnTo>
                    <a:pt x="24" y="90"/>
                  </a:lnTo>
                  <a:lnTo>
                    <a:pt x="18" y="78"/>
                  </a:lnTo>
                  <a:lnTo>
                    <a:pt x="18" y="66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30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36" y="72"/>
                  </a:lnTo>
                  <a:lnTo>
                    <a:pt x="30" y="78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5" name="Freeform 161">
              <a:extLst>
                <a:ext uri="{FF2B5EF4-FFF2-40B4-BE49-F238E27FC236}">
                  <a16:creationId xmlns:a16="http://schemas.microsoft.com/office/drawing/2014/main" id="{279FBDDD-18B6-487C-9E4D-C2A410FC8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5" y="2000"/>
              <a:ext cx="48" cy="48"/>
            </a:xfrm>
            <a:custGeom>
              <a:avLst/>
              <a:gdLst>
                <a:gd name="T0" fmla="*/ 42 w 48"/>
                <a:gd name="T1" fmla="*/ 48 h 48"/>
                <a:gd name="T2" fmla="*/ 30 w 48"/>
                <a:gd name="T3" fmla="*/ 42 h 48"/>
                <a:gd name="T4" fmla="*/ 24 w 48"/>
                <a:gd name="T5" fmla="*/ 36 h 48"/>
                <a:gd name="T6" fmla="*/ 12 w 48"/>
                <a:gd name="T7" fmla="*/ 30 h 48"/>
                <a:gd name="T8" fmla="*/ 0 w 48"/>
                <a:gd name="T9" fmla="*/ 18 h 48"/>
                <a:gd name="T10" fmla="*/ 6 w 48"/>
                <a:gd name="T11" fmla="*/ 12 h 48"/>
                <a:gd name="T12" fmla="*/ 6 w 48"/>
                <a:gd name="T13" fmla="*/ 6 h 48"/>
                <a:gd name="T14" fmla="*/ 12 w 48"/>
                <a:gd name="T15" fmla="*/ 0 h 48"/>
                <a:gd name="T16" fmla="*/ 18 w 48"/>
                <a:gd name="T17" fmla="*/ 0 h 48"/>
                <a:gd name="T18" fmla="*/ 24 w 48"/>
                <a:gd name="T19" fmla="*/ 12 h 48"/>
                <a:gd name="T20" fmla="*/ 24 w 48"/>
                <a:gd name="T21" fmla="*/ 12 h 48"/>
                <a:gd name="T22" fmla="*/ 30 w 48"/>
                <a:gd name="T23" fmla="*/ 12 h 48"/>
                <a:gd name="T24" fmla="*/ 36 w 48"/>
                <a:gd name="T25" fmla="*/ 12 h 48"/>
                <a:gd name="T26" fmla="*/ 36 w 48"/>
                <a:gd name="T27" fmla="*/ 24 h 48"/>
                <a:gd name="T28" fmla="*/ 36 w 48"/>
                <a:gd name="T29" fmla="*/ 24 h 48"/>
                <a:gd name="T30" fmla="*/ 42 w 48"/>
                <a:gd name="T31" fmla="*/ 30 h 48"/>
                <a:gd name="T32" fmla="*/ 48 w 48"/>
                <a:gd name="T33" fmla="*/ 36 h 48"/>
                <a:gd name="T34" fmla="*/ 42 w 48"/>
                <a:gd name="T3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lnTo>
                    <a:pt x="30" y="42"/>
                  </a:lnTo>
                  <a:lnTo>
                    <a:pt x="24" y="36"/>
                  </a:lnTo>
                  <a:lnTo>
                    <a:pt x="12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8" y="36"/>
                  </a:lnTo>
                  <a:lnTo>
                    <a:pt x="42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6" name="Freeform 162">
              <a:extLst>
                <a:ext uri="{FF2B5EF4-FFF2-40B4-BE49-F238E27FC236}">
                  <a16:creationId xmlns:a16="http://schemas.microsoft.com/office/drawing/2014/main" id="{540A2A80-7170-4DBC-AD7A-7CE5483D9C1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6" y="1988"/>
              <a:ext cx="36" cy="30"/>
            </a:xfrm>
            <a:custGeom>
              <a:avLst/>
              <a:gdLst>
                <a:gd name="T0" fmla="*/ 0 w 36"/>
                <a:gd name="T1" fmla="*/ 18 h 30"/>
                <a:gd name="T2" fmla="*/ 0 w 36"/>
                <a:gd name="T3" fmla="*/ 6 h 30"/>
                <a:gd name="T4" fmla="*/ 0 w 36"/>
                <a:gd name="T5" fmla="*/ 0 h 30"/>
                <a:gd name="T6" fmla="*/ 6 w 36"/>
                <a:gd name="T7" fmla="*/ 0 h 30"/>
                <a:gd name="T8" fmla="*/ 6 w 36"/>
                <a:gd name="T9" fmla="*/ 0 h 30"/>
                <a:gd name="T10" fmla="*/ 12 w 36"/>
                <a:gd name="T11" fmla="*/ 6 h 30"/>
                <a:gd name="T12" fmla="*/ 18 w 36"/>
                <a:gd name="T13" fmla="*/ 6 h 30"/>
                <a:gd name="T14" fmla="*/ 30 w 36"/>
                <a:gd name="T15" fmla="*/ 0 h 30"/>
                <a:gd name="T16" fmla="*/ 30 w 36"/>
                <a:gd name="T17" fmla="*/ 6 h 30"/>
                <a:gd name="T18" fmla="*/ 36 w 36"/>
                <a:gd name="T19" fmla="*/ 6 h 30"/>
                <a:gd name="T20" fmla="*/ 24 w 36"/>
                <a:gd name="T21" fmla="*/ 18 h 30"/>
                <a:gd name="T22" fmla="*/ 30 w 36"/>
                <a:gd name="T23" fmla="*/ 24 h 30"/>
                <a:gd name="T24" fmla="*/ 24 w 36"/>
                <a:gd name="T25" fmla="*/ 30 h 30"/>
                <a:gd name="T26" fmla="*/ 18 w 36"/>
                <a:gd name="T27" fmla="*/ 18 h 30"/>
                <a:gd name="T28" fmla="*/ 18 w 36"/>
                <a:gd name="T29" fmla="*/ 24 h 30"/>
                <a:gd name="T30" fmla="*/ 12 w 36"/>
                <a:gd name="T31" fmla="*/ 18 h 30"/>
                <a:gd name="T32" fmla="*/ 0 w 36"/>
                <a:gd name="T33" fmla="*/ 12 h 30"/>
                <a:gd name="T34" fmla="*/ 0 w 36"/>
                <a:gd name="T3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30">
                  <a:moveTo>
                    <a:pt x="0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18"/>
                  </a:lnTo>
                  <a:lnTo>
                    <a:pt x="0" y="1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7" name="Freeform 163">
              <a:extLst>
                <a:ext uri="{FF2B5EF4-FFF2-40B4-BE49-F238E27FC236}">
                  <a16:creationId xmlns:a16="http://schemas.microsoft.com/office/drawing/2014/main" id="{E60D1597-6B6A-4689-8EEE-EC5193A5E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2" y="1988"/>
              <a:ext cx="24" cy="30"/>
            </a:xfrm>
            <a:custGeom>
              <a:avLst/>
              <a:gdLst>
                <a:gd name="T0" fmla="*/ 12 w 24"/>
                <a:gd name="T1" fmla="*/ 12 h 30"/>
                <a:gd name="T2" fmla="*/ 18 w 24"/>
                <a:gd name="T3" fmla="*/ 18 h 30"/>
                <a:gd name="T4" fmla="*/ 18 w 24"/>
                <a:gd name="T5" fmla="*/ 12 h 30"/>
                <a:gd name="T6" fmla="*/ 12 w 24"/>
                <a:gd name="T7" fmla="*/ 12 h 30"/>
                <a:gd name="T8" fmla="*/ 12 w 24"/>
                <a:gd name="T9" fmla="*/ 12 h 30"/>
                <a:gd name="T10" fmla="*/ 0 w 24"/>
                <a:gd name="T11" fmla="*/ 6 h 30"/>
                <a:gd name="T12" fmla="*/ 0 w 24"/>
                <a:gd name="T13" fmla="*/ 0 h 30"/>
                <a:gd name="T14" fmla="*/ 0 w 24"/>
                <a:gd name="T15" fmla="*/ 0 h 30"/>
                <a:gd name="T16" fmla="*/ 12 w 24"/>
                <a:gd name="T17" fmla="*/ 0 h 30"/>
                <a:gd name="T18" fmla="*/ 18 w 24"/>
                <a:gd name="T19" fmla="*/ 6 h 30"/>
                <a:gd name="T20" fmla="*/ 24 w 24"/>
                <a:gd name="T21" fmla="*/ 12 h 30"/>
                <a:gd name="T22" fmla="*/ 24 w 24"/>
                <a:gd name="T23" fmla="*/ 18 h 30"/>
                <a:gd name="T24" fmla="*/ 18 w 24"/>
                <a:gd name="T25" fmla="*/ 24 h 30"/>
                <a:gd name="T26" fmla="*/ 18 w 24"/>
                <a:gd name="T27" fmla="*/ 30 h 30"/>
                <a:gd name="T28" fmla="*/ 18 w 24"/>
                <a:gd name="T29" fmla="*/ 24 h 30"/>
                <a:gd name="T30" fmla="*/ 12 w 24"/>
                <a:gd name="T31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30">
                  <a:moveTo>
                    <a:pt x="12" y="12"/>
                  </a:moveTo>
                  <a:lnTo>
                    <a:pt x="18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8" name="Freeform 164">
              <a:extLst>
                <a:ext uri="{FF2B5EF4-FFF2-40B4-BE49-F238E27FC236}">
                  <a16:creationId xmlns:a16="http://schemas.microsoft.com/office/drawing/2014/main" id="{30D784BC-DF5E-4697-97E5-553163B47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2" y="2036"/>
              <a:ext cx="36" cy="42"/>
            </a:xfrm>
            <a:custGeom>
              <a:avLst/>
              <a:gdLst>
                <a:gd name="T0" fmla="*/ 30 w 36"/>
                <a:gd name="T1" fmla="*/ 12 h 42"/>
                <a:gd name="T2" fmla="*/ 18 w 36"/>
                <a:gd name="T3" fmla="*/ 0 h 42"/>
                <a:gd name="T4" fmla="*/ 6 w 36"/>
                <a:gd name="T5" fmla="*/ 0 h 42"/>
                <a:gd name="T6" fmla="*/ 6 w 36"/>
                <a:gd name="T7" fmla="*/ 0 h 42"/>
                <a:gd name="T8" fmla="*/ 6 w 36"/>
                <a:gd name="T9" fmla="*/ 12 h 42"/>
                <a:gd name="T10" fmla="*/ 6 w 36"/>
                <a:gd name="T11" fmla="*/ 30 h 42"/>
                <a:gd name="T12" fmla="*/ 0 w 36"/>
                <a:gd name="T13" fmla="*/ 42 h 42"/>
                <a:gd name="T14" fmla="*/ 6 w 36"/>
                <a:gd name="T15" fmla="*/ 42 h 42"/>
                <a:gd name="T16" fmla="*/ 18 w 36"/>
                <a:gd name="T17" fmla="*/ 42 h 42"/>
                <a:gd name="T18" fmla="*/ 24 w 36"/>
                <a:gd name="T19" fmla="*/ 30 h 42"/>
                <a:gd name="T20" fmla="*/ 36 w 36"/>
                <a:gd name="T21" fmla="*/ 18 h 42"/>
                <a:gd name="T22" fmla="*/ 30 w 36"/>
                <a:gd name="T23" fmla="*/ 12 h 42"/>
                <a:gd name="T24" fmla="*/ 30 w 36"/>
                <a:gd name="T25" fmla="*/ 12 h 42"/>
                <a:gd name="T26" fmla="*/ 30 w 36"/>
                <a:gd name="T27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2">
                  <a:moveTo>
                    <a:pt x="30" y="12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2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18" y="42"/>
                  </a:lnTo>
                  <a:lnTo>
                    <a:pt x="24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69" name="Freeform 165">
              <a:extLst>
                <a:ext uri="{FF2B5EF4-FFF2-40B4-BE49-F238E27FC236}">
                  <a16:creationId xmlns:a16="http://schemas.microsoft.com/office/drawing/2014/main" id="{568D0838-CC74-4768-A30C-588D18E4BE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952"/>
              <a:ext cx="132" cy="204"/>
            </a:xfrm>
            <a:custGeom>
              <a:avLst/>
              <a:gdLst>
                <a:gd name="T0" fmla="*/ 48 w 132"/>
                <a:gd name="T1" fmla="*/ 18 h 204"/>
                <a:gd name="T2" fmla="*/ 48 w 132"/>
                <a:gd name="T3" fmla="*/ 18 h 204"/>
                <a:gd name="T4" fmla="*/ 36 w 132"/>
                <a:gd name="T5" fmla="*/ 36 h 204"/>
                <a:gd name="T6" fmla="*/ 24 w 132"/>
                <a:gd name="T7" fmla="*/ 54 h 204"/>
                <a:gd name="T8" fmla="*/ 18 w 132"/>
                <a:gd name="T9" fmla="*/ 48 h 204"/>
                <a:gd name="T10" fmla="*/ 12 w 132"/>
                <a:gd name="T11" fmla="*/ 60 h 204"/>
                <a:gd name="T12" fmla="*/ 12 w 132"/>
                <a:gd name="T13" fmla="*/ 66 h 204"/>
                <a:gd name="T14" fmla="*/ 12 w 132"/>
                <a:gd name="T15" fmla="*/ 84 h 204"/>
                <a:gd name="T16" fmla="*/ 18 w 132"/>
                <a:gd name="T17" fmla="*/ 102 h 204"/>
                <a:gd name="T18" fmla="*/ 12 w 132"/>
                <a:gd name="T19" fmla="*/ 120 h 204"/>
                <a:gd name="T20" fmla="*/ 0 w 132"/>
                <a:gd name="T21" fmla="*/ 126 h 204"/>
                <a:gd name="T22" fmla="*/ 0 w 132"/>
                <a:gd name="T23" fmla="*/ 138 h 204"/>
                <a:gd name="T24" fmla="*/ 18 w 132"/>
                <a:gd name="T25" fmla="*/ 150 h 204"/>
                <a:gd name="T26" fmla="*/ 36 w 132"/>
                <a:gd name="T27" fmla="*/ 156 h 204"/>
                <a:gd name="T28" fmla="*/ 42 w 132"/>
                <a:gd name="T29" fmla="*/ 162 h 204"/>
                <a:gd name="T30" fmla="*/ 60 w 132"/>
                <a:gd name="T31" fmla="*/ 174 h 204"/>
                <a:gd name="T32" fmla="*/ 78 w 132"/>
                <a:gd name="T33" fmla="*/ 180 h 204"/>
                <a:gd name="T34" fmla="*/ 96 w 132"/>
                <a:gd name="T35" fmla="*/ 186 h 204"/>
                <a:gd name="T36" fmla="*/ 96 w 132"/>
                <a:gd name="T37" fmla="*/ 204 h 204"/>
                <a:gd name="T38" fmla="*/ 102 w 132"/>
                <a:gd name="T39" fmla="*/ 168 h 204"/>
                <a:gd name="T40" fmla="*/ 96 w 132"/>
                <a:gd name="T41" fmla="*/ 144 h 204"/>
                <a:gd name="T42" fmla="*/ 108 w 132"/>
                <a:gd name="T43" fmla="*/ 144 h 204"/>
                <a:gd name="T44" fmla="*/ 96 w 132"/>
                <a:gd name="T45" fmla="*/ 132 h 204"/>
                <a:gd name="T46" fmla="*/ 114 w 132"/>
                <a:gd name="T47" fmla="*/ 132 h 204"/>
                <a:gd name="T48" fmla="*/ 120 w 132"/>
                <a:gd name="T49" fmla="*/ 132 h 204"/>
                <a:gd name="T50" fmla="*/ 126 w 132"/>
                <a:gd name="T51" fmla="*/ 138 h 204"/>
                <a:gd name="T52" fmla="*/ 126 w 132"/>
                <a:gd name="T53" fmla="*/ 126 h 204"/>
                <a:gd name="T54" fmla="*/ 126 w 132"/>
                <a:gd name="T55" fmla="*/ 114 h 204"/>
                <a:gd name="T56" fmla="*/ 120 w 132"/>
                <a:gd name="T57" fmla="*/ 84 h 204"/>
                <a:gd name="T58" fmla="*/ 114 w 132"/>
                <a:gd name="T59" fmla="*/ 78 h 204"/>
                <a:gd name="T60" fmla="*/ 96 w 132"/>
                <a:gd name="T61" fmla="*/ 66 h 204"/>
                <a:gd name="T62" fmla="*/ 78 w 132"/>
                <a:gd name="T63" fmla="*/ 66 h 204"/>
                <a:gd name="T64" fmla="*/ 72 w 132"/>
                <a:gd name="T65" fmla="*/ 54 h 204"/>
                <a:gd name="T66" fmla="*/ 60 w 132"/>
                <a:gd name="T67" fmla="*/ 36 h 204"/>
                <a:gd name="T68" fmla="*/ 72 w 132"/>
                <a:gd name="T69" fmla="*/ 18 h 204"/>
                <a:gd name="T70" fmla="*/ 84 w 132"/>
                <a:gd name="T71" fmla="*/ 6 h 204"/>
                <a:gd name="T72" fmla="*/ 78 w 132"/>
                <a:gd name="T73" fmla="*/ 0 h 204"/>
                <a:gd name="T74" fmla="*/ 60 w 132"/>
                <a:gd name="T75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2" h="204">
                  <a:moveTo>
                    <a:pt x="54" y="12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8" y="96"/>
                  </a:lnTo>
                  <a:lnTo>
                    <a:pt x="18" y="102"/>
                  </a:lnTo>
                  <a:lnTo>
                    <a:pt x="18" y="108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62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6" y="186"/>
                  </a:lnTo>
                  <a:lnTo>
                    <a:pt x="90" y="198"/>
                  </a:lnTo>
                  <a:lnTo>
                    <a:pt x="96" y="204"/>
                  </a:lnTo>
                  <a:lnTo>
                    <a:pt x="102" y="186"/>
                  </a:lnTo>
                  <a:lnTo>
                    <a:pt x="102" y="168"/>
                  </a:lnTo>
                  <a:lnTo>
                    <a:pt x="96" y="156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8" y="144"/>
                  </a:lnTo>
                  <a:lnTo>
                    <a:pt x="102" y="138"/>
                  </a:lnTo>
                  <a:lnTo>
                    <a:pt x="96" y="132"/>
                  </a:lnTo>
                  <a:lnTo>
                    <a:pt x="108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26" y="126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0" y="96"/>
                  </a:lnTo>
                  <a:lnTo>
                    <a:pt x="120" y="84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78" y="66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72" y="18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78" y="0"/>
                  </a:lnTo>
                  <a:lnTo>
                    <a:pt x="72" y="6"/>
                  </a:lnTo>
                  <a:lnTo>
                    <a:pt x="60" y="12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0" name="Freeform 166">
              <a:extLst>
                <a:ext uri="{FF2B5EF4-FFF2-40B4-BE49-F238E27FC236}">
                  <a16:creationId xmlns:a16="http://schemas.microsoft.com/office/drawing/2014/main" id="{660D4A4B-2DE1-41CD-9E0E-150CD11BAB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000"/>
              <a:ext cx="54" cy="90"/>
            </a:xfrm>
            <a:custGeom>
              <a:avLst/>
              <a:gdLst>
                <a:gd name="T0" fmla="*/ 42 w 54"/>
                <a:gd name="T1" fmla="*/ 66 h 90"/>
                <a:gd name="T2" fmla="*/ 36 w 54"/>
                <a:gd name="T3" fmla="*/ 54 h 90"/>
                <a:gd name="T4" fmla="*/ 36 w 54"/>
                <a:gd name="T5" fmla="*/ 48 h 90"/>
                <a:gd name="T6" fmla="*/ 42 w 54"/>
                <a:gd name="T7" fmla="*/ 42 h 90"/>
                <a:gd name="T8" fmla="*/ 42 w 54"/>
                <a:gd name="T9" fmla="*/ 36 h 90"/>
                <a:gd name="T10" fmla="*/ 42 w 54"/>
                <a:gd name="T11" fmla="*/ 24 h 90"/>
                <a:gd name="T12" fmla="*/ 30 w 54"/>
                <a:gd name="T13" fmla="*/ 18 h 90"/>
                <a:gd name="T14" fmla="*/ 30 w 54"/>
                <a:gd name="T15" fmla="*/ 24 h 90"/>
                <a:gd name="T16" fmla="*/ 30 w 54"/>
                <a:gd name="T17" fmla="*/ 12 h 90"/>
                <a:gd name="T18" fmla="*/ 24 w 54"/>
                <a:gd name="T19" fmla="*/ 6 h 90"/>
                <a:gd name="T20" fmla="*/ 18 w 54"/>
                <a:gd name="T21" fmla="*/ 0 h 90"/>
                <a:gd name="T22" fmla="*/ 24 w 54"/>
                <a:gd name="T23" fmla="*/ 6 h 90"/>
                <a:gd name="T24" fmla="*/ 18 w 54"/>
                <a:gd name="T25" fmla="*/ 0 h 90"/>
                <a:gd name="T26" fmla="*/ 18 w 54"/>
                <a:gd name="T27" fmla="*/ 0 h 90"/>
                <a:gd name="T28" fmla="*/ 6 w 54"/>
                <a:gd name="T29" fmla="*/ 12 h 90"/>
                <a:gd name="T30" fmla="*/ 12 w 54"/>
                <a:gd name="T31" fmla="*/ 18 h 90"/>
                <a:gd name="T32" fmla="*/ 6 w 54"/>
                <a:gd name="T33" fmla="*/ 24 h 90"/>
                <a:gd name="T34" fmla="*/ 0 w 54"/>
                <a:gd name="T35" fmla="*/ 30 h 90"/>
                <a:gd name="T36" fmla="*/ 6 w 54"/>
                <a:gd name="T37" fmla="*/ 42 h 90"/>
                <a:gd name="T38" fmla="*/ 12 w 54"/>
                <a:gd name="T39" fmla="*/ 42 h 90"/>
                <a:gd name="T40" fmla="*/ 12 w 54"/>
                <a:gd name="T41" fmla="*/ 48 h 90"/>
                <a:gd name="T42" fmla="*/ 18 w 54"/>
                <a:gd name="T43" fmla="*/ 54 h 90"/>
                <a:gd name="T44" fmla="*/ 18 w 54"/>
                <a:gd name="T45" fmla="*/ 66 h 90"/>
                <a:gd name="T46" fmla="*/ 18 w 54"/>
                <a:gd name="T47" fmla="*/ 78 h 90"/>
                <a:gd name="T48" fmla="*/ 24 w 54"/>
                <a:gd name="T49" fmla="*/ 90 h 90"/>
                <a:gd name="T50" fmla="*/ 30 w 54"/>
                <a:gd name="T51" fmla="*/ 90 h 90"/>
                <a:gd name="T52" fmla="*/ 42 w 54"/>
                <a:gd name="T53" fmla="*/ 84 h 90"/>
                <a:gd name="T54" fmla="*/ 54 w 54"/>
                <a:gd name="T55" fmla="*/ 78 h 90"/>
                <a:gd name="T56" fmla="*/ 48 w 54"/>
                <a:gd name="T57" fmla="*/ 72 h 90"/>
                <a:gd name="T58" fmla="*/ 42 w 54"/>
                <a:gd name="T59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90">
                  <a:moveTo>
                    <a:pt x="42" y="66"/>
                  </a:moveTo>
                  <a:lnTo>
                    <a:pt x="36" y="54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8" y="78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84"/>
                  </a:lnTo>
                  <a:lnTo>
                    <a:pt x="54" y="78"/>
                  </a:lnTo>
                  <a:lnTo>
                    <a:pt x="48" y="72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1" name="Freeform 167">
              <a:extLst>
                <a:ext uri="{FF2B5EF4-FFF2-40B4-BE49-F238E27FC236}">
                  <a16:creationId xmlns:a16="http://schemas.microsoft.com/office/drawing/2014/main" id="{27387513-83CC-4774-92F4-8D624874B7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2030"/>
              <a:ext cx="42" cy="54"/>
            </a:xfrm>
            <a:custGeom>
              <a:avLst/>
              <a:gdLst>
                <a:gd name="T0" fmla="*/ 6 w 42"/>
                <a:gd name="T1" fmla="*/ 36 h 54"/>
                <a:gd name="T2" fmla="*/ 0 w 42"/>
                <a:gd name="T3" fmla="*/ 24 h 54"/>
                <a:gd name="T4" fmla="*/ 0 w 42"/>
                <a:gd name="T5" fmla="*/ 18 h 54"/>
                <a:gd name="T6" fmla="*/ 6 w 42"/>
                <a:gd name="T7" fmla="*/ 12 h 54"/>
                <a:gd name="T8" fmla="*/ 6 w 42"/>
                <a:gd name="T9" fmla="*/ 6 h 54"/>
                <a:gd name="T10" fmla="*/ 12 w 42"/>
                <a:gd name="T11" fmla="*/ 0 h 54"/>
                <a:gd name="T12" fmla="*/ 24 w 42"/>
                <a:gd name="T13" fmla="*/ 6 h 54"/>
                <a:gd name="T14" fmla="*/ 36 w 42"/>
                <a:gd name="T15" fmla="*/ 0 h 54"/>
                <a:gd name="T16" fmla="*/ 42 w 42"/>
                <a:gd name="T17" fmla="*/ 6 h 54"/>
                <a:gd name="T18" fmla="*/ 42 w 42"/>
                <a:gd name="T19" fmla="*/ 6 h 54"/>
                <a:gd name="T20" fmla="*/ 42 w 42"/>
                <a:gd name="T21" fmla="*/ 18 h 54"/>
                <a:gd name="T22" fmla="*/ 42 w 42"/>
                <a:gd name="T23" fmla="*/ 36 h 54"/>
                <a:gd name="T24" fmla="*/ 36 w 42"/>
                <a:gd name="T25" fmla="*/ 48 h 54"/>
                <a:gd name="T26" fmla="*/ 30 w 42"/>
                <a:gd name="T27" fmla="*/ 42 h 54"/>
                <a:gd name="T28" fmla="*/ 24 w 42"/>
                <a:gd name="T29" fmla="*/ 48 h 54"/>
                <a:gd name="T30" fmla="*/ 24 w 42"/>
                <a:gd name="T31" fmla="*/ 54 h 54"/>
                <a:gd name="T32" fmla="*/ 18 w 42"/>
                <a:gd name="T33" fmla="*/ 48 h 54"/>
                <a:gd name="T34" fmla="*/ 12 w 42"/>
                <a:gd name="T35" fmla="*/ 42 h 54"/>
                <a:gd name="T36" fmla="*/ 6 w 42"/>
                <a:gd name="T37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54">
                  <a:moveTo>
                    <a:pt x="6" y="36"/>
                  </a:moveTo>
                  <a:lnTo>
                    <a:pt x="0" y="24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2" name="Freeform 168">
              <a:extLst>
                <a:ext uri="{FF2B5EF4-FFF2-40B4-BE49-F238E27FC236}">
                  <a16:creationId xmlns:a16="http://schemas.microsoft.com/office/drawing/2014/main" id="{B6728EA7-B89B-40BD-91ED-747EB046E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7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  <a:gd name="T6" fmla="*/ 0 w 6"/>
                <a:gd name="T7" fmla="*/ 12 h 12"/>
                <a:gd name="T8" fmla="*/ 0 w 6"/>
                <a:gd name="T9" fmla="*/ 6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3" name="Freeform 169">
              <a:extLst>
                <a:ext uri="{FF2B5EF4-FFF2-40B4-BE49-F238E27FC236}">
                  <a16:creationId xmlns:a16="http://schemas.microsoft.com/office/drawing/2014/main" id="{7C08A871-7FA5-4AE6-9A87-620C026560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952"/>
              <a:ext cx="150" cy="144"/>
            </a:xfrm>
            <a:custGeom>
              <a:avLst/>
              <a:gdLst>
                <a:gd name="T0" fmla="*/ 126 w 150"/>
                <a:gd name="T1" fmla="*/ 30 h 144"/>
                <a:gd name="T2" fmla="*/ 120 w 150"/>
                <a:gd name="T3" fmla="*/ 30 h 144"/>
                <a:gd name="T4" fmla="*/ 120 w 150"/>
                <a:gd name="T5" fmla="*/ 24 h 144"/>
                <a:gd name="T6" fmla="*/ 114 w 150"/>
                <a:gd name="T7" fmla="*/ 24 h 144"/>
                <a:gd name="T8" fmla="*/ 108 w 150"/>
                <a:gd name="T9" fmla="*/ 24 h 144"/>
                <a:gd name="T10" fmla="*/ 84 w 150"/>
                <a:gd name="T11" fmla="*/ 24 h 144"/>
                <a:gd name="T12" fmla="*/ 60 w 150"/>
                <a:gd name="T13" fmla="*/ 24 h 144"/>
                <a:gd name="T14" fmla="*/ 48 w 150"/>
                <a:gd name="T15" fmla="*/ 12 h 144"/>
                <a:gd name="T16" fmla="*/ 36 w 150"/>
                <a:gd name="T17" fmla="*/ 6 h 144"/>
                <a:gd name="T18" fmla="*/ 42 w 150"/>
                <a:gd name="T19" fmla="*/ 12 h 144"/>
                <a:gd name="T20" fmla="*/ 24 w 150"/>
                <a:gd name="T21" fmla="*/ 18 h 144"/>
                <a:gd name="T22" fmla="*/ 24 w 150"/>
                <a:gd name="T23" fmla="*/ 42 h 144"/>
                <a:gd name="T24" fmla="*/ 24 w 150"/>
                <a:gd name="T25" fmla="*/ 24 h 144"/>
                <a:gd name="T26" fmla="*/ 24 w 150"/>
                <a:gd name="T27" fmla="*/ 6 h 144"/>
                <a:gd name="T28" fmla="*/ 12 w 150"/>
                <a:gd name="T29" fmla="*/ 18 h 144"/>
                <a:gd name="T30" fmla="*/ 0 w 150"/>
                <a:gd name="T31" fmla="*/ 36 h 144"/>
                <a:gd name="T32" fmla="*/ 12 w 150"/>
                <a:gd name="T33" fmla="*/ 54 h 144"/>
                <a:gd name="T34" fmla="*/ 18 w 150"/>
                <a:gd name="T35" fmla="*/ 66 h 144"/>
                <a:gd name="T36" fmla="*/ 36 w 150"/>
                <a:gd name="T37" fmla="*/ 66 h 144"/>
                <a:gd name="T38" fmla="*/ 54 w 150"/>
                <a:gd name="T39" fmla="*/ 78 h 144"/>
                <a:gd name="T40" fmla="*/ 60 w 150"/>
                <a:gd name="T41" fmla="*/ 84 h 144"/>
                <a:gd name="T42" fmla="*/ 66 w 150"/>
                <a:gd name="T43" fmla="*/ 114 h 144"/>
                <a:gd name="T44" fmla="*/ 66 w 150"/>
                <a:gd name="T45" fmla="*/ 126 h 144"/>
                <a:gd name="T46" fmla="*/ 78 w 150"/>
                <a:gd name="T47" fmla="*/ 144 h 144"/>
                <a:gd name="T48" fmla="*/ 84 w 150"/>
                <a:gd name="T49" fmla="*/ 144 h 144"/>
                <a:gd name="T50" fmla="*/ 108 w 150"/>
                <a:gd name="T51" fmla="*/ 126 h 144"/>
                <a:gd name="T52" fmla="*/ 102 w 150"/>
                <a:gd name="T53" fmla="*/ 120 h 144"/>
                <a:gd name="T54" fmla="*/ 96 w 150"/>
                <a:gd name="T55" fmla="*/ 102 h 144"/>
                <a:gd name="T56" fmla="*/ 114 w 150"/>
                <a:gd name="T57" fmla="*/ 108 h 144"/>
                <a:gd name="T58" fmla="*/ 126 w 150"/>
                <a:gd name="T59" fmla="*/ 102 h 144"/>
                <a:gd name="T60" fmla="*/ 138 w 150"/>
                <a:gd name="T61" fmla="*/ 90 h 144"/>
                <a:gd name="T62" fmla="*/ 132 w 150"/>
                <a:gd name="T63" fmla="*/ 78 h 144"/>
                <a:gd name="T64" fmla="*/ 144 w 150"/>
                <a:gd name="T65" fmla="*/ 66 h 144"/>
                <a:gd name="T66" fmla="*/ 150 w 150"/>
                <a:gd name="T67" fmla="*/ 48 h 144"/>
                <a:gd name="T68" fmla="*/ 138 w 150"/>
                <a:gd name="T69" fmla="*/ 48 h 144"/>
                <a:gd name="T70" fmla="*/ 132 w 150"/>
                <a:gd name="T71" fmla="*/ 48 h 144"/>
                <a:gd name="T72" fmla="*/ 138 w 150"/>
                <a:gd name="T73" fmla="*/ 36 h 144"/>
                <a:gd name="T74" fmla="*/ 126 w 150"/>
                <a:gd name="T75" fmla="*/ 30 h 144"/>
                <a:gd name="T76" fmla="*/ 126 w 150"/>
                <a:gd name="T7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44">
                  <a:moveTo>
                    <a:pt x="126" y="30"/>
                  </a:moveTo>
                  <a:lnTo>
                    <a:pt x="126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96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12" y="18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54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30" y="66"/>
                  </a:lnTo>
                  <a:lnTo>
                    <a:pt x="36" y="66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66" y="78"/>
                  </a:lnTo>
                  <a:lnTo>
                    <a:pt x="60" y="84"/>
                  </a:lnTo>
                  <a:lnTo>
                    <a:pt x="60" y="96"/>
                  </a:lnTo>
                  <a:lnTo>
                    <a:pt x="66" y="114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72" y="138"/>
                  </a:lnTo>
                  <a:lnTo>
                    <a:pt x="78" y="144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6" y="13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2" y="120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108" y="102"/>
                  </a:lnTo>
                  <a:lnTo>
                    <a:pt x="114" y="108"/>
                  </a:lnTo>
                  <a:lnTo>
                    <a:pt x="120" y="102"/>
                  </a:lnTo>
                  <a:lnTo>
                    <a:pt x="126" y="102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2" y="78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38" y="36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4" name="Freeform 170">
              <a:extLst>
                <a:ext uri="{FF2B5EF4-FFF2-40B4-BE49-F238E27FC236}">
                  <a16:creationId xmlns:a16="http://schemas.microsoft.com/office/drawing/2014/main" id="{1B69FA80-706C-4EF6-9FA9-33250A9742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970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5" name="Freeform 171">
              <a:extLst>
                <a:ext uri="{FF2B5EF4-FFF2-40B4-BE49-F238E27FC236}">
                  <a16:creationId xmlns:a16="http://schemas.microsoft.com/office/drawing/2014/main" id="{E4AF7885-0AFC-4D39-B754-57AC6309CF8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00" y="1821"/>
              <a:ext cx="114" cy="36"/>
            </a:xfrm>
            <a:custGeom>
              <a:avLst/>
              <a:gdLst>
                <a:gd name="T0" fmla="*/ 78 w 114"/>
                <a:gd name="T1" fmla="*/ 12 h 36"/>
                <a:gd name="T2" fmla="*/ 78 w 114"/>
                <a:gd name="T3" fmla="*/ 12 h 36"/>
                <a:gd name="T4" fmla="*/ 66 w 114"/>
                <a:gd name="T5" fmla="*/ 12 h 36"/>
                <a:gd name="T6" fmla="*/ 60 w 114"/>
                <a:gd name="T7" fmla="*/ 6 h 36"/>
                <a:gd name="T8" fmla="*/ 48 w 114"/>
                <a:gd name="T9" fmla="*/ 0 h 36"/>
                <a:gd name="T10" fmla="*/ 42 w 114"/>
                <a:gd name="T11" fmla="*/ 0 h 36"/>
                <a:gd name="T12" fmla="*/ 36 w 114"/>
                <a:gd name="T13" fmla="*/ 0 h 36"/>
                <a:gd name="T14" fmla="*/ 24 w 114"/>
                <a:gd name="T15" fmla="*/ 0 h 36"/>
                <a:gd name="T16" fmla="*/ 12 w 114"/>
                <a:gd name="T17" fmla="*/ 0 h 36"/>
                <a:gd name="T18" fmla="*/ 6 w 114"/>
                <a:gd name="T19" fmla="*/ 12 h 36"/>
                <a:gd name="T20" fmla="*/ 0 w 114"/>
                <a:gd name="T21" fmla="*/ 12 h 36"/>
                <a:gd name="T22" fmla="*/ 6 w 114"/>
                <a:gd name="T23" fmla="*/ 12 h 36"/>
                <a:gd name="T24" fmla="*/ 12 w 114"/>
                <a:gd name="T25" fmla="*/ 6 h 36"/>
                <a:gd name="T26" fmla="*/ 24 w 114"/>
                <a:gd name="T27" fmla="*/ 6 h 36"/>
                <a:gd name="T28" fmla="*/ 36 w 114"/>
                <a:gd name="T29" fmla="*/ 6 h 36"/>
                <a:gd name="T30" fmla="*/ 30 w 114"/>
                <a:gd name="T31" fmla="*/ 6 h 36"/>
                <a:gd name="T32" fmla="*/ 42 w 114"/>
                <a:gd name="T33" fmla="*/ 12 h 36"/>
                <a:gd name="T34" fmla="*/ 48 w 114"/>
                <a:gd name="T35" fmla="*/ 12 h 36"/>
                <a:gd name="T36" fmla="*/ 48 w 114"/>
                <a:gd name="T37" fmla="*/ 12 h 36"/>
                <a:gd name="T38" fmla="*/ 66 w 114"/>
                <a:gd name="T39" fmla="*/ 18 h 36"/>
                <a:gd name="T40" fmla="*/ 66 w 114"/>
                <a:gd name="T41" fmla="*/ 24 h 36"/>
                <a:gd name="T42" fmla="*/ 84 w 114"/>
                <a:gd name="T43" fmla="*/ 30 h 36"/>
                <a:gd name="T44" fmla="*/ 78 w 114"/>
                <a:gd name="T45" fmla="*/ 36 h 36"/>
                <a:gd name="T46" fmla="*/ 84 w 114"/>
                <a:gd name="T47" fmla="*/ 36 h 36"/>
                <a:gd name="T48" fmla="*/ 96 w 114"/>
                <a:gd name="T49" fmla="*/ 36 h 36"/>
                <a:gd name="T50" fmla="*/ 102 w 114"/>
                <a:gd name="T51" fmla="*/ 36 h 36"/>
                <a:gd name="T52" fmla="*/ 114 w 114"/>
                <a:gd name="T53" fmla="*/ 36 h 36"/>
                <a:gd name="T54" fmla="*/ 108 w 114"/>
                <a:gd name="T55" fmla="*/ 30 h 36"/>
                <a:gd name="T56" fmla="*/ 96 w 114"/>
                <a:gd name="T57" fmla="*/ 30 h 36"/>
                <a:gd name="T58" fmla="*/ 96 w 114"/>
                <a:gd name="T59" fmla="*/ 24 h 36"/>
                <a:gd name="T60" fmla="*/ 90 w 114"/>
                <a:gd name="T61" fmla="*/ 18 h 36"/>
                <a:gd name="T62" fmla="*/ 84 w 114"/>
                <a:gd name="T63" fmla="*/ 18 h 36"/>
                <a:gd name="T64" fmla="*/ 78 w 114"/>
                <a:gd name="T65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36">
                  <a:moveTo>
                    <a:pt x="78" y="12"/>
                  </a:moveTo>
                  <a:lnTo>
                    <a:pt x="78" y="12"/>
                  </a:lnTo>
                  <a:lnTo>
                    <a:pt x="66" y="12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6" y="36"/>
                  </a:lnTo>
                  <a:lnTo>
                    <a:pt x="102" y="36"/>
                  </a:lnTo>
                  <a:lnTo>
                    <a:pt x="114" y="36"/>
                  </a:lnTo>
                  <a:lnTo>
                    <a:pt x="108" y="30"/>
                  </a:lnTo>
                  <a:lnTo>
                    <a:pt x="96" y="30"/>
                  </a:ln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6" name="Freeform 172">
              <a:extLst>
                <a:ext uri="{FF2B5EF4-FFF2-40B4-BE49-F238E27FC236}">
                  <a16:creationId xmlns:a16="http://schemas.microsoft.com/office/drawing/2014/main" id="{CDB33C26-1B7C-45A9-B44A-3C4CED6267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83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7" name="Freeform 173">
              <a:extLst>
                <a:ext uri="{FF2B5EF4-FFF2-40B4-BE49-F238E27FC236}">
                  <a16:creationId xmlns:a16="http://schemas.microsoft.com/office/drawing/2014/main" id="{CB307BE5-2A5C-4F00-8B3A-F25519AF3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6" y="1863"/>
              <a:ext cx="1" cy="6"/>
            </a:xfrm>
            <a:custGeom>
              <a:avLst/>
              <a:gdLst>
                <a:gd name="T0" fmla="*/ 6 h 6"/>
                <a:gd name="T1" fmla="*/ 0 h 6"/>
                <a:gd name="T2" fmla="*/ 0 h 6"/>
                <a:gd name="T3" fmla="*/ 0 h 6"/>
                <a:gd name="T4" fmla="*/ 6 h 6"/>
                <a:gd name="T5" fmla="*/ 6 h 6"/>
                <a:gd name="T6" fmla="*/ 0 h 6"/>
                <a:gd name="T7" fmla="*/ 6 h 6"/>
                <a:gd name="T8" fmla="*/ 6 h 6"/>
                <a:gd name="T9" fmla="*/ 6 h 6"/>
                <a:gd name="T10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8" name="Freeform 174">
              <a:extLst>
                <a:ext uri="{FF2B5EF4-FFF2-40B4-BE49-F238E27FC236}">
                  <a16:creationId xmlns:a16="http://schemas.microsoft.com/office/drawing/2014/main" id="{4AF3BDEA-858C-47CF-8C9F-A3D9DB714E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6 w 6"/>
                <a:gd name="T4" fmla="*/ 0 w 6"/>
                <a:gd name="T5" fmla="*/ 6 w 6"/>
                <a:gd name="T6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79" name="Freeform 175">
              <a:extLst>
                <a:ext uri="{FF2B5EF4-FFF2-40B4-BE49-F238E27FC236}">
                  <a16:creationId xmlns:a16="http://schemas.microsoft.com/office/drawing/2014/main" id="{9F116F1A-2AEB-4FC1-B526-2D2021BA597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863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0" name="Freeform 176">
              <a:extLst>
                <a:ext uri="{FF2B5EF4-FFF2-40B4-BE49-F238E27FC236}">
                  <a16:creationId xmlns:a16="http://schemas.microsoft.com/office/drawing/2014/main" id="{C9AF7F17-D78A-49F9-BF8A-CD7A82C869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6" cy="1"/>
            </a:xfrm>
            <a:custGeom>
              <a:avLst/>
              <a:gdLst>
                <a:gd name="T0" fmla="*/ 6 w 6"/>
                <a:gd name="T1" fmla="*/ 6 w 6"/>
                <a:gd name="T2" fmla="*/ 6 w 6"/>
                <a:gd name="T3" fmla="*/ 0 w 6"/>
                <a:gd name="T4" fmla="*/ 6 w 6"/>
                <a:gd name="T5" fmla="*/ 6 w 6"/>
                <a:gd name="T6" fmla="*/ 6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1" name="Freeform 177">
              <a:extLst>
                <a:ext uri="{FF2B5EF4-FFF2-40B4-BE49-F238E27FC236}">
                  <a16:creationId xmlns:a16="http://schemas.microsoft.com/office/drawing/2014/main" id="{C6B8CE3D-E79D-47FF-803E-E36F92B15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2" name="Freeform 178">
              <a:extLst>
                <a:ext uri="{FF2B5EF4-FFF2-40B4-BE49-F238E27FC236}">
                  <a16:creationId xmlns:a16="http://schemas.microsoft.com/office/drawing/2014/main" id="{39036E4B-9390-4E42-B601-1C6406BDE2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3" name="Freeform 179">
              <a:extLst>
                <a:ext uri="{FF2B5EF4-FFF2-40B4-BE49-F238E27FC236}">
                  <a16:creationId xmlns:a16="http://schemas.microsoft.com/office/drawing/2014/main" id="{05F59772-6D88-494D-911E-BD8918557D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0" y="1874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4" name="Rectangle 180">
              <a:extLst>
                <a:ext uri="{FF2B5EF4-FFF2-40B4-BE49-F238E27FC236}">
                  <a16:creationId xmlns:a16="http://schemas.microsoft.com/office/drawing/2014/main" id="{4B862029-22F1-49FE-A4E5-D07A0C58D3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6" y="1874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5" name="Freeform 181">
              <a:extLst>
                <a:ext uri="{FF2B5EF4-FFF2-40B4-BE49-F238E27FC236}">
                  <a16:creationId xmlns:a16="http://schemas.microsoft.com/office/drawing/2014/main" id="{13B38DF6-E09B-4BF3-8E55-5C914D6E30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857"/>
              <a:ext cx="42" cy="29"/>
            </a:xfrm>
            <a:custGeom>
              <a:avLst/>
              <a:gdLst>
                <a:gd name="T0" fmla="*/ 6 w 42"/>
                <a:gd name="T1" fmla="*/ 6 h 29"/>
                <a:gd name="T2" fmla="*/ 6 w 42"/>
                <a:gd name="T3" fmla="*/ 12 h 29"/>
                <a:gd name="T4" fmla="*/ 0 w 42"/>
                <a:gd name="T5" fmla="*/ 17 h 29"/>
                <a:gd name="T6" fmla="*/ 6 w 42"/>
                <a:gd name="T7" fmla="*/ 23 h 29"/>
                <a:gd name="T8" fmla="*/ 6 w 42"/>
                <a:gd name="T9" fmla="*/ 29 h 29"/>
                <a:gd name="T10" fmla="*/ 12 w 42"/>
                <a:gd name="T11" fmla="*/ 23 h 29"/>
                <a:gd name="T12" fmla="*/ 18 w 42"/>
                <a:gd name="T13" fmla="*/ 17 h 29"/>
                <a:gd name="T14" fmla="*/ 24 w 42"/>
                <a:gd name="T15" fmla="*/ 23 h 29"/>
                <a:gd name="T16" fmla="*/ 36 w 42"/>
                <a:gd name="T17" fmla="*/ 23 h 29"/>
                <a:gd name="T18" fmla="*/ 42 w 42"/>
                <a:gd name="T19" fmla="*/ 17 h 29"/>
                <a:gd name="T20" fmla="*/ 30 w 42"/>
                <a:gd name="T21" fmla="*/ 12 h 29"/>
                <a:gd name="T22" fmla="*/ 30 w 42"/>
                <a:gd name="T23" fmla="*/ 12 h 29"/>
                <a:gd name="T24" fmla="*/ 24 w 42"/>
                <a:gd name="T25" fmla="*/ 6 h 29"/>
                <a:gd name="T26" fmla="*/ 12 w 42"/>
                <a:gd name="T27" fmla="*/ 0 h 29"/>
                <a:gd name="T28" fmla="*/ 6 w 42"/>
                <a:gd name="T2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29">
                  <a:moveTo>
                    <a:pt x="6" y="6"/>
                  </a:moveTo>
                  <a:lnTo>
                    <a:pt x="6" y="12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6" y="29"/>
                  </a:lnTo>
                  <a:lnTo>
                    <a:pt x="12" y="23"/>
                  </a:lnTo>
                  <a:lnTo>
                    <a:pt x="18" y="17"/>
                  </a:lnTo>
                  <a:lnTo>
                    <a:pt x="24" y="23"/>
                  </a:lnTo>
                  <a:lnTo>
                    <a:pt x="36" y="23"/>
                  </a:lnTo>
                  <a:lnTo>
                    <a:pt x="42" y="17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6" name="Freeform 182">
              <a:extLst>
                <a:ext uri="{FF2B5EF4-FFF2-40B4-BE49-F238E27FC236}">
                  <a16:creationId xmlns:a16="http://schemas.microsoft.com/office/drawing/2014/main" id="{1FA6088F-61D8-4404-8BA7-0EE78F000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8" y="1857"/>
              <a:ext cx="30" cy="23"/>
            </a:xfrm>
            <a:custGeom>
              <a:avLst/>
              <a:gdLst>
                <a:gd name="T0" fmla="*/ 30 w 30"/>
                <a:gd name="T1" fmla="*/ 6 h 23"/>
                <a:gd name="T2" fmla="*/ 30 w 30"/>
                <a:gd name="T3" fmla="*/ 12 h 23"/>
                <a:gd name="T4" fmla="*/ 24 w 30"/>
                <a:gd name="T5" fmla="*/ 17 h 23"/>
                <a:gd name="T6" fmla="*/ 30 w 30"/>
                <a:gd name="T7" fmla="*/ 23 h 23"/>
                <a:gd name="T8" fmla="*/ 18 w 30"/>
                <a:gd name="T9" fmla="*/ 23 h 23"/>
                <a:gd name="T10" fmla="*/ 6 w 30"/>
                <a:gd name="T11" fmla="*/ 23 h 23"/>
                <a:gd name="T12" fmla="*/ 0 w 30"/>
                <a:gd name="T13" fmla="*/ 17 h 23"/>
                <a:gd name="T14" fmla="*/ 6 w 30"/>
                <a:gd name="T15" fmla="*/ 17 h 23"/>
                <a:gd name="T16" fmla="*/ 12 w 30"/>
                <a:gd name="T17" fmla="*/ 17 h 23"/>
                <a:gd name="T18" fmla="*/ 24 w 30"/>
                <a:gd name="T19" fmla="*/ 17 h 23"/>
                <a:gd name="T20" fmla="*/ 18 w 30"/>
                <a:gd name="T21" fmla="*/ 12 h 23"/>
                <a:gd name="T22" fmla="*/ 12 w 30"/>
                <a:gd name="T23" fmla="*/ 6 h 23"/>
                <a:gd name="T24" fmla="*/ 12 w 30"/>
                <a:gd name="T25" fmla="*/ 0 h 23"/>
                <a:gd name="T26" fmla="*/ 24 w 30"/>
                <a:gd name="T27" fmla="*/ 6 h 23"/>
                <a:gd name="T28" fmla="*/ 30 w 30"/>
                <a:gd name="T29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3">
                  <a:moveTo>
                    <a:pt x="30" y="6"/>
                  </a:moveTo>
                  <a:lnTo>
                    <a:pt x="30" y="12"/>
                  </a:lnTo>
                  <a:lnTo>
                    <a:pt x="24" y="17"/>
                  </a:lnTo>
                  <a:lnTo>
                    <a:pt x="30" y="23"/>
                  </a:lnTo>
                  <a:lnTo>
                    <a:pt x="18" y="23"/>
                  </a:lnTo>
                  <a:lnTo>
                    <a:pt x="6" y="23"/>
                  </a:lnTo>
                  <a:lnTo>
                    <a:pt x="0" y="17"/>
                  </a:lnTo>
                  <a:lnTo>
                    <a:pt x="6" y="17"/>
                  </a:lnTo>
                  <a:lnTo>
                    <a:pt x="12" y="17"/>
                  </a:lnTo>
                  <a:lnTo>
                    <a:pt x="24" y="17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7" name="Rectangle 183">
              <a:extLst>
                <a:ext uri="{FF2B5EF4-FFF2-40B4-BE49-F238E27FC236}">
                  <a16:creationId xmlns:a16="http://schemas.microsoft.com/office/drawing/2014/main" id="{B0DDCB81-2EC8-4045-B1F9-D12CD4AEBB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38" y="183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8" name="Freeform 184">
              <a:extLst>
                <a:ext uri="{FF2B5EF4-FFF2-40B4-BE49-F238E27FC236}">
                  <a16:creationId xmlns:a16="http://schemas.microsoft.com/office/drawing/2014/main" id="{D76A690B-5ADA-4C1E-B04D-5DA636EFC61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8" y="183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89" name="Freeform 185">
              <a:extLst>
                <a:ext uri="{FF2B5EF4-FFF2-40B4-BE49-F238E27FC236}">
                  <a16:creationId xmlns:a16="http://schemas.microsoft.com/office/drawing/2014/main" id="{4E2F20EA-1F49-4533-B9CB-976E4BE9F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8"/>
              <a:ext cx="6" cy="6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0" name="Freeform 186">
              <a:extLst>
                <a:ext uri="{FF2B5EF4-FFF2-40B4-BE49-F238E27FC236}">
                  <a16:creationId xmlns:a16="http://schemas.microsoft.com/office/drawing/2014/main" id="{2BF5DB7E-DC8A-439B-85A1-E9A7E8B1BA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6" y="1970"/>
              <a:ext cx="36" cy="36"/>
            </a:xfrm>
            <a:custGeom>
              <a:avLst/>
              <a:gdLst>
                <a:gd name="T0" fmla="*/ 6 w 36"/>
                <a:gd name="T1" fmla="*/ 18 h 36"/>
                <a:gd name="T2" fmla="*/ 0 w 36"/>
                <a:gd name="T3" fmla="*/ 6 h 36"/>
                <a:gd name="T4" fmla="*/ 0 w 36"/>
                <a:gd name="T5" fmla="*/ 0 h 36"/>
                <a:gd name="T6" fmla="*/ 0 w 36"/>
                <a:gd name="T7" fmla="*/ 0 h 36"/>
                <a:gd name="T8" fmla="*/ 0 w 36"/>
                <a:gd name="T9" fmla="*/ 0 h 36"/>
                <a:gd name="T10" fmla="*/ 18 w 36"/>
                <a:gd name="T11" fmla="*/ 0 h 36"/>
                <a:gd name="T12" fmla="*/ 24 w 36"/>
                <a:gd name="T13" fmla="*/ 0 h 36"/>
                <a:gd name="T14" fmla="*/ 30 w 36"/>
                <a:gd name="T15" fmla="*/ 6 h 36"/>
                <a:gd name="T16" fmla="*/ 36 w 36"/>
                <a:gd name="T17" fmla="*/ 18 h 36"/>
                <a:gd name="T18" fmla="*/ 30 w 36"/>
                <a:gd name="T19" fmla="*/ 18 h 36"/>
                <a:gd name="T20" fmla="*/ 30 w 36"/>
                <a:gd name="T21" fmla="*/ 24 h 36"/>
                <a:gd name="T22" fmla="*/ 30 w 36"/>
                <a:gd name="T23" fmla="*/ 36 h 36"/>
                <a:gd name="T24" fmla="*/ 24 w 36"/>
                <a:gd name="T25" fmla="*/ 30 h 36"/>
                <a:gd name="T26" fmla="*/ 24 w 36"/>
                <a:gd name="T27" fmla="*/ 30 h 36"/>
                <a:gd name="T28" fmla="*/ 24 w 36"/>
                <a:gd name="T29" fmla="*/ 30 h 36"/>
                <a:gd name="T30" fmla="*/ 18 w 36"/>
                <a:gd name="T31" fmla="*/ 18 h 36"/>
                <a:gd name="T32" fmla="*/ 12 w 36"/>
                <a:gd name="T33" fmla="*/ 12 h 36"/>
                <a:gd name="T34" fmla="*/ 6 w 36"/>
                <a:gd name="T35" fmla="*/ 6 h 36"/>
                <a:gd name="T36" fmla="*/ 6 w 36"/>
                <a:gd name="T37" fmla="*/ 12 h 36"/>
                <a:gd name="T38" fmla="*/ 6 w 36"/>
                <a:gd name="T3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6">
                  <a:moveTo>
                    <a:pt x="6" y="1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1" name="Freeform 187">
              <a:extLst>
                <a:ext uri="{FF2B5EF4-FFF2-40B4-BE49-F238E27FC236}">
                  <a16:creationId xmlns:a16="http://schemas.microsoft.com/office/drawing/2014/main" id="{88C059A6-43B7-42BC-BAC8-606B91E891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1946"/>
              <a:ext cx="1" cy="6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2" name="Rectangle 188">
              <a:extLst>
                <a:ext uri="{FF2B5EF4-FFF2-40B4-BE49-F238E27FC236}">
                  <a16:creationId xmlns:a16="http://schemas.microsoft.com/office/drawing/2014/main" id="{03C9A8BF-A8AC-43F0-B4C5-F21EB7F3694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64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3" name="Rectangle 189">
              <a:extLst>
                <a:ext uri="{FF2B5EF4-FFF2-40B4-BE49-F238E27FC236}">
                  <a16:creationId xmlns:a16="http://schemas.microsoft.com/office/drawing/2014/main" id="{D51DF6EF-9290-4F55-91C1-E0B04CA9F0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10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4" name="Freeform 190">
              <a:extLst>
                <a:ext uri="{FF2B5EF4-FFF2-40B4-BE49-F238E27FC236}">
                  <a16:creationId xmlns:a16="http://schemas.microsoft.com/office/drawing/2014/main" id="{AFBEF45D-55AE-4636-8FA5-1F181E838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4" y="1928"/>
              <a:ext cx="24" cy="12"/>
            </a:xfrm>
            <a:custGeom>
              <a:avLst/>
              <a:gdLst>
                <a:gd name="T0" fmla="*/ 24 w 24"/>
                <a:gd name="T1" fmla="*/ 12 h 12"/>
                <a:gd name="T2" fmla="*/ 18 w 24"/>
                <a:gd name="T3" fmla="*/ 12 h 12"/>
                <a:gd name="T4" fmla="*/ 12 w 24"/>
                <a:gd name="T5" fmla="*/ 12 h 12"/>
                <a:gd name="T6" fmla="*/ 6 w 24"/>
                <a:gd name="T7" fmla="*/ 12 h 12"/>
                <a:gd name="T8" fmla="*/ 0 w 24"/>
                <a:gd name="T9" fmla="*/ 6 h 12"/>
                <a:gd name="T10" fmla="*/ 6 w 24"/>
                <a:gd name="T11" fmla="*/ 0 h 12"/>
                <a:gd name="T12" fmla="*/ 12 w 24"/>
                <a:gd name="T13" fmla="*/ 6 h 12"/>
                <a:gd name="T14" fmla="*/ 24 w 24"/>
                <a:gd name="T15" fmla="*/ 6 h 12"/>
                <a:gd name="T16" fmla="*/ 24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5" name="Freeform 191">
              <a:extLst>
                <a:ext uri="{FF2B5EF4-FFF2-40B4-BE49-F238E27FC236}">
                  <a16:creationId xmlns:a16="http://schemas.microsoft.com/office/drawing/2014/main" id="{73C4A90B-4276-4A1B-B0A4-4E6AC4B37A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52"/>
              <a:ext cx="1" cy="6"/>
            </a:xfrm>
            <a:custGeom>
              <a:avLst/>
              <a:gdLst>
                <a:gd name="T0" fmla="*/ 0 h 6"/>
                <a:gd name="T1" fmla="*/ 0 h 6"/>
                <a:gd name="T2" fmla="*/ 0 h 6"/>
                <a:gd name="T3" fmla="*/ 0 h 6"/>
                <a:gd name="T4" fmla="*/ 0 h 6"/>
                <a:gd name="T5" fmla="*/ 0 h 6"/>
                <a:gd name="T6" fmla="*/ 6 h 6"/>
                <a:gd name="T7" fmla="*/ 6 h 6"/>
                <a:gd name="T8" fmla="*/ 6 h 6"/>
                <a:gd name="T9" fmla="*/ 6 h 6"/>
                <a:gd name="T10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6" name="Rectangle 192">
              <a:extLst>
                <a:ext uri="{FF2B5EF4-FFF2-40B4-BE49-F238E27FC236}">
                  <a16:creationId xmlns:a16="http://schemas.microsoft.com/office/drawing/2014/main" id="{9EED3683-9B03-43D3-BC1E-95B4041F9AA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95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7" name="Freeform 193">
              <a:extLst>
                <a:ext uri="{FF2B5EF4-FFF2-40B4-BE49-F238E27FC236}">
                  <a16:creationId xmlns:a16="http://schemas.microsoft.com/office/drawing/2014/main" id="{40CB2510-B5EF-4BFB-8D03-80CA4F91A9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0" y="1910"/>
              <a:ext cx="72" cy="36"/>
            </a:xfrm>
            <a:custGeom>
              <a:avLst/>
              <a:gdLst>
                <a:gd name="T0" fmla="*/ 36 w 72"/>
                <a:gd name="T1" fmla="*/ 24 h 36"/>
                <a:gd name="T2" fmla="*/ 36 w 72"/>
                <a:gd name="T3" fmla="*/ 24 h 36"/>
                <a:gd name="T4" fmla="*/ 30 w 72"/>
                <a:gd name="T5" fmla="*/ 24 h 36"/>
                <a:gd name="T6" fmla="*/ 24 w 72"/>
                <a:gd name="T7" fmla="*/ 36 h 36"/>
                <a:gd name="T8" fmla="*/ 24 w 72"/>
                <a:gd name="T9" fmla="*/ 36 h 36"/>
                <a:gd name="T10" fmla="*/ 18 w 72"/>
                <a:gd name="T11" fmla="*/ 30 h 36"/>
                <a:gd name="T12" fmla="*/ 18 w 72"/>
                <a:gd name="T13" fmla="*/ 30 h 36"/>
                <a:gd name="T14" fmla="*/ 18 w 72"/>
                <a:gd name="T15" fmla="*/ 24 h 36"/>
                <a:gd name="T16" fmla="*/ 6 w 72"/>
                <a:gd name="T17" fmla="*/ 24 h 36"/>
                <a:gd name="T18" fmla="*/ 0 w 72"/>
                <a:gd name="T19" fmla="*/ 18 h 36"/>
                <a:gd name="T20" fmla="*/ 6 w 72"/>
                <a:gd name="T21" fmla="*/ 6 h 36"/>
                <a:gd name="T22" fmla="*/ 12 w 72"/>
                <a:gd name="T23" fmla="*/ 0 h 36"/>
                <a:gd name="T24" fmla="*/ 18 w 72"/>
                <a:gd name="T25" fmla="*/ 0 h 36"/>
                <a:gd name="T26" fmla="*/ 30 w 72"/>
                <a:gd name="T27" fmla="*/ 0 h 36"/>
                <a:gd name="T28" fmla="*/ 36 w 72"/>
                <a:gd name="T29" fmla="*/ 0 h 36"/>
                <a:gd name="T30" fmla="*/ 48 w 72"/>
                <a:gd name="T31" fmla="*/ 0 h 36"/>
                <a:gd name="T32" fmla="*/ 54 w 72"/>
                <a:gd name="T33" fmla="*/ 0 h 36"/>
                <a:gd name="T34" fmla="*/ 60 w 72"/>
                <a:gd name="T35" fmla="*/ 0 h 36"/>
                <a:gd name="T36" fmla="*/ 60 w 72"/>
                <a:gd name="T37" fmla="*/ 0 h 36"/>
                <a:gd name="T38" fmla="*/ 60 w 72"/>
                <a:gd name="T39" fmla="*/ 6 h 36"/>
                <a:gd name="T40" fmla="*/ 66 w 72"/>
                <a:gd name="T41" fmla="*/ 6 h 36"/>
                <a:gd name="T42" fmla="*/ 72 w 72"/>
                <a:gd name="T43" fmla="*/ 12 h 36"/>
                <a:gd name="T44" fmla="*/ 60 w 72"/>
                <a:gd name="T45" fmla="*/ 12 h 36"/>
                <a:gd name="T46" fmla="*/ 48 w 72"/>
                <a:gd name="T47" fmla="*/ 12 h 36"/>
                <a:gd name="T48" fmla="*/ 36 w 72"/>
                <a:gd name="T4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36">
                  <a:moveTo>
                    <a:pt x="36" y="24"/>
                  </a:moveTo>
                  <a:lnTo>
                    <a:pt x="36" y="24"/>
                  </a:lnTo>
                  <a:lnTo>
                    <a:pt x="30" y="2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8" name="Freeform 194">
              <a:extLst>
                <a:ext uri="{FF2B5EF4-FFF2-40B4-BE49-F238E27FC236}">
                  <a16:creationId xmlns:a16="http://schemas.microsoft.com/office/drawing/2014/main" id="{84B964B4-37BD-43E4-9E37-47BF0E8E2A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6" y="1922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199" name="Freeform 195">
              <a:extLst>
                <a:ext uri="{FF2B5EF4-FFF2-40B4-BE49-F238E27FC236}">
                  <a16:creationId xmlns:a16="http://schemas.microsoft.com/office/drawing/2014/main" id="{35819AE3-32F1-4157-A698-65766F24031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8" y="1922"/>
              <a:ext cx="54" cy="48"/>
            </a:xfrm>
            <a:custGeom>
              <a:avLst/>
              <a:gdLst>
                <a:gd name="T0" fmla="*/ 18 w 54"/>
                <a:gd name="T1" fmla="*/ 12 h 48"/>
                <a:gd name="T2" fmla="*/ 18 w 54"/>
                <a:gd name="T3" fmla="*/ 12 h 48"/>
                <a:gd name="T4" fmla="*/ 12 w 54"/>
                <a:gd name="T5" fmla="*/ 12 h 48"/>
                <a:gd name="T6" fmla="*/ 6 w 54"/>
                <a:gd name="T7" fmla="*/ 24 h 48"/>
                <a:gd name="T8" fmla="*/ 6 w 54"/>
                <a:gd name="T9" fmla="*/ 24 h 48"/>
                <a:gd name="T10" fmla="*/ 0 w 54"/>
                <a:gd name="T11" fmla="*/ 24 h 48"/>
                <a:gd name="T12" fmla="*/ 12 w 54"/>
                <a:gd name="T13" fmla="*/ 36 h 48"/>
                <a:gd name="T14" fmla="*/ 18 w 54"/>
                <a:gd name="T15" fmla="*/ 48 h 48"/>
                <a:gd name="T16" fmla="*/ 36 w 54"/>
                <a:gd name="T17" fmla="*/ 48 h 48"/>
                <a:gd name="T18" fmla="*/ 42 w 54"/>
                <a:gd name="T19" fmla="*/ 48 h 48"/>
                <a:gd name="T20" fmla="*/ 42 w 54"/>
                <a:gd name="T21" fmla="*/ 42 h 48"/>
                <a:gd name="T22" fmla="*/ 42 w 54"/>
                <a:gd name="T23" fmla="*/ 30 h 48"/>
                <a:gd name="T24" fmla="*/ 42 w 54"/>
                <a:gd name="T25" fmla="*/ 24 h 48"/>
                <a:gd name="T26" fmla="*/ 48 w 54"/>
                <a:gd name="T27" fmla="*/ 30 h 48"/>
                <a:gd name="T28" fmla="*/ 48 w 54"/>
                <a:gd name="T29" fmla="*/ 18 h 48"/>
                <a:gd name="T30" fmla="*/ 48 w 54"/>
                <a:gd name="T31" fmla="*/ 6 h 48"/>
                <a:gd name="T32" fmla="*/ 48 w 54"/>
                <a:gd name="T33" fmla="*/ 0 h 48"/>
                <a:gd name="T34" fmla="*/ 54 w 54"/>
                <a:gd name="T35" fmla="*/ 0 h 48"/>
                <a:gd name="T36" fmla="*/ 42 w 54"/>
                <a:gd name="T37" fmla="*/ 0 h 48"/>
                <a:gd name="T38" fmla="*/ 30 w 54"/>
                <a:gd name="T39" fmla="*/ 0 h 48"/>
                <a:gd name="T40" fmla="*/ 18 w 54"/>
                <a:gd name="T4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48">
                  <a:moveTo>
                    <a:pt x="18" y="12"/>
                  </a:moveTo>
                  <a:lnTo>
                    <a:pt x="18" y="12"/>
                  </a:lnTo>
                  <a:lnTo>
                    <a:pt x="12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12" y="36"/>
                  </a:lnTo>
                  <a:lnTo>
                    <a:pt x="18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30"/>
                  </a:lnTo>
                  <a:lnTo>
                    <a:pt x="48" y="18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0" name="Rectangle 196">
              <a:extLst>
                <a:ext uri="{FF2B5EF4-FFF2-40B4-BE49-F238E27FC236}">
                  <a16:creationId xmlns:a16="http://schemas.microsoft.com/office/drawing/2014/main" id="{55D7807C-77D4-4BF4-B569-777F5255BD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6" y="1940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1" name="Rectangle 197">
              <a:extLst>
                <a:ext uri="{FF2B5EF4-FFF2-40B4-BE49-F238E27FC236}">
                  <a16:creationId xmlns:a16="http://schemas.microsoft.com/office/drawing/2014/main" id="{0EE0FCC6-6183-4B61-92F6-B1989EFB64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2" name="Rectangle 198">
              <a:extLst>
                <a:ext uri="{FF2B5EF4-FFF2-40B4-BE49-F238E27FC236}">
                  <a16:creationId xmlns:a16="http://schemas.microsoft.com/office/drawing/2014/main" id="{4064693B-8EA5-406D-8235-074DD2909C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89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3" name="Freeform 199">
              <a:extLst>
                <a:ext uri="{FF2B5EF4-FFF2-40B4-BE49-F238E27FC236}">
                  <a16:creationId xmlns:a16="http://schemas.microsoft.com/office/drawing/2014/main" id="{596D9F46-1B50-4669-A1A2-31A30F799D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90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4" name="Freeform 200">
              <a:extLst>
                <a:ext uri="{FF2B5EF4-FFF2-40B4-BE49-F238E27FC236}">
                  <a16:creationId xmlns:a16="http://schemas.microsoft.com/office/drawing/2014/main" id="{92DCE528-8A4C-4CA3-B3D4-5833A6A4FE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8" y="1880"/>
              <a:ext cx="6" cy="1"/>
            </a:xfrm>
            <a:custGeom>
              <a:avLst/>
              <a:gdLst>
                <a:gd name="T0" fmla="*/ 6 w 6"/>
                <a:gd name="T1" fmla="*/ 0 w 6"/>
                <a:gd name="T2" fmla="*/ 0 w 6"/>
                <a:gd name="T3" fmla="*/ 0 w 6"/>
                <a:gd name="T4" fmla="*/ 0 w 6"/>
                <a:gd name="T5" fmla="*/ 0 w 6"/>
                <a:gd name="T6" fmla="*/ 0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5" name="Rectangle 201">
              <a:extLst>
                <a:ext uri="{FF2B5EF4-FFF2-40B4-BE49-F238E27FC236}">
                  <a16:creationId xmlns:a16="http://schemas.microsoft.com/office/drawing/2014/main" id="{90A04B46-D076-4368-8B08-3D52083539F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40" y="1892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6" name="Freeform 202">
              <a:extLst>
                <a:ext uri="{FF2B5EF4-FFF2-40B4-BE49-F238E27FC236}">
                  <a16:creationId xmlns:a16="http://schemas.microsoft.com/office/drawing/2014/main" id="{A4D73523-B2E6-4E06-BF29-29B85713E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1886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7" name="Freeform 203">
              <a:extLst>
                <a:ext uri="{FF2B5EF4-FFF2-40B4-BE49-F238E27FC236}">
                  <a16:creationId xmlns:a16="http://schemas.microsoft.com/office/drawing/2014/main" id="{C0AC3F63-7CDE-4F7A-AB15-8A187B5812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874"/>
              <a:ext cx="12" cy="36"/>
            </a:xfrm>
            <a:custGeom>
              <a:avLst/>
              <a:gdLst>
                <a:gd name="T0" fmla="*/ 6 w 12"/>
                <a:gd name="T1" fmla="*/ 30 h 36"/>
                <a:gd name="T2" fmla="*/ 0 w 12"/>
                <a:gd name="T3" fmla="*/ 36 h 36"/>
                <a:gd name="T4" fmla="*/ 0 w 12"/>
                <a:gd name="T5" fmla="*/ 36 h 36"/>
                <a:gd name="T6" fmla="*/ 0 w 12"/>
                <a:gd name="T7" fmla="*/ 24 h 36"/>
                <a:gd name="T8" fmla="*/ 0 w 12"/>
                <a:gd name="T9" fmla="*/ 12 h 36"/>
                <a:gd name="T10" fmla="*/ 12 w 12"/>
                <a:gd name="T11" fmla="*/ 0 h 36"/>
                <a:gd name="T12" fmla="*/ 12 w 12"/>
                <a:gd name="T13" fmla="*/ 6 h 36"/>
                <a:gd name="T14" fmla="*/ 12 w 12"/>
                <a:gd name="T15" fmla="*/ 18 h 36"/>
                <a:gd name="T16" fmla="*/ 6 w 12"/>
                <a:gd name="T17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6">
                  <a:moveTo>
                    <a:pt x="6" y="30"/>
                  </a:moveTo>
                  <a:lnTo>
                    <a:pt x="0" y="36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8" name="Freeform 204">
              <a:extLst>
                <a:ext uri="{FF2B5EF4-FFF2-40B4-BE49-F238E27FC236}">
                  <a16:creationId xmlns:a16="http://schemas.microsoft.com/office/drawing/2014/main" id="{2772C748-3176-4D6C-B9EB-E8618DC43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1886"/>
              <a:ext cx="41" cy="48"/>
            </a:xfrm>
            <a:custGeom>
              <a:avLst/>
              <a:gdLst>
                <a:gd name="T0" fmla="*/ 6 w 41"/>
                <a:gd name="T1" fmla="*/ 42 h 48"/>
                <a:gd name="T2" fmla="*/ 0 w 41"/>
                <a:gd name="T3" fmla="*/ 36 h 48"/>
                <a:gd name="T4" fmla="*/ 0 w 41"/>
                <a:gd name="T5" fmla="*/ 30 h 48"/>
                <a:gd name="T6" fmla="*/ 6 w 41"/>
                <a:gd name="T7" fmla="*/ 18 h 48"/>
                <a:gd name="T8" fmla="*/ 23 w 41"/>
                <a:gd name="T9" fmla="*/ 18 h 48"/>
                <a:gd name="T10" fmla="*/ 12 w 41"/>
                <a:gd name="T11" fmla="*/ 6 h 48"/>
                <a:gd name="T12" fmla="*/ 18 w 41"/>
                <a:gd name="T13" fmla="*/ 6 h 48"/>
                <a:gd name="T14" fmla="*/ 18 w 41"/>
                <a:gd name="T15" fmla="*/ 0 h 48"/>
                <a:gd name="T16" fmla="*/ 29 w 41"/>
                <a:gd name="T17" fmla="*/ 0 h 48"/>
                <a:gd name="T18" fmla="*/ 35 w 41"/>
                <a:gd name="T19" fmla="*/ 0 h 48"/>
                <a:gd name="T20" fmla="*/ 35 w 41"/>
                <a:gd name="T21" fmla="*/ 12 h 48"/>
                <a:gd name="T22" fmla="*/ 35 w 41"/>
                <a:gd name="T23" fmla="*/ 24 h 48"/>
                <a:gd name="T24" fmla="*/ 35 w 41"/>
                <a:gd name="T25" fmla="*/ 24 h 48"/>
                <a:gd name="T26" fmla="*/ 41 w 41"/>
                <a:gd name="T27" fmla="*/ 24 h 48"/>
                <a:gd name="T28" fmla="*/ 41 w 41"/>
                <a:gd name="T29" fmla="*/ 24 h 48"/>
                <a:gd name="T30" fmla="*/ 35 w 41"/>
                <a:gd name="T31" fmla="*/ 30 h 48"/>
                <a:gd name="T32" fmla="*/ 29 w 41"/>
                <a:gd name="T33" fmla="*/ 42 h 48"/>
                <a:gd name="T34" fmla="*/ 23 w 41"/>
                <a:gd name="T35" fmla="*/ 48 h 48"/>
                <a:gd name="T36" fmla="*/ 12 w 41"/>
                <a:gd name="T37" fmla="*/ 48 h 48"/>
                <a:gd name="T38" fmla="*/ 6 w 41"/>
                <a:gd name="T39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48">
                  <a:moveTo>
                    <a:pt x="6" y="42"/>
                  </a:moveTo>
                  <a:lnTo>
                    <a:pt x="0" y="36"/>
                  </a:lnTo>
                  <a:lnTo>
                    <a:pt x="0" y="30"/>
                  </a:lnTo>
                  <a:lnTo>
                    <a:pt x="6" y="18"/>
                  </a:lnTo>
                  <a:lnTo>
                    <a:pt x="23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35" y="30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48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09" name="Freeform 205">
              <a:extLst>
                <a:ext uri="{FF2B5EF4-FFF2-40B4-BE49-F238E27FC236}">
                  <a16:creationId xmlns:a16="http://schemas.microsoft.com/office/drawing/2014/main" id="{B260E0AF-0A7A-4886-96D6-7A93399FD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6" y="1874"/>
              <a:ext cx="24" cy="12"/>
            </a:xfrm>
            <a:custGeom>
              <a:avLst/>
              <a:gdLst>
                <a:gd name="T0" fmla="*/ 6 w 24"/>
                <a:gd name="T1" fmla="*/ 0 h 12"/>
                <a:gd name="T2" fmla="*/ 0 w 24"/>
                <a:gd name="T3" fmla="*/ 6 h 12"/>
                <a:gd name="T4" fmla="*/ 12 w 24"/>
                <a:gd name="T5" fmla="*/ 12 h 12"/>
                <a:gd name="T6" fmla="*/ 24 w 24"/>
                <a:gd name="T7" fmla="*/ 12 h 12"/>
                <a:gd name="T8" fmla="*/ 6 w 2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0" name="Freeform 206">
              <a:extLst>
                <a:ext uri="{FF2B5EF4-FFF2-40B4-BE49-F238E27FC236}">
                  <a16:creationId xmlns:a16="http://schemas.microsoft.com/office/drawing/2014/main" id="{526437A0-9682-4C81-9AA3-096FC7C2D48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6" y="1874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6 w 18"/>
                <a:gd name="T5" fmla="*/ 6 h 6"/>
                <a:gd name="T6" fmla="*/ 0 w 18"/>
                <a:gd name="T7" fmla="*/ 6 h 6"/>
                <a:gd name="T8" fmla="*/ 0 w 18"/>
                <a:gd name="T9" fmla="*/ 0 h 6"/>
                <a:gd name="T10" fmla="*/ 18 w 1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1" name="Rectangle 207">
              <a:extLst>
                <a:ext uri="{FF2B5EF4-FFF2-40B4-BE49-F238E27FC236}">
                  <a16:creationId xmlns:a16="http://schemas.microsoft.com/office/drawing/2014/main" id="{48A0DB39-E767-45BD-88D2-BB2A4B27E3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0" y="1886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2" name="Freeform 208">
              <a:extLst>
                <a:ext uri="{FF2B5EF4-FFF2-40B4-BE49-F238E27FC236}">
                  <a16:creationId xmlns:a16="http://schemas.microsoft.com/office/drawing/2014/main" id="{44E124FC-0CEB-4EC0-9E80-A9BE400FC1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9" y="1701"/>
              <a:ext cx="293" cy="221"/>
            </a:xfrm>
            <a:custGeom>
              <a:avLst/>
              <a:gdLst>
                <a:gd name="T0" fmla="*/ 36 w 293"/>
                <a:gd name="T1" fmla="*/ 108 h 221"/>
                <a:gd name="T2" fmla="*/ 24 w 293"/>
                <a:gd name="T3" fmla="*/ 78 h 221"/>
                <a:gd name="T4" fmla="*/ 12 w 293"/>
                <a:gd name="T5" fmla="*/ 66 h 221"/>
                <a:gd name="T6" fmla="*/ 18 w 293"/>
                <a:gd name="T7" fmla="*/ 48 h 221"/>
                <a:gd name="T8" fmla="*/ 6 w 293"/>
                <a:gd name="T9" fmla="*/ 18 h 221"/>
                <a:gd name="T10" fmla="*/ 30 w 293"/>
                <a:gd name="T11" fmla="*/ 0 h 221"/>
                <a:gd name="T12" fmla="*/ 54 w 293"/>
                <a:gd name="T13" fmla="*/ 12 h 221"/>
                <a:gd name="T14" fmla="*/ 90 w 293"/>
                <a:gd name="T15" fmla="*/ 18 h 221"/>
                <a:gd name="T16" fmla="*/ 120 w 293"/>
                <a:gd name="T17" fmla="*/ 24 h 221"/>
                <a:gd name="T18" fmla="*/ 132 w 293"/>
                <a:gd name="T19" fmla="*/ 48 h 221"/>
                <a:gd name="T20" fmla="*/ 162 w 293"/>
                <a:gd name="T21" fmla="*/ 48 h 221"/>
                <a:gd name="T22" fmla="*/ 180 w 293"/>
                <a:gd name="T23" fmla="*/ 78 h 221"/>
                <a:gd name="T24" fmla="*/ 180 w 293"/>
                <a:gd name="T25" fmla="*/ 114 h 221"/>
                <a:gd name="T26" fmla="*/ 180 w 293"/>
                <a:gd name="T27" fmla="*/ 156 h 221"/>
                <a:gd name="T28" fmla="*/ 192 w 293"/>
                <a:gd name="T29" fmla="*/ 173 h 221"/>
                <a:gd name="T30" fmla="*/ 222 w 293"/>
                <a:gd name="T31" fmla="*/ 173 h 221"/>
                <a:gd name="T32" fmla="*/ 240 w 293"/>
                <a:gd name="T33" fmla="*/ 173 h 221"/>
                <a:gd name="T34" fmla="*/ 251 w 293"/>
                <a:gd name="T35" fmla="*/ 144 h 221"/>
                <a:gd name="T36" fmla="*/ 281 w 293"/>
                <a:gd name="T37" fmla="*/ 138 h 221"/>
                <a:gd name="T38" fmla="*/ 293 w 293"/>
                <a:gd name="T39" fmla="*/ 144 h 221"/>
                <a:gd name="T40" fmla="*/ 281 w 293"/>
                <a:gd name="T41" fmla="*/ 162 h 221"/>
                <a:gd name="T42" fmla="*/ 269 w 293"/>
                <a:gd name="T43" fmla="*/ 173 h 221"/>
                <a:gd name="T44" fmla="*/ 251 w 293"/>
                <a:gd name="T45" fmla="*/ 185 h 221"/>
                <a:gd name="T46" fmla="*/ 234 w 293"/>
                <a:gd name="T47" fmla="*/ 191 h 221"/>
                <a:gd name="T48" fmla="*/ 222 w 293"/>
                <a:gd name="T49" fmla="*/ 215 h 221"/>
                <a:gd name="T50" fmla="*/ 204 w 293"/>
                <a:gd name="T51" fmla="*/ 203 h 221"/>
                <a:gd name="T52" fmla="*/ 192 w 293"/>
                <a:gd name="T53" fmla="*/ 203 h 221"/>
                <a:gd name="T54" fmla="*/ 174 w 293"/>
                <a:gd name="T55" fmla="*/ 209 h 221"/>
                <a:gd name="T56" fmla="*/ 138 w 293"/>
                <a:gd name="T57" fmla="*/ 191 h 221"/>
                <a:gd name="T58" fmla="*/ 114 w 293"/>
                <a:gd name="T59" fmla="*/ 179 h 221"/>
                <a:gd name="T60" fmla="*/ 90 w 293"/>
                <a:gd name="T61" fmla="*/ 162 h 221"/>
                <a:gd name="T62" fmla="*/ 90 w 293"/>
                <a:gd name="T63" fmla="*/ 144 h 221"/>
                <a:gd name="T64" fmla="*/ 84 w 293"/>
                <a:gd name="T65" fmla="*/ 120 h 221"/>
                <a:gd name="T66" fmla="*/ 78 w 293"/>
                <a:gd name="T67" fmla="*/ 102 h 221"/>
                <a:gd name="T68" fmla="*/ 72 w 293"/>
                <a:gd name="T69" fmla="*/ 96 h 221"/>
                <a:gd name="T70" fmla="*/ 60 w 293"/>
                <a:gd name="T71" fmla="*/ 84 h 221"/>
                <a:gd name="T72" fmla="*/ 54 w 293"/>
                <a:gd name="T73" fmla="*/ 60 h 221"/>
                <a:gd name="T74" fmla="*/ 42 w 293"/>
                <a:gd name="T75" fmla="*/ 42 h 221"/>
                <a:gd name="T76" fmla="*/ 30 w 293"/>
                <a:gd name="T77" fmla="*/ 12 h 221"/>
                <a:gd name="T78" fmla="*/ 18 w 293"/>
                <a:gd name="T79" fmla="*/ 36 h 221"/>
                <a:gd name="T80" fmla="*/ 36 w 293"/>
                <a:gd name="T81" fmla="*/ 66 h 221"/>
                <a:gd name="T82" fmla="*/ 36 w 293"/>
                <a:gd name="T83" fmla="*/ 84 h 221"/>
                <a:gd name="T84" fmla="*/ 48 w 293"/>
                <a:gd name="T85" fmla="*/ 10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3" h="221">
                  <a:moveTo>
                    <a:pt x="54" y="114"/>
                  </a:moveTo>
                  <a:lnTo>
                    <a:pt x="42" y="120"/>
                  </a:lnTo>
                  <a:lnTo>
                    <a:pt x="36" y="108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6" y="30"/>
                  </a:lnTo>
                  <a:lnTo>
                    <a:pt x="6" y="18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108" y="12"/>
                  </a:lnTo>
                  <a:lnTo>
                    <a:pt x="120" y="24"/>
                  </a:lnTo>
                  <a:lnTo>
                    <a:pt x="120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44" y="36"/>
                  </a:lnTo>
                  <a:lnTo>
                    <a:pt x="156" y="36"/>
                  </a:lnTo>
                  <a:lnTo>
                    <a:pt x="162" y="48"/>
                  </a:lnTo>
                  <a:lnTo>
                    <a:pt x="168" y="60"/>
                  </a:lnTo>
                  <a:lnTo>
                    <a:pt x="168" y="78"/>
                  </a:lnTo>
                  <a:lnTo>
                    <a:pt x="180" y="78"/>
                  </a:lnTo>
                  <a:lnTo>
                    <a:pt x="192" y="84"/>
                  </a:lnTo>
                  <a:lnTo>
                    <a:pt x="186" y="96"/>
                  </a:lnTo>
                  <a:lnTo>
                    <a:pt x="180" y="114"/>
                  </a:lnTo>
                  <a:lnTo>
                    <a:pt x="174" y="132"/>
                  </a:lnTo>
                  <a:lnTo>
                    <a:pt x="180" y="144"/>
                  </a:lnTo>
                  <a:lnTo>
                    <a:pt x="180" y="156"/>
                  </a:lnTo>
                  <a:lnTo>
                    <a:pt x="186" y="162"/>
                  </a:lnTo>
                  <a:lnTo>
                    <a:pt x="186" y="173"/>
                  </a:lnTo>
                  <a:lnTo>
                    <a:pt x="192" y="173"/>
                  </a:lnTo>
                  <a:lnTo>
                    <a:pt x="204" y="179"/>
                  </a:lnTo>
                  <a:lnTo>
                    <a:pt x="210" y="173"/>
                  </a:lnTo>
                  <a:lnTo>
                    <a:pt x="222" y="173"/>
                  </a:lnTo>
                  <a:lnTo>
                    <a:pt x="228" y="173"/>
                  </a:lnTo>
                  <a:lnTo>
                    <a:pt x="234" y="173"/>
                  </a:lnTo>
                  <a:lnTo>
                    <a:pt x="240" y="173"/>
                  </a:lnTo>
                  <a:lnTo>
                    <a:pt x="240" y="168"/>
                  </a:lnTo>
                  <a:lnTo>
                    <a:pt x="245" y="162"/>
                  </a:lnTo>
                  <a:lnTo>
                    <a:pt x="251" y="144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81" y="138"/>
                  </a:lnTo>
                  <a:lnTo>
                    <a:pt x="287" y="138"/>
                  </a:lnTo>
                  <a:lnTo>
                    <a:pt x="287" y="138"/>
                  </a:lnTo>
                  <a:lnTo>
                    <a:pt x="293" y="144"/>
                  </a:lnTo>
                  <a:lnTo>
                    <a:pt x="281" y="156"/>
                  </a:lnTo>
                  <a:lnTo>
                    <a:pt x="281" y="162"/>
                  </a:lnTo>
                  <a:lnTo>
                    <a:pt x="281" y="162"/>
                  </a:lnTo>
                  <a:lnTo>
                    <a:pt x="281" y="168"/>
                  </a:lnTo>
                  <a:lnTo>
                    <a:pt x="275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57" y="185"/>
                  </a:lnTo>
                  <a:lnTo>
                    <a:pt x="251" y="185"/>
                  </a:lnTo>
                  <a:lnTo>
                    <a:pt x="240" y="185"/>
                  </a:lnTo>
                  <a:lnTo>
                    <a:pt x="240" y="191"/>
                  </a:lnTo>
                  <a:lnTo>
                    <a:pt x="234" y="191"/>
                  </a:lnTo>
                  <a:lnTo>
                    <a:pt x="245" y="203"/>
                  </a:lnTo>
                  <a:lnTo>
                    <a:pt x="228" y="203"/>
                  </a:lnTo>
                  <a:lnTo>
                    <a:pt x="222" y="215"/>
                  </a:lnTo>
                  <a:lnTo>
                    <a:pt x="222" y="221"/>
                  </a:lnTo>
                  <a:lnTo>
                    <a:pt x="210" y="215"/>
                  </a:lnTo>
                  <a:lnTo>
                    <a:pt x="204" y="203"/>
                  </a:lnTo>
                  <a:lnTo>
                    <a:pt x="204" y="203"/>
                  </a:lnTo>
                  <a:lnTo>
                    <a:pt x="198" y="203"/>
                  </a:lnTo>
                  <a:lnTo>
                    <a:pt x="192" y="203"/>
                  </a:lnTo>
                  <a:lnTo>
                    <a:pt x="198" y="203"/>
                  </a:lnTo>
                  <a:lnTo>
                    <a:pt x="186" y="203"/>
                  </a:lnTo>
                  <a:lnTo>
                    <a:pt x="174" y="209"/>
                  </a:lnTo>
                  <a:lnTo>
                    <a:pt x="162" y="203"/>
                  </a:lnTo>
                  <a:lnTo>
                    <a:pt x="150" y="197"/>
                  </a:lnTo>
                  <a:lnTo>
                    <a:pt x="138" y="191"/>
                  </a:lnTo>
                  <a:lnTo>
                    <a:pt x="126" y="185"/>
                  </a:lnTo>
                  <a:lnTo>
                    <a:pt x="120" y="185"/>
                  </a:lnTo>
                  <a:lnTo>
                    <a:pt x="114" y="179"/>
                  </a:lnTo>
                  <a:lnTo>
                    <a:pt x="102" y="173"/>
                  </a:lnTo>
                  <a:lnTo>
                    <a:pt x="96" y="168"/>
                  </a:lnTo>
                  <a:lnTo>
                    <a:pt x="90" y="162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38"/>
                  </a:lnTo>
                  <a:lnTo>
                    <a:pt x="90" y="126"/>
                  </a:lnTo>
                  <a:lnTo>
                    <a:pt x="84" y="120"/>
                  </a:lnTo>
                  <a:lnTo>
                    <a:pt x="78" y="108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72" y="96"/>
                  </a:lnTo>
                  <a:lnTo>
                    <a:pt x="66" y="96"/>
                  </a:lnTo>
                  <a:lnTo>
                    <a:pt x="72" y="96"/>
                  </a:lnTo>
                  <a:lnTo>
                    <a:pt x="60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6" y="78"/>
                  </a:lnTo>
                  <a:lnTo>
                    <a:pt x="60" y="7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36" y="6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54" y="1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3" name="Freeform 209">
              <a:extLst>
                <a:ext uri="{FF2B5EF4-FFF2-40B4-BE49-F238E27FC236}">
                  <a16:creationId xmlns:a16="http://schemas.microsoft.com/office/drawing/2014/main" id="{6F386AAF-5B90-4493-B3E8-723DE53762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791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12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4" name="Freeform 210">
              <a:extLst>
                <a:ext uri="{FF2B5EF4-FFF2-40B4-BE49-F238E27FC236}">
                  <a16:creationId xmlns:a16="http://schemas.microsoft.com/office/drawing/2014/main" id="{AF2A5D36-6E3B-4CD6-A764-8BF0272CE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4" y="1773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6 h 12"/>
                <a:gd name="T4" fmla="*/ 0 w 6"/>
                <a:gd name="T5" fmla="*/ 0 h 12"/>
                <a:gd name="T6" fmla="*/ 6 w 6"/>
                <a:gd name="T7" fmla="*/ 6 h 12"/>
                <a:gd name="T8" fmla="*/ 6 w 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5" name="Freeform 211">
              <a:extLst>
                <a:ext uri="{FF2B5EF4-FFF2-40B4-BE49-F238E27FC236}">
                  <a16:creationId xmlns:a16="http://schemas.microsoft.com/office/drawing/2014/main" id="{01DA7656-3185-4E82-B639-EB956EA7082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6" y="1791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0 w 6"/>
                <a:gd name="T5" fmla="*/ 0 h 6"/>
                <a:gd name="T6" fmla="*/ 0 w 6"/>
                <a:gd name="T7" fmla="*/ 0 h 6"/>
                <a:gd name="T8" fmla="*/ 0 w 6"/>
                <a:gd name="T9" fmla="*/ 0 h 6"/>
                <a:gd name="T10" fmla="*/ 0 w 6"/>
                <a:gd name="T11" fmla="*/ 6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6" name="Freeform 212">
              <a:extLst>
                <a:ext uri="{FF2B5EF4-FFF2-40B4-BE49-F238E27FC236}">
                  <a16:creationId xmlns:a16="http://schemas.microsoft.com/office/drawing/2014/main" id="{D9C509D8-E08C-4B1A-A902-2D4EA6B0016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839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7" name="Freeform 213">
              <a:extLst>
                <a:ext uri="{FF2B5EF4-FFF2-40B4-BE49-F238E27FC236}">
                  <a16:creationId xmlns:a16="http://schemas.microsoft.com/office/drawing/2014/main" id="{ACD1A918-8CA3-482C-86FB-D201F13D7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4" y="1827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8" name="Freeform 214">
              <a:extLst>
                <a:ext uri="{FF2B5EF4-FFF2-40B4-BE49-F238E27FC236}">
                  <a16:creationId xmlns:a16="http://schemas.microsoft.com/office/drawing/2014/main" id="{562515FE-29C1-4311-A6DF-C5E158899A4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2" y="1773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12 w 12"/>
                <a:gd name="T3" fmla="*/ 0 h 6"/>
                <a:gd name="T4" fmla="*/ 6 w 12"/>
                <a:gd name="T5" fmla="*/ 6 h 6"/>
                <a:gd name="T6" fmla="*/ 0 w 12"/>
                <a:gd name="T7" fmla="*/ 0 h 6"/>
                <a:gd name="T8" fmla="*/ 6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12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19" name="Freeform 215">
              <a:extLst>
                <a:ext uri="{FF2B5EF4-FFF2-40B4-BE49-F238E27FC236}">
                  <a16:creationId xmlns:a16="http://schemas.microsoft.com/office/drawing/2014/main" id="{B08DC91C-602F-4EC7-BE76-20E719C50C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8" y="1809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0" name="Freeform 216">
              <a:extLst>
                <a:ext uri="{FF2B5EF4-FFF2-40B4-BE49-F238E27FC236}">
                  <a16:creationId xmlns:a16="http://schemas.microsoft.com/office/drawing/2014/main" id="{F09398AA-E480-4468-B94D-F1C1092AE3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2354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1" name="Freeform 217">
              <a:extLst>
                <a:ext uri="{FF2B5EF4-FFF2-40B4-BE49-F238E27FC236}">
                  <a16:creationId xmlns:a16="http://schemas.microsoft.com/office/drawing/2014/main" id="{3417F5C8-7EB5-44AF-934E-CC9B9EB1A01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3" y="2240"/>
              <a:ext cx="438" cy="347"/>
            </a:xfrm>
            <a:custGeom>
              <a:avLst/>
              <a:gdLst>
                <a:gd name="T0" fmla="*/ 246 w 438"/>
                <a:gd name="T1" fmla="*/ 6 h 347"/>
                <a:gd name="T2" fmla="*/ 252 w 438"/>
                <a:gd name="T3" fmla="*/ 18 h 347"/>
                <a:gd name="T4" fmla="*/ 228 w 438"/>
                <a:gd name="T5" fmla="*/ 24 h 347"/>
                <a:gd name="T6" fmla="*/ 222 w 438"/>
                <a:gd name="T7" fmla="*/ 30 h 347"/>
                <a:gd name="T8" fmla="*/ 216 w 438"/>
                <a:gd name="T9" fmla="*/ 48 h 347"/>
                <a:gd name="T10" fmla="*/ 210 w 438"/>
                <a:gd name="T11" fmla="*/ 54 h 347"/>
                <a:gd name="T12" fmla="*/ 192 w 438"/>
                <a:gd name="T13" fmla="*/ 54 h 347"/>
                <a:gd name="T14" fmla="*/ 186 w 438"/>
                <a:gd name="T15" fmla="*/ 36 h 347"/>
                <a:gd name="T16" fmla="*/ 174 w 438"/>
                <a:gd name="T17" fmla="*/ 42 h 347"/>
                <a:gd name="T18" fmla="*/ 168 w 438"/>
                <a:gd name="T19" fmla="*/ 54 h 347"/>
                <a:gd name="T20" fmla="*/ 156 w 438"/>
                <a:gd name="T21" fmla="*/ 60 h 347"/>
                <a:gd name="T22" fmla="*/ 156 w 438"/>
                <a:gd name="T23" fmla="*/ 66 h 347"/>
                <a:gd name="T24" fmla="*/ 144 w 438"/>
                <a:gd name="T25" fmla="*/ 66 h 347"/>
                <a:gd name="T26" fmla="*/ 144 w 438"/>
                <a:gd name="T27" fmla="*/ 84 h 347"/>
                <a:gd name="T28" fmla="*/ 126 w 438"/>
                <a:gd name="T29" fmla="*/ 84 h 347"/>
                <a:gd name="T30" fmla="*/ 102 w 438"/>
                <a:gd name="T31" fmla="*/ 114 h 347"/>
                <a:gd name="T32" fmla="*/ 66 w 438"/>
                <a:gd name="T33" fmla="*/ 120 h 347"/>
                <a:gd name="T34" fmla="*/ 30 w 438"/>
                <a:gd name="T35" fmla="*/ 137 h 347"/>
                <a:gd name="T36" fmla="*/ 18 w 438"/>
                <a:gd name="T37" fmla="*/ 179 h 347"/>
                <a:gd name="T38" fmla="*/ 18 w 438"/>
                <a:gd name="T39" fmla="*/ 179 h 347"/>
                <a:gd name="T40" fmla="*/ 12 w 438"/>
                <a:gd name="T41" fmla="*/ 197 h 347"/>
                <a:gd name="T42" fmla="*/ 18 w 438"/>
                <a:gd name="T43" fmla="*/ 239 h 347"/>
                <a:gd name="T44" fmla="*/ 6 w 438"/>
                <a:gd name="T45" fmla="*/ 281 h 347"/>
                <a:gd name="T46" fmla="*/ 18 w 438"/>
                <a:gd name="T47" fmla="*/ 299 h 347"/>
                <a:gd name="T48" fmla="*/ 48 w 438"/>
                <a:gd name="T49" fmla="*/ 287 h 347"/>
                <a:gd name="T50" fmla="*/ 96 w 438"/>
                <a:gd name="T51" fmla="*/ 275 h 347"/>
                <a:gd name="T52" fmla="*/ 150 w 438"/>
                <a:gd name="T53" fmla="*/ 257 h 347"/>
                <a:gd name="T54" fmla="*/ 198 w 438"/>
                <a:gd name="T55" fmla="*/ 263 h 347"/>
                <a:gd name="T56" fmla="*/ 210 w 438"/>
                <a:gd name="T57" fmla="*/ 281 h 347"/>
                <a:gd name="T58" fmla="*/ 216 w 438"/>
                <a:gd name="T59" fmla="*/ 293 h 347"/>
                <a:gd name="T60" fmla="*/ 240 w 438"/>
                <a:gd name="T61" fmla="*/ 275 h 347"/>
                <a:gd name="T62" fmla="*/ 228 w 438"/>
                <a:gd name="T63" fmla="*/ 299 h 347"/>
                <a:gd name="T64" fmla="*/ 240 w 438"/>
                <a:gd name="T65" fmla="*/ 305 h 347"/>
                <a:gd name="T66" fmla="*/ 240 w 438"/>
                <a:gd name="T67" fmla="*/ 335 h 347"/>
                <a:gd name="T68" fmla="*/ 282 w 438"/>
                <a:gd name="T69" fmla="*/ 341 h 347"/>
                <a:gd name="T70" fmla="*/ 282 w 438"/>
                <a:gd name="T71" fmla="*/ 341 h 347"/>
                <a:gd name="T72" fmla="*/ 294 w 438"/>
                <a:gd name="T73" fmla="*/ 341 h 347"/>
                <a:gd name="T74" fmla="*/ 342 w 438"/>
                <a:gd name="T75" fmla="*/ 323 h 347"/>
                <a:gd name="T76" fmla="*/ 378 w 438"/>
                <a:gd name="T77" fmla="*/ 281 h 347"/>
                <a:gd name="T78" fmla="*/ 414 w 438"/>
                <a:gd name="T79" fmla="*/ 245 h 347"/>
                <a:gd name="T80" fmla="*/ 432 w 438"/>
                <a:gd name="T81" fmla="*/ 203 h 347"/>
                <a:gd name="T82" fmla="*/ 432 w 438"/>
                <a:gd name="T83" fmla="*/ 167 h 347"/>
                <a:gd name="T84" fmla="*/ 420 w 438"/>
                <a:gd name="T85" fmla="*/ 143 h 347"/>
                <a:gd name="T86" fmla="*/ 408 w 438"/>
                <a:gd name="T87" fmla="*/ 131 h 347"/>
                <a:gd name="T88" fmla="*/ 396 w 438"/>
                <a:gd name="T89" fmla="*/ 108 h 347"/>
                <a:gd name="T90" fmla="*/ 384 w 438"/>
                <a:gd name="T91" fmla="*/ 66 h 347"/>
                <a:gd name="T92" fmla="*/ 366 w 438"/>
                <a:gd name="T93" fmla="*/ 42 h 347"/>
                <a:gd name="T94" fmla="*/ 366 w 438"/>
                <a:gd name="T95" fmla="*/ 6 h 347"/>
                <a:gd name="T96" fmla="*/ 354 w 438"/>
                <a:gd name="T97" fmla="*/ 12 h 347"/>
                <a:gd name="T98" fmla="*/ 348 w 438"/>
                <a:gd name="T99" fmla="*/ 30 h 347"/>
                <a:gd name="T100" fmla="*/ 342 w 438"/>
                <a:gd name="T101" fmla="*/ 54 h 347"/>
                <a:gd name="T102" fmla="*/ 312 w 438"/>
                <a:gd name="T103" fmla="*/ 78 h 347"/>
                <a:gd name="T104" fmla="*/ 276 w 438"/>
                <a:gd name="T105" fmla="*/ 48 h 347"/>
                <a:gd name="T106" fmla="*/ 294 w 438"/>
                <a:gd name="T107" fmla="*/ 24 h 347"/>
                <a:gd name="T108" fmla="*/ 288 w 438"/>
                <a:gd name="T109" fmla="*/ 18 h 347"/>
                <a:gd name="T110" fmla="*/ 270 w 438"/>
                <a:gd name="T111" fmla="*/ 12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" h="347">
                  <a:moveTo>
                    <a:pt x="258" y="6"/>
                  </a:moveTo>
                  <a:lnTo>
                    <a:pt x="252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46" y="6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18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16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0" y="48"/>
                  </a:lnTo>
                  <a:lnTo>
                    <a:pt x="210" y="54"/>
                  </a:lnTo>
                  <a:lnTo>
                    <a:pt x="204" y="48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8" y="48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36"/>
                  </a:lnTo>
                  <a:lnTo>
                    <a:pt x="180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2" y="54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6" y="66"/>
                  </a:lnTo>
                  <a:lnTo>
                    <a:pt x="150" y="66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26" y="84"/>
                  </a:lnTo>
                  <a:lnTo>
                    <a:pt x="126" y="90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102" y="114"/>
                  </a:lnTo>
                  <a:lnTo>
                    <a:pt x="90" y="114"/>
                  </a:lnTo>
                  <a:lnTo>
                    <a:pt x="78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48" y="131"/>
                  </a:lnTo>
                  <a:lnTo>
                    <a:pt x="36" y="137"/>
                  </a:lnTo>
                  <a:lnTo>
                    <a:pt x="30" y="143"/>
                  </a:lnTo>
                  <a:lnTo>
                    <a:pt x="30" y="137"/>
                  </a:lnTo>
                  <a:lnTo>
                    <a:pt x="24" y="149"/>
                  </a:lnTo>
                  <a:lnTo>
                    <a:pt x="18" y="161"/>
                  </a:lnTo>
                  <a:lnTo>
                    <a:pt x="18" y="173"/>
                  </a:lnTo>
                  <a:lnTo>
                    <a:pt x="18" y="179"/>
                  </a:lnTo>
                  <a:lnTo>
                    <a:pt x="24" y="191"/>
                  </a:lnTo>
                  <a:lnTo>
                    <a:pt x="18" y="191"/>
                  </a:lnTo>
                  <a:lnTo>
                    <a:pt x="18" y="185"/>
                  </a:lnTo>
                  <a:lnTo>
                    <a:pt x="18" y="179"/>
                  </a:lnTo>
                  <a:lnTo>
                    <a:pt x="18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7"/>
                  </a:lnTo>
                  <a:lnTo>
                    <a:pt x="12" y="209"/>
                  </a:lnTo>
                  <a:lnTo>
                    <a:pt x="18" y="221"/>
                  </a:lnTo>
                  <a:lnTo>
                    <a:pt x="18" y="233"/>
                  </a:lnTo>
                  <a:lnTo>
                    <a:pt x="18" y="239"/>
                  </a:lnTo>
                  <a:lnTo>
                    <a:pt x="18" y="251"/>
                  </a:lnTo>
                  <a:lnTo>
                    <a:pt x="12" y="257"/>
                  </a:lnTo>
                  <a:lnTo>
                    <a:pt x="12" y="269"/>
                  </a:lnTo>
                  <a:lnTo>
                    <a:pt x="6" y="281"/>
                  </a:lnTo>
                  <a:lnTo>
                    <a:pt x="0" y="281"/>
                  </a:lnTo>
                  <a:lnTo>
                    <a:pt x="0" y="293"/>
                  </a:lnTo>
                  <a:lnTo>
                    <a:pt x="6" y="293"/>
                  </a:lnTo>
                  <a:lnTo>
                    <a:pt x="18" y="299"/>
                  </a:lnTo>
                  <a:lnTo>
                    <a:pt x="30" y="299"/>
                  </a:lnTo>
                  <a:lnTo>
                    <a:pt x="42" y="293"/>
                  </a:lnTo>
                  <a:lnTo>
                    <a:pt x="42" y="293"/>
                  </a:lnTo>
                  <a:lnTo>
                    <a:pt x="48" y="287"/>
                  </a:lnTo>
                  <a:lnTo>
                    <a:pt x="60" y="287"/>
                  </a:lnTo>
                  <a:lnTo>
                    <a:pt x="72" y="287"/>
                  </a:lnTo>
                  <a:lnTo>
                    <a:pt x="90" y="287"/>
                  </a:lnTo>
                  <a:lnTo>
                    <a:pt x="96" y="275"/>
                  </a:lnTo>
                  <a:lnTo>
                    <a:pt x="114" y="269"/>
                  </a:lnTo>
                  <a:lnTo>
                    <a:pt x="126" y="263"/>
                  </a:lnTo>
                  <a:lnTo>
                    <a:pt x="138" y="263"/>
                  </a:lnTo>
                  <a:lnTo>
                    <a:pt x="150" y="257"/>
                  </a:lnTo>
                  <a:lnTo>
                    <a:pt x="168" y="257"/>
                  </a:lnTo>
                  <a:lnTo>
                    <a:pt x="180" y="257"/>
                  </a:lnTo>
                  <a:lnTo>
                    <a:pt x="186" y="257"/>
                  </a:lnTo>
                  <a:lnTo>
                    <a:pt x="198" y="263"/>
                  </a:lnTo>
                  <a:lnTo>
                    <a:pt x="204" y="269"/>
                  </a:lnTo>
                  <a:lnTo>
                    <a:pt x="204" y="269"/>
                  </a:lnTo>
                  <a:lnTo>
                    <a:pt x="204" y="275"/>
                  </a:lnTo>
                  <a:lnTo>
                    <a:pt x="210" y="281"/>
                  </a:lnTo>
                  <a:lnTo>
                    <a:pt x="210" y="293"/>
                  </a:lnTo>
                  <a:lnTo>
                    <a:pt x="204" y="293"/>
                  </a:lnTo>
                  <a:lnTo>
                    <a:pt x="210" y="299"/>
                  </a:lnTo>
                  <a:lnTo>
                    <a:pt x="216" y="293"/>
                  </a:lnTo>
                  <a:lnTo>
                    <a:pt x="228" y="281"/>
                  </a:lnTo>
                  <a:lnTo>
                    <a:pt x="240" y="275"/>
                  </a:lnTo>
                  <a:lnTo>
                    <a:pt x="246" y="269"/>
                  </a:lnTo>
                  <a:lnTo>
                    <a:pt x="240" y="275"/>
                  </a:lnTo>
                  <a:lnTo>
                    <a:pt x="234" y="287"/>
                  </a:lnTo>
                  <a:lnTo>
                    <a:pt x="228" y="299"/>
                  </a:lnTo>
                  <a:lnTo>
                    <a:pt x="222" y="299"/>
                  </a:lnTo>
                  <a:lnTo>
                    <a:pt x="228" y="299"/>
                  </a:lnTo>
                  <a:lnTo>
                    <a:pt x="240" y="287"/>
                  </a:lnTo>
                  <a:lnTo>
                    <a:pt x="240" y="293"/>
                  </a:lnTo>
                  <a:lnTo>
                    <a:pt x="228" y="305"/>
                  </a:lnTo>
                  <a:lnTo>
                    <a:pt x="240" y="305"/>
                  </a:lnTo>
                  <a:lnTo>
                    <a:pt x="240" y="305"/>
                  </a:lnTo>
                  <a:lnTo>
                    <a:pt x="240" y="311"/>
                  </a:lnTo>
                  <a:lnTo>
                    <a:pt x="240" y="323"/>
                  </a:lnTo>
                  <a:lnTo>
                    <a:pt x="240" y="335"/>
                  </a:lnTo>
                  <a:lnTo>
                    <a:pt x="246" y="341"/>
                  </a:lnTo>
                  <a:lnTo>
                    <a:pt x="258" y="341"/>
                  </a:lnTo>
                  <a:lnTo>
                    <a:pt x="264" y="347"/>
                  </a:lnTo>
                  <a:lnTo>
                    <a:pt x="282" y="341"/>
                  </a:lnTo>
                  <a:lnTo>
                    <a:pt x="276" y="335"/>
                  </a:lnTo>
                  <a:lnTo>
                    <a:pt x="288" y="335"/>
                  </a:lnTo>
                  <a:lnTo>
                    <a:pt x="282" y="341"/>
                  </a:lnTo>
                  <a:lnTo>
                    <a:pt x="282" y="341"/>
                  </a:lnTo>
                  <a:lnTo>
                    <a:pt x="288" y="341"/>
                  </a:lnTo>
                  <a:lnTo>
                    <a:pt x="288" y="347"/>
                  </a:lnTo>
                  <a:lnTo>
                    <a:pt x="294" y="347"/>
                  </a:lnTo>
                  <a:lnTo>
                    <a:pt x="294" y="341"/>
                  </a:lnTo>
                  <a:lnTo>
                    <a:pt x="312" y="335"/>
                  </a:lnTo>
                  <a:lnTo>
                    <a:pt x="324" y="335"/>
                  </a:lnTo>
                  <a:lnTo>
                    <a:pt x="336" y="329"/>
                  </a:lnTo>
                  <a:lnTo>
                    <a:pt x="342" y="323"/>
                  </a:lnTo>
                  <a:lnTo>
                    <a:pt x="354" y="311"/>
                  </a:lnTo>
                  <a:lnTo>
                    <a:pt x="366" y="299"/>
                  </a:lnTo>
                  <a:lnTo>
                    <a:pt x="372" y="281"/>
                  </a:lnTo>
                  <a:lnTo>
                    <a:pt x="378" y="281"/>
                  </a:lnTo>
                  <a:lnTo>
                    <a:pt x="390" y="269"/>
                  </a:lnTo>
                  <a:lnTo>
                    <a:pt x="396" y="269"/>
                  </a:lnTo>
                  <a:lnTo>
                    <a:pt x="408" y="257"/>
                  </a:lnTo>
                  <a:lnTo>
                    <a:pt x="414" y="245"/>
                  </a:lnTo>
                  <a:lnTo>
                    <a:pt x="420" y="233"/>
                  </a:lnTo>
                  <a:lnTo>
                    <a:pt x="432" y="221"/>
                  </a:lnTo>
                  <a:lnTo>
                    <a:pt x="432" y="215"/>
                  </a:lnTo>
                  <a:lnTo>
                    <a:pt x="432" y="203"/>
                  </a:lnTo>
                  <a:lnTo>
                    <a:pt x="432" y="191"/>
                  </a:lnTo>
                  <a:lnTo>
                    <a:pt x="438" y="185"/>
                  </a:lnTo>
                  <a:lnTo>
                    <a:pt x="432" y="179"/>
                  </a:lnTo>
                  <a:lnTo>
                    <a:pt x="432" y="167"/>
                  </a:lnTo>
                  <a:lnTo>
                    <a:pt x="426" y="161"/>
                  </a:lnTo>
                  <a:lnTo>
                    <a:pt x="420" y="155"/>
                  </a:lnTo>
                  <a:lnTo>
                    <a:pt x="420" y="143"/>
                  </a:lnTo>
                  <a:lnTo>
                    <a:pt x="420" y="143"/>
                  </a:lnTo>
                  <a:lnTo>
                    <a:pt x="414" y="137"/>
                  </a:lnTo>
                  <a:lnTo>
                    <a:pt x="414" y="143"/>
                  </a:lnTo>
                  <a:lnTo>
                    <a:pt x="408" y="143"/>
                  </a:lnTo>
                  <a:lnTo>
                    <a:pt x="408" y="131"/>
                  </a:lnTo>
                  <a:lnTo>
                    <a:pt x="408" y="120"/>
                  </a:lnTo>
                  <a:lnTo>
                    <a:pt x="408" y="120"/>
                  </a:lnTo>
                  <a:lnTo>
                    <a:pt x="402" y="114"/>
                  </a:lnTo>
                  <a:lnTo>
                    <a:pt x="396" y="108"/>
                  </a:lnTo>
                  <a:lnTo>
                    <a:pt x="384" y="96"/>
                  </a:lnTo>
                  <a:lnTo>
                    <a:pt x="384" y="84"/>
                  </a:lnTo>
                  <a:lnTo>
                    <a:pt x="384" y="72"/>
                  </a:lnTo>
                  <a:lnTo>
                    <a:pt x="384" y="66"/>
                  </a:lnTo>
                  <a:lnTo>
                    <a:pt x="384" y="54"/>
                  </a:lnTo>
                  <a:lnTo>
                    <a:pt x="384" y="48"/>
                  </a:lnTo>
                  <a:lnTo>
                    <a:pt x="378" y="42"/>
                  </a:lnTo>
                  <a:lnTo>
                    <a:pt x="366" y="42"/>
                  </a:lnTo>
                  <a:lnTo>
                    <a:pt x="366" y="36"/>
                  </a:lnTo>
                  <a:lnTo>
                    <a:pt x="366" y="24"/>
                  </a:lnTo>
                  <a:lnTo>
                    <a:pt x="366" y="12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48" y="24"/>
                  </a:lnTo>
                  <a:lnTo>
                    <a:pt x="348" y="30"/>
                  </a:lnTo>
                  <a:lnTo>
                    <a:pt x="348" y="36"/>
                  </a:lnTo>
                  <a:lnTo>
                    <a:pt x="348" y="36"/>
                  </a:lnTo>
                  <a:lnTo>
                    <a:pt x="342" y="42"/>
                  </a:lnTo>
                  <a:lnTo>
                    <a:pt x="342" y="54"/>
                  </a:lnTo>
                  <a:lnTo>
                    <a:pt x="336" y="66"/>
                  </a:lnTo>
                  <a:lnTo>
                    <a:pt x="330" y="84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00" y="72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48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94" y="24"/>
                  </a:lnTo>
                  <a:lnTo>
                    <a:pt x="300" y="18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2" y="18"/>
                  </a:lnTo>
                  <a:lnTo>
                    <a:pt x="288" y="12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2" name="Freeform 218">
              <a:extLst>
                <a:ext uri="{FF2B5EF4-FFF2-40B4-BE49-F238E27FC236}">
                  <a16:creationId xmlns:a16="http://schemas.microsoft.com/office/drawing/2014/main" id="{052282F3-3A52-4E37-8A74-F7B78A3A01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2611"/>
              <a:ext cx="48" cy="36"/>
            </a:xfrm>
            <a:custGeom>
              <a:avLst/>
              <a:gdLst>
                <a:gd name="T0" fmla="*/ 18 w 48"/>
                <a:gd name="T1" fmla="*/ 24 h 36"/>
                <a:gd name="T2" fmla="*/ 6 w 48"/>
                <a:gd name="T3" fmla="*/ 36 h 36"/>
                <a:gd name="T4" fmla="*/ 0 w 48"/>
                <a:gd name="T5" fmla="*/ 30 h 36"/>
                <a:gd name="T6" fmla="*/ 6 w 48"/>
                <a:gd name="T7" fmla="*/ 30 h 36"/>
                <a:gd name="T8" fmla="*/ 0 w 48"/>
                <a:gd name="T9" fmla="*/ 18 h 36"/>
                <a:gd name="T10" fmla="*/ 6 w 48"/>
                <a:gd name="T11" fmla="*/ 18 h 36"/>
                <a:gd name="T12" fmla="*/ 6 w 48"/>
                <a:gd name="T13" fmla="*/ 18 h 36"/>
                <a:gd name="T14" fmla="*/ 6 w 48"/>
                <a:gd name="T15" fmla="*/ 12 h 36"/>
                <a:gd name="T16" fmla="*/ 6 w 48"/>
                <a:gd name="T17" fmla="*/ 0 h 36"/>
                <a:gd name="T18" fmla="*/ 12 w 48"/>
                <a:gd name="T19" fmla="*/ 0 h 36"/>
                <a:gd name="T20" fmla="*/ 24 w 48"/>
                <a:gd name="T21" fmla="*/ 0 h 36"/>
                <a:gd name="T22" fmla="*/ 30 w 48"/>
                <a:gd name="T23" fmla="*/ 6 h 36"/>
                <a:gd name="T24" fmla="*/ 30 w 48"/>
                <a:gd name="T25" fmla="*/ 0 h 36"/>
                <a:gd name="T26" fmla="*/ 48 w 48"/>
                <a:gd name="T27" fmla="*/ 0 h 36"/>
                <a:gd name="T28" fmla="*/ 36 w 48"/>
                <a:gd name="T29" fmla="*/ 18 h 36"/>
                <a:gd name="T30" fmla="*/ 36 w 48"/>
                <a:gd name="T31" fmla="*/ 12 h 36"/>
                <a:gd name="T32" fmla="*/ 24 w 48"/>
                <a:gd name="T33" fmla="*/ 30 h 36"/>
                <a:gd name="T34" fmla="*/ 24 w 48"/>
                <a:gd name="T35" fmla="*/ 24 h 36"/>
                <a:gd name="T36" fmla="*/ 24 w 48"/>
                <a:gd name="T37" fmla="*/ 24 h 36"/>
                <a:gd name="T38" fmla="*/ 18 w 48"/>
                <a:gd name="T39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36">
                  <a:moveTo>
                    <a:pt x="18" y="24"/>
                  </a:moveTo>
                  <a:lnTo>
                    <a:pt x="6" y="36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48" y="0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3" name="Freeform 219">
              <a:extLst>
                <a:ext uri="{FF2B5EF4-FFF2-40B4-BE49-F238E27FC236}">
                  <a16:creationId xmlns:a16="http://schemas.microsoft.com/office/drawing/2014/main" id="{E7A8EE09-2FAC-4652-9240-0BFC0AE2F7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8" y="231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0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4" name="Freeform 220">
              <a:extLst>
                <a:ext uri="{FF2B5EF4-FFF2-40B4-BE49-F238E27FC236}">
                  <a16:creationId xmlns:a16="http://schemas.microsoft.com/office/drawing/2014/main" id="{C3161BF7-AF94-4FE2-A82C-A16A2BDB258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0" y="2306"/>
              <a:ext cx="18" cy="6"/>
            </a:xfrm>
            <a:custGeom>
              <a:avLst/>
              <a:gdLst>
                <a:gd name="T0" fmla="*/ 12 w 18"/>
                <a:gd name="T1" fmla="*/ 6 h 6"/>
                <a:gd name="T2" fmla="*/ 18 w 18"/>
                <a:gd name="T3" fmla="*/ 0 h 6"/>
                <a:gd name="T4" fmla="*/ 0 w 18"/>
                <a:gd name="T5" fmla="*/ 6 h 6"/>
                <a:gd name="T6" fmla="*/ 0 w 18"/>
                <a:gd name="T7" fmla="*/ 6 h 6"/>
                <a:gd name="T8" fmla="*/ 12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2" y="6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5" name="Freeform 221">
              <a:extLst>
                <a:ext uri="{FF2B5EF4-FFF2-40B4-BE49-F238E27FC236}">
                  <a16:creationId xmlns:a16="http://schemas.microsoft.com/office/drawing/2014/main" id="{80D2C6A3-0D95-46DB-BD8B-7A6F4612B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8" y="2354"/>
              <a:ext cx="24" cy="29"/>
            </a:xfrm>
            <a:custGeom>
              <a:avLst/>
              <a:gdLst>
                <a:gd name="T0" fmla="*/ 24 w 24"/>
                <a:gd name="T1" fmla="*/ 29 h 29"/>
                <a:gd name="T2" fmla="*/ 18 w 24"/>
                <a:gd name="T3" fmla="*/ 23 h 29"/>
                <a:gd name="T4" fmla="*/ 6 w 24"/>
                <a:gd name="T5" fmla="*/ 17 h 29"/>
                <a:gd name="T6" fmla="*/ 0 w 24"/>
                <a:gd name="T7" fmla="*/ 6 h 29"/>
                <a:gd name="T8" fmla="*/ 0 w 24"/>
                <a:gd name="T9" fmla="*/ 0 h 29"/>
                <a:gd name="T10" fmla="*/ 6 w 24"/>
                <a:gd name="T11" fmla="*/ 6 h 29"/>
                <a:gd name="T12" fmla="*/ 12 w 24"/>
                <a:gd name="T13" fmla="*/ 11 h 29"/>
                <a:gd name="T14" fmla="*/ 18 w 24"/>
                <a:gd name="T15" fmla="*/ 17 h 29"/>
                <a:gd name="T16" fmla="*/ 24 w 24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9">
                  <a:moveTo>
                    <a:pt x="24" y="29"/>
                  </a:moveTo>
                  <a:lnTo>
                    <a:pt x="18" y="23"/>
                  </a:lnTo>
                  <a:lnTo>
                    <a:pt x="6" y="17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1"/>
                  </a:lnTo>
                  <a:lnTo>
                    <a:pt x="18" y="17"/>
                  </a:lnTo>
                  <a:lnTo>
                    <a:pt x="24" y="2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6" name="Freeform 222">
              <a:extLst>
                <a:ext uri="{FF2B5EF4-FFF2-40B4-BE49-F238E27FC236}">
                  <a16:creationId xmlns:a16="http://schemas.microsoft.com/office/drawing/2014/main" id="{453CC9E0-7B05-4E45-96DA-E65219E3E00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05"/>
              <a:ext cx="125" cy="78"/>
            </a:xfrm>
            <a:custGeom>
              <a:avLst/>
              <a:gdLst>
                <a:gd name="T0" fmla="*/ 77 w 125"/>
                <a:gd name="T1" fmla="*/ 42 h 78"/>
                <a:gd name="T2" fmla="*/ 77 w 125"/>
                <a:gd name="T3" fmla="*/ 36 h 78"/>
                <a:gd name="T4" fmla="*/ 77 w 125"/>
                <a:gd name="T5" fmla="*/ 36 h 78"/>
                <a:gd name="T6" fmla="*/ 71 w 125"/>
                <a:gd name="T7" fmla="*/ 36 h 78"/>
                <a:gd name="T8" fmla="*/ 77 w 125"/>
                <a:gd name="T9" fmla="*/ 42 h 78"/>
                <a:gd name="T10" fmla="*/ 65 w 125"/>
                <a:gd name="T11" fmla="*/ 48 h 78"/>
                <a:gd name="T12" fmla="*/ 65 w 125"/>
                <a:gd name="T13" fmla="*/ 48 h 78"/>
                <a:gd name="T14" fmla="*/ 59 w 125"/>
                <a:gd name="T15" fmla="*/ 48 h 78"/>
                <a:gd name="T16" fmla="*/ 59 w 125"/>
                <a:gd name="T17" fmla="*/ 54 h 78"/>
                <a:gd name="T18" fmla="*/ 59 w 125"/>
                <a:gd name="T19" fmla="*/ 54 h 78"/>
                <a:gd name="T20" fmla="*/ 41 w 125"/>
                <a:gd name="T21" fmla="*/ 66 h 78"/>
                <a:gd name="T22" fmla="*/ 18 w 125"/>
                <a:gd name="T23" fmla="*/ 78 h 78"/>
                <a:gd name="T24" fmla="*/ 12 w 125"/>
                <a:gd name="T25" fmla="*/ 72 h 78"/>
                <a:gd name="T26" fmla="*/ 6 w 125"/>
                <a:gd name="T27" fmla="*/ 72 h 78"/>
                <a:gd name="T28" fmla="*/ 0 w 125"/>
                <a:gd name="T29" fmla="*/ 72 h 78"/>
                <a:gd name="T30" fmla="*/ 0 w 125"/>
                <a:gd name="T31" fmla="*/ 66 h 78"/>
                <a:gd name="T32" fmla="*/ 0 w 125"/>
                <a:gd name="T33" fmla="*/ 66 h 78"/>
                <a:gd name="T34" fmla="*/ 6 w 125"/>
                <a:gd name="T35" fmla="*/ 66 h 78"/>
                <a:gd name="T36" fmla="*/ 6 w 125"/>
                <a:gd name="T37" fmla="*/ 60 h 78"/>
                <a:gd name="T38" fmla="*/ 12 w 125"/>
                <a:gd name="T39" fmla="*/ 60 h 78"/>
                <a:gd name="T40" fmla="*/ 18 w 125"/>
                <a:gd name="T41" fmla="*/ 54 h 78"/>
                <a:gd name="T42" fmla="*/ 24 w 125"/>
                <a:gd name="T43" fmla="*/ 54 h 78"/>
                <a:gd name="T44" fmla="*/ 30 w 125"/>
                <a:gd name="T45" fmla="*/ 54 h 78"/>
                <a:gd name="T46" fmla="*/ 41 w 125"/>
                <a:gd name="T47" fmla="*/ 42 h 78"/>
                <a:gd name="T48" fmla="*/ 47 w 125"/>
                <a:gd name="T49" fmla="*/ 42 h 78"/>
                <a:gd name="T50" fmla="*/ 65 w 125"/>
                <a:gd name="T51" fmla="*/ 36 h 78"/>
                <a:gd name="T52" fmla="*/ 77 w 125"/>
                <a:gd name="T53" fmla="*/ 30 h 78"/>
                <a:gd name="T54" fmla="*/ 83 w 125"/>
                <a:gd name="T55" fmla="*/ 24 h 78"/>
                <a:gd name="T56" fmla="*/ 83 w 125"/>
                <a:gd name="T57" fmla="*/ 24 h 78"/>
                <a:gd name="T58" fmla="*/ 95 w 125"/>
                <a:gd name="T59" fmla="*/ 18 h 78"/>
                <a:gd name="T60" fmla="*/ 113 w 125"/>
                <a:gd name="T61" fmla="*/ 0 h 78"/>
                <a:gd name="T62" fmla="*/ 119 w 125"/>
                <a:gd name="T63" fmla="*/ 0 h 78"/>
                <a:gd name="T64" fmla="*/ 113 w 125"/>
                <a:gd name="T65" fmla="*/ 6 h 78"/>
                <a:gd name="T66" fmla="*/ 113 w 125"/>
                <a:gd name="T67" fmla="*/ 12 h 78"/>
                <a:gd name="T68" fmla="*/ 119 w 125"/>
                <a:gd name="T69" fmla="*/ 6 h 78"/>
                <a:gd name="T70" fmla="*/ 119 w 125"/>
                <a:gd name="T71" fmla="*/ 6 h 78"/>
                <a:gd name="T72" fmla="*/ 119 w 125"/>
                <a:gd name="T73" fmla="*/ 12 h 78"/>
                <a:gd name="T74" fmla="*/ 119 w 125"/>
                <a:gd name="T75" fmla="*/ 12 h 78"/>
                <a:gd name="T76" fmla="*/ 125 w 125"/>
                <a:gd name="T77" fmla="*/ 12 h 78"/>
                <a:gd name="T78" fmla="*/ 119 w 125"/>
                <a:gd name="T79" fmla="*/ 18 h 78"/>
                <a:gd name="T80" fmla="*/ 107 w 125"/>
                <a:gd name="T81" fmla="*/ 24 h 78"/>
                <a:gd name="T82" fmla="*/ 95 w 125"/>
                <a:gd name="T83" fmla="*/ 30 h 78"/>
                <a:gd name="T84" fmla="*/ 83 w 125"/>
                <a:gd name="T85" fmla="*/ 36 h 78"/>
                <a:gd name="T86" fmla="*/ 83 w 125"/>
                <a:gd name="T87" fmla="*/ 36 h 78"/>
                <a:gd name="T88" fmla="*/ 83 w 125"/>
                <a:gd name="T89" fmla="*/ 36 h 78"/>
                <a:gd name="T90" fmla="*/ 83 w 125"/>
                <a:gd name="T91" fmla="*/ 42 h 78"/>
                <a:gd name="T92" fmla="*/ 83 w 125"/>
                <a:gd name="T93" fmla="*/ 42 h 78"/>
                <a:gd name="T94" fmla="*/ 77 w 125"/>
                <a:gd name="T95" fmla="*/ 4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78">
                  <a:moveTo>
                    <a:pt x="77" y="42"/>
                  </a:moveTo>
                  <a:lnTo>
                    <a:pt x="77" y="36"/>
                  </a:lnTo>
                  <a:lnTo>
                    <a:pt x="77" y="36"/>
                  </a:lnTo>
                  <a:lnTo>
                    <a:pt x="71" y="36"/>
                  </a:lnTo>
                  <a:lnTo>
                    <a:pt x="77" y="42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59" y="48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41" y="66"/>
                  </a:lnTo>
                  <a:lnTo>
                    <a:pt x="18" y="78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41" y="42"/>
                  </a:lnTo>
                  <a:lnTo>
                    <a:pt x="47" y="42"/>
                  </a:lnTo>
                  <a:lnTo>
                    <a:pt x="65" y="36"/>
                  </a:lnTo>
                  <a:lnTo>
                    <a:pt x="77" y="30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95" y="18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13" y="6"/>
                  </a:lnTo>
                  <a:lnTo>
                    <a:pt x="113" y="12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5" y="12"/>
                  </a:lnTo>
                  <a:lnTo>
                    <a:pt x="119" y="18"/>
                  </a:lnTo>
                  <a:lnTo>
                    <a:pt x="107" y="24"/>
                  </a:lnTo>
                  <a:lnTo>
                    <a:pt x="95" y="30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77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7" name="Freeform 223">
              <a:extLst>
                <a:ext uri="{FF2B5EF4-FFF2-40B4-BE49-F238E27FC236}">
                  <a16:creationId xmlns:a16="http://schemas.microsoft.com/office/drawing/2014/main" id="{C1BB6222-F498-4CF5-8DAE-CBFAA3CA9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0" y="2533"/>
              <a:ext cx="72" cy="84"/>
            </a:xfrm>
            <a:custGeom>
              <a:avLst/>
              <a:gdLst>
                <a:gd name="T0" fmla="*/ 12 w 72"/>
                <a:gd name="T1" fmla="*/ 60 h 84"/>
                <a:gd name="T2" fmla="*/ 12 w 72"/>
                <a:gd name="T3" fmla="*/ 66 h 84"/>
                <a:gd name="T4" fmla="*/ 18 w 72"/>
                <a:gd name="T5" fmla="*/ 72 h 84"/>
                <a:gd name="T6" fmla="*/ 0 w 72"/>
                <a:gd name="T7" fmla="*/ 84 h 84"/>
                <a:gd name="T8" fmla="*/ 6 w 72"/>
                <a:gd name="T9" fmla="*/ 84 h 84"/>
                <a:gd name="T10" fmla="*/ 18 w 72"/>
                <a:gd name="T11" fmla="*/ 78 h 84"/>
                <a:gd name="T12" fmla="*/ 36 w 72"/>
                <a:gd name="T13" fmla="*/ 72 h 84"/>
                <a:gd name="T14" fmla="*/ 42 w 72"/>
                <a:gd name="T15" fmla="*/ 60 h 84"/>
                <a:gd name="T16" fmla="*/ 54 w 72"/>
                <a:gd name="T17" fmla="*/ 54 h 84"/>
                <a:gd name="T18" fmla="*/ 60 w 72"/>
                <a:gd name="T19" fmla="*/ 48 h 84"/>
                <a:gd name="T20" fmla="*/ 72 w 72"/>
                <a:gd name="T21" fmla="*/ 36 h 84"/>
                <a:gd name="T22" fmla="*/ 72 w 72"/>
                <a:gd name="T23" fmla="*/ 36 h 84"/>
                <a:gd name="T24" fmla="*/ 60 w 72"/>
                <a:gd name="T25" fmla="*/ 42 h 84"/>
                <a:gd name="T26" fmla="*/ 48 w 72"/>
                <a:gd name="T27" fmla="*/ 36 h 84"/>
                <a:gd name="T28" fmla="*/ 54 w 72"/>
                <a:gd name="T29" fmla="*/ 24 h 84"/>
                <a:gd name="T30" fmla="*/ 48 w 72"/>
                <a:gd name="T31" fmla="*/ 30 h 84"/>
                <a:gd name="T32" fmla="*/ 42 w 72"/>
                <a:gd name="T33" fmla="*/ 30 h 84"/>
                <a:gd name="T34" fmla="*/ 42 w 72"/>
                <a:gd name="T35" fmla="*/ 24 h 84"/>
                <a:gd name="T36" fmla="*/ 48 w 72"/>
                <a:gd name="T37" fmla="*/ 12 h 84"/>
                <a:gd name="T38" fmla="*/ 48 w 72"/>
                <a:gd name="T39" fmla="*/ 12 h 84"/>
                <a:gd name="T40" fmla="*/ 48 w 72"/>
                <a:gd name="T41" fmla="*/ 12 h 84"/>
                <a:gd name="T42" fmla="*/ 42 w 72"/>
                <a:gd name="T43" fmla="*/ 6 h 84"/>
                <a:gd name="T44" fmla="*/ 42 w 72"/>
                <a:gd name="T45" fmla="*/ 0 h 84"/>
                <a:gd name="T46" fmla="*/ 36 w 72"/>
                <a:gd name="T47" fmla="*/ 0 h 84"/>
                <a:gd name="T48" fmla="*/ 36 w 72"/>
                <a:gd name="T49" fmla="*/ 6 h 84"/>
                <a:gd name="T50" fmla="*/ 36 w 72"/>
                <a:gd name="T51" fmla="*/ 12 h 84"/>
                <a:gd name="T52" fmla="*/ 36 w 72"/>
                <a:gd name="T53" fmla="*/ 24 h 84"/>
                <a:gd name="T54" fmla="*/ 36 w 72"/>
                <a:gd name="T55" fmla="*/ 18 h 84"/>
                <a:gd name="T56" fmla="*/ 42 w 72"/>
                <a:gd name="T57" fmla="*/ 18 h 84"/>
                <a:gd name="T58" fmla="*/ 42 w 72"/>
                <a:gd name="T59" fmla="*/ 18 h 84"/>
                <a:gd name="T60" fmla="*/ 36 w 72"/>
                <a:gd name="T61" fmla="*/ 24 h 84"/>
                <a:gd name="T62" fmla="*/ 36 w 72"/>
                <a:gd name="T63" fmla="*/ 30 h 84"/>
                <a:gd name="T64" fmla="*/ 42 w 72"/>
                <a:gd name="T65" fmla="*/ 30 h 84"/>
                <a:gd name="T66" fmla="*/ 36 w 72"/>
                <a:gd name="T67" fmla="*/ 30 h 84"/>
                <a:gd name="T68" fmla="*/ 36 w 72"/>
                <a:gd name="T69" fmla="*/ 36 h 84"/>
                <a:gd name="T70" fmla="*/ 24 w 72"/>
                <a:gd name="T71" fmla="*/ 48 h 84"/>
                <a:gd name="T72" fmla="*/ 12 w 72"/>
                <a:gd name="T73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84">
                  <a:moveTo>
                    <a:pt x="12" y="60"/>
                  </a:moveTo>
                  <a:lnTo>
                    <a:pt x="12" y="66"/>
                  </a:lnTo>
                  <a:lnTo>
                    <a:pt x="18" y="72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18" y="78"/>
                  </a:lnTo>
                  <a:lnTo>
                    <a:pt x="36" y="72"/>
                  </a:lnTo>
                  <a:lnTo>
                    <a:pt x="42" y="60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0" y="42"/>
                  </a:lnTo>
                  <a:lnTo>
                    <a:pt x="48" y="36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2" y="2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8" name="Freeform 224">
              <a:extLst>
                <a:ext uri="{FF2B5EF4-FFF2-40B4-BE49-F238E27FC236}">
                  <a16:creationId xmlns:a16="http://schemas.microsoft.com/office/drawing/2014/main" id="{B436C4CA-D0C8-4E12-A99E-6E0D623F490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5" y="2683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29" name="Freeform 225">
              <a:extLst>
                <a:ext uri="{FF2B5EF4-FFF2-40B4-BE49-F238E27FC236}">
                  <a16:creationId xmlns:a16="http://schemas.microsoft.com/office/drawing/2014/main" id="{D1C59EF5-9410-4A9D-91E0-B600EBC59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04" y="236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0" name="Freeform 226">
              <a:extLst>
                <a:ext uri="{FF2B5EF4-FFF2-40B4-BE49-F238E27FC236}">
                  <a16:creationId xmlns:a16="http://schemas.microsoft.com/office/drawing/2014/main" id="{2081567D-65DF-44EC-9B33-E1BDA7B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" y="2222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6 h 6"/>
                <a:gd name="T4" fmla="*/ 0 w 12"/>
                <a:gd name="T5" fmla="*/ 0 h 6"/>
                <a:gd name="T6" fmla="*/ 0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1" name="Freeform 227">
              <a:extLst>
                <a:ext uri="{FF2B5EF4-FFF2-40B4-BE49-F238E27FC236}">
                  <a16:creationId xmlns:a16="http://schemas.microsoft.com/office/drawing/2014/main" id="{1025D1F3-F666-44AD-8678-AAA2B178F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4" y="2186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6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2" name="Freeform 228">
              <a:extLst>
                <a:ext uri="{FF2B5EF4-FFF2-40B4-BE49-F238E27FC236}">
                  <a16:creationId xmlns:a16="http://schemas.microsoft.com/office/drawing/2014/main" id="{077CE746-DD36-4233-882D-C46079FEC6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2" y="223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3" name="Freeform 229">
              <a:extLst>
                <a:ext uri="{FF2B5EF4-FFF2-40B4-BE49-F238E27FC236}">
                  <a16:creationId xmlns:a16="http://schemas.microsoft.com/office/drawing/2014/main" id="{172A4A34-D677-4007-A8D1-876114B08F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0" y="2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4" name="Freeform 230">
              <a:extLst>
                <a:ext uri="{FF2B5EF4-FFF2-40B4-BE49-F238E27FC236}">
                  <a16:creationId xmlns:a16="http://schemas.microsoft.com/office/drawing/2014/main" id="{58E1C951-C218-4C71-AEAF-BE16A36202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6" y="2210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12 h 12"/>
                <a:gd name="T4" fmla="*/ 0 w 6"/>
                <a:gd name="T5" fmla="*/ 0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5" name="Freeform 231">
              <a:extLst>
                <a:ext uri="{FF2B5EF4-FFF2-40B4-BE49-F238E27FC236}">
                  <a16:creationId xmlns:a16="http://schemas.microsoft.com/office/drawing/2014/main" id="{70BB7B21-341F-475D-A1AA-59091CE634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2" y="2198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12 w 12"/>
                <a:gd name="T3" fmla="*/ 12 h 12"/>
                <a:gd name="T4" fmla="*/ 6 w 12"/>
                <a:gd name="T5" fmla="*/ 6 h 12"/>
                <a:gd name="T6" fmla="*/ 0 w 12"/>
                <a:gd name="T7" fmla="*/ 0 h 12"/>
                <a:gd name="T8" fmla="*/ 6 w 12"/>
                <a:gd name="T9" fmla="*/ 6 h 12"/>
                <a:gd name="T10" fmla="*/ 12 w 12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12" y="12"/>
                  </a:lnTo>
                  <a:lnTo>
                    <a:pt x="6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6" name="Freeform 232">
              <a:extLst>
                <a:ext uri="{FF2B5EF4-FFF2-40B4-BE49-F238E27FC236}">
                  <a16:creationId xmlns:a16="http://schemas.microsoft.com/office/drawing/2014/main" id="{728F4D6E-6CB2-45B2-93F9-AB4D8C5837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34" y="2258"/>
              <a:ext cx="1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7" name="Freeform 233">
              <a:extLst>
                <a:ext uri="{FF2B5EF4-FFF2-40B4-BE49-F238E27FC236}">
                  <a16:creationId xmlns:a16="http://schemas.microsoft.com/office/drawing/2014/main" id="{1CD334BD-FF8A-4C0C-A34A-8EF947DC8F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4" y="2288"/>
              <a:ext cx="6" cy="12"/>
            </a:xfrm>
            <a:custGeom>
              <a:avLst/>
              <a:gdLst>
                <a:gd name="T0" fmla="*/ 6 w 6"/>
                <a:gd name="T1" fmla="*/ 6 h 12"/>
                <a:gd name="T2" fmla="*/ 6 w 6"/>
                <a:gd name="T3" fmla="*/ 6 h 12"/>
                <a:gd name="T4" fmla="*/ 6 w 6"/>
                <a:gd name="T5" fmla="*/ 6 h 12"/>
                <a:gd name="T6" fmla="*/ 6 w 6"/>
                <a:gd name="T7" fmla="*/ 0 h 12"/>
                <a:gd name="T8" fmla="*/ 0 w 6"/>
                <a:gd name="T9" fmla="*/ 12 h 12"/>
                <a:gd name="T10" fmla="*/ 6 w 6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8" name="Freeform 234">
              <a:extLst>
                <a:ext uri="{FF2B5EF4-FFF2-40B4-BE49-F238E27FC236}">
                  <a16:creationId xmlns:a16="http://schemas.microsoft.com/office/drawing/2014/main" id="{A343E253-BA20-48F0-B7EA-24B2F4B63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0" y="2300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0 w 6"/>
                <a:gd name="T3" fmla="*/ 6 h 12"/>
                <a:gd name="T4" fmla="*/ 0 w 6"/>
                <a:gd name="T5" fmla="*/ 0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39" name="Rectangle 235">
              <a:extLst>
                <a:ext uri="{FF2B5EF4-FFF2-40B4-BE49-F238E27FC236}">
                  <a16:creationId xmlns:a16="http://schemas.microsoft.com/office/drawing/2014/main" id="{9D47DE85-85DF-459D-BD8E-27B5B34524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32" y="2306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0" name="Freeform 236">
              <a:extLst>
                <a:ext uri="{FF2B5EF4-FFF2-40B4-BE49-F238E27FC236}">
                  <a16:creationId xmlns:a16="http://schemas.microsoft.com/office/drawing/2014/main" id="{AC5B466E-75B8-4DD5-A3FD-94B268B4591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2" y="233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1" name="Freeform 237">
              <a:extLst>
                <a:ext uri="{FF2B5EF4-FFF2-40B4-BE49-F238E27FC236}">
                  <a16:creationId xmlns:a16="http://schemas.microsoft.com/office/drawing/2014/main" id="{8CF5CD06-BB80-400F-9E74-0156C93C2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737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12 w 18"/>
                <a:gd name="T3" fmla="*/ 0 h 12"/>
                <a:gd name="T4" fmla="*/ 6 w 18"/>
                <a:gd name="T5" fmla="*/ 0 h 12"/>
                <a:gd name="T6" fmla="*/ 6 w 18"/>
                <a:gd name="T7" fmla="*/ 0 h 12"/>
                <a:gd name="T8" fmla="*/ 0 w 18"/>
                <a:gd name="T9" fmla="*/ 0 h 12"/>
                <a:gd name="T10" fmla="*/ 0 w 18"/>
                <a:gd name="T11" fmla="*/ 6 h 12"/>
                <a:gd name="T12" fmla="*/ 0 w 18"/>
                <a:gd name="T13" fmla="*/ 6 h 12"/>
                <a:gd name="T14" fmla="*/ 0 w 18"/>
                <a:gd name="T15" fmla="*/ 12 h 12"/>
                <a:gd name="T16" fmla="*/ 6 w 18"/>
                <a:gd name="T17" fmla="*/ 12 h 12"/>
                <a:gd name="T18" fmla="*/ 6 w 18"/>
                <a:gd name="T19" fmla="*/ 6 h 12"/>
                <a:gd name="T20" fmla="*/ 6 w 18"/>
                <a:gd name="T21" fmla="*/ 6 h 12"/>
                <a:gd name="T22" fmla="*/ 18 w 18"/>
                <a:gd name="T2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2" name="Freeform 238">
              <a:extLst>
                <a:ext uri="{FF2B5EF4-FFF2-40B4-BE49-F238E27FC236}">
                  <a16:creationId xmlns:a16="http://schemas.microsoft.com/office/drawing/2014/main" id="{ED0F5E38-7F01-4FE1-8FEC-D115F4521F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2737"/>
              <a:ext cx="12" cy="12"/>
            </a:xfrm>
            <a:custGeom>
              <a:avLst/>
              <a:gdLst>
                <a:gd name="T0" fmla="*/ 6 w 12"/>
                <a:gd name="T1" fmla="*/ 6 h 12"/>
                <a:gd name="T2" fmla="*/ 0 w 12"/>
                <a:gd name="T3" fmla="*/ 0 h 12"/>
                <a:gd name="T4" fmla="*/ 12 w 12"/>
                <a:gd name="T5" fmla="*/ 0 h 12"/>
                <a:gd name="T6" fmla="*/ 6 w 12"/>
                <a:gd name="T7" fmla="*/ 6 h 12"/>
                <a:gd name="T8" fmla="*/ 0 w 12"/>
                <a:gd name="T9" fmla="*/ 12 h 12"/>
                <a:gd name="T10" fmla="*/ 6 w 12"/>
                <a:gd name="T11" fmla="*/ 6 h 12"/>
                <a:gd name="T12" fmla="*/ 0 w 12"/>
                <a:gd name="T13" fmla="*/ 6 h 12"/>
                <a:gd name="T14" fmla="*/ 6 w 12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6" y="6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3" name="Freeform 239">
              <a:extLst>
                <a:ext uri="{FF2B5EF4-FFF2-40B4-BE49-F238E27FC236}">
                  <a16:creationId xmlns:a16="http://schemas.microsoft.com/office/drawing/2014/main" id="{49609F9A-43C0-435A-9511-F89269352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318"/>
              <a:ext cx="150" cy="143"/>
            </a:xfrm>
            <a:custGeom>
              <a:avLst/>
              <a:gdLst>
                <a:gd name="T0" fmla="*/ 90 w 150"/>
                <a:gd name="T1" fmla="*/ 95 h 143"/>
                <a:gd name="T2" fmla="*/ 90 w 150"/>
                <a:gd name="T3" fmla="*/ 77 h 143"/>
                <a:gd name="T4" fmla="*/ 90 w 150"/>
                <a:gd name="T5" fmla="*/ 59 h 143"/>
                <a:gd name="T6" fmla="*/ 102 w 150"/>
                <a:gd name="T7" fmla="*/ 59 h 143"/>
                <a:gd name="T8" fmla="*/ 102 w 150"/>
                <a:gd name="T9" fmla="*/ 47 h 143"/>
                <a:gd name="T10" fmla="*/ 102 w 150"/>
                <a:gd name="T11" fmla="*/ 36 h 143"/>
                <a:gd name="T12" fmla="*/ 102 w 150"/>
                <a:gd name="T13" fmla="*/ 24 h 143"/>
                <a:gd name="T14" fmla="*/ 102 w 150"/>
                <a:gd name="T15" fmla="*/ 12 h 143"/>
                <a:gd name="T16" fmla="*/ 114 w 150"/>
                <a:gd name="T17" fmla="*/ 12 h 143"/>
                <a:gd name="T18" fmla="*/ 126 w 150"/>
                <a:gd name="T19" fmla="*/ 12 h 143"/>
                <a:gd name="T20" fmla="*/ 132 w 150"/>
                <a:gd name="T21" fmla="*/ 18 h 143"/>
                <a:gd name="T22" fmla="*/ 138 w 150"/>
                <a:gd name="T23" fmla="*/ 12 h 143"/>
                <a:gd name="T24" fmla="*/ 150 w 150"/>
                <a:gd name="T25" fmla="*/ 6 h 143"/>
                <a:gd name="T26" fmla="*/ 138 w 150"/>
                <a:gd name="T27" fmla="*/ 6 h 143"/>
                <a:gd name="T28" fmla="*/ 126 w 150"/>
                <a:gd name="T29" fmla="*/ 6 h 143"/>
                <a:gd name="T30" fmla="*/ 114 w 150"/>
                <a:gd name="T31" fmla="*/ 6 h 143"/>
                <a:gd name="T32" fmla="*/ 96 w 150"/>
                <a:gd name="T33" fmla="*/ 12 h 143"/>
                <a:gd name="T34" fmla="*/ 84 w 150"/>
                <a:gd name="T35" fmla="*/ 6 h 143"/>
                <a:gd name="T36" fmla="*/ 72 w 150"/>
                <a:gd name="T37" fmla="*/ 6 h 143"/>
                <a:gd name="T38" fmla="*/ 72 w 150"/>
                <a:gd name="T39" fmla="*/ 0 h 143"/>
                <a:gd name="T40" fmla="*/ 60 w 150"/>
                <a:gd name="T41" fmla="*/ 0 h 143"/>
                <a:gd name="T42" fmla="*/ 48 w 150"/>
                <a:gd name="T43" fmla="*/ 0 h 143"/>
                <a:gd name="T44" fmla="*/ 36 w 150"/>
                <a:gd name="T45" fmla="*/ 0 h 143"/>
                <a:gd name="T46" fmla="*/ 24 w 150"/>
                <a:gd name="T47" fmla="*/ 0 h 143"/>
                <a:gd name="T48" fmla="*/ 12 w 150"/>
                <a:gd name="T49" fmla="*/ 0 h 143"/>
                <a:gd name="T50" fmla="*/ 0 w 150"/>
                <a:gd name="T51" fmla="*/ 0 h 143"/>
                <a:gd name="T52" fmla="*/ 0 w 150"/>
                <a:gd name="T53" fmla="*/ 6 h 143"/>
                <a:gd name="T54" fmla="*/ 6 w 150"/>
                <a:gd name="T55" fmla="*/ 24 h 143"/>
                <a:gd name="T56" fmla="*/ 18 w 150"/>
                <a:gd name="T57" fmla="*/ 36 h 143"/>
                <a:gd name="T58" fmla="*/ 24 w 150"/>
                <a:gd name="T59" fmla="*/ 53 h 143"/>
                <a:gd name="T60" fmla="*/ 30 w 150"/>
                <a:gd name="T61" fmla="*/ 65 h 143"/>
                <a:gd name="T62" fmla="*/ 30 w 150"/>
                <a:gd name="T63" fmla="*/ 71 h 143"/>
                <a:gd name="T64" fmla="*/ 30 w 150"/>
                <a:gd name="T65" fmla="*/ 71 h 143"/>
                <a:gd name="T66" fmla="*/ 30 w 150"/>
                <a:gd name="T67" fmla="*/ 83 h 143"/>
                <a:gd name="T68" fmla="*/ 30 w 150"/>
                <a:gd name="T69" fmla="*/ 101 h 143"/>
                <a:gd name="T70" fmla="*/ 36 w 150"/>
                <a:gd name="T71" fmla="*/ 113 h 143"/>
                <a:gd name="T72" fmla="*/ 36 w 150"/>
                <a:gd name="T73" fmla="*/ 125 h 143"/>
                <a:gd name="T74" fmla="*/ 42 w 150"/>
                <a:gd name="T75" fmla="*/ 131 h 143"/>
                <a:gd name="T76" fmla="*/ 48 w 150"/>
                <a:gd name="T77" fmla="*/ 143 h 143"/>
                <a:gd name="T78" fmla="*/ 54 w 150"/>
                <a:gd name="T79" fmla="*/ 137 h 143"/>
                <a:gd name="T80" fmla="*/ 60 w 150"/>
                <a:gd name="T81" fmla="*/ 143 h 143"/>
                <a:gd name="T82" fmla="*/ 72 w 150"/>
                <a:gd name="T83" fmla="*/ 143 h 143"/>
                <a:gd name="T84" fmla="*/ 84 w 150"/>
                <a:gd name="T85" fmla="*/ 137 h 143"/>
                <a:gd name="T86" fmla="*/ 84 w 150"/>
                <a:gd name="T87" fmla="*/ 125 h 143"/>
                <a:gd name="T88" fmla="*/ 84 w 150"/>
                <a:gd name="T89" fmla="*/ 119 h 143"/>
                <a:gd name="T90" fmla="*/ 84 w 150"/>
                <a:gd name="T91" fmla="*/ 107 h 143"/>
                <a:gd name="T92" fmla="*/ 90 w 150"/>
                <a:gd name="T93" fmla="*/ 9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143">
                  <a:moveTo>
                    <a:pt x="90" y="95"/>
                  </a:moveTo>
                  <a:lnTo>
                    <a:pt x="90" y="77"/>
                  </a:lnTo>
                  <a:lnTo>
                    <a:pt x="90" y="59"/>
                  </a:lnTo>
                  <a:lnTo>
                    <a:pt x="102" y="59"/>
                  </a:lnTo>
                  <a:lnTo>
                    <a:pt x="102" y="47"/>
                  </a:lnTo>
                  <a:lnTo>
                    <a:pt x="102" y="36"/>
                  </a:lnTo>
                  <a:lnTo>
                    <a:pt x="102" y="24"/>
                  </a:lnTo>
                  <a:lnTo>
                    <a:pt x="102" y="12"/>
                  </a:lnTo>
                  <a:lnTo>
                    <a:pt x="114" y="12"/>
                  </a:lnTo>
                  <a:lnTo>
                    <a:pt x="126" y="12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50" y="6"/>
                  </a:lnTo>
                  <a:lnTo>
                    <a:pt x="138" y="6"/>
                  </a:lnTo>
                  <a:lnTo>
                    <a:pt x="126" y="6"/>
                  </a:lnTo>
                  <a:lnTo>
                    <a:pt x="114" y="6"/>
                  </a:lnTo>
                  <a:lnTo>
                    <a:pt x="96" y="12"/>
                  </a:lnTo>
                  <a:lnTo>
                    <a:pt x="84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24"/>
                  </a:lnTo>
                  <a:lnTo>
                    <a:pt x="18" y="36"/>
                  </a:lnTo>
                  <a:lnTo>
                    <a:pt x="24" y="53"/>
                  </a:lnTo>
                  <a:lnTo>
                    <a:pt x="30" y="65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83"/>
                  </a:lnTo>
                  <a:lnTo>
                    <a:pt x="30" y="101"/>
                  </a:lnTo>
                  <a:lnTo>
                    <a:pt x="36" y="113"/>
                  </a:lnTo>
                  <a:lnTo>
                    <a:pt x="36" y="125"/>
                  </a:lnTo>
                  <a:lnTo>
                    <a:pt x="42" y="131"/>
                  </a:lnTo>
                  <a:lnTo>
                    <a:pt x="48" y="143"/>
                  </a:lnTo>
                  <a:lnTo>
                    <a:pt x="54" y="137"/>
                  </a:lnTo>
                  <a:lnTo>
                    <a:pt x="60" y="143"/>
                  </a:lnTo>
                  <a:lnTo>
                    <a:pt x="72" y="143"/>
                  </a:lnTo>
                  <a:lnTo>
                    <a:pt x="84" y="137"/>
                  </a:lnTo>
                  <a:lnTo>
                    <a:pt x="84" y="125"/>
                  </a:lnTo>
                  <a:lnTo>
                    <a:pt x="84" y="119"/>
                  </a:lnTo>
                  <a:lnTo>
                    <a:pt x="84" y="107"/>
                  </a:lnTo>
                  <a:lnTo>
                    <a:pt x="90" y="9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4" name="Freeform 240">
              <a:extLst>
                <a:ext uri="{FF2B5EF4-FFF2-40B4-BE49-F238E27FC236}">
                  <a16:creationId xmlns:a16="http://schemas.microsoft.com/office/drawing/2014/main" id="{665FACA5-FB6D-49C4-AF1D-ECA71C8875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6" y="2228"/>
              <a:ext cx="132" cy="161"/>
            </a:xfrm>
            <a:custGeom>
              <a:avLst/>
              <a:gdLst>
                <a:gd name="T0" fmla="*/ 90 w 132"/>
                <a:gd name="T1" fmla="*/ 126 h 161"/>
                <a:gd name="T2" fmla="*/ 84 w 132"/>
                <a:gd name="T3" fmla="*/ 137 h 161"/>
                <a:gd name="T4" fmla="*/ 84 w 132"/>
                <a:gd name="T5" fmla="*/ 155 h 161"/>
                <a:gd name="T6" fmla="*/ 84 w 132"/>
                <a:gd name="T7" fmla="*/ 149 h 161"/>
                <a:gd name="T8" fmla="*/ 72 w 132"/>
                <a:gd name="T9" fmla="*/ 149 h 161"/>
                <a:gd name="T10" fmla="*/ 66 w 132"/>
                <a:gd name="T11" fmla="*/ 155 h 161"/>
                <a:gd name="T12" fmla="*/ 60 w 132"/>
                <a:gd name="T13" fmla="*/ 149 h 161"/>
                <a:gd name="T14" fmla="*/ 48 w 132"/>
                <a:gd name="T15" fmla="*/ 149 h 161"/>
                <a:gd name="T16" fmla="*/ 42 w 132"/>
                <a:gd name="T17" fmla="*/ 149 h 161"/>
                <a:gd name="T18" fmla="*/ 36 w 132"/>
                <a:gd name="T19" fmla="*/ 161 h 161"/>
                <a:gd name="T20" fmla="*/ 30 w 132"/>
                <a:gd name="T21" fmla="*/ 155 h 161"/>
                <a:gd name="T22" fmla="*/ 24 w 132"/>
                <a:gd name="T23" fmla="*/ 149 h 161"/>
                <a:gd name="T24" fmla="*/ 18 w 132"/>
                <a:gd name="T25" fmla="*/ 137 h 161"/>
                <a:gd name="T26" fmla="*/ 18 w 132"/>
                <a:gd name="T27" fmla="*/ 126 h 161"/>
                <a:gd name="T28" fmla="*/ 18 w 132"/>
                <a:gd name="T29" fmla="*/ 114 h 161"/>
                <a:gd name="T30" fmla="*/ 12 w 132"/>
                <a:gd name="T31" fmla="*/ 108 h 161"/>
                <a:gd name="T32" fmla="*/ 6 w 132"/>
                <a:gd name="T33" fmla="*/ 102 h 161"/>
                <a:gd name="T34" fmla="*/ 6 w 132"/>
                <a:gd name="T35" fmla="*/ 96 h 161"/>
                <a:gd name="T36" fmla="*/ 6 w 132"/>
                <a:gd name="T37" fmla="*/ 90 h 161"/>
                <a:gd name="T38" fmla="*/ 12 w 132"/>
                <a:gd name="T39" fmla="*/ 78 h 161"/>
                <a:gd name="T40" fmla="*/ 6 w 132"/>
                <a:gd name="T41" fmla="*/ 78 h 161"/>
                <a:gd name="T42" fmla="*/ 6 w 132"/>
                <a:gd name="T43" fmla="*/ 66 h 161"/>
                <a:gd name="T44" fmla="*/ 6 w 132"/>
                <a:gd name="T45" fmla="*/ 54 h 161"/>
                <a:gd name="T46" fmla="*/ 6 w 132"/>
                <a:gd name="T47" fmla="*/ 48 h 161"/>
                <a:gd name="T48" fmla="*/ 6 w 132"/>
                <a:gd name="T49" fmla="*/ 36 h 161"/>
                <a:gd name="T50" fmla="*/ 6 w 132"/>
                <a:gd name="T51" fmla="*/ 30 h 161"/>
                <a:gd name="T52" fmla="*/ 0 w 132"/>
                <a:gd name="T53" fmla="*/ 24 h 161"/>
                <a:gd name="T54" fmla="*/ 0 w 132"/>
                <a:gd name="T55" fmla="*/ 12 h 161"/>
                <a:gd name="T56" fmla="*/ 12 w 132"/>
                <a:gd name="T57" fmla="*/ 12 h 161"/>
                <a:gd name="T58" fmla="*/ 18 w 132"/>
                <a:gd name="T59" fmla="*/ 12 h 161"/>
                <a:gd name="T60" fmla="*/ 24 w 132"/>
                <a:gd name="T61" fmla="*/ 6 h 161"/>
                <a:gd name="T62" fmla="*/ 36 w 132"/>
                <a:gd name="T63" fmla="*/ 0 h 161"/>
                <a:gd name="T64" fmla="*/ 42 w 132"/>
                <a:gd name="T65" fmla="*/ 0 h 161"/>
                <a:gd name="T66" fmla="*/ 42 w 132"/>
                <a:gd name="T67" fmla="*/ 12 h 161"/>
                <a:gd name="T68" fmla="*/ 42 w 132"/>
                <a:gd name="T69" fmla="*/ 18 h 161"/>
                <a:gd name="T70" fmla="*/ 54 w 132"/>
                <a:gd name="T71" fmla="*/ 30 h 161"/>
                <a:gd name="T72" fmla="*/ 60 w 132"/>
                <a:gd name="T73" fmla="*/ 30 h 161"/>
                <a:gd name="T74" fmla="*/ 72 w 132"/>
                <a:gd name="T75" fmla="*/ 36 h 161"/>
                <a:gd name="T76" fmla="*/ 84 w 132"/>
                <a:gd name="T77" fmla="*/ 42 h 161"/>
                <a:gd name="T78" fmla="*/ 96 w 132"/>
                <a:gd name="T79" fmla="*/ 48 h 161"/>
                <a:gd name="T80" fmla="*/ 102 w 132"/>
                <a:gd name="T81" fmla="*/ 54 h 161"/>
                <a:gd name="T82" fmla="*/ 102 w 132"/>
                <a:gd name="T83" fmla="*/ 66 h 161"/>
                <a:gd name="T84" fmla="*/ 96 w 132"/>
                <a:gd name="T85" fmla="*/ 66 h 161"/>
                <a:gd name="T86" fmla="*/ 102 w 132"/>
                <a:gd name="T87" fmla="*/ 66 h 161"/>
                <a:gd name="T88" fmla="*/ 102 w 132"/>
                <a:gd name="T89" fmla="*/ 78 h 161"/>
                <a:gd name="T90" fmla="*/ 114 w 132"/>
                <a:gd name="T91" fmla="*/ 78 h 161"/>
                <a:gd name="T92" fmla="*/ 126 w 132"/>
                <a:gd name="T93" fmla="*/ 78 h 161"/>
                <a:gd name="T94" fmla="*/ 126 w 132"/>
                <a:gd name="T95" fmla="*/ 90 h 161"/>
                <a:gd name="T96" fmla="*/ 132 w 132"/>
                <a:gd name="T97" fmla="*/ 96 h 161"/>
                <a:gd name="T98" fmla="*/ 132 w 132"/>
                <a:gd name="T99" fmla="*/ 102 h 161"/>
                <a:gd name="T100" fmla="*/ 132 w 132"/>
                <a:gd name="T101" fmla="*/ 114 h 161"/>
                <a:gd name="T102" fmla="*/ 132 w 132"/>
                <a:gd name="T103" fmla="*/ 120 h 161"/>
                <a:gd name="T104" fmla="*/ 132 w 132"/>
                <a:gd name="T105" fmla="*/ 126 h 161"/>
                <a:gd name="T106" fmla="*/ 132 w 132"/>
                <a:gd name="T107" fmla="*/ 126 h 161"/>
                <a:gd name="T108" fmla="*/ 132 w 132"/>
                <a:gd name="T109" fmla="*/ 126 h 161"/>
                <a:gd name="T110" fmla="*/ 120 w 132"/>
                <a:gd name="T111" fmla="*/ 120 h 161"/>
                <a:gd name="T112" fmla="*/ 102 w 132"/>
                <a:gd name="T113" fmla="*/ 120 h 161"/>
                <a:gd name="T114" fmla="*/ 90 w 132"/>
                <a:gd name="T115" fmla="*/ 120 h 161"/>
                <a:gd name="T116" fmla="*/ 90 w 132"/>
                <a:gd name="T117" fmla="*/ 12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2" h="161">
                  <a:moveTo>
                    <a:pt x="90" y="126"/>
                  </a:moveTo>
                  <a:lnTo>
                    <a:pt x="84" y="137"/>
                  </a:lnTo>
                  <a:lnTo>
                    <a:pt x="84" y="155"/>
                  </a:lnTo>
                  <a:lnTo>
                    <a:pt x="84" y="149"/>
                  </a:lnTo>
                  <a:lnTo>
                    <a:pt x="72" y="149"/>
                  </a:lnTo>
                  <a:lnTo>
                    <a:pt x="66" y="155"/>
                  </a:lnTo>
                  <a:lnTo>
                    <a:pt x="60" y="149"/>
                  </a:lnTo>
                  <a:lnTo>
                    <a:pt x="48" y="149"/>
                  </a:lnTo>
                  <a:lnTo>
                    <a:pt x="42" y="149"/>
                  </a:lnTo>
                  <a:lnTo>
                    <a:pt x="36" y="161"/>
                  </a:lnTo>
                  <a:lnTo>
                    <a:pt x="30" y="155"/>
                  </a:lnTo>
                  <a:lnTo>
                    <a:pt x="24" y="149"/>
                  </a:lnTo>
                  <a:lnTo>
                    <a:pt x="18" y="137"/>
                  </a:lnTo>
                  <a:lnTo>
                    <a:pt x="18" y="126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6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66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36"/>
                  </a:lnTo>
                  <a:lnTo>
                    <a:pt x="84" y="42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2" y="66"/>
                  </a:lnTo>
                  <a:lnTo>
                    <a:pt x="96" y="66"/>
                  </a:lnTo>
                  <a:lnTo>
                    <a:pt x="102" y="66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90"/>
                  </a:lnTo>
                  <a:lnTo>
                    <a:pt x="132" y="96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20" y="120"/>
                  </a:lnTo>
                  <a:lnTo>
                    <a:pt x="102" y="120"/>
                  </a:lnTo>
                  <a:lnTo>
                    <a:pt x="90" y="120"/>
                  </a:lnTo>
                  <a:lnTo>
                    <a:pt x="90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5" name="Freeform 241">
              <a:extLst>
                <a:ext uri="{FF2B5EF4-FFF2-40B4-BE49-F238E27FC236}">
                  <a16:creationId xmlns:a16="http://schemas.microsoft.com/office/drawing/2014/main" id="{C02F7F97-A57F-44A2-9518-F67E52FC7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2324"/>
              <a:ext cx="96" cy="113"/>
            </a:xfrm>
            <a:custGeom>
              <a:avLst/>
              <a:gdLst>
                <a:gd name="T0" fmla="*/ 0 w 96"/>
                <a:gd name="T1" fmla="*/ 89 h 113"/>
                <a:gd name="T2" fmla="*/ 0 w 96"/>
                <a:gd name="T3" fmla="*/ 71 h 113"/>
                <a:gd name="T4" fmla="*/ 0 w 96"/>
                <a:gd name="T5" fmla="*/ 53 h 113"/>
                <a:gd name="T6" fmla="*/ 12 w 96"/>
                <a:gd name="T7" fmla="*/ 53 h 113"/>
                <a:gd name="T8" fmla="*/ 12 w 96"/>
                <a:gd name="T9" fmla="*/ 41 h 113"/>
                <a:gd name="T10" fmla="*/ 12 w 96"/>
                <a:gd name="T11" fmla="*/ 30 h 113"/>
                <a:gd name="T12" fmla="*/ 12 w 96"/>
                <a:gd name="T13" fmla="*/ 18 h 113"/>
                <a:gd name="T14" fmla="*/ 12 w 96"/>
                <a:gd name="T15" fmla="*/ 6 h 113"/>
                <a:gd name="T16" fmla="*/ 24 w 96"/>
                <a:gd name="T17" fmla="*/ 6 h 113"/>
                <a:gd name="T18" fmla="*/ 36 w 96"/>
                <a:gd name="T19" fmla="*/ 6 h 113"/>
                <a:gd name="T20" fmla="*/ 42 w 96"/>
                <a:gd name="T21" fmla="*/ 12 h 113"/>
                <a:gd name="T22" fmla="*/ 48 w 96"/>
                <a:gd name="T23" fmla="*/ 6 h 113"/>
                <a:gd name="T24" fmla="*/ 60 w 96"/>
                <a:gd name="T25" fmla="*/ 0 h 113"/>
                <a:gd name="T26" fmla="*/ 66 w 96"/>
                <a:gd name="T27" fmla="*/ 12 h 113"/>
                <a:gd name="T28" fmla="*/ 72 w 96"/>
                <a:gd name="T29" fmla="*/ 24 h 113"/>
                <a:gd name="T30" fmla="*/ 78 w 96"/>
                <a:gd name="T31" fmla="*/ 30 h 113"/>
                <a:gd name="T32" fmla="*/ 78 w 96"/>
                <a:gd name="T33" fmla="*/ 36 h 113"/>
                <a:gd name="T34" fmla="*/ 84 w 96"/>
                <a:gd name="T35" fmla="*/ 36 h 113"/>
                <a:gd name="T36" fmla="*/ 84 w 96"/>
                <a:gd name="T37" fmla="*/ 47 h 113"/>
                <a:gd name="T38" fmla="*/ 96 w 96"/>
                <a:gd name="T39" fmla="*/ 53 h 113"/>
                <a:gd name="T40" fmla="*/ 96 w 96"/>
                <a:gd name="T41" fmla="*/ 53 h 113"/>
                <a:gd name="T42" fmla="*/ 96 w 96"/>
                <a:gd name="T43" fmla="*/ 53 h 113"/>
                <a:gd name="T44" fmla="*/ 84 w 96"/>
                <a:gd name="T45" fmla="*/ 65 h 113"/>
                <a:gd name="T46" fmla="*/ 72 w 96"/>
                <a:gd name="T47" fmla="*/ 71 h 113"/>
                <a:gd name="T48" fmla="*/ 66 w 96"/>
                <a:gd name="T49" fmla="*/ 83 h 113"/>
                <a:gd name="T50" fmla="*/ 60 w 96"/>
                <a:gd name="T51" fmla="*/ 89 h 113"/>
                <a:gd name="T52" fmla="*/ 54 w 96"/>
                <a:gd name="T53" fmla="*/ 101 h 113"/>
                <a:gd name="T54" fmla="*/ 36 w 96"/>
                <a:gd name="T55" fmla="*/ 95 h 113"/>
                <a:gd name="T56" fmla="*/ 30 w 96"/>
                <a:gd name="T57" fmla="*/ 95 h 113"/>
                <a:gd name="T58" fmla="*/ 24 w 96"/>
                <a:gd name="T59" fmla="*/ 101 h 113"/>
                <a:gd name="T60" fmla="*/ 18 w 96"/>
                <a:gd name="T61" fmla="*/ 113 h 113"/>
                <a:gd name="T62" fmla="*/ 6 w 96"/>
                <a:gd name="T63" fmla="*/ 113 h 113"/>
                <a:gd name="T64" fmla="*/ 0 w 96"/>
                <a:gd name="T65" fmla="*/ 113 h 113"/>
                <a:gd name="T66" fmla="*/ 6 w 96"/>
                <a:gd name="T67" fmla="*/ 101 h 113"/>
                <a:gd name="T68" fmla="*/ 0 w 96"/>
                <a:gd name="T69" fmla="*/ 8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13">
                  <a:moveTo>
                    <a:pt x="0" y="89"/>
                  </a:moveTo>
                  <a:lnTo>
                    <a:pt x="0" y="71"/>
                  </a:lnTo>
                  <a:lnTo>
                    <a:pt x="0" y="53"/>
                  </a:lnTo>
                  <a:lnTo>
                    <a:pt x="12" y="53"/>
                  </a:lnTo>
                  <a:lnTo>
                    <a:pt x="12" y="41"/>
                  </a:lnTo>
                  <a:lnTo>
                    <a:pt x="12" y="30"/>
                  </a:lnTo>
                  <a:lnTo>
                    <a:pt x="12" y="18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47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84" y="65"/>
                  </a:lnTo>
                  <a:lnTo>
                    <a:pt x="72" y="71"/>
                  </a:lnTo>
                  <a:lnTo>
                    <a:pt x="66" y="83"/>
                  </a:lnTo>
                  <a:lnTo>
                    <a:pt x="60" y="89"/>
                  </a:lnTo>
                  <a:lnTo>
                    <a:pt x="54" y="101"/>
                  </a:lnTo>
                  <a:lnTo>
                    <a:pt x="36" y="95"/>
                  </a:lnTo>
                  <a:lnTo>
                    <a:pt x="30" y="95"/>
                  </a:lnTo>
                  <a:lnTo>
                    <a:pt x="24" y="101"/>
                  </a:lnTo>
                  <a:lnTo>
                    <a:pt x="18" y="113"/>
                  </a:lnTo>
                  <a:lnTo>
                    <a:pt x="6" y="113"/>
                  </a:lnTo>
                  <a:lnTo>
                    <a:pt x="0" y="113"/>
                  </a:lnTo>
                  <a:lnTo>
                    <a:pt x="6" y="101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6" name="Freeform 242">
              <a:extLst>
                <a:ext uri="{FF2B5EF4-FFF2-40B4-BE49-F238E27FC236}">
                  <a16:creationId xmlns:a16="http://schemas.microsoft.com/office/drawing/2014/main" id="{B30E8BE0-EC9A-46C0-B2F0-7ACD7BA47A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" y="2246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7" name="Freeform 243">
              <a:extLst>
                <a:ext uri="{FF2B5EF4-FFF2-40B4-BE49-F238E27FC236}">
                  <a16:creationId xmlns:a16="http://schemas.microsoft.com/office/drawing/2014/main" id="{6C6CAFF6-1CD1-4564-88FA-C57E1B12471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8" name="Freeform 244">
              <a:extLst>
                <a:ext uri="{FF2B5EF4-FFF2-40B4-BE49-F238E27FC236}">
                  <a16:creationId xmlns:a16="http://schemas.microsoft.com/office/drawing/2014/main" id="{F40378C2-CE8B-40D3-9DC9-1C36E97E8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2252"/>
              <a:ext cx="84" cy="167"/>
            </a:xfrm>
            <a:custGeom>
              <a:avLst/>
              <a:gdLst>
                <a:gd name="T0" fmla="*/ 36 w 84"/>
                <a:gd name="T1" fmla="*/ 48 h 167"/>
                <a:gd name="T2" fmla="*/ 30 w 84"/>
                <a:gd name="T3" fmla="*/ 54 h 167"/>
                <a:gd name="T4" fmla="*/ 18 w 84"/>
                <a:gd name="T5" fmla="*/ 54 h 167"/>
                <a:gd name="T6" fmla="*/ 18 w 84"/>
                <a:gd name="T7" fmla="*/ 66 h 167"/>
                <a:gd name="T8" fmla="*/ 12 w 84"/>
                <a:gd name="T9" fmla="*/ 78 h 167"/>
                <a:gd name="T10" fmla="*/ 18 w 84"/>
                <a:gd name="T11" fmla="*/ 90 h 167"/>
                <a:gd name="T12" fmla="*/ 18 w 84"/>
                <a:gd name="T13" fmla="*/ 102 h 167"/>
                <a:gd name="T14" fmla="*/ 12 w 84"/>
                <a:gd name="T15" fmla="*/ 108 h 167"/>
                <a:gd name="T16" fmla="*/ 6 w 84"/>
                <a:gd name="T17" fmla="*/ 119 h 167"/>
                <a:gd name="T18" fmla="*/ 0 w 84"/>
                <a:gd name="T19" fmla="*/ 131 h 167"/>
                <a:gd name="T20" fmla="*/ 6 w 84"/>
                <a:gd name="T21" fmla="*/ 149 h 167"/>
                <a:gd name="T22" fmla="*/ 6 w 84"/>
                <a:gd name="T23" fmla="*/ 161 h 167"/>
                <a:gd name="T24" fmla="*/ 24 w 84"/>
                <a:gd name="T25" fmla="*/ 167 h 167"/>
                <a:gd name="T26" fmla="*/ 30 w 84"/>
                <a:gd name="T27" fmla="*/ 167 h 167"/>
                <a:gd name="T28" fmla="*/ 42 w 84"/>
                <a:gd name="T29" fmla="*/ 161 h 167"/>
                <a:gd name="T30" fmla="*/ 48 w 84"/>
                <a:gd name="T31" fmla="*/ 149 h 167"/>
                <a:gd name="T32" fmla="*/ 48 w 84"/>
                <a:gd name="T33" fmla="*/ 137 h 167"/>
                <a:gd name="T34" fmla="*/ 54 w 84"/>
                <a:gd name="T35" fmla="*/ 125 h 167"/>
                <a:gd name="T36" fmla="*/ 60 w 84"/>
                <a:gd name="T37" fmla="*/ 113 h 167"/>
                <a:gd name="T38" fmla="*/ 60 w 84"/>
                <a:gd name="T39" fmla="*/ 102 h 167"/>
                <a:gd name="T40" fmla="*/ 66 w 84"/>
                <a:gd name="T41" fmla="*/ 90 h 167"/>
                <a:gd name="T42" fmla="*/ 72 w 84"/>
                <a:gd name="T43" fmla="*/ 78 h 167"/>
                <a:gd name="T44" fmla="*/ 72 w 84"/>
                <a:gd name="T45" fmla="*/ 72 h 167"/>
                <a:gd name="T46" fmla="*/ 78 w 84"/>
                <a:gd name="T47" fmla="*/ 60 h 167"/>
                <a:gd name="T48" fmla="*/ 78 w 84"/>
                <a:gd name="T49" fmla="*/ 42 h 167"/>
                <a:gd name="T50" fmla="*/ 84 w 84"/>
                <a:gd name="T51" fmla="*/ 48 h 167"/>
                <a:gd name="T52" fmla="*/ 84 w 84"/>
                <a:gd name="T53" fmla="*/ 42 h 167"/>
                <a:gd name="T54" fmla="*/ 84 w 84"/>
                <a:gd name="T55" fmla="*/ 30 h 167"/>
                <a:gd name="T56" fmla="*/ 78 w 84"/>
                <a:gd name="T57" fmla="*/ 12 h 167"/>
                <a:gd name="T58" fmla="*/ 78 w 84"/>
                <a:gd name="T59" fmla="*/ 0 h 167"/>
                <a:gd name="T60" fmla="*/ 72 w 84"/>
                <a:gd name="T61" fmla="*/ 0 h 167"/>
                <a:gd name="T62" fmla="*/ 72 w 84"/>
                <a:gd name="T63" fmla="*/ 6 h 167"/>
                <a:gd name="T64" fmla="*/ 66 w 84"/>
                <a:gd name="T65" fmla="*/ 18 h 167"/>
                <a:gd name="T66" fmla="*/ 66 w 84"/>
                <a:gd name="T67" fmla="*/ 24 h 167"/>
                <a:gd name="T68" fmla="*/ 60 w 84"/>
                <a:gd name="T69" fmla="*/ 24 h 167"/>
                <a:gd name="T70" fmla="*/ 60 w 84"/>
                <a:gd name="T71" fmla="*/ 24 h 167"/>
                <a:gd name="T72" fmla="*/ 60 w 84"/>
                <a:gd name="T73" fmla="*/ 30 h 167"/>
                <a:gd name="T74" fmla="*/ 60 w 84"/>
                <a:gd name="T75" fmla="*/ 36 h 167"/>
                <a:gd name="T76" fmla="*/ 60 w 84"/>
                <a:gd name="T77" fmla="*/ 36 h 167"/>
                <a:gd name="T78" fmla="*/ 54 w 84"/>
                <a:gd name="T79" fmla="*/ 36 h 167"/>
                <a:gd name="T80" fmla="*/ 54 w 84"/>
                <a:gd name="T81" fmla="*/ 36 h 167"/>
                <a:gd name="T82" fmla="*/ 48 w 84"/>
                <a:gd name="T83" fmla="*/ 42 h 167"/>
                <a:gd name="T84" fmla="*/ 48 w 84"/>
                <a:gd name="T85" fmla="*/ 42 h 167"/>
                <a:gd name="T86" fmla="*/ 48 w 84"/>
                <a:gd name="T87" fmla="*/ 42 h 167"/>
                <a:gd name="T88" fmla="*/ 42 w 84"/>
                <a:gd name="T89" fmla="*/ 48 h 167"/>
                <a:gd name="T90" fmla="*/ 36 w 84"/>
                <a:gd name="T91" fmla="*/ 4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4" h="167">
                  <a:moveTo>
                    <a:pt x="36" y="48"/>
                  </a:moveTo>
                  <a:lnTo>
                    <a:pt x="30" y="54"/>
                  </a:lnTo>
                  <a:lnTo>
                    <a:pt x="18" y="54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8" y="90"/>
                  </a:lnTo>
                  <a:lnTo>
                    <a:pt x="18" y="102"/>
                  </a:lnTo>
                  <a:lnTo>
                    <a:pt x="12" y="108"/>
                  </a:lnTo>
                  <a:lnTo>
                    <a:pt x="6" y="119"/>
                  </a:lnTo>
                  <a:lnTo>
                    <a:pt x="0" y="131"/>
                  </a:lnTo>
                  <a:lnTo>
                    <a:pt x="6" y="149"/>
                  </a:lnTo>
                  <a:lnTo>
                    <a:pt x="6" y="161"/>
                  </a:lnTo>
                  <a:lnTo>
                    <a:pt x="24" y="167"/>
                  </a:lnTo>
                  <a:lnTo>
                    <a:pt x="30" y="167"/>
                  </a:lnTo>
                  <a:lnTo>
                    <a:pt x="42" y="161"/>
                  </a:lnTo>
                  <a:lnTo>
                    <a:pt x="48" y="149"/>
                  </a:lnTo>
                  <a:lnTo>
                    <a:pt x="48" y="137"/>
                  </a:lnTo>
                  <a:lnTo>
                    <a:pt x="54" y="125"/>
                  </a:lnTo>
                  <a:lnTo>
                    <a:pt x="60" y="113"/>
                  </a:lnTo>
                  <a:lnTo>
                    <a:pt x="60" y="102"/>
                  </a:lnTo>
                  <a:lnTo>
                    <a:pt x="66" y="90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0"/>
                  </a:lnTo>
                  <a:lnTo>
                    <a:pt x="78" y="42"/>
                  </a:lnTo>
                  <a:lnTo>
                    <a:pt x="84" y="4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36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49" name="Freeform 245">
              <a:extLst>
                <a:ext uri="{FF2B5EF4-FFF2-40B4-BE49-F238E27FC236}">
                  <a16:creationId xmlns:a16="http://schemas.microsoft.com/office/drawing/2014/main" id="{1A512860-4FCC-445E-83DD-E2FA7531D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4" y="2222"/>
              <a:ext cx="36" cy="96"/>
            </a:xfrm>
            <a:custGeom>
              <a:avLst/>
              <a:gdLst>
                <a:gd name="T0" fmla="*/ 24 w 36"/>
                <a:gd name="T1" fmla="*/ 66 h 96"/>
                <a:gd name="T2" fmla="*/ 18 w 36"/>
                <a:gd name="T3" fmla="*/ 78 h 96"/>
                <a:gd name="T4" fmla="*/ 24 w 36"/>
                <a:gd name="T5" fmla="*/ 90 h 96"/>
                <a:gd name="T6" fmla="*/ 30 w 36"/>
                <a:gd name="T7" fmla="*/ 96 h 96"/>
                <a:gd name="T8" fmla="*/ 24 w 36"/>
                <a:gd name="T9" fmla="*/ 90 h 96"/>
                <a:gd name="T10" fmla="*/ 30 w 36"/>
                <a:gd name="T11" fmla="*/ 84 h 96"/>
                <a:gd name="T12" fmla="*/ 36 w 36"/>
                <a:gd name="T13" fmla="*/ 72 h 96"/>
                <a:gd name="T14" fmla="*/ 36 w 36"/>
                <a:gd name="T15" fmla="*/ 66 h 96"/>
                <a:gd name="T16" fmla="*/ 30 w 36"/>
                <a:gd name="T17" fmla="*/ 60 h 96"/>
                <a:gd name="T18" fmla="*/ 24 w 36"/>
                <a:gd name="T19" fmla="*/ 48 h 96"/>
                <a:gd name="T20" fmla="*/ 24 w 36"/>
                <a:gd name="T21" fmla="*/ 36 h 96"/>
                <a:gd name="T22" fmla="*/ 24 w 36"/>
                <a:gd name="T23" fmla="*/ 30 h 96"/>
                <a:gd name="T24" fmla="*/ 30 w 36"/>
                <a:gd name="T25" fmla="*/ 24 h 96"/>
                <a:gd name="T26" fmla="*/ 24 w 36"/>
                <a:gd name="T27" fmla="*/ 18 h 96"/>
                <a:gd name="T28" fmla="*/ 24 w 36"/>
                <a:gd name="T29" fmla="*/ 6 h 96"/>
                <a:gd name="T30" fmla="*/ 18 w 36"/>
                <a:gd name="T31" fmla="*/ 0 h 96"/>
                <a:gd name="T32" fmla="*/ 6 w 36"/>
                <a:gd name="T33" fmla="*/ 0 h 96"/>
                <a:gd name="T34" fmla="*/ 6 w 36"/>
                <a:gd name="T35" fmla="*/ 0 h 96"/>
                <a:gd name="T36" fmla="*/ 12 w 36"/>
                <a:gd name="T37" fmla="*/ 12 h 96"/>
                <a:gd name="T38" fmla="*/ 12 w 36"/>
                <a:gd name="T39" fmla="*/ 18 h 96"/>
                <a:gd name="T40" fmla="*/ 12 w 36"/>
                <a:gd name="T41" fmla="*/ 24 h 96"/>
                <a:gd name="T42" fmla="*/ 12 w 36"/>
                <a:gd name="T43" fmla="*/ 36 h 96"/>
                <a:gd name="T44" fmla="*/ 6 w 36"/>
                <a:gd name="T45" fmla="*/ 42 h 96"/>
                <a:gd name="T46" fmla="*/ 0 w 36"/>
                <a:gd name="T47" fmla="*/ 54 h 96"/>
                <a:gd name="T48" fmla="*/ 6 w 36"/>
                <a:gd name="T49" fmla="*/ 54 h 96"/>
                <a:gd name="T50" fmla="*/ 12 w 36"/>
                <a:gd name="T51" fmla="*/ 60 h 96"/>
                <a:gd name="T52" fmla="*/ 18 w 36"/>
                <a:gd name="T53" fmla="*/ 60 h 96"/>
                <a:gd name="T54" fmla="*/ 24 w 36"/>
                <a:gd name="T55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" h="96">
                  <a:moveTo>
                    <a:pt x="24" y="66"/>
                  </a:moveTo>
                  <a:lnTo>
                    <a:pt x="18" y="78"/>
                  </a:lnTo>
                  <a:lnTo>
                    <a:pt x="24" y="90"/>
                  </a:lnTo>
                  <a:lnTo>
                    <a:pt x="30" y="96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2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0" name="Freeform 246">
              <a:extLst>
                <a:ext uri="{FF2B5EF4-FFF2-40B4-BE49-F238E27FC236}">
                  <a16:creationId xmlns:a16="http://schemas.microsoft.com/office/drawing/2014/main" id="{A76494DA-5327-4408-AD03-6A3D33C75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234"/>
              <a:ext cx="113" cy="203"/>
            </a:xfrm>
            <a:custGeom>
              <a:avLst/>
              <a:gdLst>
                <a:gd name="T0" fmla="*/ 41 w 113"/>
                <a:gd name="T1" fmla="*/ 120 h 203"/>
                <a:gd name="T2" fmla="*/ 47 w 113"/>
                <a:gd name="T3" fmla="*/ 114 h 203"/>
                <a:gd name="T4" fmla="*/ 65 w 113"/>
                <a:gd name="T5" fmla="*/ 96 h 203"/>
                <a:gd name="T6" fmla="*/ 89 w 113"/>
                <a:gd name="T7" fmla="*/ 84 h 203"/>
                <a:gd name="T8" fmla="*/ 113 w 113"/>
                <a:gd name="T9" fmla="*/ 60 h 203"/>
                <a:gd name="T10" fmla="*/ 113 w 113"/>
                <a:gd name="T11" fmla="*/ 48 h 203"/>
                <a:gd name="T12" fmla="*/ 113 w 113"/>
                <a:gd name="T13" fmla="*/ 24 h 203"/>
                <a:gd name="T14" fmla="*/ 113 w 113"/>
                <a:gd name="T15" fmla="*/ 0 h 203"/>
                <a:gd name="T16" fmla="*/ 101 w 113"/>
                <a:gd name="T17" fmla="*/ 6 h 203"/>
                <a:gd name="T18" fmla="*/ 83 w 113"/>
                <a:gd name="T19" fmla="*/ 12 h 203"/>
                <a:gd name="T20" fmla="*/ 59 w 113"/>
                <a:gd name="T21" fmla="*/ 12 h 203"/>
                <a:gd name="T22" fmla="*/ 53 w 113"/>
                <a:gd name="T23" fmla="*/ 12 h 203"/>
                <a:gd name="T24" fmla="*/ 47 w 113"/>
                <a:gd name="T25" fmla="*/ 24 h 203"/>
                <a:gd name="T26" fmla="*/ 53 w 113"/>
                <a:gd name="T27" fmla="*/ 48 h 203"/>
                <a:gd name="T28" fmla="*/ 59 w 113"/>
                <a:gd name="T29" fmla="*/ 60 h 203"/>
                <a:gd name="T30" fmla="*/ 47 w 113"/>
                <a:gd name="T31" fmla="*/ 78 h 203"/>
                <a:gd name="T32" fmla="*/ 47 w 113"/>
                <a:gd name="T33" fmla="*/ 78 h 203"/>
                <a:gd name="T34" fmla="*/ 47 w 113"/>
                <a:gd name="T35" fmla="*/ 54 h 203"/>
                <a:gd name="T36" fmla="*/ 35 w 113"/>
                <a:gd name="T37" fmla="*/ 48 h 203"/>
                <a:gd name="T38" fmla="*/ 23 w 113"/>
                <a:gd name="T39" fmla="*/ 48 h 203"/>
                <a:gd name="T40" fmla="*/ 6 w 113"/>
                <a:gd name="T41" fmla="*/ 54 h 203"/>
                <a:gd name="T42" fmla="*/ 0 w 113"/>
                <a:gd name="T43" fmla="*/ 66 h 203"/>
                <a:gd name="T44" fmla="*/ 6 w 113"/>
                <a:gd name="T45" fmla="*/ 72 h 203"/>
                <a:gd name="T46" fmla="*/ 23 w 113"/>
                <a:gd name="T47" fmla="*/ 78 h 203"/>
                <a:gd name="T48" fmla="*/ 23 w 113"/>
                <a:gd name="T49" fmla="*/ 102 h 203"/>
                <a:gd name="T50" fmla="*/ 23 w 113"/>
                <a:gd name="T51" fmla="*/ 126 h 203"/>
                <a:gd name="T52" fmla="*/ 12 w 113"/>
                <a:gd name="T53" fmla="*/ 143 h 203"/>
                <a:gd name="T54" fmla="*/ 6 w 113"/>
                <a:gd name="T55" fmla="*/ 155 h 203"/>
                <a:gd name="T56" fmla="*/ 12 w 113"/>
                <a:gd name="T57" fmla="*/ 179 h 203"/>
                <a:gd name="T58" fmla="*/ 12 w 113"/>
                <a:gd name="T59" fmla="*/ 203 h 203"/>
                <a:gd name="T60" fmla="*/ 17 w 113"/>
                <a:gd name="T61" fmla="*/ 197 h 203"/>
                <a:gd name="T62" fmla="*/ 29 w 113"/>
                <a:gd name="T63" fmla="*/ 179 h 203"/>
                <a:gd name="T64" fmla="*/ 47 w 113"/>
                <a:gd name="T65" fmla="*/ 173 h 203"/>
                <a:gd name="T66" fmla="*/ 47 w 113"/>
                <a:gd name="T67" fmla="*/ 155 h 203"/>
                <a:gd name="T68" fmla="*/ 47 w 113"/>
                <a:gd name="T69" fmla="*/ 149 h 203"/>
                <a:gd name="T70" fmla="*/ 47 w 113"/>
                <a:gd name="T71" fmla="*/ 12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3" h="203">
                  <a:moveTo>
                    <a:pt x="47" y="126"/>
                  </a:moveTo>
                  <a:lnTo>
                    <a:pt x="41" y="120"/>
                  </a:lnTo>
                  <a:lnTo>
                    <a:pt x="41" y="114"/>
                  </a:lnTo>
                  <a:lnTo>
                    <a:pt x="47" y="114"/>
                  </a:lnTo>
                  <a:lnTo>
                    <a:pt x="59" y="108"/>
                  </a:lnTo>
                  <a:lnTo>
                    <a:pt x="65" y="96"/>
                  </a:lnTo>
                  <a:lnTo>
                    <a:pt x="77" y="90"/>
                  </a:lnTo>
                  <a:lnTo>
                    <a:pt x="89" y="84"/>
                  </a:lnTo>
                  <a:lnTo>
                    <a:pt x="101" y="72"/>
                  </a:lnTo>
                  <a:lnTo>
                    <a:pt x="113" y="60"/>
                  </a:lnTo>
                  <a:lnTo>
                    <a:pt x="113" y="48"/>
                  </a:lnTo>
                  <a:lnTo>
                    <a:pt x="113" y="48"/>
                  </a:lnTo>
                  <a:lnTo>
                    <a:pt x="107" y="30"/>
                  </a:lnTo>
                  <a:lnTo>
                    <a:pt x="113" y="24"/>
                  </a:lnTo>
                  <a:lnTo>
                    <a:pt x="113" y="12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01" y="6"/>
                  </a:lnTo>
                  <a:lnTo>
                    <a:pt x="89" y="12"/>
                  </a:lnTo>
                  <a:lnTo>
                    <a:pt x="83" y="12"/>
                  </a:lnTo>
                  <a:lnTo>
                    <a:pt x="77" y="18"/>
                  </a:lnTo>
                  <a:lnTo>
                    <a:pt x="59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47" y="18"/>
                  </a:lnTo>
                  <a:lnTo>
                    <a:pt x="47" y="24"/>
                  </a:lnTo>
                  <a:lnTo>
                    <a:pt x="47" y="36"/>
                  </a:lnTo>
                  <a:lnTo>
                    <a:pt x="53" y="48"/>
                  </a:lnTo>
                  <a:lnTo>
                    <a:pt x="59" y="54"/>
                  </a:lnTo>
                  <a:lnTo>
                    <a:pt x="59" y="60"/>
                  </a:lnTo>
                  <a:lnTo>
                    <a:pt x="53" y="72"/>
                  </a:lnTo>
                  <a:lnTo>
                    <a:pt x="47" y="78"/>
                  </a:lnTo>
                  <a:lnTo>
                    <a:pt x="53" y="84"/>
                  </a:lnTo>
                  <a:lnTo>
                    <a:pt x="47" y="78"/>
                  </a:lnTo>
                  <a:lnTo>
                    <a:pt x="41" y="66"/>
                  </a:lnTo>
                  <a:lnTo>
                    <a:pt x="47" y="54"/>
                  </a:lnTo>
                  <a:lnTo>
                    <a:pt x="41" y="48"/>
                  </a:lnTo>
                  <a:lnTo>
                    <a:pt x="35" y="48"/>
                  </a:lnTo>
                  <a:lnTo>
                    <a:pt x="29" y="42"/>
                  </a:lnTo>
                  <a:lnTo>
                    <a:pt x="23" y="48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6" y="72"/>
                  </a:lnTo>
                  <a:lnTo>
                    <a:pt x="17" y="72"/>
                  </a:lnTo>
                  <a:lnTo>
                    <a:pt x="23" y="78"/>
                  </a:lnTo>
                  <a:lnTo>
                    <a:pt x="23" y="96"/>
                  </a:lnTo>
                  <a:lnTo>
                    <a:pt x="23" y="102"/>
                  </a:lnTo>
                  <a:lnTo>
                    <a:pt x="23" y="114"/>
                  </a:lnTo>
                  <a:lnTo>
                    <a:pt x="23" y="126"/>
                  </a:lnTo>
                  <a:lnTo>
                    <a:pt x="17" y="137"/>
                  </a:lnTo>
                  <a:lnTo>
                    <a:pt x="12" y="143"/>
                  </a:lnTo>
                  <a:lnTo>
                    <a:pt x="6" y="149"/>
                  </a:lnTo>
                  <a:lnTo>
                    <a:pt x="6" y="155"/>
                  </a:lnTo>
                  <a:lnTo>
                    <a:pt x="12" y="167"/>
                  </a:lnTo>
                  <a:lnTo>
                    <a:pt x="12" y="179"/>
                  </a:lnTo>
                  <a:lnTo>
                    <a:pt x="12" y="191"/>
                  </a:lnTo>
                  <a:lnTo>
                    <a:pt x="12" y="203"/>
                  </a:lnTo>
                  <a:lnTo>
                    <a:pt x="17" y="203"/>
                  </a:lnTo>
                  <a:lnTo>
                    <a:pt x="17" y="197"/>
                  </a:lnTo>
                  <a:lnTo>
                    <a:pt x="17" y="191"/>
                  </a:lnTo>
                  <a:lnTo>
                    <a:pt x="29" y="179"/>
                  </a:lnTo>
                  <a:lnTo>
                    <a:pt x="41" y="173"/>
                  </a:lnTo>
                  <a:lnTo>
                    <a:pt x="47" y="173"/>
                  </a:lnTo>
                  <a:lnTo>
                    <a:pt x="47" y="167"/>
                  </a:lnTo>
                  <a:lnTo>
                    <a:pt x="47" y="155"/>
                  </a:lnTo>
                  <a:lnTo>
                    <a:pt x="53" y="143"/>
                  </a:lnTo>
                  <a:lnTo>
                    <a:pt x="47" y="149"/>
                  </a:lnTo>
                  <a:lnTo>
                    <a:pt x="47" y="137"/>
                  </a:lnTo>
                  <a:lnTo>
                    <a:pt x="47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1" name="Freeform 247">
              <a:extLst>
                <a:ext uri="{FF2B5EF4-FFF2-40B4-BE49-F238E27FC236}">
                  <a16:creationId xmlns:a16="http://schemas.microsoft.com/office/drawing/2014/main" id="{DAB82EC4-05AD-4BBF-B312-17373B6A8B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36 w 173"/>
                <a:gd name="T1" fmla="*/ 48 h 156"/>
                <a:gd name="T2" fmla="*/ 36 w 173"/>
                <a:gd name="T3" fmla="*/ 66 h 156"/>
                <a:gd name="T4" fmla="*/ 24 w 173"/>
                <a:gd name="T5" fmla="*/ 84 h 156"/>
                <a:gd name="T6" fmla="*/ 6 w 173"/>
                <a:gd name="T7" fmla="*/ 78 h 156"/>
                <a:gd name="T8" fmla="*/ 6 w 173"/>
                <a:gd name="T9" fmla="*/ 90 h 156"/>
                <a:gd name="T10" fmla="*/ 12 w 173"/>
                <a:gd name="T11" fmla="*/ 114 h 156"/>
                <a:gd name="T12" fmla="*/ 12 w 173"/>
                <a:gd name="T13" fmla="*/ 132 h 156"/>
                <a:gd name="T14" fmla="*/ 18 w 173"/>
                <a:gd name="T15" fmla="*/ 150 h 156"/>
                <a:gd name="T16" fmla="*/ 24 w 173"/>
                <a:gd name="T17" fmla="*/ 156 h 156"/>
                <a:gd name="T18" fmla="*/ 42 w 173"/>
                <a:gd name="T19" fmla="*/ 156 h 156"/>
                <a:gd name="T20" fmla="*/ 66 w 173"/>
                <a:gd name="T21" fmla="*/ 150 h 156"/>
                <a:gd name="T22" fmla="*/ 90 w 173"/>
                <a:gd name="T23" fmla="*/ 150 h 156"/>
                <a:gd name="T24" fmla="*/ 108 w 173"/>
                <a:gd name="T25" fmla="*/ 138 h 156"/>
                <a:gd name="T26" fmla="*/ 126 w 173"/>
                <a:gd name="T27" fmla="*/ 126 h 156"/>
                <a:gd name="T28" fmla="*/ 144 w 173"/>
                <a:gd name="T29" fmla="*/ 108 h 156"/>
                <a:gd name="T30" fmla="*/ 156 w 173"/>
                <a:gd name="T31" fmla="*/ 96 h 156"/>
                <a:gd name="T32" fmla="*/ 168 w 173"/>
                <a:gd name="T33" fmla="*/ 72 h 156"/>
                <a:gd name="T34" fmla="*/ 168 w 173"/>
                <a:gd name="T35" fmla="*/ 60 h 156"/>
                <a:gd name="T36" fmla="*/ 156 w 173"/>
                <a:gd name="T37" fmla="*/ 60 h 156"/>
                <a:gd name="T38" fmla="*/ 162 w 173"/>
                <a:gd name="T39" fmla="*/ 48 h 156"/>
                <a:gd name="T40" fmla="*/ 168 w 173"/>
                <a:gd name="T41" fmla="*/ 36 h 156"/>
                <a:gd name="T42" fmla="*/ 162 w 173"/>
                <a:gd name="T43" fmla="*/ 12 h 156"/>
                <a:gd name="T44" fmla="*/ 150 w 173"/>
                <a:gd name="T45" fmla="*/ 6 h 156"/>
                <a:gd name="T46" fmla="*/ 138 w 173"/>
                <a:gd name="T47" fmla="*/ 0 h 156"/>
                <a:gd name="T48" fmla="*/ 114 w 173"/>
                <a:gd name="T49" fmla="*/ 18 h 156"/>
                <a:gd name="T50" fmla="*/ 102 w 173"/>
                <a:gd name="T51" fmla="*/ 36 h 156"/>
                <a:gd name="T52" fmla="*/ 78 w 173"/>
                <a:gd name="T53" fmla="*/ 42 h 156"/>
                <a:gd name="T54" fmla="*/ 66 w 173"/>
                <a:gd name="T55" fmla="*/ 48 h 156"/>
                <a:gd name="T56" fmla="*/ 48 w 173"/>
                <a:gd name="T57" fmla="*/ 60 h 156"/>
                <a:gd name="T58" fmla="*/ 48 w 173"/>
                <a:gd name="T59" fmla="*/ 48 h 156"/>
                <a:gd name="T60" fmla="*/ 120 w 173"/>
                <a:gd name="T61" fmla="*/ 84 h 156"/>
                <a:gd name="T62" fmla="*/ 120 w 173"/>
                <a:gd name="T63" fmla="*/ 108 h 156"/>
                <a:gd name="T64" fmla="*/ 132 w 173"/>
                <a:gd name="T65" fmla="*/ 96 h 156"/>
                <a:gd name="T66" fmla="*/ 126 w 173"/>
                <a:gd name="T67" fmla="*/ 84 h 156"/>
                <a:gd name="T68" fmla="*/ 42 w 173"/>
                <a:gd name="T69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lnTo>
                    <a:pt x="120" y="84"/>
                  </a:lnTo>
                  <a:lnTo>
                    <a:pt x="114" y="96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8" y="90"/>
                  </a:lnTo>
                  <a:lnTo>
                    <a:pt x="126" y="84"/>
                  </a:lnTo>
                  <a:lnTo>
                    <a:pt x="120" y="84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2" name="Freeform 248">
              <a:extLst>
                <a:ext uri="{FF2B5EF4-FFF2-40B4-BE49-F238E27FC236}">
                  <a16:creationId xmlns:a16="http://schemas.microsoft.com/office/drawing/2014/main" id="{88C168BD-1ECC-4F0A-A9C7-2275FAB39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5" y="2377"/>
              <a:ext cx="173" cy="156"/>
            </a:xfrm>
            <a:custGeom>
              <a:avLst/>
              <a:gdLst>
                <a:gd name="T0" fmla="*/ 42 w 173"/>
                <a:gd name="T1" fmla="*/ 36 h 156"/>
                <a:gd name="T2" fmla="*/ 36 w 173"/>
                <a:gd name="T3" fmla="*/ 48 h 156"/>
                <a:gd name="T4" fmla="*/ 36 w 173"/>
                <a:gd name="T5" fmla="*/ 60 h 156"/>
                <a:gd name="T6" fmla="*/ 36 w 173"/>
                <a:gd name="T7" fmla="*/ 66 h 156"/>
                <a:gd name="T8" fmla="*/ 36 w 173"/>
                <a:gd name="T9" fmla="*/ 78 h 156"/>
                <a:gd name="T10" fmla="*/ 24 w 173"/>
                <a:gd name="T11" fmla="*/ 84 h 156"/>
                <a:gd name="T12" fmla="*/ 12 w 173"/>
                <a:gd name="T13" fmla="*/ 84 h 156"/>
                <a:gd name="T14" fmla="*/ 6 w 173"/>
                <a:gd name="T15" fmla="*/ 78 h 156"/>
                <a:gd name="T16" fmla="*/ 0 w 173"/>
                <a:gd name="T17" fmla="*/ 84 h 156"/>
                <a:gd name="T18" fmla="*/ 6 w 173"/>
                <a:gd name="T19" fmla="*/ 90 h 156"/>
                <a:gd name="T20" fmla="*/ 12 w 173"/>
                <a:gd name="T21" fmla="*/ 102 h 156"/>
                <a:gd name="T22" fmla="*/ 12 w 173"/>
                <a:gd name="T23" fmla="*/ 114 h 156"/>
                <a:gd name="T24" fmla="*/ 18 w 173"/>
                <a:gd name="T25" fmla="*/ 126 h 156"/>
                <a:gd name="T26" fmla="*/ 12 w 173"/>
                <a:gd name="T27" fmla="*/ 132 h 156"/>
                <a:gd name="T28" fmla="*/ 12 w 173"/>
                <a:gd name="T29" fmla="*/ 138 h 156"/>
                <a:gd name="T30" fmla="*/ 18 w 173"/>
                <a:gd name="T31" fmla="*/ 150 h 156"/>
                <a:gd name="T32" fmla="*/ 24 w 173"/>
                <a:gd name="T33" fmla="*/ 150 h 156"/>
                <a:gd name="T34" fmla="*/ 24 w 173"/>
                <a:gd name="T35" fmla="*/ 156 h 156"/>
                <a:gd name="T36" fmla="*/ 36 w 173"/>
                <a:gd name="T37" fmla="*/ 156 h 156"/>
                <a:gd name="T38" fmla="*/ 42 w 173"/>
                <a:gd name="T39" fmla="*/ 156 h 156"/>
                <a:gd name="T40" fmla="*/ 54 w 173"/>
                <a:gd name="T41" fmla="*/ 150 h 156"/>
                <a:gd name="T42" fmla="*/ 66 w 173"/>
                <a:gd name="T43" fmla="*/ 150 h 156"/>
                <a:gd name="T44" fmla="*/ 78 w 173"/>
                <a:gd name="T45" fmla="*/ 150 h 156"/>
                <a:gd name="T46" fmla="*/ 90 w 173"/>
                <a:gd name="T47" fmla="*/ 150 h 156"/>
                <a:gd name="T48" fmla="*/ 102 w 173"/>
                <a:gd name="T49" fmla="*/ 144 h 156"/>
                <a:gd name="T50" fmla="*/ 108 w 173"/>
                <a:gd name="T51" fmla="*/ 138 h 156"/>
                <a:gd name="T52" fmla="*/ 120 w 173"/>
                <a:gd name="T53" fmla="*/ 132 h 156"/>
                <a:gd name="T54" fmla="*/ 126 w 173"/>
                <a:gd name="T55" fmla="*/ 126 h 156"/>
                <a:gd name="T56" fmla="*/ 138 w 173"/>
                <a:gd name="T57" fmla="*/ 120 h 156"/>
                <a:gd name="T58" fmla="*/ 144 w 173"/>
                <a:gd name="T59" fmla="*/ 108 h 156"/>
                <a:gd name="T60" fmla="*/ 150 w 173"/>
                <a:gd name="T61" fmla="*/ 102 h 156"/>
                <a:gd name="T62" fmla="*/ 156 w 173"/>
                <a:gd name="T63" fmla="*/ 96 h 156"/>
                <a:gd name="T64" fmla="*/ 168 w 173"/>
                <a:gd name="T65" fmla="*/ 84 h 156"/>
                <a:gd name="T66" fmla="*/ 168 w 173"/>
                <a:gd name="T67" fmla="*/ 72 h 156"/>
                <a:gd name="T68" fmla="*/ 173 w 173"/>
                <a:gd name="T69" fmla="*/ 60 h 156"/>
                <a:gd name="T70" fmla="*/ 168 w 173"/>
                <a:gd name="T71" fmla="*/ 60 h 156"/>
                <a:gd name="T72" fmla="*/ 168 w 173"/>
                <a:gd name="T73" fmla="*/ 66 h 156"/>
                <a:gd name="T74" fmla="*/ 156 w 173"/>
                <a:gd name="T75" fmla="*/ 60 h 156"/>
                <a:gd name="T76" fmla="*/ 156 w 173"/>
                <a:gd name="T77" fmla="*/ 54 h 156"/>
                <a:gd name="T78" fmla="*/ 162 w 173"/>
                <a:gd name="T79" fmla="*/ 48 h 156"/>
                <a:gd name="T80" fmla="*/ 168 w 173"/>
                <a:gd name="T81" fmla="*/ 48 h 156"/>
                <a:gd name="T82" fmla="*/ 168 w 173"/>
                <a:gd name="T83" fmla="*/ 36 h 156"/>
                <a:gd name="T84" fmla="*/ 168 w 173"/>
                <a:gd name="T85" fmla="*/ 24 h 156"/>
                <a:gd name="T86" fmla="*/ 162 w 173"/>
                <a:gd name="T87" fmla="*/ 12 h 156"/>
                <a:gd name="T88" fmla="*/ 162 w 173"/>
                <a:gd name="T89" fmla="*/ 6 h 156"/>
                <a:gd name="T90" fmla="*/ 150 w 173"/>
                <a:gd name="T91" fmla="*/ 6 h 156"/>
                <a:gd name="T92" fmla="*/ 144 w 173"/>
                <a:gd name="T93" fmla="*/ 0 h 156"/>
                <a:gd name="T94" fmla="*/ 138 w 173"/>
                <a:gd name="T95" fmla="*/ 0 h 156"/>
                <a:gd name="T96" fmla="*/ 126 w 173"/>
                <a:gd name="T97" fmla="*/ 12 h 156"/>
                <a:gd name="T98" fmla="*/ 114 w 173"/>
                <a:gd name="T99" fmla="*/ 18 h 156"/>
                <a:gd name="T100" fmla="*/ 108 w 173"/>
                <a:gd name="T101" fmla="*/ 30 h 156"/>
                <a:gd name="T102" fmla="*/ 102 w 173"/>
                <a:gd name="T103" fmla="*/ 36 h 156"/>
                <a:gd name="T104" fmla="*/ 96 w 173"/>
                <a:gd name="T105" fmla="*/ 48 h 156"/>
                <a:gd name="T106" fmla="*/ 78 w 173"/>
                <a:gd name="T107" fmla="*/ 42 h 156"/>
                <a:gd name="T108" fmla="*/ 72 w 173"/>
                <a:gd name="T109" fmla="*/ 42 h 156"/>
                <a:gd name="T110" fmla="*/ 66 w 173"/>
                <a:gd name="T111" fmla="*/ 48 h 156"/>
                <a:gd name="T112" fmla="*/ 60 w 173"/>
                <a:gd name="T113" fmla="*/ 60 h 156"/>
                <a:gd name="T114" fmla="*/ 48 w 173"/>
                <a:gd name="T115" fmla="*/ 60 h 156"/>
                <a:gd name="T116" fmla="*/ 42 w 173"/>
                <a:gd name="T117" fmla="*/ 60 h 156"/>
                <a:gd name="T118" fmla="*/ 48 w 173"/>
                <a:gd name="T119" fmla="*/ 48 h 156"/>
                <a:gd name="T120" fmla="*/ 42 w 173"/>
                <a:gd name="T121" fmla="*/ 3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156">
                  <a:moveTo>
                    <a:pt x="42" y="36"/>
                  </a:moveTo>
                  <a:lnTo>
                    <a:pt x="36" y="48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6" y="78"/>
                  </a:lnTo>
                  <a:lnTo>
                    <a:pt x="24" y="84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54" y="150"/>
                  </a:lnTo>
                  <a:lnTo>
                    <a:pt x="66" y="150"/>
                  </a:lnTo>
                  <a:lnTo>
                    <a:pt x="78" y="150"/>
                  </a:lnTo>
                  <a:lnTo>
                    <a:pt x="90" y="150"/>
                  </a:lnTo>
                  <a:lnTo>
                    <a:pt x="102" y="144"/>
                  </a:lnTo>
                  <a:lnTo>
                    <a:pt x="108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44" y="108"/>
                  </a:lnTo>
                  <a:lnTo>
                    <a:pt x="150" y="102"/>
                  </a:lnTo>
                  <a:lnTo>
                    <a:pt x="156" y="96"/>
                  </a:lnTo>
                  <a:lnTo>
                    <a:pt x="168" y="84"/>
                  </a:lnTo>
                  <a:lnTo>
                    <a:pt x="168" y="72"/>
                  </a:lnTo>
                  <a:lnTo>
                    <a:pt x="173" y="60"/>
                  </a:lnTo>
                  <a:lnTo>
                    <a:pt x="168" y="60"/>
                  </a:lnTo>
                  <a:lnTo>
                    <a:pt x="168" y="66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62" y="48"/>
                  </a:lnTo>
                  <a:lnTo>
                    <a:pt x="168" y="48"/>
                  </a:lnTo>
                  <a:lnTo>
                    <a:pt x="168" y="36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62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26" y="12"/>
                  </a:lnTo>
                  <a:lnTo>
                    <a:pt x="114" y="18"/>
                  </a:lnTo>
                  <a:lnTo>
                    <a:pt x="108" y="30"/>
                  </a:lnTo>
                  <a:lnTo>
                    <a:pt x="102" y="36"/>
                  </a:lnTo>
                  <a:lnTo>
                    <a:pt x="96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0" y="60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8" y="48"/>
                  </a:lnTo>
                  <a:lnTo>
                    <a:pt x="4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3" name="Freeform 249">
              <a:extLst>
                <a:ext uri="{FF2B5EF4-FFF2-40B4-BE49-F238E27FC236}">
                  <a16:creationId xmlns:a16="http://schemas.microsoft.com/office/drawing/2014/main" id="{27B26F51-49F9-4BF2-818A-2D998FA1B5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9" y="2461"/>
              <a:ext cx="24" cy="24"/>
            </a:xfrm>
            <a:custGeom>
              <a:avLst/>
              <a:gdLst>
                <a:gd name="T0" fmla="*/ 6 w 24"/>
                <a:gd name="T1" fmla="*/ 0 h 24"/>
                <a:gd name="T2" fmla="*/ 0 w 24"/>
                <a:gd name="T3" fmla="*/ 12 h 24"/>
                <a:gd name="T4" fmla="*/ 6 w 24"/>
                <a:gd name="T5" fmla="*/ 24 h 24"/>
                <a:gd name="T6" fmla="*/ 12 w 24"/>
                <a:gd name="T7" fmla="*/ 18 h 24"/>
                <a:gd name="T8" fmla="*/ 18 w 24"/>
                <a:gd name="T9" fmla="*/ 12 h 24"/>
                <a:gd name="T10" fmla="*/ 24 w 24"/>
                <a:gd name="T11" fmla="*/ 6 h 24"/>
                <a:gd name="T12" fmla="*/ 12 w 24"/>
                <a:gd name="T13" fmla="*/ 0 h 24"/>
                <a:gd name="T14" fmla="*/ 6 w 24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6" y="0"/>
                  </a:moveTo>
                  <a:lnTo>
                    <a:pt x="0" y="12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4" name="Freeform 250">
              <a:extLst>
                <a:ext uri="{FF2B5EF4-FFF2-40B4-BE49-F238E27FC236}">
                  <a16:creationId xmlns:a16="http://schemas.microsoft.com/office/drawing/2014/main" id="{7F912A0E-16F2-4FAC-A8D1-3C614833D2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238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5" name="Freeform 251">
              <a:extLst>
                <a:ext uri="{FF2B5EF4-FFF2-40B4-BE49-F238E27FC236}">
                  <a16:creationId xmlns:a16="http://schemas.microsoft.com/office/drawing/2014/main" id="{6840B00D-EABC-4338-A583-A80339FCC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1" y="2425"/>
              <a:ext cx="12" cy="18"/>
            </a:xfrm>
            <a:custGeom>
              <a:avLst/>
              <a:gdLst>
                <a:gd name="T0" fmla="*/ 6 w 12"/>
                <a:gd name="T1" fmla="*/ 0 h 18"/>
                <a:gd name="T2" fmla="*/ 0 w 12"/>
                <a:gd name="T3" fmla="*/ 6 h 18"/>
                <a:gd name="T4" fmla="*/ 0 w 12"/>
                <a:gd name="T5" fmla="*/ 12 h 18"/>
                <a:gd name="T6" fmla="*/ 12 w 12"/>
                <a:gd name="T7" fmla="*/ 18 h 18"/>
                <a:gd name="T8" fmla="*/ 12 w 12"/>
                <a:gd name="T9" fmla="*/ 12 h 18"/>
                <a:gd name="T10" fmla="*/ 12 w 12"/>
                <a:gd name="T11" fmla="*/ 0 h 18"/>
                <a:gd name="T12" fmla="*/ 6 w 1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6" name="Freeform 252">
              <a:extLst>
                <a:ext uri="{FF2B5EF4-FFF2-40B4-BE49-F238E27FC236}">
                  <a16:creationId xmlns:a16="http://schemas.microsoft.com/office/drawing/2014/main" id="{9B89962F-669F-44A8-B48F-A1A374B990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2180"/>
              <a:ext cx="138" cy="150"/>
            </a:xfrm>
            <a:custGeom>
              <a:avLst/>
              <a:gdLst>
                <a:gd name="T0" fmla="*/ 138 w 138"/>
                <a:gd name="T1" fmla="*/ 84 h 150"/>
                <a:gd name="T2" fmla="*/ 126 w 138"/>
                <a:gd name="T3" fmla="*/ 84 h 150"/>
                <a:gd name="T4" fmla="*/ 114 w 138"/>
                <a:gd name="T5" fmla="*/ 84 h 150"/>
                <a:gd name="T6" fmla="*/ 114 w 138"/>
                <a:gd name="T7" fmla="*/ 96 h 150"/>
                <a:gd name="T8" fmla="*/ 114 w 138"/>
                <a:gd name="T9" fmla="*/ 108 h 150"/>
                <a:gd name="T10" fmla="*/ 114 w 138"/>
                <a:gd name="T11" fmla="*/ 114 h 150"/>
                <a:gd name="T12" fmla="*/ 114 w 138"/>
                <a:gd name="T13" fmla="*/ 126 h 150"/>
                <a:gd name="T14" fmla="*/ 120 w 138"/>
                <a:gd name="T15" fmla="*/ 132 h 150"/>
                <a:gd name="T16" fmla="*/ 126 w 138"/>
                <a:gd name="T17" fmla="*/ 144 h 150"/>
                <a:gd name="T18" fmla="*/ 114 w 138"/>
                <a:gd name="T19" fmla="*/ 144 h 150"/>
                <a:gd name="T20" fmla="*/ 96 w 138"/>
                <a:gd name="T21" fmla="*/ 150 h 150"/>
                <a:gd name="T22" fmla="*/ 84 w 138"/>
                <a:gd name="T23" fmla="*/ 144 h 150"/>
                <a:gd name="T24" fmla="*/ 72 w 138"/>
                <a:gd name="T25" fmla="*/ 144 h 150"/>
                <a:gd name="T26" fmla="*/ 72 w 138"/>
                <a:gd name="T27" fmla="*/ 138 h 150"/>
                <a:gd name="T28" fmla="*/ 60 w 138"/>
                <a:gd name="T29" fmla="*/ 138 h 150"/>
                <a:gd name="T30" fmla="*/ 48 w 138"/>
                <a:gd name="T31" fmla="*/ 138 h 150"/>
                <a:gd name="T32" fmla="*/ 36 w 138"/>
                <a:gd name="T33" fmla="*/ 138 h 150"/>
                <a:gd name="T34" fmla="*/ 24 w 138"/>
                <a:gd name="T35" fmla="*/ 138 h 150"/>
                <a:gd name="T36" fmla="*/ 12 w 138"/>
                <a:gd name="T37" fmla="*/ 138 h 150"/>
                <a:gd name="T38" fmla="*/ 0 w 138"/>
                <a:gd name="T39" fmla="*/ 138 h 150"/>
                <a:gd name="T40" fmla="*/ 0 w 138"/>
                <a:gd name="T41" fmla="*/ 132 h 150"/>
                <a:gd name="T42" fmla="*/ 6 w 138"/>
                <a:gd name="T43" fmla="*/ 120 h 150"/>
                <a:gd name="T44" fmla="*/ 6 w 138"/>
                <a:gd name="T45" fmla="*/ 102 h 150"/>
                <a:gd name="T46" fmla="*/ 12 w 138"/>
                <a:gd name="T47" fmla="*/ 90 h 150"/>
                <a:gd name="T48" fmla="*/ 18 w 138"/>
                <a:gd name="T49" fmla="*/ 78 h 150"/>
                <a:gd name="T50" fmla="*/ 24 w 138"/>
                <a:gd name="T51" fmla="*/ 72 h 150"/>
                <a:gd name="T52" fmla="*/ 24 w 138"/>
                <a:gd name="T53" fmla="*/ 54 h 150"/>
                <a:gd name="T54" fmla="*/ 18 w 138"/>
                <a:gd name="T55" fmla="*/ 48 h 150"/>
                <a:gd name="T56" fmla="*/ 18 w 138"/>
                <a:gd name="T57" fmla="*/ 36 h 150"/>
                <a:gd name="T58" fmla="*/ 18 w 138"/>
                <a:gd name="T59" fmla="*/ 30 h 150"/>
                <a:gd name="T60" fmla="*/ 12 w 138"/>
                <a:gd name="T61" fmla="*/ 18 h 150"/>
                <a:gd name="T62" fmla="*/ 12 w 138"/>
                <a:gd name="T63" fmla="*/ 0 h 150"/>
                <a:gd name="T64" fmla="*/ 18 w 138"/>
                <a:gd name="T65" fmla="*/ 0 h 150"/>
                <a:gd name="T66" fmla="*/ 30 w 138"/>
                <a:gd name="T67" fmla="*/ 0 h 150"/>
                <a:gd name="T68" fmla="*/ 36 w 138"/>
                <a:gd name="T69" fmla="*/ 0 h 150"/>
                <a:gd name="T70" fmla="*/ 48 w 138"/>
                <a:gd name="T71" fmla="*/ 0 h 150"/>
                <a:gd name="T72" fmla="*/ 54 w 138"/>
                <a:gd name="T73" fmla="*/ 0 h 150"/>
                <a:gd name="T74" fmla="*/ 60 w 138"/>
                <a:gd name="T75" fmla="*/ 12 h 150"/>
                <a:gd name="T76" fmla="*/ 66 w 138"/>
                <a:gd name="T77" fmla="*/ 24 h 150"/>
                <a:gd name="T78" fmla="*/ 72 w 138"/>
                <a:gd name="T79" fmla="*/ 24 h 150"/>
                <a:gd name="T80" fmla="*/ 84 w 138"/>
                <a:gd name="T81" fmla="*/ 24 h 150"/>
                <a:gd name="T82" fmla="*/ 90 w 138"/>
                <a:gd name="T83" fmla="*/ 12 h 150"/>
                <a:gd name="T84" fmla="*/ 102 w 138"/>
                <a:gd name="T85" fmla="*/ 12 h 150"/>
                <a:gd name="T86" fmla="*/ 96 w 138"/>
                <a:gd name="T87" fmla="*/ 18 h 150"/>
                <a:gd name="T88" fmla="*/ 114 w 138"/>
                <a:gd name="T89" fmla="*/ 18 h 150"/>
                <a:gd name="T90" fmla="*/ 114 w 138"/>
                <a:gd name="T91" fmla="*/ 30 h 150"/>
                <a:gd name="T92" fmla="*/ 114 w 138"/>
                <a:gd name="T93" fmla="*/ 48 h 150"/>
                <a:gd name="T94" fmla="*/ 120 w 138"/>
                <a:gd name="T95" fmla="*/ 60 h 150"/>
                <a:gd name="T96" fmla="*/ 120 w 138"/>
                <a:gd name="T97" fmla="*/ 66 h 150"/>
                <a:gd name="T98" fmla="*/ 126 w 138"/>
                <a:gd name="T99" fmla="*/ 60 h 150"/>
                <a:gd name="T100" fmla="*/ 138 w 138"/>
                <a:gd name="T101" fmla="*/ 60 h 150"/>
                <a:gd name="T102" fmla="*/ 138 w 138"/>
                <a:gd name="T103" fmla="*/ 72 h 150"/>
                <a:gd name="T104" fmla="*/ 138 w 138"/>
                <a:gd name="T105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8" h="150">
                  <a:moveTo>
                    <a:pt x="138" y="84"/>
                  </a:moveTo>
                  <a:lnTo>
                    <a:pt x="126" y="84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26"/>
                  </a:lnTo>
                  <a:lnTo>
                    <a:pt x="120" y="132"/>
                  </a:lnTo>
                  <a:lnTo>
                    <a:pt x="126" y="144"/>
                  </a:lnTo>
                  <a:lnTo>
                    <a:pt x="114" y="144"/>
                  </a:lnTo>
                  <a:lnTo>
                    <a:pt x="96" y="150"/>
                  </a:lnTo>
                  <a:lnTo>
                    <a:pt x="84" y="144"/>
                  </a:lnTo>
                  <a:lnTo>
                    <a:pt x="72" y="144"/>
                  </a:lnTo>
                  <a:lnTo>
                    <a:pt x="72" y="138"/>
                  </a:lnTo>
                  <a:lnTo>
                    <a:pt x="60" y="138"/>
                  </a:lnTo>
                  <a:lnTo>
                    <a:pt x="48" y="138"/>
                  </a:lnTo>
                  <a:lnTo>
                    <a:pt x="36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6" y="120"/>
                  </a:lnTo>
                  <a:lnTo>
                    <a:pt x="6" y="102"/>
                  </a:lnTo>
                  <a:lnTo>
                    <a:pt x="12" y="90"/>
                  </a:lnTo>
                  <a:lnTo>
                    <a:pt x="18" y="78"/>
                  </a:lnTo>
                  <a:lnTo>
                    <a:pt x="24" y="72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18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60" y="12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84" y="24"/>
                  </a:lnTo>
                  <a:lnTo>
                    <a:pt x="90" y="12"/>
                  </a:lnTo>
                  <a:lnTo>
                    <a:pt x="102" y="12"/>
                  </a:lnTo>
                  <a:lnTo>
                    <a:pt x="96" y="18"/>
                  </a:lnTo>
                  <a:lnTo>
                    <a:pt x="114" y="18"/>
                  </a:lnTo>
                  <a:lnTo>
                    <a:pt x="114" y="30"/>
                  </a:lnTo>
                  <a:lnTo>
                    <a:pt x="114" y="48"/>
                  </a:lnTo>
                  <a:lnTo>
                    <a:pt x="120" y="60"/>
                  </a:lnTo>
                  <a:lnTo>
                    <a:pt x="120" y="66"/>
                  </a:lnTo>
                  <a:lnTo>
                    <a:pt x="126" y="60"/>
                  </a:lnTo>
                  <a:lnTo>
                    <a:pt x="138" y="60"/>
                  </a:lnTo>
                  <a:lnTo>
                    <a:pt x="138" y="72"/>
                  </a:lnTo>
                  <a:lnTo>
                    <a:pt x="138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7" name="Freeform 253">
              <a:extLst>
                <a:ext uri="{FF2B5EF4-FFF2-40B4-BE49-F238E27FC236}">
                  <a16:creationId xmlns:a16="http://schemas.microsoft.com/office/drawing/2014/main" id="{1B92EC82-D8C8-42F9-8062-9E2D7858A5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162"/>
              <a:ext cx="12" cy="12"/>
            </a:xfrm>
            <a:custGeom>
              <a:avLst/>
              <a:gdLst>
                <a:gd name="T0" fmla="*/ 0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0 h 12"/>
                <a:gd name="T8" fmla="*/ 6 w 12"/>
                <a:gd name="T9" fmla="*/ 6 h 12"/>
                <a:gd name="T10" fmla="*/ 6 w 12"/>
                <a:gd name="T11" fmla="*/ 12 h 12"/>
                <a:gd name="T12" fmla="*/ 0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8" name="Freeform 254">
              <a:extLst>
                <a:ext uri="{FF2B5EF4-FFF2-40B4-BE49-F238E27FC236}">
                  <a16:creationId xmlns:a16="http://schemas.microsoft.com/office/drawing/2014/main" id="{55D1255F-014D-414C-92C4-A7DA69DCE3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2042"/>
              <a:ext cx="432" cy="479"/>
            </a:xfrm>
            <a:custGeom>
              <a:avLst/>
              <a:gdLst>
                <a:gd name="T0" fmla="*/ 324 w 432"/>
                <a:gd name="T1" fmla="*/ 90 h 479"/>
                <a:gd name="T2" fmla="*/ 318 w 432"/>
                <a:gd name="T3" fmla="*/ 84 h 479"/>
                <a:gd name="T4" fmla="*/ 306 w 432"/>
                <a:gd name="T5" fmla="*/ 78 h 479"/>
                <a:gd name="T6" fmla="*/ 288 w 432"/>
                <a:gd name="T7" fmla="*/ 72 h 479"/>
                <a:gd name="T8" fmla="*/ 276 w 432"/>
                <a:gd name="T9" fmla="*/ 84 h 479"/>
                <a:gd name="T10" fmla="*/ 258 w 432"/>
                <a:gd name="T11" fmla="*/ 84 h 479"/>
                <a:gd name="T12" fmla="*/ 240 w 432"/>
                <a:gd name="T13" fmla="*/ 84 h 479"/>
                <a:gd name="T14" fmla="*/ 258 w 432"/>
                <a:gd name="T15" fmla="*/ 54 h 479"/>
                <a:gd name="T16" fmla="*/ 252 w 432"/>
                <a:gd name="T17" fmla="*/ 24 h 479"/>
                <a:gd name="T18" fmla="*/ 246 w 432"/>
                <a:gd name="T19" fmla="*/ 12 h 479"/>
                <a:gd name="T20" fmla="*/ 228 w 432"/>
                <a:gd name="T21" fmla="*/ 36 h 479"/>
                <a:gd name="T22" fmla="*/ 198 w 432"/>
                <a:gd name="T23" fmla="*/ 36 h 479"/>
                <a:gd name="T24" fmla="*/ 168 w 432"/>
                <a:gd name="T25" fmla="*/ 48 h 479"/>
                <a:gd name="T26" fmla="*/ 156 w 432"/>
                <a:gd name="T27" fmla="*/ 12 h 479"/>
                <a:gd name="T28" fmla="*/ 144 w 432"/>
                <a:gd name="T29" fmla="*/ 0 h 479"/>
                <a:gd name="T30" fmla="*/ 120 w 432"/>
                <a:gd name="T31" fmla="*/ 18 h 479"/>
                <a:gd name="T32" fmla="*/ 108 w 432"/>
                <a:gd name="T33" fmla="*/ 30 h 479"/>
                <a:gd name="T34" fmla="*/ 90 w 432"/>
                <a:gd name="T35" fmla="*/ 54 h 479"/>
                <a:gd name="T36" fmla="*/ 72 w 432"/>
                <a:gd name="T37" fmla="*/ 48 h 479"/>
                <a:gd name="T38" fmla="*/ 60 w 432"/>
                <a:gd name="T39" fmla="*/ 42 h 479"/>
                <a:gd name="T40" fmla="*/ 54 w 432"/>
                <a:gd name="T41" fmla="*/ 54 h 479"/>
                <a:gd name="T42" fmla="*/ 48 w 432"/>
                <a:gd name="T43" fmla="*/ 78 h 479"/>
                <a:gd name="T44" fmla="*/ 30 w 432"/>
                <a:gd name="T45" fmla="*/ 120 h 479"/>
                <a:gd name="T46" fmla="*/ 6 w 432"/>
                <a:gd name="T47" fmla="*/ 144 h 479"/>
                <a:gd name="T48" fmla="*/ 12 w 432"/>
                <a:gd name="T49" fmla="*/ 180 h 479"/>
                <a:gd name="T50" fmla="*/ 36 w 432"/>
                <a:gd name="T51" fmla="*/ 180 h 479"/>
                <a:gd name="T52" fmla="*/ 66 w 432"/>
                <a:gd name="T53" fmla="*/ 198 h 479"/>
                <a:gd name="T54" fmla="*/ 96 w 432"/>
                <a:gd name="T55" fmla="*/ 186 h 479"/>
                <a:gd name="T56" fmla="*/ 114 w 432"/>
                <a:gd name="T57" fmla="*/ 216 h 479"/>
                <a:gd name="T58" fmla="*/ 156 w 432"/>
                <a:gd name="T59" fmla="*/ 240 h 479"/>
                <a:gd name="T60" fmla="*/ 156 w 432"/>
                <a:gd name="T61" fmla="*/ 264 h 479"/>
                <a:gd name="T62" fmla="*/ 186 w 432"/>
                <a:gd name="T63" fmla="*/ 282 h 479"/>
                <a:gd name="T64" fmla="*/ 186 w 432"/>
                <a:gd name="T65" fmla="*/ 312 h 479"/>
                <a:gd name="T66" fmla="*/ 204 w 432"/>
                <a:gd name="T67" fmla="*/ 335 h 479"/>
                <a:gd name="T68" fmla="*/ 222 w 432"/>
                <a:gd name="T69" fmla="*/ 359 h 479"/>
                <a:gd name="T70" fmla="*/ 234 w 432"/>
                <a:gd name="T71" fmla="*/ 377 h 479"/>
                <a:gd name="T72" fmla="*/ 222 w 432"/>
                <a:gd name="T73" fmla="*/ 413 h 479"/>
                <a:gd name="T74" fmla="*/ 210 w 432"/>
                <a:gd name="T75" fmla="*/ 437 h 479"/>
                <a:gd name="T76" fmla="*/ 246 w 432"/>
                <a:gd name="T77" fmla="*/ 461 h 479"/>
                <a:gd name="T78" fmla="*/ 258 w 432"/>
                <a:gd name="T79" fmla="*/ 473 h 479"/>
                <a:gd name="T80" fmla="*/ 270 w 432"/>
                <a:gd name="T81" fmla="*/ 443 h 479"/>
                <a:gd name="T82" fmla="*/ 276 w 432"/>
                <a:gd name="T83" fmla="*/ 437 h 479"/>
                <a:gd name="T84" fmla="*/ 270 w 432"/>
                <a:gd name="T85" fmla="*/ 461 h 479"/>
                <a:gd name="T86" fmla="*/ 288 w 432"/>
                <a:gd name="T87" fmla="*/ 419 h 479"/>
                <a:gd name="T88" fmla="*/ 294 w 432"/>
                <a:gd name="T89" fmla="*/ 395 h 479"/>
                <a:gd name="T90" fmla="*/ 294 w 432"/>
                <a:gd name="T91" fmla="*/ 377 h 479"/>
                <a:gd name="T92" fmla="*/ 324 w 432"/>
                <a:gd name="T93" fmla="*/ 353 h 479"/>
                <a:gd name="T94" fmla="*/ 342 w 432"/>
                <a:gd name="T95" fmla="*/ 347 h 479"/>
                <a:gd name="T96" fmla="*/ 366 w 432"/>
                <a:gd name="T97" fmla="*/ 341 h 479"/>
                <a:gd name="T98" fmla="*/ 384 w 432"/>
                <a:gd name="T99" fmla="*/ 300 h 479"/>
                <a:gd name="T100" fmla="*/ 390 w 432"/>
                <a:gd name="T101" fmla="*/ 252 h 479"/>
                <a:gd name="T102" fmla="*/ 384 w 432"/>
                <a:gd name="T103" fmla="*/ 222 h 479"/>
                <a:gd name="T104" fmla="*/ 402 w 432"/>
                <a:gd name="T105" fmla="*/ 204 h 479"/>
                <a:gd name="T106" fmla="*/ 420 w 432"/>
                <a:gd name="T107" fmla="*/ 186 h 479"/>
                <a:gd name="T108" fmla="*/ 420 w 432"/>
                <a:gd name="T109" fmla="*/ 126 h 479"/>
                <a:gd name="T110" fmla="*/ 378 w 432"/>
                <a:gd name="T111" fmla="*/ 102 h 479"/>
                <a:gd name="T112" fmla="*/ 336 w 432"/>
                <a:gd name="T113" fmla="*/ 96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479">
                  <a:moveTo>
                    <a:pt x="324" y="90"/>
                  </a:moveTo>
                  <a:lnTo>
                    <a:pt x="324" y="96"/>
                  </a:lnTo>
                  <a:lnTo>
                    <a:pt x="318" y="102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8" y="84"/>
                  </a:lnTo>
                  <a:lnTo>
                    <a:pt x="312" y="84"/>
                  </a:lnTo>
                  <a:lnTo>
                    <a:pt x="312" y="78"/>
                  </a:lnTo>
                  <a:lnTo>
                    <a:pt x="306" y="78"/>
                  </a:lnTo>
                  <a:lnTo>
                    <a:pt x="306" y="78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64" y="96"/>
                  </a:lnTo>
                  <a:lnTo>
                    <a:pt x="270" y="84"/>
                  </a:lnTo>
                  <a:lnTo>
                    <a:pt x="264" y="90"/>
                  </a:lnTo>
                  <a:lnTo>
                    <a:pt x="258" y="84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78"/>
                  </a:lnTo>
                  <a:lnTo>
                    <a:pt x="246" y="66"/>
                  </a:lnTo>
                  <a:lnTo>
                    <a:pt x="258" y="54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52" y="12"/>
                  </a:lnTo>
                  <a:lnTo>
                    <a:pt x="252" y="18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46" y="12"/>
                  </a:lnTo>
                  <a:lnTo>
                    <a:pt x="234" y="24"/>
                  </a:lnTo>
                  <a:lnTo>
                    <a:pt x="228" y="36"/>
                  </a:lnTo>
                  <a:lnTo>
                    <a:pt x="216" y="36"/>
                  </a:lnTo>
                  <a:lnTo>
                    <a:pt x="210" y="36"/>
                  </a:lnTo>
                  <a:lnTo>
                    <a:pt x="204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192" y="36"/>
                  </a:lnTo>
                  <a:lnTo>
                    <a:pt x="180" y="42"/>
                  </a:lnTo>
                  <a:lnTo>
                    <a:pt x="168" y="48"/>
                  </a:lnTo>
                  <a:lnTo>
                    <a:pt x="162" y="48"/>
                  </a:lnTo>
                  <a:lnTo>
                    <a:pt x="156" y="36"/>
                  </a:lnTo>
                  <a:lnTo>
                    <a:pt x="156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8" y="30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02" y="48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36"/>
                  </a:lnTo>
                  <a:lnTo>
                    <a:pt x="66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42" y="66"/>
                  </a:lnTo>
                  <a:lnTo>
                    <a:pt x="48" y="78"/>
                  </a:lnTo>
                  <a:lnTo>
                    <a:pt x="48" y="96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12" y="126"/>
                  </a:lnTo>
                  <a:lnTo>
                    <a:pt x="12" y="132"/>
                  </a:lnTo>
                  <a:lnTo>
                    <a:pt x="6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6"/>
                  </a:lnTo>
                  <a:lnTo>
                    <a:pt x="30" y="186"/>
                  </a:lnTo>
                  <a:lnTo>
                    <a:pt x="36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198"/>
                  </a:lnTo>
                  <a:lnTo>
                    <a:pt x="66" y="198"/>
                  </a:lnTo>
                  <a:lnTo>
                    <a:pt x="72" y="198"/>
                  </a:lnTo>
                  <a:lnTo>
                    <a:pt x="78" y="192"/>
                  </a:lnTo>
                  <a:lnTo>
                    <a:pt x="90" y="186"/>
                  </a:lnTo>
                  <a:lnTo>
                    <a:pt x="96" y="186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26" y="222"/>
                  </a:lnTo>
                  <a:lnTo>
                    <a:pt x="138" y="228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52"/>
                  </a:lnTo>
                  <a:lnTo>
                    <a:pt x="150" y="252"/>
                  </a:lnTo>
                  <a:lnTo>
                    <a:pt x="156" y="252"/>
                  </a:lnTo>
                  <a:lnTo>
                    <a:pt x="156" y="264"/>
                  </a:lnTo>
                  <a:lnTo>
                    <a:pt x="168" y="264"/>
                  </a:lnTo>
                  <a:lnTo>
                    <a:pt x="180" y="264"/>
                  </a:lnTo>
                  <a:lnTo>
                    <a:pt x="180" y="276"/>
                  </a:lnTo>
                  <a:lnTo>
                    <a:pt x="186" y="282"/>
                  </a:lnTo>
                  <a:lnTo>
                    <a:pt x="186" y="288"/>
                  </a:lnTo>
                  <a:lnTo>
                    <a:pt x="186" y="300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6" y="335"/>
                  </a:lnTo>
                  <a:lnTo>
                    <a:pt x="204" y="335"/>
                  </a:lnTo>
                  <a:lnTo>
                    <a:pt x="210" y="341"/>
                  </a:lnTo>
                  <a:lnTo>
                    <a:pt x="216" y="347"/>
                  </a:lnTo>
                  <a:lnTo>
                    <a:pt x="216" y="359"/>
                  </a:lnTo>
                  <a:lnTo>
                    <a:pt x="222" y="359"/>
                  </a:lnTo>
                  <a:lnTo>
                    <a:pt x="228" y="359"/>
                  </a:lnTo>
                  <a:lnTo>
                    <a:pt x="228" y="371"/>
                  </a:lnTo>
                  <a:lnTo>
                    <a:pt x="228" y="377"/>
                  </a:lnTo>
                  <a:lnTo>
                    <a:pt x="234" y="377"/>
                  </a:lnTo>
                  <a:lnTo>
                    <a:pt x="240" y="395"/>
                  </a:lnTo>
                  <a:lnTo>
                    <a:pt x="234" y="401"/>
                  </a:lnTo>
                  <a:lnTo>
                    <a:pt x="228" y="407"/>
                  </a:lnTo>
                  <a:lnTo>
                    <a:pt x="222" y="413"/>
                  </a:lnTo>
                  <a:lnTo>
                    <a:pt x="216" y="419"/>
                  </a:lnTo>
                  <a:lnTo>
                    <a:pt x="210" y="431"/>
                  </a:lnTo>
                  <a:lnTo>
                    <a:pt x="204" y="437"/>
                  </a:lnTo>
                  <a:lnTo>
                    <a:pt x="210" y="437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34" y="449"/>
                  </a:lnTo>
                  <a:lnTo>
                    <a:pt x="246" y="461"/>
                  </a:lnTo>
                  <a:lnTo>
                    <a:pt x="252" y="467"/>
                  </a:lnTo>
                  <a:lnTo>
                    <a:pt x="252" y="473"/>
                  </a:lnTo>
                  <a:lnTo>
                    <a:pt x="258" y="479"/>
                  </a:lnTo>
                  <a:lnTo>
                    <a:pt x="258" y="473"/>
                  </a:lnTo>
                  <a:lnTo>
                    <a:pt x="264" y="467"/>
                  </a:lnTo>
                  <a:lnTo>
                    <a:pt x="264" y="455"/>
                  </a:lnTo>
                  <a:lnTo>
                    <a:pt x="270" y="449"/>
                  </a:lnTo>
                  <a:lnTo>
                    <a:pt x="270" y="443"/>
                  </a:lnTo>
                  <a:lnTo>
                    <a:pt x="270" y="437"/>
                  </a:lnTo>
                  <a:lnTo>
                    <a:pt x="270" y="437"/>
                  </a:lnTo>
                  <a:lnTo>
                    <a:pt x="276" y="437"/>
                  </a:lnTo>
                  <a:lnTo>
                    <a:pt x="276" y="437"/>
                  </a:lnTo>
                  <a:lnTo>
                    <a:pt x="276" y="449"/>
                  </a:lnTo>
                  <a:lnTo>
                    <a:pt x="270" y="455"/>
                  </a:lnTo>
                  <a:lnTo>
                    <a:pt x="264" y="461"/>
                  </a:lnTo>
                  <a:lnTo>
                    <a:pt x="270" y="461"/>
                  </a:lnTo>
                  <a:lnTo>
                    <a:pt x="276" y="449"/>
                  </a:lnTo>
                  <a:lnTo>
                    <a:pt x="282" y="437"/>
                  </a:lnTo>
                  <a:lnTo>
                    <a:pt x="288" y="431"/>
                  </a:lnTo>
                  <a:lnTo>
                    <a:pt x="288" y="419"/>
                  </a:lnTo>
                  <a:lnTo>
                    <a:pt x="294" y="413"/>
                  </a:lnTo>
                  <a:lnTo>
                    <a:pt x="294" y="413"/>
                  </a:lnTo>
                  <a:lnTo>
                    <a:pt x="294" y="401"/>
                  </a:lnTo>
                  <a:lnTo>
                    <a:pt x="294" y="395"/>
                  </a:lnTo>
                  <a:lnTo>
                    <a:pt x="294" y="389"/>
                  </a:lnTo>
                  <a:lnTo>
                    <a:pt x="288" y="383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294" y="377"/>
                  </a:lnTo>
                  <a:lnTo>
                    <a:pt x="306" y="365"/>
                  </a:lnTo>
                  <a:lnTo>
                    <a:pt x="312" y="359"/>
                  </a:lnTo>
                  <a:lnTo>
                    <a:pt x="324" y="353"/>
                  </a:lnTo>
                  <a:lnTo>
                    <a:pt x="330" y="353"/>
                  </a:lnTo>
                  <a:lnTo>
                    <a:pt x="336" y="347"/>
                  </a:lnTo>
                  <a:lnTo>
                    <a:pt x="342" y="347"/>
                  </a:lnTo>
                  <a:lnTo>
                    <a:pt x="342" y="347"/>
                  </a:lnTo>
                  <a:lnTo>
                    <a:pt x="348" y="347"/>
                  </a:lnTo>
                  <a:lnTo>
                    <a:pt x="348" y="347"/>
                  </a:lnTo>
                  <a:lnTo>
                    <a:pt x="360" y="347"/>
                  </a:lnTo>
                  <a:lnTo>
                    <a:pt x="366" y="341"/>
                  </a:lnTo>
                  <a:lnTo>
                    <a:pt x="372" y="335"/>
                  </a:lnTo>
                  <a:lnTo>
                    <a:pt x="372" y="323"/>
                  </a:lnTo>
                  <a:lnTo>
                    <a:pt x="378" y="312"/>
                  </a:lnTo>
                  <a:lnTo>
                    <a:pt x="384" y="300"/>
                  </a:lnTo>
                  <a:lnTo>
                    <a:pt x="384" y="288"/>
                  </a:lnTo>
                  <a:lnTo>
                    <a:pt x="384" y="282"/>
                  </a:lnTo>
                  <a:lnTo>
                    <a:pt x="384" y="270"/>
                  </a:lnTo>
                  <a:lnTo>
                    <a:pt x="390" y="252"/>
                  </a:lnTo>
                  <a:lnTo>
                    <a:pt x="384" y="246"/>
                  </a:lnTo>
                  <a:lnTo>
                    <a:pt x="384" y="240"/>
                  </a:lnTo>
                  <a:lnTo>
                    <a:pt x="384" y="234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0" y="222"/>
                  </a:lnTo>
                  <a:lnTo>
                    <a:pt x="396" y="216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2" y="198"/>
                  </a:lnTo>
                  <a:lnTo>
                    <a:pt x="414" y="192"/>
                  </a:lnTo>
                  <a:lnTo>
                    <a:pt x="420" y="186"/>
                  </a:lnTo>
                  <a:lnTo>
                    <a:pt x="426" y="168"/>
                  </a:lnTo>
                  <a:lnTo>
                    <a:pt x="432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26"/>
                  </a:lnTo>
                  <a:lnTo>
                    <a:pt x="402" y="126"/>
                  </a:lnTo>
                  <a:lnTo>
                    <a:pt x="390" y="114"/>
                  </a:lnTo>
                  <a:lnTo>
                    <a:pt x="378" y="102"/>
                  </a:lnTo>
                  <a:lnTo>
                    <a:pt x="366" y="96"/>
                  </a:lnTo>
                  <a:lnTo>
                    <a:pt x="354" y="96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24" y="96"/>
                  </a:lnTo>
                  <a:lnTo>
                    <a:pt x="32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59" name="Freeform 255">
              <a:extLst>
                <a:ext uri="{FF2B5EF4-FFF2-40B4-BE49-F238E27FC236}">
                  <a16:creationId xmlns:a16="http://schemas.microsoft.com/office/drawing/2014/main" id="{ECBA2A93-8246-4BC2-88CD-3EDC07C977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54" y="2108"/>
              <a:ext cx="30" cy="18"/>
            </a:xfrm>
            <a:custGeom>
              <a:avLst/>
              <a:gdLst>
                <a:gd name="T0" fmla="*/ 18 w 30"/>
                <a:gd name="T1" fmla="*/ 18 h 18"/>
                <a:gd name="T2" fmla="*/ 12 w 30"/>
                <a:gd name="T3" fmla="*/ 18 h 18"/>
                <a:gd name="T4" fmla="*/ 6 w 30"/>
                <a:gd name="T5" fmla="*/ 18 h 18"/>
                <a:gd name="T6" fmla="*/ 6 w 30"/>
                <a:gd name="T7" fmla="*/ 18 h 18"/>
                <a:gd name="T8" fmla="*/ 0 w 30"/>
                <a:gd name="T9" fmla="*/ 12 h 18"/>
                <a:gd name="T10" fmla="*/ 0 w 30"/>
                <a:gd name="T11" fmla="*/ 12 h 18"/>
                <a:gd name="T12" fmla="*/ 0 w 30"/>
                <a:gd name="T13" fmla="*/ 6 h 18"/>
                <a:gd name="T14" fmla="*/ 6 w 30"/>
                <a:gd name="T15" fmla="*/ 0 h 18"/>
                <a:gd name="T16" fmla="*/ 18 w 30"/>
                <a:gd name="T17" fmla="*/ 0 h 18"/>
                <a:gd name="T18" fmla="*/ 30 w 30"/>
                <a:gd name="T19" fmla="*/ 0 h 18"/>
                <a:gd name="T20" fmla="*/ 24 w 30"/>
                <a:gd name="T21" fmla="*/ 12 h 18"/>
                <a:gd name="T22" fmla="*/ 24 w 30"/>
                <a:gd name="T23" fmla="*/ 12 h 18"/>
                <a:gd name="T24" fmla="*/ 18 w 30"/>
                <a:gd name="T25" fmla="*/ 18 h 18"/>
                <a:gd name="T26" fmla="*/ 18 w 30"/>
                <a:gd name="T27" fmla="*/ 18 h 18"/>
                <a:gd name="T28" fmla="*/ 18 w 30"/>
                <a:gd name="T2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8">
                  <a:moveTo>
                    <a:pt x="18" y="18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0" name="Freeform 256">
              <a:extLst>
                <a:ext uri="{FF2B5EF4-FFF2-40B4-BE49-F238E27FC236}">
                  <a16:creationId xmlns:a16="http://schemas.microsoft.com/office/drawing/2014/main" id="{9AADCC65-F2E7-417A-9028-2523680448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2078"/>
              <a:ext cx="24" cy="12"/>
            </a:xfrm>
            <a:custGeom>
              <a:avLst/>
              <a:gdLst>
                <a:gd name="T0" fmla="*/ 6 w 24"/>
                <a:gd name="T1" fmla="*/ 12 h 12"/>
                <a:gd name="T2" fmla="*/ 0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2 w 24"/>
                <a:gd name="T9" fmla="*/ 0 h 12"/>
                <a:gd name="T10" fmla="*/ 24 w 24"/>
                <a:gd name="T11" fmla="*/ 0 h 12"/>
                <a:gd name="T12" fmla="*/ 24 w 24"/>
                <a:gd name="T13" fmla="*/ 12 h 12"/>
                <a:gd name="T14" fmla="*/ 12 w 24"/>
                <a:gd name="T15" fmla="*/ 12 h 12"/>
                <a:gd name="T16" fmla="*/ 6 w 2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12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1" name="Freeform 257">
              <a:extLst>
                <a:ext uri="{FF2B5EF4-FFF2-40B4-BE49-F238E27FC236}">
                  <a16:creationId xmlns:a16="http://schemas.microsoft.com/office/drawing/2014/main" id="{C1C2DDCC-2DBC-4AA3-B2B0-B2819E03C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60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2" name="Freeform 258">
              <a:extLst>
                <a:ext uri="{FF2B5EF4-FFF2-40B4-BE49-F238E27FC236}">
                  <a16:creationId xmlns:a16="http://schemas.microsoft.com/office/drawing/2014/main" id="{041ED509-E007-4245-9983-BF689D015F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2078"/>
              <a:ext cx="66" cy="78"/>
            </a:xfrm>
            <a:custGeom>
              <a:avLst/>
              <a:gdLst>
                <a:gd name="T0" fmla="*/ 12 w 66"/>
                <a:gd name="T1" fmla="*/ 12 h 78"/>
                <a:gd name="T2" fmla="*/ 12 w 66"/>
                <a:gd name="T3" fmla="*/ 18 h 78"/>
                <a:gd name="T4" fmla="*/ 6 w 66"/>
                <a:gd name="T5" fmla="*/ 18 h 78"/>
                <a:gd name="T6" fmla="*/ 12 w 66"/>
                <a:gd name="T7" fmla="*/ 24 h 78"/>
                <a:gd name="T8" fmla="*/ 6 w 66"/>
                <a:gd name="T9" fmla="*/ 24 h 78"/>
                <a:gd name="T10" fmla="*/ 6 w 66"/>
                <a:gd name="T11" fmla="*/ 36 h 78"/>
                <a:gd name="T12" fmla="*/ 0 w 66"/>
                <a:gd name="T13" fmla="*/ 36 h 78"/>
                <a:gd name="T14" fmla="*/ 6 w 66"/>
                <a:gd name="T15" fmla="*/ 42 h 78"/>
                <a:gd name="T16" fmla="*/ 6 w 66"/>
                <a:gd name="T17" fmla="*/ 48 h 78"/>
                <a:gd name="T18" fmla="*/ 6 w 66"/>
                <a:gd name="T19" fmla="*/ 42 h 78"/>
                <a:gd name="T20" fmla="*/ 6 w 66"/>
                <a:gd name="T21" fmla="*/ 48 h 78"/>
                <a:gd name="T22" fmla="*/ 6 w 66"/>
                <a:gd name="T23" fmla="*/ 48 h 78"/>
                <a:gd name="T24" fmla="*/ 12 w 66"/>
                <a:gd name="T25" fmla="*/ 60 h 78"/>
                <a:gd name="T26" fmla="*/ 12 w 66"/>
                <a:gd name="T27" fmla="*/ 60 h 78"/>
                <a:gd name="T28" fmla="*/ 18 w 66"/>
                <a:gd name="T29" fmla="*/ 66 h 78"/>
                <a:gd name="T30" fmla="*/ 24 w 66"/>
                <a:gd name="T31" fmla="*/ 78 h 78"/>
                <a:gd name="T32" fmla="*/ 30 w 66"/>
                <a:gd name="T33" fmla="*/ 72 h 78"/>
                <a:gd name="T34" fmla="*/ 30 w 66"/>
                <a:gd name="T35" fmla="*/ 72 h 78"/>
                <a:gd name="T36" fmla="*/ 36 w 66"/>
                <a:gd name="T37" fmla="*/ 72 h 78"/>
                <a:gd name="T38" fmla="*/ 30 w 66"/>
                <a:gd name="T39" fmla="*/ 66 h 78"/>
                <a:gd name="T40" fmla="*/ 30 w 66"/>
                <a:gd name="T41" fmla="*/ 60 h 78"/>
                <a:gd name="T42" fmla="*/ 30 w 66"/>
                <a:gd name="T43" fmla="*/ 60 h 78"/>
                <a:gd name="T44" fmla="*/ 42 w 66"/>
                <a:gd name="T45" fmla="*/ 54 h 78"/>
                <a:gd name="T46" fmla="*/ 42 w 66"/>
                <a:gd name="T47" fmla="*/ 48 h 78"/>
                <a:gd name="T48" fmla="*/ 48 w 66"/>
                <a:gd name="T49" fmla="*/ 54 h 78"/>
                <a:gd name="T50" fmla="*/ 54 w 66"/>
                <a:gd name="T51" fmla="*/ 54 h 78"/>
                <a:gd name="T52" fmla="*/ 54 w 66"/>
                <a:gd name="T53" fmla="*/ 60 h 78"/>
                <a:gd name="T54" fmla="*/ 60 w 66"/>
                <a:gd name="T55" fmla="*/ 54 h 78"/>
                <a:gd name="T56" fmla="*/ 66 w 66"/>
                <a:gd name="T57" fmla="*/ 36 h 78"/>
                <a:gd name="T58" fmla="*/ 54 w 66"/>
                <a:gd name="T59" fmla="*/ 24 h 78"/>
                <a:gd name="T60" fmla="*/ 60 w 66"/>
                <a:gd name="T61" fmla="*/ 18 h 78"/>
                <a:gd name="T62" fmla="*/ 60 w 66"/>
                <a:gd name="T63" fmla="*/ 12 h 78"/>
                <a:gd name="T64" fmla="*/ 48 w 66"/>
                <a:gd name="T65" fmla="*/ 12 h 78"/>
                <a:gd name="T66" fmla="*/ 48 w 66"/>
                <a:gd name="T67" fmla="*/ 0 h 78"/>
                <a:gd name="T68" fmla="*/ 36 w 66"/>
                <a:gd name="T69" fmla="*/ 0 h 78"/>
                <a:gd name="T70" fmla="*/ 30 w 66"/>
                <a:gd name="T71" fmla="*/ 0 h 78"/>
                <a:gd name="T72" fmla="*/ 30 w 66"/>
                <a:gd name="T73" fmla="*/ 12 h 78"/>
                <a:gd name="T74" fmla="*/ 18 w 66"/>
                <a:gd name="T75" fmla="*/ 12 h 78"/>
                <a:gd name="T76" fmla="*/ 12 w 66"/>
                <a:gd name="T77" fmla="*/ 12 h 78"/>
                <a:gd name="T78" fmla="*/ 12 w 66"/>
                <a:gd name="T79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8">
                  <a:moveTo>
                    <a:pt x="12" y="12"/>
                  </a:moveTo>
                  <a:lnTo>
                    <a:pt x="12" y="18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8" y="66"/>
                  </a:lnTo>
                  <a:lnTo>
                    <a:pt x="24" y="7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6" y="72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36"/>
                  </a:lnTo>
                  <a:lnTo>
                    <a:pt x="54" y="24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3" name="Freeform 259">
              <a:extLst>
                <a:ext uri="{FF2B5EF4-FFF2-40B4-BE49-F238E27FC236}">
                  <a16:creationId xmlns:a16="http://schemas.microsoft.com/office/drawing/2014/main" id="{12CA650D-38CC-435B-8106-DF4AC594CB3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0" y="2348"/>
              <a:ext cx="90" cy="95"/>
            </a:xfrm>
            <a:custGeom>
              <a:avLst/>
              <a:gdLst>
                <a:gd name="T0" fmla="*/ 6 w 90"/>
                <a:gd name="T1" fmla="*/ 6 h 95"/>
                <a:gd name="T2" fmla="*/ 0 w 90"/>
                <a:gd name="T3" fmla="*/ 17 h 95"/>
                <a:gd name="T4" fmla="*/ 0 w 90"/>
                <a:gd name="T5" fmla="*/ 35 h 95"/>
                <a:gd name="T6" fmla="*/ 12 w 90"/>
                <a:gd name="T7" fmla="*/ 41 h 95"/>
                <a:gd name="T8" fmla="*/ 24 w 90"/>
                <a:gd name="T9" fmla="*/ 53 h 95"/>
                <a:gd name="T10" fmla="*/ 30 w 90"/>
                <a:gd name="T11" fmla="*/ 53 h 95"/>
                <a:gd name="T12" fmla="*/ 36 w 90"/>
                <a:gd name="T13" fmla="*/ 59 h 95"/>
                <a:gd name="T14" fmla="*/ 48 w 90"/>
                <a:gd name="T15" fmla="*/ 65 h 95"/>
                <a:gd name="T16" fmla="*/ 60 w 90"/>
                <a:gd name="T17" fmla="*/ 71 h 95"/>
                <a:gd name="T18" fmla="*/ 54 w 90"/>
                <a:gd name="T19" fmla="*/ 83 h 95"/>
                <a:gd name="T20" fmla="*/ 48 w 90"/>
                <a:gd name="T21" fmla="*/ 95 h 95"/>
                <a:gd name="T22" fmla="*/ 66 w 90"/>
                <a:gd name="T23" fmla="*/ 95 h 95"/>
                <a:gd name="T24" fmla="*/ 78 w 90"/>
                <a:gd name="T25" fmla="*/ 95 h 95"/>
                <a:gd name="T26" fmla="*/ 84 w 90"/>
                <a:gd name="T27" fmla="*/ 95 h 95"/>
                <a:gd name="T28" fmla="*/ 90 w 90"/>
                <a:gd name="T29" fmla="*/ 83 h 95"/>
                <a:gd name="T30" fmla="*/ 90 w 90"/>
                <a:gd name="T31" fmla="*/ 71 h 95"/>
                <a:gd name="T32" fmla="*/ 90 w 90"/>
                <a:gd name="T33" fmla="*/ 65 h 95"/>
                <a:gd name="T34" fmla="*/ 90 w 90"/>
                <a:gd name="T35" fmla="*/ 53 h 95"/>
                <a:gd name="T36" fmla="*/ 84 w 90"/>
                <a:gd name="T37" fmla="*/ 53 h 95"/>
                <a:gd name="T38" fmla="*/ 78 w 90"/>
                <a:gd name="T39" fmla="*/ 53 h 95"/>
                <a:gd name="T40" fmla="*/ 78 w 90"/>
                <a:gd name="T41" fmla="*/ 41 h 95"/>
                <a:gd name="T42" fmla="*/ 72 w 90"/>
                <a:gd name="T43" fmla="*/ 35 h 95"/>
                <a:gd name="T44" fmla="*/ 66 w 90"/>
                <a:gd name="T45" fmla="*/ 29 h 95"/>
                <a:gd name="T46" fmla="*/ 48 w 90"/>
                <a:gd name="T47" fmla="*/ 29 h 95"/>
                <a:gd name="T48" fmla="*/ 48 w 90"/>
                <a:gd name="T49" fmla="*/ 12 h 95"/>
                <a:gd name="T50" fmla="*/ 48 w 90"/>
                <a:gd name="T51" fmla="*/ 6 h 95"/>
                <a:gd name="T52" fmla="*/ 48 w 90"/>
                <a:gd name="T53" fmla="*/ 6 h 95"/>
                <a:gd name="T54" fmla="*/ 36 w 90"/>
                <a:gd name="T55" fmla="*/ 0 h 95"/>
                <a:gd name="T56" fmla="*/ 18 w 90"/>
                <a:gd name="T57" fmla="*/ 0 h 95"/>
                <a:gd name="T58" fmla="*/ 6 w 90"/>
                <a:gd name="T59" fmla="*/ 0 h 95"/>
                <a:gd name="T60" fmla="*/ 6 w 90"/>
                <a:gd name="T61" fmla="*/ 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0" h="95">
                  <a:moveTo>
                    <a:pt x="6" y="6"/>
                  </a:moveTo>
                  <a:lnTo>
                    <a:pt x="0" y="17"/>
                  </a:lnTo>
                  <a:lnTo>
                    <a:pt x="0" y="35"/>
                  </a:lnTo>
                  <a:lnTo>
                    <a:pt x="12" y="41"/>
                  </a:lnTo>
                  <a:lnTo>
                    <a:pt x="24" y="53"/>
                  </a:lnTo>
                  <a:lnTo>
                    <a:pt x="30" y="53"/>
                  </a:lnTo>
                  <a:lnTo>
                    <a:pt x="36" y="59"/>
                  </a:lnTo>
                  <a:lnTo>
                    <a:pt x="48" y="65"/>
                  </a:lnTo>
                  <a:lnTo>
                    <a:pt x="60" y="71"/>
                  </a:lnTo>
                  <a:lnTo>
                    <a:pt x="54" y="83"/>
                  </a:lnTo>
                  <a:lnTo>
                    <a:pt x="48" y="95"/>
                  </a:lnTo>
                  <a:lnTo>
                    <a:pt x="66" y="95"/>
                  </a:lnTo>
                  <a:lnTo>
                    <a:pt x="78" y="95"/>
                  </a:lnTo>
                  <a:lnTo>
                    <a:pt x="84" y="95"/>
                  </a:lnTo>
                  <a:lnTo>
                    <a:pt x="90" y="83"/>
                  </a:lnTo>
                  <a:lnTo>
                    <a:pt x="90" y="71"/>
                  </a:lnTo>
                  <a:lnTo>
                    <a:pt x="90" y="65"/>
                  </a:lnTo>
                  <a:lnTo>
                    <a:pt x="90" y="53"/>
                  </a:lnTo>
                  <a:lnTo>
                    <a:pt x="84" y="53"/>
                  </a:lnTo>
                  <a:lnTo>
                    <a:pt x="78" y="53"/>
                  </a:lnTo>
                  <a:lnTo>
                    <a:pt x="78" y="41"/>
                  </a:lnTo>
                  <a:lnTo>
                    <a:pt x="72" y="35"/>
                  </a:lnTo>
                  <a:lnTo>
                    <a:pt x="66" y="29"/>
                  </a:lnTo>
                  <a:lnTo>
                    <a:pt x="48" y="29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4" name="Rectangle 260">
              <a:extLst>
                <a:ext uri="{FF2B5EF4-FFF2-40B4-BE49-F238E27FC236}">
                  <a16:creationId xmlns:a16="http://schemas.microsoft.com/office/drawing/2014/main" id="{A361F8C2-C5B4-4AF1-8292-E10B093FEC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2102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5" name="Rectangle 261">
              <a:extLst>
                <a:ext uri="{FF2B5EF4-FFF2-40B4-BE49-F238E27FC236}">
                  <a16:creationId xmlns:a16="http://schemas.microsoft.com/office/drawing/2014/main" id="{959F11B9-0ED5-4302-80E1-716BAEBC42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95" y="2084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6" name="Freeform 262">
              <a:extLst>
                <a:ext uri="{FF2B5EF4-FFF2-40B4-BE49-F238E27FC236}">
                  <a16:creationId xmlns:a16="http://schemas.microsoft.com/office/drawing/2014/main" id="{FC597B65-6658-433A-A26B-7184583C9E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120"/>
              <a:ext cx="119" cy="132"/>
            </a:xfrm>
            <a:custGeom>
              <a:avLst/>
              <a:gdLst>
                <a:gd name="T0" fmla="*/ 89 w 119"/>
                <a:gd name="T1" fmla="*/ 24 h 132"/>
                <a:gd name="T2" fmla="*/ 89 w 119"/>
                <a:gd name="T3" fmla="*/ 24 h 132"/>
                <a:gd name="T4" fmla="*/ 77 w 119"/>
                <a:gd name="T5" fmla="*/ 18 h 132"/>
                <a:gd name="T6" fmla="*/ 65 w 119"/>
                <a:gd name="T7" fmla="*/ 12 h 132"/>
                <a:gd name="T8" fmla="*/ 59 w 119"/>
                <a:gd name="T9" fmla="*/ 6 h 132"/>
                <a:gd name="T10" fmla="*/ 47 w 119"/>
                <a:gd name="T11" fmla="*/ 0 h 132"/>
                <a:gd name="T12" fmla="*/ 35 w 119"/>
                <a:gd name="T13" fmla="*/ 0 h 132"/>
                <a:gd name="T14" fmla="*/ 29 w 119"/>
                <a:gd name="T15" fmla="*/ 0 h 132"/>
                <a:gd name="T16" fmla="*/ 18 w 119"/>
                <a:gd name="T17" fmla="*/ 0 h 132"/>
                <a:gd name="T18" fmla="*/ 12 w 119"/>
                <a:gd name="T19" fmla="*/ 0 h 132"/>
                <a:gd name="T20" fmla="*/ 12 w 119"/>
                <a:gd name="T21" fmla="*/ 12 h 132"/>
                <a:gd name="T22" fmla="*/ 12 w 119"/>
                <a:gd name="T23" fmla="*/ 12 h 132"/>
                <a:gd name="T24" fmla="*/ 12 w 119"/>
                <a:gd name="T25" fmla="*/ 18 h 132"/>
                <a:gd name="T26" fmla="*/ 12 w 119"/>
                <a:gd name="T27" fmla="*/ 24 h 132"/>
                <a:gd name="T28" fmla="*/ 6 w 119"/>
                <a:gd name="T29" fmla="*/ 30 h 132"/>
                <a:gd name="T30" fmla="*/ 0 w 119"/>
                <a:gd name="T31" fmla="*/ 42 h 132"/>
                <a:gd name="T32" fmla="*/ 0 w 119"/>
                <a:gd name="T33" fmla="*/ 42 h 132"/>
                <a:gd name="T34" fmla="*/ 0 w 119"/>
                <a:gd name="T35" fmla="*/ 48 h 132"/>
                <a:gd name="T36" fmla="*/ 0 w 119"/>
                <a:gd name="T37" fmla="*/ 60 h 132"/>
                <a:gd name="T38" fmla="*/ 0 w 119"/>
                <a:gd name="T39" fmla="*/ 72 h 132"/>
                <a:gd name="T40" fmla="*/ 6 w 119"/>
                <a:gd name="T41" fmla="*/ 78 h 132"/>
                <a:gd name="T42" fmla="*/ 12 w 119"/>
                <a:gd name="T43" fmla="*/ 84 h 132"/>
                <a:gd name="T44" fmla="*/ 12 w 119"/>
                <a:gd name="T45" fmla="*/ 90 h 132"/>
                <a:gd name="T46" fmla="*/ 23 w 119"/>
                <a:gd name="T47" fmla="*/ 96 h 132"/>
                <a:gd name="T48" fmla="*/ 35 w 119"/>
                <a:gd name="T49" fmla="*/ 102 h 132"/>
                <a:gd name="T50" fmla="*/ 47 w 119"/>
                <a:gd name="T51" fmla="*/ 102 h 132"/>
                <a:gd name="T52" fmla="*/ 53 w 119"/>
                <a:gd name="T53" fmla="*/ 108 h 132"/>
                <a:gd name="T54" fmla="*/ 53 w 119"/>
                <a:gd name="T55" fmla="*/ 120 h 132"/>
                <a:gd name="T56" fmla="*/ 59 w 119"/>
                <a:gd name="T57" fmla="*/ 126 h 132"/>
                <a:gd name="T58" fmla="*/ 59 w 119"/>
                <a:gd name="T59" fmla="*/ 126 h 132"/>
                <a:gd name="T60" fmla="*/ 65 w 119"/>
                <a:gd name="T61" fmla="*/ 126 h 132"/>
                <a:gd name="T62" fmla="*/ 83 w 119"/>
                <a:gd name="T63" fmla="*/ 132 h 132"/>
                <a:gd name="T64" fmla="*/ 89 w 119"/>
                <a:gd name="T65" fmla="*/ 126 h 132"/>
                <a:gd name="T66" fmla="*/ 95 w 119"/>
                <a:gd name="T67" fmla="*/ 126 h 132"/>
                <a:gd name="T68" fmla="*/ 107 w 119"/>
                <a:gd name="T69" fmla="*/ 120 h 132"/>
                <a:gd name="T70" fmla="*/ 119 w 119"/>
                <a:gd name="T71" fmla="*/ 114 h 132"/>
                <a:gd name="T72" fmla="*/ 107 w 119"/>
                <a:gd name="T73" fmla="*/ 108 h 132"/>
                <a:gd name="T74" fmla="*/ 107 w 119"/>
                <a:gd name="T75" fmla="*/ 96 h 132"/>
                <a:gd name="T76" fmla="*/ 107 w 119"/>
                <a:gd name="T77" fmla="*/ 84 h 132"/>
                <a:gd name="T78" fmla="*/ 107 w 119"/>
                <a:gd name="T79" fmla="*/ 84 h 132"/>
                <a:gd name="T80" fmla="*/ 107 w 119"/>
                <a:gd name="T81" fmla="*/ 72 h 132"/>
                <a:gd name="T82" fmla="*/ 101 w 119"/>
                <a:gd name="T83" fmla="*/ 60 h 132"/>
                <a:gd name="T84" fmla="*/ 107 w 119"/>
                <a:gd name="T85" fmla="*/ 42 h 132"/>
                <a:gd name="T86" fmla="*/ 95 w 119"/>
                <a:gd name="T87" fmla="*/ 36 h 132"/>
                <a:gd name="T88" fmla="*/ 89 w 119"/>
                <a:gd name="T89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132">
                  <a:moveTo>
                    <a:pt x="89" y="24"/>
                  </a:moveTo>
                  <a:lnTo>
                    <a:pt x="89" y="24"/>
                  </a:lnTo>
                  <a:lnTo>
                    <a:pt x="77" y="18"/>
                  </a:lnTo>
                  <a:lnTo>
                    <a:pt x="65" y="12"/>
                  </a:lnTo>
                  <a:lnTo>
                    <a:pt x="59" y="6"/>
                  </a:lnTo>
                  <a:lnTo>
                    <a:pt x="47" y="0"/>
                  </a:lnTo>
                  <a:lnTo>
                    <a:pt x="35" y="0"/>
                  </a:lnTo>
                  <a:lnTo>
                    <a:pt x="29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23" y="96"/>
                  </a:lnTo>
                  <a:lnTo>
                    <a:pt x="35" y="102"/>
                  </a:lnTo>
                  <a:lnTo>
                    <a:pt x="47" y="102"/>
                  </a:lnTo>
                  <a:lnTo>
                    <a:pt x="53" y="108"/>
                  </a:lnTo>
                  <a:lnTo>
                    <a:pt x="53" y="120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5" y="126"/>
                  </a:lnTo>
                  <a:lnTo>
                    <a:pt x="83" y="132"/>
                  </a:lnTo>
                  <a:lnTo>
                    <a:pt x="89" y="126"/>
                  </a:lnTo>
                  <a:lnTo>
                    <a:pt x="95" y="126"/>
                  </a:lnTo>
                  <a:lnTo>
                    <a:pt x="107" y="120"/>
                  </a:lnTo>
                  <a:lnTo>
                    <a:pt x="119" y="114"/>
                  </a:lnTo>
                  <a:lnTo>
                    <a:pt x="107" y="108"/>
                  </a:lnTo>
                  <a:lnTo>
                    <a:pt x="107" y="96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72"/>
                  </a:lnTo>
                  <a:lnTo>
                    <a:pt x="101" y="60"/>
                  </a:lnTo>
                  <a:lnTo>
                    <a:pt x="107" y="42"/>
                  </a:lnTo>
                  <a:lnTo>
                    <a:pt x="95" y="36"/>
                  </a:lnTo>
                  <a:lnTo>
                    <a:pt x="89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7" name="Freeform 263">
              <a:extLst>
                <a:ext uri="{FF2B5EF4-FFF2-40B4-BE49-F238E27FC236}">
                  <a16:creationId xmlns:a16="http://schemas.microsoft.com/office/drawing/2014/main" id="{E670A0D9-BC9E-45DE-B31D-AF605603F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6" y="2174"/>
              <a:ext cx="6" cy="12"/>
            </a:xfrm>
            <a:custGeom>
              <a:avLst/>
              <a:gdLst>
                <a:gd name="T0" fmla="*/ 6 w 6"/>
                <a:gd name="T1" fmla="*/ 12 h 12"/>
                <a:gd name="T2" fmla="*/ 6 w 6"/>
                <a:gd name="T3" fmla="*/ 0 h 12"/>
                <a:gd name="T4" fmla="*/ 0 w 6"/>
                <a:gd name="T5" fmla="*/ 6 h 12"/>
                <a:gd name="T6" fmla="*/ 6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12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8" name="Freeform 264">
              <a:extLst>
                <a:ext uri="{FF2B5EF4-FFF2-40B4-BE49-F238E27FC236}">
                  <a16:creationId xmlns:a16="http://schemas.microsoft.com/office/drawing/2014/main" id="{370A191A-B519-4F61-B8F4-63D5666E9F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135" y="2054"/>
              <a:ext cx="59" cy="66"/>
            </a:xfrm>
            <a:custGeom>
              <a:avLst/>
              <a:gdLst>
                <a:gd name="T0" fmla="*/ 53 w 59"/>
                <a:gd name="T1" fmla="*/ 6 h 66"/>
                <a:gd name="T2" fmla="*/ 47 w 59"/>
                <a:gd name="T3" fmla="*/ 0 h 66"/>
                <a:gd name="T4" fmla="*/ 41 w 59"/>
                <a:gd name="T5" fmla="*/ 6 h 66"/>
                <a:gd name="T6" fmla="*/ 29 w 59"/>
                <a:gd name="T7" fmla="*/ 6 h 66"/>
                <a:gd name="T8" fmla="*/ 23 w 59"/>
                <a:gd name="T9" fmla="*/ 6 h 66"/>
                <a:gd name="T10" fmla="*/ 23 w 59"/>
                <a:gd name="T11" fmla="*/ 6 h 66"/>
                <a:gd name="T12" fmla="*/ 18 w 59"/>
                <a:gd name="T13" fmla="*/ 6 h 66"/>
                <a:gd name="T14" fmla="*/ 12 w 59"/>
                <a:gd name="T15" fmla="*/ 6 h 66"/>
                <a:gd name="T16" fmla="*/ 12 w 59"/>
                <a:gd name="T17" fmla="*/ 18 h 66"/>
                <a:gd name="T18" fmla="*/ 18 w 59"/>
                <a:gd name="T19" fmla="*/ 24 h 66"/>
                <a:gd name="T20" fmla="*/ 12 w 59"/>
                <a:gd name="T21" fmla="*/ 30 h 66"/>
                <a:gd name="T22" fmla="*/ 6 w 59"/>
                <a:gd name="T23" fmla="*/ 42 h 66"/>
                <a:gd name="T24" fmla="*/ 0 w 59"/>
                <a:gd name="T25" fmla="*/ 54 h 66"/>
                <a:gd name="T26" fmla="*/ 0 w 59"/>
                <a:gd name="T27" fmla="*/ 66 h 66"/>
                <a:gd name="T28" fmla="*/ 6 w 59"/>
                <a:gd name="T29" fmla="*/ 66 h 66"/>
                <a:gd name="T30" fmla="*/ 12 w 59"/>
                <a:gd name="T31" fmla="*/ 66 h 66"/>
                <a:gd name="T32" fmla="*/ 18 w 59"/>
                <a:gd name="T33" fmla="*/ 66 h 66"/>
                <a:gd name="T34" fmla="*/ 29 w 59"/>
                <a:gd name="T35" fmla="*/ 66 h 66"/>
                <a:gd name="T36" fmla="*/ 35 w 59"/>
                <a:gd name="T37" fmla="*/ 66 h 66"/>
                <a:gd name="T38" fmla="*/ 47 w 59"/>
                <a:gd name="T39" fmla="*/ 66 h 66"/>
                <a:gd name="T40" fmla="*/ 47 w 59"/>
                <a:gd name="T41" fmla="*/ 48 h 66"/>
                <a:gd name="T42" fmla="*/ 53 w 59"/>
                <a:gd name="T43" fmla="*/ 36 h 66"/>
                <a:gd name="T44" fmla="*/ 59 w 59"/>
                <a:gd name="T45" fmla="*/ 30 h 66"/>
                <a:gd name="T46" fmla="*/ 53 w 59"/>
                <a:gd name="T47" fmla="*/ 18 h 66"/>
                <a:gd name="T48" fmla="*/ 53 w 59"/>
                <a:gd name="T4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66">
                  <a:moveTo>
                    <a:pt x="53" y="6"/>
                  </a:moveTo>
                  <a:lnTo>
                    <a:pt x="47" y="0"/>
                  </a:lnTo>
                  <a:lnTo>
                    <a:pt x="41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29" y="66"/>
                  </a:lnTo>
                  <a:lnTo>
                    <a:pt x="35" y="66"/>
                  </a:lnTo>
                  <a:lnTo>
                    <a:pt x="47" y="66"/>
                  </a:lnTo>
                  <a:lnTo>
                    <a:pt x="47" y="48"/>
                  </a:lnTo>
                  <a:lnTo>
                    <a:pt x="53" y="36"/>
                  </a:lnTo>
                  <a:lnTo>
                    <a:pt x="59" y="30"/>
                  </a:lnTo>
                  <a:lnTo>
                    <a:pt x="53" y="18"/>
                  </a:lnTo>
                  <a:lnTo>
                    <a:pt x="53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69" name="Freeform 265">
              <a:extLst>
                <a:ext uri="{FF2B5EF4-FFF2-40B4-BE49-F238E27FC236}">
                  <a16:creationId xmlns:a16="http://schemas.microsoft.com/office/drawing/2014/main" id="{3925CED4-3ADB-41E4-9E50-01C6F2CCB5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2042"/>
              <a:ext cx="210" cy="228"/>
            </a:xfrm>
            <a:custGeom>
              <a:avLst/>
              <a:gdLst>
                <a:gd name="T0" fmla="*/ 186 w 210"/>
                <a:gd name="T1" fmla="*/ 90 h 228"/>
                <a:gd name="T2" fmla="*/ 186 w 210"/>
                <a:gd name="T3" fmla="*/ 96 h 228"/>
                <a:gd name="T4" fmla="*/ 186 w 210"/>
                <a:gd name="T5" fmla="*/ 108 h 228"/>
                <a:gd name="T6" fmla="*/ 192 w 210"/>
                <a:gd name="T7" fmla="*/ 126 h 228"/>
                <a:gd name="T8" fmla="*/ 192 w 210"/>
                <a:gd name="T9" fmla="*/ 150 h 228"/>
                <a:gd name="T10" fmla="*/ 204 w 210"/>
                <a:gd name="T11" fmla="*/ 162 h 228"/>
                <a:gd name="T12" fmla="*/ 186 w 210"/>
                <a:gd name="T13" fmla="*/ 168 h 228"/>
                <a:gd name="T14" fmla="*/ 180 w 210"/>
                <a:gd name="T15" fmla="*/ 192 h 228"/>
                <a:gd name="T16" fmla="*/ 180 w 210"/>
                <a:gd name="T17" fmla="*/ 210 h 228"/>
                <a:gd name="T18" fmla="*/ 192 w 210"/>
                <a:gd name="T19" fmla="*/ 216 h 228"/>
                <a:gd name="T20" fmla="*/ 186 w 210"/>
                <a:gd name="T21" fmla="*/ 228 h 228"/>
                <a:gd name="T22" fmla="*/ 174 w 210"/>
                <a:gd name="T23" fmla="*/ 216 h 228"/>
                <a:gd name="T24" fmla="*/ 162 w 210"/>
                <a:gd name="T25" fmla="*/ 204 h 228"/>
                <a:gd name="T26" fmla="*/ 144 w 210"/>
                <a:gd name="T27" fmla="*/ 204 h 228"/>
                <a:gd name="T28" fmla="*/ 132 w 210"/>
                <a:gd name="T29" fmla="*/ 204 h 228"/>
                <a:gd name="T30" fmla="*/ 120 w 210"/>
                <a:gd name="T31" fmla="*/ 198 h 228"/>
                <a:gd name="T32" fmla="*/ 114 w 210"/>
                <a:gd name="T33" fmla="*/ 198 h 228"/>
                <a:gd name="T34" fmla="*/ 108 w 210"/>
                <a:gd name="T35" fmla="*/ 168 h 228"/>
                <a:gd name="T36" fmla="*/ 90 w 210"/>
                <a:gd name="T37" fmla="*/ 156 h 228"/>
                <a:gd name="T38" fmla="*/ 84 w 210"/>
                <a:gd name="T39" fmla="*/ 150 h 228"/>
                <a:gd name="T40" fmla="*/ 66 w 210"/>
                <a:gd name="T41" fmla="*/ 162 h 228"/>
                <a:gd name="T42" fmla="*/ 54 w 210"/>
                <a:gd name="T43" fmla="*/ 150 h 228"/>
                <a:gd name="T44" fmla="*/ 42 w 210"/>
                <a:gd name="T45" fmla="*/ 138 h 228"/>
                <a:gd name="T46" fmla="*/ 24 w 210"/>
                <a:gd name="T47" fmla="*/ 138 h 228"/>
                <a:gd name="T48" fmla="*/ 6 w 210"/>
                <a:gd name="T49" fmla="*/ 138 h 228"/>
                <a:gd name="T50" fmla="*/ 6 w 210"/>
                <a:gd name="T51" fmla="*/ 132 h 228"/>
                <a:gd name="T52" fmla="*/ 12 w 210"/>
                <a:gd name="T53" fmla="*/ 120 h 228"/>
                <a:gd name="T54" fmla="*/ 18 w 210"/>
                <a:gd name="T55" fmla="*/ 120 h 228"/>
                <a:gd name="T56" fmla="*/ 30 w 210"/>
                <a:gd name="T57" fmla="*/ 126 h 228"/>
                <a:gd name="T58" fmla="*/ 42 w 210"/>
                <a:gd name="T59" fmla="*/ 108 h 228"/>
                <a:gd name="T60" fmla="*/ 48 w 210"/>
                <a:gd name="T61" fmla="*/ 90 h 228"/>
                <a:gd name="T62" fmla="*/ 60 w 210"/>
                <a:gd name="T63" fmla="*/ 66 h 228"/>
                <a:gd name="T64" fmla="*/ 66 w 210"/>
                <a:gd name="T65" fmla="*/ 48 h 228"/>
                <a:gd name="T66" fmla="*/ 72 w 210"/>
                <a:gd name="T67" fmla="*/ 30 h 228"/>
                <a:gd name="T68" fmla="*/ 72 w 210"/>
                <a:gd name="T69" fmla="*/ 12 h 228"/>
                <a:gd name="T70" fmla="*/ 90 w 210"/>
                <a:gd name="T71" fmla="*/ 6 h 228"/>
                <a:gd name="T72" fmla="*/ 114 w 210"/>
                <a:gd name="T73" fmla="*/ 12 h 228"/>
                <a:gd name="T74" fmla="*/ 120 w 210"/>
                <a:gd name="T75" fmla="*/ 6 h 228"/>
                <a:gd name="T76" fmla="*/ 144 w 210"/>
                <a:gd name="T77" fmla="*/ 0 h 228"/>
                <a:gd name="T78" fmla="*/ 156 w 210"/>
                <a:gd name="T79" fmla="*/ 0 h 228"/>
                <a:gd name="T80" fmla="*/ 168 w 210"/>
                <a:gd name="T81" fmla="*/ 0 h 228"/>
                <a:gd name="T82" fmla="*/ 180 w 210"/>
                <a:gd name="T83" fmla="*/ 6 h 228"/>
                <a:gd name="T84" fmla="*/ 192 w 210"/>
                <a:gd name="T85" fmla="*/ 6 h 228"/>
                <a:gd name="T86" fmla="*/ 204 w 210"/>
                <a:gd name="T87" fmla="*/ 18 h 228"/>
                <a:gd name="T88" fmla="*/ 210 w 210"/>
                <a:gd name="T89" fmla="*/ 36 h 228"/>
                <a:gd name="T90" fmla="*/ 198 w 210"/>
                <a:gd name="T91" fmla="*/ 54 h 228"/>
                <a:gd name="T92" fmla="*/ 192 w 210"/>
                <a:gd name="T93" fmla="*/ 7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0" h="228">
                  <a:moveTo>
                    <a:pt x="192" y="78"/>
                  </a:moveTo>
                  <a:lnTo>
                    <a:pt x="186" y="90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108"/>
                  </a:lnTo>
                  <a:lnTo>
                    <a:pt x="192" y="120"/>
                  </a:lnTo>
                  <a:lnTo>
                    <a:pt x="192" y="126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98" y="156"/>
                  </a:lnTo>
                  <a:lnTo>
                    <a:pt x="204" y="162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80" y="180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10"/>
                  </a:lnTo>
                  <a:lnTo>
                    <a:pt x="186" y="216"/>
                  </a:lnTo>
                  <a:lnTo>
                    <a:pt x="192" y="216"/>
                  </a:lnTo>
                  <a:lnTo>
                    <a:pt x="192" y="228"/>
                  </a:lnTo>
                  <a:lnTo>
                    <a:pt x="186" y="228"/>
                  </a:lnTo>
                  <a:lnTo>
                    <a:pt x="186" y="228"/>
                  </a:lnTo>
                  <a:lnTo>
                    <a:pt x="174" y="216"/>
                  </a:lnTo>
                  <a:lnTo>
                    <a:pt x="168" y="210"/>
                  </a:lnTo>
                  <a:lnTo>
                    <a:pt x="162" y="204"/>
                  </a:lnTo>
                  <a:lnTo>
                    <a:pt x="156" y="210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20" y="198"/>
                  </a:lnTo>
                  <a:lnTo>
                    <a:pt x="114" y="204"/>
                  </a:lnTo>
                  <a:lnTo>
                    <a:pt x="114" y="198"/>
                  </a:lnTo>
                  <a:lnTo>
                    <a:pt x="108" y="186"/>
                  </a:lnTo>
                  <a:lnTo>
                    <a:pt x="108" y="168"/>
                  </a:lnTo>
                  <a:lnTo>
                    <a:pt x="108" y="156"/>
                  </a:lnTo>
                  <a:lnTo>
                    <a:pt x="90" y="156"/>
                  </a:lnTo>
                  <a:lnTo>
                    <a:pt x="96" y="150"/>
                  </a:lnTo>
                  <a:lnTo>
                    <a:pt x="84" y="150"/>
                  </a:lnTo>
                  <a:lnTo>
                    <a:pt x="78" y="162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54" y="150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38"/>
                  </a:lnTo>
                  <a:lnTo>
                    <a:pt x="6" y="138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26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78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0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0"/>
                  </a:lnTo>
                  <a:lnTo>
                    <a:pt x="90" y="6"/>
                  </a:lnTo>
                  <a:lnTo>
                    <a:pt x="102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32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8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04" y="42"/>
                  </a:lnTo>
                  <a:lnTo>
                    <a:pt x="198" y="54"/>
                  </a:lnTo>
                  <a:lnTo>
                    <a:pt x="192" y="66"/>
                  </a:lnTo>
                  <a:lnTo>
                    <a:pt x="192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0" name="Freeform 266">
              <a:extLst>
                <a:ext uri="{FF2B5EF4-FFF2-40B4-BE49-F238E27FC236}">
                  <a16:creationId xmlns:a16="http://schemas.microsoft.com/office/drawing/2014/main" id="{47A8D520-D4FC-4B6D-8E41-3A5C819793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1" y="2204"/>
              <a:ext cx="125" cy="126"/>
            </a:xfrm>
            <a:custGeom>
              <a:avLst/>
              <a:gdLst>
                <a:gd name="T0" fmla="*/ 24 w 125"/>
                <a:gd name="T1" fmla="*/ 60 h 126"/>
                <a:gd name="T2" fmla="*/ 12 w 125"/>
                <a:gd name="T3" fmla="*/ 60 h 126"/>
                <a:gd name="T4" fmla="*/ 0 w 125"/>
                <a:gd name="T5" fmla="*/ 60 h 126"/>
                <a:gd name="T6" fmla="*/ 0 w 125"/>
                <a:gd name="T7" fmla="*/ 72 h 126"/>
                <a:gd name="T8" fmla="*/ 0 w 125"/>
                <a:gd name="T9" fmla="*/ 84 h 126"/>
                <a:gd name="T10" fmla="*/ 0 w 125"/>
                <a:gd name="T11" fmla="*/ 90 h 126"/>
                <a:gd name="T12" fmla="*/ 0 w 125"/>
                <a:gd name="T13" fmla="*/ 102 h 126"/>
                <a:gd name="T14" fmla="*/ 6 w 125"/>
                <a:gd name="T15" fmla="*/ 108 h 126"/>
                <a:gd name="T16" fmla="*/ 12 w 125"/>
                <a:gd name="T17" fmla="*/ 120 h 126"/>
                <a:gd name="T18" fmla="*/ 24 w 125"/>
                <a:gd name="T19" fmla="*/ 120 h 126"/>
                <a:gd name="T20" fmla="*/ 36 w 125"/>
                <a:gd name="T21" fmla="*/ 120 h 126"/>
                <a:gd name="T22" fmla="*/ 48 w 125"/>
                <a:gd name="T23" fmla="*/ 126 h 126"/>
                <a:gd name="T24" fmla="*/ 60 w 125"/>
                <a:gd name="T25" fmla="*/ 114 h 126"/>
                <a:gd name="T26" fmla="*/ 72 w 125"/>
                <a:gd name="T27" fmla="*/ 108 h 126"/>
                <a:gd name="T28" fmla="*/ 72 w 125"/>
                <a:gd name="T29" fmla="*/ 102 h 126"/>
                <a:gd name="T30" fmla="*/ 84 w 125"/>
                <a:gd name="T31" fmla="*/ 96 h 126"/>
                <a:gd name="T32" fmla="*/ 90 w 125"/>
                <a:gd name="T33" fmla="*/ 96 h 126"/>
                <a:gd name="T34" fmla="*/ 90 w 125"/>
                <a:gd name="T35" fmla="*/ 90 h 126"/>
                <a:gd name="T36" fmla="*/ 96 w 125"/>
                <a:gd name="T37" fmla="*/ 84 h 126"/>
                <a:gd name="T38" fmla="*/ 102 w 125"/>
                <a:gd name="T39" fmla="*/ 84 h 126"/>
                <a:gd name="T40" fmla="*/ 113 w 125"/>
                <a:gd name="T41" fmla="*/ 78 h 126"/>
                <a:gd name="T42" fmla="*/ 119 w 125"/>
                <a:gd name="T43" fmla="*/ 72 h 126"/>
                <a:gd name="T44" fmla="*/ 113 w 125"/>
                <a:gd name="T45" fmla="*/ 72 h 126"/>
                <a:gd name="T46" fmla="*/ 119 w 125"/>
                <a:gd name="T47" fmla="*/ 60 h 126"/>
                <a:gd name="T48" fmla="*/ 125 w 125"/>
                <a:gd name="T49" fmla="*/ 54 h 126"/>
                <a:gd name="T50" fmla="*/ 125 w 125"/>
                <a:gd name="T51" fmla="*/ 42 h 126"/>
                <a:gd name="T52" fmla="*/ 125 w 125"/>
                <a:gd name="T53" fmla="*/ 36 h 126"/>
                <a:gd name="T54" fmla="*/ 125 w 125"/>
                <a:gd name="T55" fmla="*/ 30 h 126"/>
                <a:gd name="T56" fmla="*/ 119 w 125"/>
                <a:gd name="T57" fmla="*/ 18 h 126"/>
                <a:gd name="T58" fmla="*/ 119 w 125"/>
                <a:gd name="T59" fmla="*/ 18 h 126"/>
                <a:gd name="T60" fmla="*/ 107 w 125"/>
                <a:gd name="T61" fmla="*/ 12 h 126"/>
                <a:gd name="T62" fmla="*/ 96 w 125"/>
                <a:gd name="T63" fmla="*/ 6 h 126"/>
                <a:gd name="T64" fmla="*/ 96 w 125"/>
                <a:gd name="T65" fmla="*/ 0 h 126"/>
                <a:gd name="T66" fmla="*/ 84 w 125"/>
                <a:gd name="T67" fmla="*/ 6 h 126"/>
                <a:gd name="T68" fmla="*/ 78 w 125"/>
                <a:gd name="T69" fmla="*/ 6 h 126"/>
                <a:gd name="T70" fmla="*/ 72 w 125"/>
                <a:gd name="T71" fmla="*/ 18 h 126"/>
                <a:gd name="T72" fmla="*/ 72 w 125"/>
                <a:gd name="T73" fmla="*/ 30 h 126"/>
                <a:gd name="T74" fmla="*/ 72 w 125"/>
                <a:gd name="T75" fmla="*/ 36 h 126"/>
                <a:gd name="T76" fmla="*/ 72 w 125"/>
                <a:gd name="T77" fmla="*/ 48 h 126"/>
                <a:gd name="T78" fmla="*/ 78 w 125"/>
                <a:gd name="T79" fmla="*/ 54 h 126"/>
                <a:gd name="T80" fmla="*/ 84 w 125"/>
                <a:gd name="T81" fmla="*/ 54 h 126"/>
                <a:gd name="T82" fmla="*/ 84 w 125"/>
                <a:gd name="T83" fmla="*/ 66 h 126"/>
                <a:gd name="T84" fmla="*/ 78 w 125"/>
                <a:gd name="T85" fmla="*/ 66 h 126"/>
                <a:gd name="T86" fmla="*/ 78 w 125"/>
                <a:gd name="T87" fmla="*/ 66 h 126"/>
                <a:gd name="T88" fmla="*/ 66 w 125"/>
                <a:gd name="T89" fmla="*/ 54 h 126"/>
                <a:gd name="T90" fmla="*/ 60 w 125"/>
                <a:gd name="T91" fmla="*/ 48 h 126"/>
                <a:gd name="T92" fmla="*/ 54 w 125"/>
                <a:gd name="T93" fmla="*/ 42 h 126"/>
                <a:gd name="T94" fmla="*/ 48 w 125"/>
                <a:gd name="T95" fmla="*/ 48 h 126"/>
                <a:gd name="T96" fmla="*/ 36 w 125"/>
                <a:gd name="T97" fmla="*/ 42 h 126"/>
                <a:gd name="T98" fmla="*/ 36 w 125"/>
                <a:gd name="T99" fmla="*/ 42 h 126"/>
                <a:gd name="T100" fmla="*/ 24 w 125"/>
                <a:gd name="T101" fmla="*/ 42 h 126"/>
                <a:gd name="T102" fmla="*/ 24 w 125"/>
                <a:gd name="T103" fmla="*/ 36 h 126"/>
                <a:gd name="T104" fmla="*/ 24 w 125"/>
                <a:gd name="T105" fmla="*/ 48 h 126"/>
                <a:gd name="T106" fmla="*/ 24 w 125"/>
                <a:gd name="T107" fmla="*/ 6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5" h="126">
                  <a:moveTo>
                    <a:pt x="24" y="60"/>
                  </a:moveTo>
                  <a:lnTo>
                    <a:pt x="12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2" y="12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48" y="126"/>
                  </a:lnTo>
                  <a:lnTo>
                    <a:pt x="60" y="114"/>
                  </a:lnTo>
                  <a:lnTo>
                    <a:pt x="72" y="108"/>
                  </a:lnTo>
                  <a:lnTo>
                    <a:pt x="72" y="102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90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13" y="78"/>
                  </a:lnTo>
                  <a:lnTo>
                    <a:pt x="119" y="72"/>
                  </a:lnTo>
                  <a:lnTo>
                    <a:pt x="113" y="72"/>
                  </a:lnTo>
                  <a:lnTo>
                    <a:pt x="119" y="60"/>
                  </a:lnTo>
                  <a:lnTo>
                    <a:pt x="125" y="54"/>
                  </a:lnTo>
                  <a:lnTo>
                    <a:pt x="125" y="42"/>
                  </a:lnTo>
                  <a:lnTo>
                    <a:pt x="125" y="36"/>
                  </a:lnTo>
                  <a:lnTo>
                    <a:pt x="125" y="3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07" y="12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72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66" y="54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8"/>
                  </a:lnTo>
                  <a:lnTo>
                    <a:pt x="24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1" name="Freeform 267">
              <a:extLst>
                <a:ext uri="{FF2B5EF4-FFF2-40B4-BE49-F238E27FC236}">
                  <a16:creationId xmlns:a16="http://schemas.microsoft.com/office/drawing/2014/main" id="{961429D6-663A-4E94-A292-8E6CE06368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7" y="2300"/>
              <a:ext cx="77" cy="83"/>
            </a:xfrm>
            <a:custGeom>
              <a:avLst/>
              <a:gdLst>
                <a:gd name="T0" fmla="*/ 36 w 77"/>
                <a:gd name="T1" fmla="*/ 77 h 83"/>
                <a:gd name="T2" fmla="*/ 36 w 77"/>
                <a:gd name="T3" fmla="*/ 77 h 83"/>
                <a:gd name="T4" fmla="*/ 24 w 77"/>
                <a:gd name="T5" fmla="*/ 71 h 83"/>
                <a:gd name="T6" fmla="*/ 24 w 77"/>
                <a:gd name="T7" fmla="*/ 60 h 83"/>
                <a:gd name="T8" fmla="*/ 18 w 77"/>
                <a:gd name="T9" fmla="*/ 60 h 83"/>
                <a:gd name="T10" fmla="*/ 18 w 77"/>
                <a:gd name="T11" fmla="*/ 54 h 83"/>
                <a:gd name="T12" fmla="*/ 12 w 77"/>
                <a:gd name="T13" fmla="*/ 48 h 83"/>
                <a:gd name="T14" fmla="*/ 6 w 77"/>
                <a:gd name="T15" fmla="*/ 36 h 83"/>
                <a:gd name="T16" fmla="*/ 0 w 77"/>
                <a:gd name="T17" fmla="*/ 24 h 83"/>
                <a:gd name="T18" fmla="*/ 12 w 77"/>
                <a:gd name="T19" fmla="*/ 30 h 83"/>
                <a:gd name="T20" fmla="*/ 24 w 77"/>
                <a:gd name="T21" fmla="*/ 18 h 83"/>
                <a:gd name="T22" fmla="*/ 36 w 77"/>
                <a:gd name="T23" fmla="*/ 12 h 83"/>
                <a:gd name="T24" fmla="*/ 36 w 77"/>
                <a:gd name="T25" fmla="*/ 6 h 83"/>
                <a:gd name="T26" fmla="*/ 48 w 77"/>
                <a:gd name="T27" fmla="*/ 0 h 83"/>
                <a:gd name="T28" fmla="*/ 54 w 77"/>
                <a:gd name="T29" fmla="*/ 0 h 83"/>
                <a:gd name="T30" fmla="*/ 54 w 77"/>
                <a:gd name="T31" fmla="*/ 6 h 83"/>
                <a:gd name="T32" fmla="*/ 60 w 77"/>
                <a:gd name="T33" fmla="*/ 6 h 83"/>
                <a:gd name="T34" fmla="*/ 71 w 77"/>
                <a:gd name="T35" fmla="*/ 6 h 83"/>
                <a:gd name="T36" fmla="*/ 77 w 77"/>
                <a:gd name="T37" fmla="*/ 12 h 83"/>
                <a:gd name="T38" fmla="*/ 77 w 77"/>
                <a:gd name="T39" fmla="*/ 30 h 83"/>
                <a:gd name="T40" fmla="*/ 77 w 77"/>
                <a:gd name="T41" fmla="*/ 36 h 83"/>
                <a:gd name="T42" fmla="*/ 77 w 77"/>
                <a:gd name="T43" fmla="*/ 48 h 83"/>
                <a:gd name="T44" fmla="*/ 77 w 77"/>
                <a:gd name="T45" fmla="*/ 60 h 83"/>
                <a:gd name="T46" fmla="*/ 71 w 77"/>
                <a:gd name="T47" fmla="*/ 71 h 83"/>
                <a:gd name="T48" fmla="*/ 66 w 77"/>
                <a:gd name="T49" fmla="*/ 77 h 83"/>
                <a:gd name="T50" fmla="*/ 60 w 77"/>
                <a:gd name="T51" fmla="*/ 83 h 83"/>
                <a:gd name="T52" fmla="*/ 48 w 77"/>
                <a:gd name="T53" fmla="*/ 83 h 83"/>
                <a:gd name="T54" fmla="*/ 42 w 77"/>
                <a:gd name="T55" fmla="*/ 77 h 83"/>
                <a:gd name="T56" fmla="*/ 36 w 77"/>
                <a:gd name="T57" fmla="*/ 7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83">
                  <a:moveTo>
                    <a:pt x="36" y="77"/>
                  </a:moveTo>
                  <a:lnTo>
                    <a:pt x="36" y="77"/>
                  </a:lnTo>
                  <a:lnTo>
                    <a:pt x="24" y="71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48"/>
                  </a:lnTo>
                  <a:lnTo>
                    <a:pt x="6" y="36"/>
                  </a:lnTo>
                  <a:lnTo>
                    <a:pt x="0" y="24"/>
                  </a:lnTo>
                  <a:lnTo>
                    <a:pt x="12" y="30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71" y="6"/>
                  </a:lnTo>
                  <a:lnTo>
                    <a:pt x="77" y="12"/>
                  </a:lnTo>
                  <a:lnTo>
                    <a:pt x="77" y="30"/>
                  </a:lnTo>
                  <a:lnTo>
                    <a:pt x="77" y="36"/>
                  </a:lnTo>
                  <a:lnTo>
                    <a:pt x="77" y="48"/>
                  </a:lnTo>
                  <a:lnTo>
                    <a:pt x="77" y="60"/>
                  </a:lnTo>
                  <a:lnTo>
                    <a:pt x="71" y="71"/>
                  </a:lnTo>
                  <a:lnTo>
                    <a:pt x="66" y="77"/>
                  </a:lnTo>
                  <a:lnTo>
                    <a:pt x="60" y="83"/>
                  </a:lnTo>
                  <a:lnTo>
                    <a:pt x="48" y="83"/>
                  </a:lnTo>
                  <a:lnTo>
                    <a:pt x="42" y="77"/>
                  </a:lnTo>
                  <a:lnTo>
                    <a:pt x="36" y="7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2" name="Freeform 268">
              <a:extLst>
                <a:ext uri="{FF2B5EF4-FFF2-40B4-BE49-F238E27FC236}">
                  <a16:creationId xmlns:a16="http://schemas.microsoft.com/office/drawing/2014/main" id="{FA082817-C200-401B-947B-86C1B0E0A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6" y="2479"/>
              <a:ext cx="54" cy="60"/>
            </a:xfrm>
            <a:custGeom>
              <a:avLst/>
              <a:gdLst>
                <a:gd name="T0" fmla="*/ 48 w 54"/>
                <a:gd name="T1" fmla="*/ 30 h 60"/>
                <a:gd name="T2" fmla="*/ 42 w 54"/>
                <a:gd name="T3" fmla="*/ 24 h 60"/>
                <a:gd name="T4" fmla="*/ 30 w 54"/>
                <a:gd name="T5" fmla="*/ 12 h 60"/>
                <a:gd name="T6" fmla="*/ 18 w 54"/>
                <a:gd name="T7" fmla="*/ 12 h 60"/>
                <a:gd name="T8" fmla="*/ 18 w 54"/>
                <a:gd name="T9" fmla="*/ 12 h 60"/>
                <a:gd name="T10" fmla="*/ 6 w 54"/>
                <a:gd name="T11" fmla="*/ 0 h 60"/>
                <a:gd name="T12" fmla="*/ 0 w 54"/>
                <a:gd name="T13" fmla="*/ 0 h 60"/>
                <a:gd name="T14" fmla="*/ 0 w 54"/>
                <a:gd name="T15" fmla="*/ 0 h 60"/>
                <a:gd name="T16" fmla="*/ 0 w 54"/>
                <a:gd name="T17" fmla="*/ 12 h 60"/>
                <a:gd name="T18" fmla="*/ 0 w 54"/>
                <a:gd name="T19" fmla="*/ 30 h 60"/>
                <a:gd name="T20" fmla="*/ 0 w 54"/>
                <a:gd name="T21" fmla="*/ 30 h 60"/>
                <a:gd name="T22" fmla="*/ 0 w 54"/>
                <a:gd name="T23" fmla="*/ 36 h 60"/>
                <a:gd name="T24" fmla="*/ 6 w 54"/>
                <a:gd name="T25" fmla="*/ 48 h 60"/>
                <a:gd name="T26" fmla="*/ 18 w 54"/>
                <a:gd name="T27" fmla="*/ 54 h 60"/>
                <a:gd name="T28" fmla="*/ 36 w 54"/>
                <a:gd name="T29" fmla="*/ 60 h 60"/>
                <a:gd name="T30" fmla="*/ 42 w 54"/>
                <a:gd name="T31" fmla="*/ 54 h 60"/>
                <a:gd name="T32" fmla="*/ 54 w 54"/>
                <a:gd name="T33" fmla="*/ 42 h 60"/>
                <a:gd name="T34" fmla="*/ 48 w 54"/>
                <a:gd name="T35" fmla="*/ 36 h 60"/>
                <a:gd name="T36" fmla="*/ 48 w 54"/>
                <a:gd name="T37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60">
                  <a:moveTo>
                    <a:pt x="48" y="30"/>
                  </a:moveTo>
                  <a:lnTo>
                    <a:pt x="42" y="24"/>
                  </a:lnTo>
                  <a:lnTo>
                    <a:pt x="3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8" y="54"/>
                  </a:lnTo>
                  <a:lnTo>
                    <a:pt x="36" y="60"/>
                  </a:lnTo>
                  <a:lnTo>
                    <a:pt x="42" y="54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48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3" name="Freeform 269">
              <a:extLst>
                <a:ext uri="{FF2B5EF4-FFF2-40B4-BE49-F238E27FC236}">
                  <a16:creationId xmlns:a16="http://schemas.microsoft.com/office/drawing/2014/main" id="{3B0CEB4C-5275-483C-A49F-C38662990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377"/>
              <a:ext cx="168" cy="372"/>
            </a:xfrm>
            <a:custGeom>
              <a:avLst/>
              <a:gdLst>
                <a:gd name="T0" fmla="*/ 96 w 168"/>
                <a:gd name="T1" fmla="*/ 234 h 372"/>
                <a:gd name="T2" fmla="*/ 90 w 168"/>
                <a:gd name="T3" fmla="*/ 252 h 372"/>
                <a:gd name="T4" fmla="*/ 96 w 168"/>
                <a:gd name="T5" fmla="*/ 252 h 372"/>
                <a:gd name="T6" fmla="*/ 102 w 168"/>
                <a:gd name="T7" fmla="*/ 258 h 372"/>
                <a:gd name="T8" fmla="*/ 90 w 168"/>
                <a:gd name="T9" fmla="*/ 258 h 372"/>
                <a:gd name="T10" fmla="*/ 90 w 168"/>
                <a:gd name="T11" fmla="*/ 270 h 372"/>
                <a:gd name="T12" fmla="*/ 90 w 168"/>
                <a:gd name="T13" fmla="*/ 282 h 372"/>
                <a:gd name="T14" fmla="*/ 78 w 168"/>
                <a:gd name="T15" fmla="*/ 300 h 372"/>
                <a:gd name="T16" fmla="*/ 102 w 168"/>
                <a:gd name="T17" fmla="*/ 312 h 372"/>
                <a:gd name="T18" fmla="*/ 102 w 168"/>
                <a:gd name="T19" fmla="*/ 318 h 372"/>
                <a:gd name="T20" fmla="*/ 90 w 168"/>
                <a:gd name="T21" fmla="*/ 336 h 372"/>
                <a:gd name="T22" fmla="*/ 84 w 168"/>
                <a:gd name="T23" fmla="*/ 342 h 372"/>
                <a:gd name="T24" fmla="*/ 90 w 168"/>
                <a:gd name="T25" fmla="*/ 348 h 372"/>
                <a:gd name="T26" fmla="*/ 84 w 168"/>
                <a:gd name="T27" fmla="*/ 354 h 372"/>
                <a:gd name="T28" fmla="*/ 84 w 168"/>
                <a:gd name="T29" fmla="*/ 366 h 372"/>
                <a:gd name="T30" fmla="*/ 96 w 168"/>
                <a:gd name="T31" fmla="*/ 372 h 372"/>
                <a:gd name="T32" fmla="*/ 60 w 168"/>
                <a:gd name="T33" fmla="*/ 366 h 372"/>
                <a:gd name="T34" fmla="*/ 48 w 168"/>
                <a:gd name="T35" fmla="*/ 354 h 372"/>
                <a:gd name="T36" fmla="*/ 36 w 168"/>
                <a:gd name="T37" fmla="*/ 336 h 372"/>
                <a:gd name="T38" fmla="*/ 42 w 168"/>
                <a:gd name="T39" fmla="*/ 312 h 372"/>
                <a:gd name="T40" fmla="*/ 36 w 168"/>
                <a:gd name="T41" fmla="*/ 288 h 372"/>
                <a:gd name="T42" fmla="*/ 30 w 168"/>
                <a:gd name="T43" fmla="*/ 282 h 372"/>
                <a:gd name="T44" fmla="*/ 30 w 168"/>
                <a:gd name="T45" fmla="*/ 276 h 372"/>
                <a:gd name="T46" fmla="*/ 18 w 168"/>
                <a:gd name="T47" fmla="*/ 252 h 372"/>
                <a:gd name="T48" fmla="*/ 12 w 168"/>
                <a:gd name="T49" fmla="*/ 228 h 372"/>
                <a:gd name="T50" fmla="*/ 18 w 168"/>
                <a:gd name="T51" fmla="*/ 210 h 372"/>
                <a:gd name="T52" fmla="*/ 12 w 168"/>
                <a:gd name="T53" fmla="*/ 192 h 372"/>
                <a:gd name="T54" fmla="*/ 12 w 168"/>
                <a:gd name="T55" fmla="*/ 174 h 372"/>
                <a:gd name="T56" fmla="*/ 12 w 168"/>
                <a:gd name="T57" fmla="*/ 144 h 372"/>
                <a:gd name="T58" fmla="*/ 6 w 168"/>
                <a:gd name="T59" fmla="*/ 132 h 372"/>
                <a:gd name="T60" fmla="*/ 0 w 168"/>
                <a:gd name="T61" fmla="*/ 114 h 372"/>
                <a:gd name="T62" fmla="*/ 0 w 168"/>
                <a:gd name="T63" fmla="*/ 96 h 372"/>
                <a:gd name="T64" fmla="*/ 6 w 168"/>
                <a:gd name="T65" fmla="*/ 78 h 372"/>
                <a:gd name="T66" fmla="*/ 12 w 168"/>
                <a:gd name="T67" fmla="*/ 60 h 372"/>
                <a:gd name="T68" fmla="*/ 6 w 168"/>
                <a:gd name="T69" fmla="*/ 36 h 372"/>
                <a:gd name="T70" fmla="*/ 18 w 168"/>
                <a:gd name="T71" fmla="*/ 24 h 372"/>
                <a:gd name="T72" fmla="*/ 18 w 168"/>
                <a:gd name="T73" fmla="*/ 12 h 372"/>
                <a:gd name="T74" fmla="*/ 30 w 168"/>
                <a:gd name="T75" fmla="*/ 0 h 372"/>
                <a:gd name="T76" fmla="*/ 48 w 168"/>
                <a:gd name="T77" fmla="*/ 6 h 372"/>
                <a:gd name="T78" fmla="*/ 66 w 168"/>
                <a:gd name="T79" fmla="*/ 0 h 372"/>
                <a:gd name="T80" fmla="*/ 78 w 168"/>
                <a:gd name="T81" fmla="*/ 12 h 372"/>
                <a:gd name="T82" fmla="*/ 96 w 168"/>
                <a:gd name="T83" fmla="*/ 24 h 372"/>
                <a:gd name="T84" fmla="*/ 114 w 168"/>
                <a:gd name="T85" fmla="*/ 36 h 372"/>
                <a:gd name="T86" fmla="*/ 120 w 168"/>
                <a:gd name="T87" fmla="*/ 54 h 372"/>
                <a:gd name="T88" fmla="*/ 132 w 168"/>
                <a:gd name="T89" fmla="*/ 66 h 372"/>
                <a:gd name="T90" fmla="*/ 150 w 168"/>
                <a:gd name="T91" fmla="*/ 66 h 372"/>
                <a:gd name="T92" fmla="*/ 156 w 168"/>
                <a:gd name="T93" fmla="*/ 42 h 372"/>
                <a:gd name="T94" fmla="*/ 168 w 168"/>
                <a:gd name="T95" fmla="*/ 60 h 372"/>
                <a:gd name="T96" fmla="*/ 156 w 168"/>
                <a:gd name="T97" fmla="*/ 72 h 372"/>
                <a:gd name="T98" fmla="*/ 144 w 168"/>
                <a:gd name="T99" fmla="*/ 84 h 372"/>
                <a:gd name="T100" fmla="*/ 132 w 168"/>
                <a:gd name="T101" fmla="*/ 102 h 372"/>
                <a:gd name="T102" fmla="*/ 132 w 168"/>
                <a:gd name="T103" fmla="*/ 114 h 372"/>
                <a:gd name="T104" fmla="*/ 132 w 168"/>
                <a:gd name="T105" fmla="*/ 138 h 372"/>
                <a:gd name="T106" fmla="*/ 132 w 168"/>
                <a:gd name="T107" fmla="*/ 156 h 372"/>
                <a:gd name="T108" fmla="*/ 150 w 168"/>
                <a:gd name="T109" fmla="*/ 174 h 372"/>
                <a:gd name="T110" fmla="*/ 150 w 168"/>
                <a:gd name="T111" fmla="*/ 192 h 372"/>
                <a:gd name="T112" fmla="*/ 138 w 168"/>
                <a:gd name="T113" fmla="*/ 204 h 372"/>
                <a:gd name="T114" fmla="*/ 120 w 168"/>
                <a:gd name="T115" fmla="*/ 210 h 372"/>
                <a:gd name="T116" fmla="*/ 102 w 168"/>
                <a:gd name="T117" fmla="*/ 210 h 372"/>
                <a:gd name="T118" fmla="*/ 108 w 168"/>
                <a:gd name="T119" fmla="*/ 22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" h="372">
                  <a:moveTo>
                    <a:pt x="108" y="234"/>
                  </a:moveTo>
                  <a:lnTo>
                    <a:pt x="96" y="234"/>
                  </a:lnTo>
                  <a:lnTo>
                    <a:pt x="84" y="234"/>
                  </a:lnTo>
                  <a:lnTo>
                    <a:pt x="90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102" y="246"/>
                  </a:lnTo>
                  <a:lnTo>
                    <a:pt x="102" y="258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6" y="258"/>
                  </a:lnTo>
                  <a:lnTo>
                    <a:pt x="90" y="270"/>
                  </a:lnTo>
                  <a:lnTo>
                    <a:pt x="90" y="282"/>
                  </a:lnTo>
                  <a:lnTo>
                    <a:pt x="90" y="282"/>
                  </a:lnTo>
                  <a:lnTo>
                    <a:pt x="78" y="288"/>
                  </a:lnTo>
                  <a:lnTo>
                    <a:pt x="78" y="300"/>
                  </a:lnTo>
                  <a:lnTo>
                    <a:pt x="96" y="312"/>
                  </a:lnTo>
                  <a:lnTo>
                    <a:pt x="102" y="312"/>
                  </a:lnTo>
                  <a:lnTo>
                    <a:pt x="96" y="318"/>
                  </a:lnTo>
                  <a:lnTo>
                    <a:pt x="102" y="318"/>
                  </a:lnTo>
                  <a:lnTo>
                    <a:pt x="96" y="330"/>
                  </a:lnTo>
                  <a:lnTo>
                    <a:pt x="90" y="336"/>
                  </a:lnTo>
                  <a:lnTo>
                    <a:pt x="90" y="348"/>
                  </a:lnTo>
                  <a:lnTo>
                    <a:pt x="84" y="342"/>
                  </a:lnTo>
                  <a:lnTo>
                    <a:pt x="84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84" y="354"/>
                  </a:lnTo>
                  <a:lnTo>
                    <a:pt x="90" y="366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72"/>
                  </a:lnTo>
                  <a:lnTo>
                    <a:pt x="84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48" y="354"/>
                  </a:lnTo>
                  <a:lnTo>
                    <a:pt x="48" y="354"/>
                  </a:lnTo>
                  <a:lnTo>
                    <a:pt x="36" y="336"/>
                  </a:lnTo>
                  <a:lnTo>
                    <a:pt x="42" y="330"/>
                  </a:lnTo>
                  <a:lnTo>
                    <a:pt x="42" y="312"/>
                  </a:lnTo>
                  <a:lnTo>
                    <a:pt x="36" y="300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30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24" y="258"/>
                  </a:lnTo>
                  <a:lnTo>
                    <a:pt x="18" y="252"/>
                  </a:lnTo>
                  <a:lnTo>
                    <a:pt x="18" y="246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18" y="210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80"/>
                  </a:lnTo>
                  <a:lnTo>
                    <a:pt x="12" y="174"/>
                  </a:lnTo>
                  <a:lnTo>
                    <a:pt x="12" y="162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6" y="132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8" y="6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90" y="24"/>
                  </a:lnTo>
                  <a:lnTo>
                    <a:pt x="96" y="24"/>
                  </a:lnTo>
                  <a:lnTo>
                    <a:pt x="102" y="30"/>
                  </a:lnTo>
                  <a:lnTo>
                    <a:pt x="114" y="36"/>
                  </a:lnTo>
                  <a:lnTo>
                    <a:pt x="126" y="42"/>
                  </a:lnTo>
                  <a:lnTo>
                    <a:pt x="120" y="54"/>
                  </a:lnTo>
                  <a:lnTo>
                    <a:pt x="114" y="66"/>
                  </a:lnTo>
                  <a:lnTo>
                    <a:pt x="132" y="66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54"/>
                  </a:lnTo>
                  <a:lnTo>
                    <a:pt x="156" y="42"/>
                  </a:lnTo>
                  <a:lnTo>
                    <a:pt x="162" y="42"/>
                  </a:lnTo>
                  <a:lnTo>
                    <a:pt x="168" y="60"/>
                  </a:lnTo>
                  <a:lnTo>
                    <a:pt x="162" y="66"/>
                  </a:lnTo>
                  <a:lnTo>
                    <a:pt x="156" y="72"/>
                  </a:lnTo>
                  <a:lnTo>
                    <a:pt x="150" y="78"/>
                  </a:lnTo>
                  <a:lnTo>
                    <a:pt x="144" y="84"/>
                  </a:lnTo>
                  <a:lnTo>
                    <a:pt x="138" y="96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14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2" y="144"/>
                  </a:lnTo>
                  <a:lnTo>
                    <a:pt x="132" y="156"/>
                  </a:lnTo>
                  <a:lnTo>
                    <a:pt x="150" y="168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0" y="192"/>
                  </a:lnTo>
                  <a:lnTo>
                    <a:pt x="150" y="204"/>
                  </a:lnTo>
                  <a:lnTo>
                    <a:pt x="138" y="204"/>
                  </a:lnTo>
                  <a:lnTo>
                    <a:pt x="132" y="204"/>
                  </a:lnTo>
                  <a:lnTo>
                    <a:pt x="120" y="210"/>
                  </a:lnTo>
                  <a:lnTo>
                    <a:pt x="114" y="210"/>
                  </a:lnTo>
                  <a:lnTo>
                    <a:pt x="102" y="210"/>
                  </a:lnTo>
                  <a:lnTo>
                    <a:pt x="108" y="216"/>
                  </a:lnTo>
                  <a:lnTo>
                    <a:pt x="108" y="228"/>
                  </a:lnTo>
                  <a:lnTo>
                    <a:pt x="108" y="2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4" name="Freeform 270">
              <a:extLst>
                <a:ext uri="{FF2B5EF4-FFF2-40B4-BE49-F238E27FC236}">
                  <a16:creationId xmlns:a16="http://schemas.microsoft.com/office/drawing/2014/main" id="{F9E7748B-ECE1-44CD-B239-08A47B062C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0" y="2755"/>
              <a:ext cx="42" cy="24"/>
            </a:xfrm>
            <a:custGeom>
              <a:avLst/>
              <a:gdLst>
                <a:gd name="T0" fmla="*/ 6 w 42"/>
                <a:gd name="T1" fmla="*/ 6 h 24"/>
                <a:gd name="T2" fmla="*/ 0 w 42"/>
                <a:gd name="T3" fmla="*/ 0 h 24"/>
                <a:gd name="T4" fmla="*/ 6 w 42"/>
                <a:gd name="T5" fmla="*/ 12 h 24"/>
                <a:gd name="T6" fmla="*/ 12 w 42"/>
                <a:gd name="T7" fmla="*/ 24 h 24"/>
                <a:gd name="T8" fmla="*/ 30 w 42"/>
                <a:gd name="T9" fmla="*/ 24 h 24"/>
                <a:gd name="T10" fmla="*/ 42 w 42"/>
                <a:gd name="T11" fmla="*/ 24 h 24"/>
                <a:gd name="T12" fmla="*/ 42 w 42"/>
                <a:gd name="T13" fmla="*/ 24 h 24"/>
                <a:gd name="T14" fmla="*/ 18 w 42"/>
                <a:gd name="T15" fmla="*/ 12 h 24"/>
                <a:gd name="T16" fmla="*/ 6 w 42"/>
                <a:gd name="T1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24">
                  <a:moveTo>
                    <a:pt x="6" y="6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3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18" y="12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5" name="Freeform 271">
              <a:extLst>
                <a:ext uri="{FF2B5EF4-FFF2-40B4-BE49-F238E27FC236}">
                  <a16:creationId xmlns:a16="http://schemas.microsoft.com/office/drawing/2014/main" id="{5B4A8884-37AB-4BEF-95D0-85DCD83EC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50" y="2324"/>
              <a:ext cx="120" cy="443"/>
            </a:xfrm>
            <a:custGeom>
              <a:avLst/>
              <a:gdLst>
                <a:gd name="T0" fmla="*/ 12 w 120"/>
                <a:gd name="T1" fmla="*/ 173 h 443"/>
                <a:gd name="T2" fmla="*/ 12 w 120"/>
                <a:gd name="T3" fmla="*/ 203 h 443"/>
                <a:gd name="T4" fmla="*/ 12 w 120"/>
                <a:gd name="T5" fmla="*/ 239 h 443"/>
                <a:gd name="T6" fmla="*/ 18 w 120"/>
                <a:gd name="T7" fmla="*/ 263 h 443"/>
                <a:gd name="T8" fmla="*/ 24 w 120"/>
                <a:gd name="T9" fmla="*/ 293 h 443"/>
                <a:gd name="T10" fmla="*/ 36 w 120"/>
                <a:gd name="T11" fmla="*/ 293 h 443"/>
                <a:gd name="T12" fmla="*/ 36 w 120"/>
                <a:gd name="T13" fmla="*/ 305 h 443"/>
                <a:gd name="T14" fmla="*/ 36 w 120"/>
                <a:gd name="T15" fmla="*/ 311 h 443"/>
                <a:gd name="T16" fmla="*/ 48 w 120"/>
                <a:gd name="T17" fmla="*/ 329 h 443"/>
                <a:gd name="T18" fmla="*/ 42 w 120"/>
                <a:gd name="T19" fmla="*/ 341 h 443"/>
                <a:gd name="T20" fmla="*/ 42 w 120"/>
                <a:gd name="T21" fmla="*/ 353 h 443"/>
                <a:gd name="T22" fmla="*/ 42 w 120"/>
                <a:gd name="T23" fmla="*/ 353 h 443"/>
                <a:gd name="T24" fmla="*/ 36 w 120"/>
                <a:gd name="T25" fmla="*/ 347 h 443"/>
                <a:gd name="T26" fmla="*/ 30 w 120"/>
                <a:gd name="T27" fmla="*/ 359 h 443"/>
                <a:gd name="T28" fmla="*/ 48 w 120"/>
                <a:gd name="T29" fmla="*/ 365 h 443"/>
                <a:gd name="T30" fmla="*/ 42 w 120"/>
                <a:gd name="T31" fmla="*/ 371 h 443"/>
                <a:gd name="T32" fmla="*/ 54 w 120"/>
                <a:gd name="T33" fmla="*/ 371 h 443"/>
                <a:gd name="T34" fmla="*/ 42 w 120"/>
                <a:gd name="T35" fmla="*/ 377 h 443"/>
                <a:gd name="T36" fmla="*/ 54 w 120"/>
                <a:gd name="T37" fmla="*/ 395 h 443"/>
                <a:gd name="T38" fmla="*/ 60 w 120"/>
                <a:gd name="T39" fmla="*/ 401 h 443"/>
                <a:gd name="T40" fmla="*/ 66 w 120"/>
                <a:gd name="T41" fmla="*/ 413 h 443"/>
                <a:gd name="T42" fmla="*/ 72 w 120"/>
                <a:gd name="T43" fmla="*/ 419 h 443"/>
                <a:gd name="T44" fmla="*/ 78 w 120"/>
                <a:gd name="T45" fmla="*/ 431 h 443"/>
                <a:gd name="T46" fmla="*/ 84 w 120"/>
                <a:gd name="T47" fmla="*/ 437 h 443"/>
                <a:gd name="T48" fmla="*/ 102 w 120"/>
                <a:gd name="T49" fmla="*/ 431 h 443"/>
                <a:gd name="T50" fmla="*/ 108 w 120"/>
                <a:gd name="T51" fmla="*/ 419 h 443"/>
                <a:gd name="T52" fmla="*/ 72 w 120"/>
                <a:gd name="T53" fmla="*/ 407 h 443"/>
                <a:gd name="T54" fmla="*/ 66 w 120"/>
                <a:gd name="T55" fmla="*/ 383 h 443"/>
                <a:gd name="T56" fmla="*/ 60 w 120"/>
                <a:gd name="T57" fmla="*/ 341 h 443"/>
                <a:gd name="T58" fmla="*/ 60 w 120"/>
                <a:gd name="T59" fmla="*/ 335 h 443"/>
                <a:gd name="T60" fmla="*/ 42 w 120"/>
                <a:gd name="T61" fmla="*/ 305 h 443"/>
                <a:gd name="T62" fmla="*/ 36 w 120"/>
                <a:gd name="T63" fmla="*/ 269 h 443"/>
                <a:gd name="T64" fmla="*/ 36 w 120"/>
                <a:gd name="T65" fmla="*/ 245 h 443"/>
                <a:gd name="T66" fmla="*/ 36 w 120"/>
                <a:gd name="T67" fmla="*/ 215 h 443"/>
                <a:gd name="T68" fmla="*/ 30 w 120"/>
                <a:gd name="T69" fmla="*/ 185 h 443"/>
                <a:gd name="T70" fmla="*/ 24 w 120"/>
                <a:gd name="T71" fmla="*/ 155 h 443"/>
                <a:gd name="T72" fmla="*/ 30 w 120"/>
                <a:gd name="T73" fmla="*/ 131 h 443"/>
                <a:gd name="T74" fmla="*/ 36 w 120"/>
                <a:gd name="T75" fmla="*/ 107 h 443"/>
                <a:gd name="T76" fmla="*/ 42 w 120"/>
                <a:gd name="T77" fmla="*/ 77 h 443"/>
                <a:gd name="T78" fmla="*/ 36 w 120"/>
                <a:gd name="T79" fmla="*/ 59 h 443"/>
                <a:gd name="T80" fmla="*/ 24 w 120"/>
                <a:gd name="T81" fmla="*/ 30 h 443"/>
                <a:gd name="T82" fmla="*/ 12 w 120"/>
                <a:gd name="T83" fmla="*/ 6 h 443"/>
                <a:gd name="T84" fmla="*/ 6 w 120"/>
                <a:gd name="T85" fmla="*/ 6 h 443"/>
                <a:gd name="T86" fmla="*/ 6 w 120"/>
                <a:gd name="T87" fmla="*/ 41 h 443"/>
                <a:gd name="T88" fmla="*/ 6 w 120"/>
                <a:gd name="T89" fmla="*/ 71 h 443"/>
                <a:gd name="T90" fmla="*/ 6 w 120"/>
                <a:gd name="T91" fmla="*/ 119 h 443"/>
                <a:gd name="T92" fmla="*/ 12 w 120"/>
                <a:gd name="T93" fmla="*/ 155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0" h="443">
                  <a:moveTo>
                    <a:pt x="12" y="155"/>
                  </a:moveTo>
                  <a:lnTo>
                    <a:pt x="12" y="167"/>
                  </a:lnTo>
                  <a:lnTo>
                    <a:pt x="12" y="173"/>
                  </a:lnTo>
                  <a:lnTo>
                    <a:pt x="12" y="185"/>
                  </a:lnTo>
                  <a:lnTo>
                    <a:pt x="18" y="191"/>
                  </a:lnTo>
                  <a:lnTo>
                    <a:pt x="12" y="203"/>
                  </a:lnTo>
                  <a:lnTo>
                    <a:pt x="12" y="215"/>
                  </a:lnTo>
                  <a:lnTo>
                    <a:pt x="12" y="227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2" y="251"/>
                  </a:lnTo>
                  <a:lnTo>
                    <a:pt x="18" y="263"/>
                  </a:lnTo>
                  <a:lnTo>
                    <a:pt x="18" y="275"/>
                  </a:lnTo>
                  <a:lnTo>
                    <a:pt x="18" y="287"/>
                  </a:lnTo>
                  <a:lnTo>
                    <a:pt x="24" y="293"/>
                  </a:lnTo>
                  <a:lnTo>
                    <a:pt x="24" y="299"/>
                  </a:lnTo>
                  <a:lnTo>
                    <a:pt x="30" y="293"/>
                  </a:lnTo>
                  <a:lnTo>
                    <a:pt x="36" y="293"/>
                  </a:lnTo>
                  <a:lnTo>
                    <a:pt x="36" y="293"/>
                  </a:lnTo>
                  <a:lnTo>
                    <a:pt x="36" y="299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11"/>
                  </a:lnTo>
                  <a:lnTo>
                    <a:pt x="42" y="323"/>
                  </a:lnTo>
                  <a:lnTo>
                    <a:pt x="42" y="329"/>
                  </a:lnTo>
                  <a:lnTo>
                    <a:pt x="48" y="329"/>
                  </a:lnTo>
                  <a:lnTo>
                    <a:pt x="42" y="341"/>
                  </a:lnTo>
                  <a:lnTo>
                    <a:pt x="48" y="341"/>
                  </a:lnTo>
                  <a:lnTo>
                    <a:pt x="42" y="341"/>
                  </a:lnTo>
                  <a:lnTo>
                    <a:pt x="42" y="347"/>
                  </a:lnTo>
                  <a:lnTo>
                    <a:pt x="42" y="347"/>
                  </a:lnTo>
                  <a:lnTo>
                    <a:pt x="42" y="353"/>
                  </a:lnTo>
                  <a:lnTo>
                    <a:pt x="42" y="353"/>
                  </a:lnTo>
                  <a:lnTo>
                    <a:pt x="42" y="359"/>
                  </a:lnTo>
                  <a:lnTo>
                    <a:pt x="42" y="353"/>
                  </a:lnTo>
                  <a:lnTo>
                    <a:pt x="36" y="353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0" y="347"/>
                  </a:lnTo>
                  <a:lnTo>
                    <a:pt x="24" y="359"/>
                  </a:lnTo>
                  <a:lnTo>
                    <a:pt x="30" y="359"/>
                  </a:lnTo>
                  <a:lnTo>
                    <a:pt x="30" y="359"/>
                  </a:lnTo>
                  <a:lnTo>
                    <a:pt x="36" y="359"/>
                  </a:lnTo>
                  <a:lnTo>
                    <a:pt x="48" y="365"/>
                  </a:lnTo>
                  <a:lnTo>
                    <a:pt x="42" y="365"/>
                  </a:lnTo>
                  <a:lnTo>
                    <a:pt x="42" y="371"/>
                  </a:lnTo>
                  <a:lnTo>
                    <a:pt x="42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54" y="371"/>
                  </a:lnTo>
                  <a:lnTo>
                    <a:pt x="54" y="377"/>
                  </a:lnTo>
                  <a:lnTo>
                    <a:pt x="48" y="377"/>
                  </a:lnTo>
                  <a:lnTo>
                    <a:pt x="42" y="377"/>
                  </a:lnTo>
                  <a:lnTo>
                    <a:pt x="48" y="383"/>
                  </a:lnTo>
                  <a:lnTo>
                    <a:pt x="54" y="389"/>
                  </a:lnTo>
                  <a:lnTo>
                    <a:pt x="54" y="395"/>
                  </a:lnTo>
                  <a:lnTo>
                    <a:pt x="54" y="401"/>
                  </a:lnTo>
                  <a:lnTo>
                    <a:pt x="54" y="401"/>
                  </a:lnTo>
                  <a:lnTo>
                    <a:pt x="60" y="401"/>
                  </a:lnTo>
                  <a:lnTo>
                    <a:pt x="60" y="407"/>
                  </a:lnTo>
                  <a:lnTo>
                    <a:pt x="60" y="413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66" y="413"/>
                  </a:lnTo>
                  <a:lnTo>
                    <a:pt x="72" y="419"/>
                  </a:lnTo>
                  <a:lnTo>
                    <a:pt x="72" y="425"/>
                  </a:lnTo>
                  <a:lnTo>
                    <a:pt x="78" y="431"/>
                  </a:lnTo>
                  <a:lnTo>
                    <a:pt x="78" y="431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90" y="437"/>
                  </a:lnTo>
                  <a:lnTo>
                    <a:pt x="102" y="443"/>
                  </a:lnTo>
                  <a:lnTo>
                    <a:pt x="102" y="431"/>
                  </a:lnTo>
                  <a:lnTo>
                    <a:pt x="114" y="425"/>
                  </a:lnTo>
                  <a:lnTo>
                    <a:pt x="120" y="425"/>
                  </a:lnTo>
                  <a:lnTo>
                    <a:pt x="108" y="419"/>
                  </a:lnTo>
                  <a:lnTo>
                    <a:pt x="84" y="419"/>
                  </a:lnTo>
                  <a:lnTo>
                    <a:pt x="78" y="413"/>
                  </a:lnTo>
                  <a:lnTo>
                    <a:pt x="72" y="407"/>
                  </a:lnTo>
                  <a:lnTo>
                    <a:pt x="72" y="407"/>
                  </a:lnTo>
                  <a:lnTo>
                    <a:pt x="60" y="389"/>
                  </a:lnTo>
                  <a:lnTo>
                    <a:pt x="66" y="383"/>
                  </a:lnTo>
                  <a:lnTo>
                    <a:pt x="66" y="365"/>
                  </a:lnTo>
                  <a:lnTo>
                    <a:pt x="60" y="353"/>
                  </a:lnTo>
                  <a:lnTo>
                    <a:pt x="60" y="341"/>
                  </a:lnTo>
                  <a:lnTo>
                    <a:pt x="60" y="335"/>
                  </a:lnTo>
                  <a:lnTo>
                    <a:pt x="54" y="335"/>
                  </a:lnTo>
                  <a:lnTo>
                    <a:pt x="60" y="335"/>
                  </a:lnTo>
                  <a:lnTo>
                    <a:pt x="54" y="329"/>
                  </a:lnTo>
                  <a:lnTo>
                    <a:pt x="48" y="311"/>
                  </a:lnTo>
                  <a:lnTo>
                    <a:pt x="42" y="305"/>
                  </a:lnTo>
                  <a:lnTo>
                    <a:pt x="42" y="299"/>
                  </a:lnTo>
                  <a:lnTo>
                    <a:pt x="36" y="281"/>
                  </a:lnTo>
                  <a:lnTo>
                    <a:pt x="36" y="269"/>
                  </a:lnTo>
                  <a:lnTo>
                    <a:pt x="42" y="263"/>
                  </a:lnTo>
                  <a:lnTo>
                    <a:pt x="36" y="251"/>
                  </a:lnTo>
                  <a:lnTo>
                    <a:pt x="36" y="245"/>
                  </a:lnTo>
                  <a:lnTo>
                    <a:pt x="30" y="233"/>
                  </a:lnTo>
                  <a:lnTo>
                    <a:pt x="36" y="227"/>
                  </a:lnTo>
                  <a:lnTo>
                    <a:pt x="36" y="215"/>
                  </a:lnTo>
                  <a:lnTo>
                    <a:pt x="36" y="197"/>
                  </a:lnTo>
                  <a:lnTo>
                    <a:pt x="36" y="191"/>
                  </a:lnTo>
                  <a:lnTo>
                    <a:pt x="30" y="185"/>
                  </a:lnTo>
                  <a:lnTo>
                    <a:pt x="24" y="173"/>
                  </a:lnTo>
                  <a:lnTo>
                    <a:pt x="24" y="167"/>
                  </a:lnTo>
                  <a:lnTo>
                    <a:pt x="24" y="155"/>
                  </a:lnTo>
                  <a:lnTo>
                    <a:pt x="24" y="149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36" y="119"/>
                  </a:lnTo>
                  <a:lnTo>
                    <a:pt x="36" y="113"/>
                  </a:lnTo>
                  <a:lnTo>
                    <a:pt x="36" y="107"/>
                  </a:lnTo>
                  <a:lnTo>
                    <a:pt x="30" y="89"/>
                  </a:lnTo>
                  <a:lnTo>
                    <a:pt x="36" y="83"/>
                  </a:lnTo>
                  <a:lnTo>
                    <a:pt x="42" y="77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36" y="59"/>
                  </a:lnTo>
                  <a:lnTo>
                    <a:pt x="30" y="53"/>
                  </a:lnTo>
                  <a:lnTo>
                    <a:pt x="24" y="41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12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24"/>
                  </a:lnTo>
                  <a:lnTo>
                    <a:pt x="6" y="41"/>
                  </a:lnTo>
                  <a:lnTo>
                    <a:pt x="6" y="53"/>
                  </a:lnTo>
                  <a:lnTo>
                    <a:pt x="6" y="65"/>
                  </a:lnTo>
                  <a:lnTo>
                    <a:pt x="6" y="71"/>
                  </a:lnTo>
                  <a:lnTo>
                    <a:pt x="6" y="89"/>
                  </a:lnTo>
                  <a:lnTo>
                    <a:pt x="12" y="101"/>
                  </a:lnTo>
                  <a:lnTo>
                    <a:pt x="6" y="119"/>
                  </a:lnTo>
                  <a:lnTo>
                    <a:pt x="6" y="137"/>
                  </a:lnTo>
                  <a:lnTo>
                    <a:pt x="12" y="143"/>
                  </a:lnTo>
                  <a:lnTo>
                    <a:pt x="12" y="15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6" name="Freeform 272">
              <a:extLst>
                <a:ext uri="{FF2B5EF4-FFF2-40B4-BE49-F238E27FC236}">
                  <a16:creationId xmlns:a16="http://schemas.microsoft.com/office/drawing/2014/main" id="{0511E909-8EF1-44BF-A8CE-70B7AB97CB7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2749"/>
              <a:ext cx="30" cy="30"/>
            </a:xfrm>
            <a:custGeom>
              <a:avLst/>
              <a:gdLst>
                <a:gd name="T0" fmla="*/ 18 w 30"/>
                <a:gd name="T1" fmla="*/ 6 h 30"/>
                <a:gd name="T2" fmla="*/ 24 w 30"/>
                <a:gd name="T3" fmla="*/ 18 h 30"/>
                <a:gd name="T4" fmla="*/ 30 w 30"/>
                <a:gd name="T5" fmla="*/ 30 h 30"/>
                <a:gd name="T6" fmla="*/ 30 w 30"/>
                <a:gd name="T7" fmla="*/ 30 h 30"/>
                <a:gd name="T8" fmla="*/ 24 w 30"/>
                <a:gd name="T9" fmla="*/ 30 h 30"/>
                <a:gd name="T10" fmla="*/ 12 w 30"/>
                <a:gd name="T11" fmla="*/ 30 h 30"/>
                <a:gd name="T12" fmla="*/ 6 w 30"/>
                <a:gd name="T13" fmla="*/ 30 h 30"/>
                <a:gd name="T14" fmla="*/ 0 w 30"/>
                <a:gd name="T15" fmla="*/ 30 h 30"/>
                <a:gd name="T16" fmla="*/ 0 w 30"/>
                <a:gd name="T17" fmla="*/ 24 h 30"/>
                <a:gd name="T18" fmla="*/ 6 w 30"/>
                <a:gd name="T19" fmla="*/ 24 h 30"/>
                <a:gd name="T20" fmla="*/ 12 w 30"/>
                <a:gd name="T21" fmla="*/ 24 h 30"/>
                <a:gd name="T22" fmla="*/ 12 w 30"/>
                <a:gd name="T23" fmla="*/ 24 h 30"/>
                <a:gd name="T24" fmla="*/ 6 w 30"/>
                <a:gd name="T25" fmla="*/ 24 h 30"/>
                <a:gd name="T26" fmla="*/ 12 w 30"/>
                <a:gd name="T27" fmla="*/ 24 h 30"/>
                <a:gd name="T28" fmla="*/ 18 w 30"/>
                <a:gd name="T29" fmla="*/ 24 h 30"/>
                <a:gd name="T30" fmla="*/ 24 w 30"/>
                <a:gd name="T31" fmla="*/ 24 h 30"/>
                <a:gd name="T32" fmla="*/ 24 w 30"/>
                <a:gd name="T33" fmla="*/ 24 h 30"/>
                <a:gd name="T34" fmla="*/ 12 w 30"/>
                <a:gd name="T35" fmla="*/ 18 h 30"/>
                <a:gd name="T36" fmla="*/ 18 w 30"/>
                <a:gd name="T37" fmla="*/ 12 h 30"/>
                <a:gd name="T38" fmla="*/ 12 w 30"/>
                <a:gd name="T39" fmla="*/ 12 h 30"/>
                <a:gd name="T40" fmla="*/ 6 w 30"/>
                <a:gd name="T41" fmla="*/ 6 h 30"/>
                <a:gd name="T42" fmla="*/ 12 w 30"/>
                <a:gd name="T43" fmla="*/ 0 h 30"/>
                <a:gd name="T44" fmla="*/ 18 w 30"/>
                <a:gd name="T4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0">
                  <a:moveTo>
                    <a:pt x="18" y="6"/>
                  </a:moveTo>
                  <a:lnTo>
                    <a:pt x="24" y="18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7" name="Freeform 273">
              <a:extLst>
                <a:ext uri="{FF2B5EF4-FFF2-40B4-BE49-F238E27FC236}">
                  <a16:creationId xmlns:a16="http://schemas.microsoft.com/office/drawing/2014/main" id="{86D99857-AEB0-4ACC-8355-F9ADB332D8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2623"/>
              <a:ext cx="6" cy="18"/>
            </a:xfrm>
            <a:custGeom>
              <a:avLst/>
              <a:gdLst>
                <a:gd name="T0" fmla="*/ 0 w 6"/>
                <a:gd name="T1" fmla="*/ 0 h 18"/>
                <a:gd name="T2" fmla="*/ 0 w 6"/>
                <a:gd name="T3" fmla="*/ 0 h 18"/>
                <a:gd name="T4" fmla="*/ 0 w 6"/>
                <a:gd name="T5" fmla="*/ 18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6 h 18"/>
                <a:gd name="T12" fmla="*/ 6 w 6"/>
                <a:gd name="T13" fmla="*/ 6 h 18"/>
                <a:gd name="T14" fmla="*/ 0 w 6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8" name="Freeform 274">
              <a:extLst>
                <a:ext uri="{FF2B5EF4-FFF2-40B4-BE49-F238E27FC236}">
                  <a16:creationId xmlns:a16="http://schemas.microsoft.com/office/drawing/2014/main" id="{2FB6A5E7-97F8-43F6-B57E-675F603F6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2" y="2707"/>
              <a:ext cx="6" cy="18"/>
            </a:xfrm>
            <a:custGeom>
              <a:avLst/>
              <a:gdLst>
                <a:gd name="T0" fmla="*/ 6 w 6"/>
                <a:gd name="T1" fmla="*/ 0 h 18"/>
                <a:gd name="T2" fmla="*/ 0 w 6"/>
                <a:gd name="T3" fmla="*/ 6 h 18"/>
                <a:gd name="T4" fmla="*/ 6 w 6"/>
                <a:gd name="T5" fmla="*/ 12 h 18"/>
                <a:gd name="T6" fmla="*/ 6 w 6"/>
                <a:gd name="T7" fmla="*/ 18 h 18"/>
                <a:gd name="T8" fmla="*/ 6 w 6"/>
                <a:gd name="T9" fmla="*/ 12 h 18"/>
                <a:gd name="T10" fmla="*/ 6 w 6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8">
                  <a:moveTo>
                    <a:pt x="6" y="0"/>
                  </a:moveTo>
                  <a:lnTo>
                    <a:pt x="0" y="6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79" name="Freeform 275">
              <a:extLst>
                <a:ext uri="{FF2B5EF4-FFF2-40B4-BE49-F238E27FC236}">
                  <a16:creationId xmlns:a16="http://schemas.microsoft.com/office/drawing/2014/main" id="{07DCB20A-2B4E-4E71-B6F5-FCE2B516C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090"/>
              <a:ext cx="66" cy="78"/>
            </a:xfrm>
            <a:custGeom>
              <a:avLst/>
              <a:gdLst>
                <a:gd name="T0" fmla="*/ 0 w 66"/>
                <a:gd name="T1" fmla="*/ 30 h 78"/>
                <a:gd name="T2" fmla="*/ 0 w 66"/>
                <a:gd name="T3" fmla="*/ 42 h 78"/>
                <a:gd name="T4" fmla="*/ 0 w 66"/>
                <a:gd name="T5" fmla="*/ 42 h 78"/>
                <a:gd name="T6" fmla="*/ 6 w 66"/>
                <a:gd name="T7" fmla="*/ 48 h 78"/>
                <a:gd name="T8" fmla="*/ 12 w 66"/>
                <a:gd name="T9" fmla="*/ 42 h 78"/>
                <a:gd name="T10" fmla="*/ 12 w 66"/>
                <a:gd name="T11" fmla="*/ 48 h 78"/>
                <a:gd name="T12" fmla="*/ 12 w 66"/>
                <a:gd name="T13" fmla="*/ 54 h 78"/>
                <a:gd name="T14" fmla="*/ 6 w 66"/>
                <a:gd name="T15" fmla="*/ 60 h 78"/>
                <a:gd name="T16" fmla="*/ 6 w 66"/>
                <a:gd name="T17" fmla="*/ 66 h 78"/>
                <a:gd name="T18" fmla="*/ 6 w 66"/>
                <a:gd name="T19" fmla="*/ 72 h 78"/>
                <a:gd name="T20" fmla="*/ 12 w 66"/>
                <a:gd name="T21" fmla="*/ 66 h 78"/>
                <a:gd name="T22" fmla="*/ 24 w 66"/>
                <a:gd name="T23" fmla="*/ 78 h 78"/>
                <a:gd name="T24" fmla="*/ 24 w 66"/>
                <a:gd name="T25" fmla="*/ 72 h 78"/>
                <a:gd name="T26" fmla="*/ 24 w 66"/>
                <a:gd name="T27" fmla="*/ 66 h 78"/>
                <a:gd name="T28" fmla="*/ 30 w 66"/>
                <a:gd name="T29" fmla="*/ 60 h 78"/>
                <a:gd name="T30" fmla="*/ 30 w 66"/>
                <a:gd name="T31" fmla="*/ 54 h 78"/>
                <a:gd name="T32" fmla="*/ 30 w 66"/>
                <a:gd name="T33" fmla="*/ 54 h 78"/>
                <a:gd name="T34" fmla="*/ 30 w 66"/>
                <a:gd name="T35" fmla="*/ 60 h 78"/>
                <a:gd name="T36" fmla="*/ 36 w 66"/>
                <a:gd name="T37" fmla="*/ 60 h 78"/>
                <a:gd name="T38" fmla="*/ 30 w 66"/>
                <a:gd name="T39" fmla="*/ 54 h 78"/>
                <a:gd name="T40" fmla="*/ 36 w 66"/>
                <a:gd name="T41" fmla="*/ 54 h 78"/>
                <a:gd name="T42" fmla="*/ 42 w 66"/>
                <a:gd name="T43" fmla="*/ 48 h 78"/>
                <a:gd name="T44" fmla="*/ 54 w 66"/>
                <a:gd name="T45" fmla="*/ 42 h 78"/>
                <a:gd name="T46" fmla="*/ 60 w 66"/>
                <a:gd name="T47" fmla="*/ 30 h 78"/>
                <a:gd name="T48" fmla="*/ 66 w 66"/>
                <a:gd name="T49" fmla="*/ 30 h 78"/>
                <a:gd name="T50" fmla="*/ 60 w 66"/>
                <a:gd name="T51" fmla="*/ 18 h 78"/>
                <a:gd name="T52" fmla="*/ 60 w 66"/>
                <a:gd name="T53" fmla="*/ 18 h 78"/>
                <a:gd name="T54" fmla="*/ 48 w 66"/>
                <a:gd name="T55" fmla="*/ 12 h 78"/>
                <a:gd name="T56" fmla="*/ 42 w 66"/>
                <a:gd name="T57" fmla="*/ 12 h 78"/>
                <a:gd name="T58" fmla="*/ 30 w 66"/>
                <a:gd name="T59" fmla="*/ 6 h 78"/>
                <a:gd name="T60" fmla="*/ 24 w 66"/>
                <a:gd name="T61" fmla="*/ 0 h 78"/>
                <a:gd name="T62" fmla="*/ 18 w 66"/>
                <a:gd name="T63" fmla="*/ 0 h 78"/>
                <a:gd name="T64" fmla="*/ 12 w 66"/>
                <a:gd name="T65" fmla="*/ 6 h 78"/>
                <a:gd name="T66" fmla="*/ 6 w 66"/>
                <a:gd name="T67" fmla="*/ 18 h 78"/>
                <a:gd name="T68" fmla="*/ 6 w 66"/>
                <a:gd name="T69" fmla="*/ 24 h 78"/>
                <a:gd name="T70" fmla="*/ 0 w 66"/>
                <a:gd name="T71" fmla="*/ 3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" h="78">
                  <a:moveTo>
                    <a:pt x="0" y="30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72"/>
                  </a:lnTo>
                  <a:lnTo>
                    <a:pt x="12" y="66"/>
                  </a:lnTo>
                  <a:lnTo>
                    <a:pt x="24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2" y="48"/>
                  </a:lnTo>
                  <a:lnTo>
                    <a:pt x="54" y="42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0" name="Freeform 276">
              <a:extLst>
                <a:ext uri="{FF2B5EF4-FFF2-40B4-BE49-F238E27FC236}">
                  <a16:creationId xmlns:a16="http://schemas.microsoft.com/office/drawing/2014/main" id="{C23AEA58-F20B-4117-9CA6-D7B2CD0EC8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1" y="2102"/>
              <a:ext cx="6" cy="12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12 h 12"/>
                <a:gd name="T4" fmla="*/ 0 w 6"/>
                <a:gd name="T5" fmla="*/ 12 h 12"/>
                <a:gd name="T6" fmla="*/ 6 w 6"/>
                <a:gd name="T7" fmla="*/ 12 h 12"/>
                <a:gd name="T8" fmla="*/ 0 w 6"/>
                <a:gd name="T9" fmla="*/ 0 h 12"/>
                <a:gd name="T10" fmla="*/ 0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1" name="Freeform 277">
              <a:extLst>
                <a:ext uri="{FF2B5EF4-FFF2-40B4-BE49-F238E27FC236}">
                  <a16:creationId xmlns:a16="http://schemas.microsoft.com/office/drawing/2014/main" id="{D6D94700-447F-475E-8587-39A30FAC5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" y="2138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2" name="Freeform 278">
              <a:extLst>
                <a:ext uri="{FF2B5EF4-FFF2-40B4-BE49-F238E27FC236}">
                  <a16:creationId xmlns:a16="http://schemas.microsoft.com/office/drawing/2014/main" id="{D33DB177-9343-4FD2-92AC-70FF6BBC1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17" y="2114"/>
              <a:ext cx="6" cy="1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3" name="Freeform 279">
              <a:extLst>
                <a:ext uri="{FF2B5EF4-FFF2-40B4-BE49-F238E27FC236}">
                  <a16:creationId xmlns:a16="http://schemas.microsoft.com/office/drawing/2014/main" id="{00A2085A-0419-4D06-BC29-E99D37970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4" y="2102"/>
              <a:ext cx="144" cy="228"/>
            </a:xfrm>
            <a:custGeom>
              <a:avLst/>
              <a:gdLst>
                <a:gd name="T0" fmla="*/ 138 w 144"/>
                <a:gd name="T1" fmla="*/ 180 h 228"/>
                <a:gd name="T2" fmla="*/ 138 w 144"/>
                <a:gd name="T3" fmla="*/ 204 h 228"/>
                <a:gd name="T4" fmla="*/ 138 w 144"/>
                <a:gd name="T5" fmla="*/ 216 h 228"/>
                <a:gd name="T6" fmla="*/ 132 w 144"/>
                <a:gd name="T7" fmla="*/ 222 h 228"/>
                <a:gd name="T8" fmla="*/ 126 w 144"/>
                <a:gd name="T9" fmla="*/ 228 h 228"/>
                <a:gd name="T10" fmla="*/ 114 w 144"/>
                <a:gd name="T11" fmla="*/ 216 h 228"/>
                <a:gd name="T12" fmla="*/ 96 w 144"/>
                <a:gd name="T13" fmla="*/ 210 h 228"/>
                <a:gd name="T14" fmla="*/ 78 w 144"/>
                <a:gd name="T15" fmla="*/ 198 h 228"/>
                <a:gd name="T16" fmla="*/ 60 w 144"/>
                <a:gd name="T17" fmla="*/ 180 h 228"/>
                <a:gd name="T18" fmla="*/ 54 w 144"/>
                <a:gd name="T19" fmla="*/ 156 h 228"/>
                <a:gd name="T20" fmla="*/ 42 w 144"/>
                <a:gd name="T21" fmla="*/ 138 h 228"/>
                <a:gd name="T22" fmla="*/ 30 w 144"/>
                <a:gd name="T23" fmla="*/ 120 h 228"/>
                <a:gd name="T24" fmla="*/ 18 w 144"/>
                <a:gd name="T25" fmla="*/ 102 h 228"/>
                <a:gd name="T26" fmla="*/ 6 w 144"/>
                <a:gd name="T27" fmla="*/ 84 h 228"/>
                <a:gd name="T28" fmla="*/ 0 w 144"/>
                <a:gd name="T29" fmla="*/ 78 h 228"/>
                <a:gd name="T30" fmla="*/ 0 w 144"/>
                <a:gd name="T31" fmla="*/ 54 h 228"/>
                <a:gd name="T32" fmla="*/ 6 w 144"/>
                <a:gd name="T33" fmla="*/ 54 h 228"/>
                <a:gd name="T34" fmla="*/ 12 w 144"/>
                <a:gd name="T35" fmla="*/ 54 h 228"/>
                <a:gd name="T36" fmla="*/ 24 w 144"/>
                <a:gd name="T37" fmla="*/ 60 h 228"/>
                <a:gd name="T38" fmla="*/ 30 w 144"/>
                <a:gd name="T39" fmla="*/ 48 h 228"/>
                <a:gd name="T40" fmla="*/ 30 w 144"/>
                <a:gd name="T41" fmla="*/ 42 h 228"/>
                <a:gd name="T42" fmla="*/ 36 w 144"/>
                <a:gd name="T43" fmla="*/ 48 h 228"/>
                <a:gd name="T44" fmla="*/ 36 w 144"/>
                <a:gd name="T45" fmla="*/ 42 h 228"/>
                <a:gd name="T46" fmla="*/ 54 w 144"/>
                <a:gd name="T47" fmla="*/ 30 h 228"/>
                <a:gd name="T48" fmla="*/ 66 w 144"/>
                <a:gd name="T49" fmla="*/ 18 h 228"/>
                <a:gd name="T50" fmla="*/ 60 w 144"/>
                <a:gd name="T51" fmla="*/ 6 h 228"/>
                <a:gd name="T52" fmla="*/ 66 w 144"/>
                <a:gd name="T53" fmla="*/ 12 h 228"/>
                <a:gd name="T54" fmla="*/ 84 w 144"/>
                <a:gd name="T55" fmla="*/ 24 h 228"/>
                <a:gd name="T56" fmla="*/ 102 w 144"/>
                <a:gd name="T57" fmla="*/ 30 h 228"/>
                <a:gd name="T58" fmla="*/ 120 w 144"/>
                <a:gd name="T59" fmla="*/ 36 h 228"/>
                <a:gd name="T60" fmla="*/ 120 w 144"/>
                <a:gd name="T61" fmla="*/ 54 h 228"/>
                <a:gd name="T62" fmla="*/ 108 w 144"/>
                <a:gd name="T63" fmla="*/ 60 h 228"/>
                <a:gd name="T64" fmla="*/ 90 w 144"/>
                <a:gd name="T65" fmla="*/ 66 h 228"/>
                <a:gd name="T66" fmla="*/ 84 w 144"/>
                <a:gd name="T67" fmla="*/ 84 h 228"/>
                <a:gd name="T68" fmla="*/ 84 w 144"/>
                <a:gd name="T69" fmla="*/ 102 h 228"/>
                <a:gd name="T70" fmla="*/ 90 w 144"/>
                <a:gd name="T71" fmla="*/ 120 h 228"/>
                <a:gd name="T72" fmla="*/ 102 w 144"/>
                <a:gd name="T73" fmla="*/ 126 h 228"/>
                <a:gd name="T74" fmla="*/ 114 w 144"/>
                <a:gd name="T75" fmla="*/ 120 h 228"/>
                <a:gd name="T76" fmla="*/ 120 w 144"/>
                <a:gd name="T77" fmla="*/ 138 h 228"/>
                <a:gd name="T78" fmla="*/ 132 w 144"/>
                <a:gd name="T79" fmla="*/ 150 h 228"/>
                <a:gd name="T80" fmla="*/ 138 w 144"/>
                <a:gd name="T81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4" h="228">
                  <a:moveTo>
                    <a:pt x="138" y="174"/>
                  </a:moveTo>
                  <a:lnTo>
                    <a:pt x="138" y="180"/>
                  </a:lnTo>
                  <a:lnTo>
                    <a:pt x="138" y="192"/>
                  </a:lnTo>
                  <a:lnTo>
                    <a:pt x="138" y="204"/>
                  </a:lnTo>
                  <a:lnTo>
                    <a:pt x="144" y="204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26" y="228"/>
                  </a:lnTo>
                  <a:lnTo>
                    <a:pt x="120" y="222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78" y="198"/>
                  </a:lnTo>
                  <a:lnTo>
                    <a:pt x="66" y="186"/>
                  </a:lnTo>
                  <a:lnTo>
                    <a:pt x="60" y="180"/>
                  </a:lnTo>
                  <a:lnTo>
                    <a:pt x="60" y="174"/>
                  </a:lnTo>
                  <a:lnTo>
                    <a:pt x="54" y="156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08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12"/>
                  </a:lnTo>
                  <a:lnTo>
                    <a:pt x="78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6"/>
                  </a:lnTo>
                  <a:lnTo>
                    <a:pt x="114" y="48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08" y="60"/>
                  </a:lnTo>
                  <a:lnTo>
                    <a:pt x="102" y="60"/>
                  </a:lnTo>
                  <a:lnTo>
                    <a:pt x="90" y="66"/>
                  </a:lnTo>
                  <a:lnTo>
                    <a:pt x="90" y="72"/>
                  </a:lnTo>
                  <a:lnTo>
                    <a:pt x="84" y="84"/>
                  </a:lnTo>
                  <a:lnTo>
                    <a:pt x="78" y="96"/>
                  </a:lnTo>
                  <a:lnTo>
                    <a:pt x="84" y="102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8"/>
                  </a:lnTo>
                  <a:lnTo>
                    <a:pt x="132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8" y="17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4" name="Freeform 280">
              <a:extLst>
                <a:ext uri="{FF2B5EF4-FFF2-40B4-BE49-F238E27FC236}">
                  <a16:creationId xmlns:a16="http://schemas.microsoft.com/office/drawing/2014/main" id="{18ECAD28-8734-4071-898C-F19AE625DA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449"/>
              <a:ext cx="557" cy="408"/>
            </a:xfrm>
            <a:custGeom>
              <a:avLst/>
              <a:gdLst>
                <a:gd name="T0" fmla="*/ 216 w 557"/>
                <a:gd name="T1" fmla="*/ 306 h 408"/>
                <a:gd name="T2" fmla="*/ 168 w 557"/>
                <a:gd name="T3" fmla="*/ 312 h 408"/>
                <a:gd name="T4" fmla="*/ 138 w 557"/>
                <a:gd name="T5" fmla="*/ 294 h 408"/>
                <a:gd name="T6" fmla="*/ 102 w 557"/>
                <a:gd name="T7" fmla="*/ 282 h 408"/>
                <a:gd name="T8" fmla="*/ 78 w 557"/>
                <a:gd name="T9" fmla="*/ 252 h 408"/>
                <a:gd name="T10" fmla="*/ 66 w 557"/>
                <a:gd name="T11" fmla="*/ 228 h 408"/>
                <a:gd name="T12" fmla="*/ 54 w 557"/>
                <a:gd name="T13" fmla="*/ 216 h 408"/>
                <a:gd name="T14" fmla="*/ 12 w 557"/>
                <a:gd name="T15" fmla="*/ 198 h 408"/>
                <a:gd name="T16" fmla="*/ 0 w 557"/>
                <a:gd name="T17" fmla="*/ 180 h 408"/>
                <a:gd name="T18" fmla="*/ 18 w 557"/>
                <a:gd name="T19" fmla="*/ 156 h 408"/>
                <a:gd name="T20" fmla="*/ 48 w 557"/>
                <a:gd name="T21" fmla="*/ 126 h 408"/>
                <a:gd name="T22" fmla="*/ 36 w 557"/>
                <a:gd name="T23" fmla="*/ 102 h 408"/>
                <a:gd name="T24" fmla="*/ 54 w 557"/>
                <a:gd name="T25" fmla="*/ 72 h 408"/>
                <a:gd name="T26" fmla="*/ 84 w 557"/>
                <a:gd name="T27" fmla="*/ 48 h 408"/>
                <a:gd name="T28" fmla="*/ 120 w 557"/>
                <a:gd name="T29" fmla="*/ 66 h 408"/>
                <a:gd name="T30" fmla="*/ 162 w 557"/>
                <a:gd name="T31" fmla="*/ 102 h 408"/>
                <a:gd name="T32" fmla="*/ 222 w 557"/>
                <a:gd name="T33" fmla="*/ 126 h 408"/>
                <a:gd name="T34" fmla="*/ 281 w 557"/>
                <a:gd name="T35" fmla="*/ 138 h 408"/>
                <a:gd name="T36" fmla="*/ 329 w 557"/>
                <a:gd name="T37" fmla="*/ 132 h 408"/>
                <a:gd name="T38" fmla="*/ 347 w 557"/>
                <a:gd name="T39" fmla="*/ 96 h 408"/>
                <a:gd name="T40" fmla="*/ 395 w 557"/>
                <a:gd name="T41" fmla="*/ 78 h 408"/>
                <a:gd name="T42" fmla="*/ 377 w 557"/>
                <a:gd name="T43" fmla="*/ 66 h 408"/>
                <a:gd name="T44" fmla="*/ 359 w 557"/>
                <a:gd name="T45" fmla="*/ 42 h 408"/>
                <a:gd name="T46" fmla="*/ 371 w 557"/>
                <a:gd name="T47" fmla="*/ 6 h 408"/>
                <a:gd name="T48" fmla="*/ 425 w 557"/>
                <a:gd name="T49" fmla="*/ 6 h 408"/>
                <a:gd name="T50" fmla="*/ 473 w 557"/>
                <a:gd name="T51" fmla="*/ 42 h 408"/>
                <a:gd name="T52" fmla="*/ 545 w 557"/>
                <a:gd name="T53" fmla="*/ 60 h 408"/>
                <a:gd name="T54" fmla="*/ 539 w 557"/>
                <a:gd name="T55" fmla="*/ 102 h 408"/>
                <a:gd name="T56" fmla="*/ 539 w 557"/>
                <a:gd name="T57" fmla="*/ 126 h 408"/>
                <a:gd name="T58" fmla="*/ 521 w 557"/>
                <a:gd name="T59" fmla="*/ 138 h 408"/>
                <a:gd name="T60" fmla="*/ 497 w 557"/>
                <a:gd name="T61" fmla="*/ 168 h 408"/>
                <a:gd name="T62" fmla="*/ 479 w 557"/>
                <a:gd name="T63" fmla="*/ 156 h 408"/>
                <a:gd name="T64" fmla="*/ 449 w 557"/>
                <a:gd name="T65" fmla="*/ 174 h 408"/>
                <a:gd name="T66" fmla="*/ 473 w 557"/>
                <a:gd name="T67" fmla="*/ 192 h 408"/>
                <a:gd name="T68" fmla="*/ 497 w 557"/>
                <a:gd name="T69" fmla="*/ 198 h 408"/>
                <a:gd name="T70" fmla="*/ 497 w 557"/>
                <a:gd name="T71" fmla="*/ 234 h 408"/>
                <a:gd name="T72" fmla="*/ 509 w 557"/>
                <a:gd name="T73" fmla="*/ 258 h 408"/>
                <a:gd name="T74" fmla="*/ 521 w 557"/>
                <a:gd name="T75" fmla="*/ 282 h 408"/>
                <a:gd name="T76" fmla="*/ 533 w 557"/>
                <a:gd name="T77" fmla="*/ 294 h 408"/>
                <a:gd name="T78" fmla="*/ 533 w 557"/>
                <a:gd name="T79" fmla="*/ 306 h 408"/>
                <a:gd name="T80" fmla="*/ 521 w 557"/>
                <a:gd name="T81" fmla="*/ 330 h 408"/>
                <a:gd name="T82" fmla="*/ 521 w 557"/>
                <a:gd name="T83" fmla="*/ 336 h 408"/>
                <a:gd name="T84" fmla="*/ 515 w 557"/>
                <a:gd name="T85" fmla="*/ 348 h 408"/>
                <a:gd name="T86" fmla="*/ 509 w 557"/>
                <a:gd name="T87" fmla="*/ 360 h 408"/>
                <a:gd name="T88" fmla="*/ 485 w 557"/>
                <a:gd name="T89" fmla="*/ 372 h 408"/>
                <a:gd name="T90" fmla="*/ 473 w 557"/>
                <a:gd name="T91" fmla="*/ 378 h 408"/>
                <a:gd name="T92" fmla="*/ 461 w 557"/>
                <a:gd name="T93" fmla="*/ 378 h 408"/>
                <a:gd name="T94" fmla="*/ 455 w 557"/>
                <a:gd name="T95" fmla="*/ 384 h 408"/>
                <a:gd name="T96" fmla="*/ 437 w 557"/>
                <a:gd name="T97" fmla="*/ 396 h 408"/>
                <a:gd name="T98" fmla="*/ 425 w 557"/>
                <a:gd name="T99" fmla="*/ 390 h 408"/>
                <a:gd name="T100" fmla="*/ 401 w 557"/>
                <a:gd name="T101" fmla="*/ 384 h 408"/>
                <a:gd name="T102" fmla="*/ 365 w 557"/>
                <a:gd name="T103" fmla="*/ 378 h 408"/>
                <a:gd name="T104" fmla="*/ 353 w 557"/>
                <a:gd name="T105" fmla="*/ 378 h 408"/>
                <a:gd name="T106" fmla="*/ 335 w 557"/>
                <a:gd name="T107" fmla="*/ 390 h 408"/>
                <a:gd name="T108" fmla="*/ 317 w 557"/>
                <a:gd name="T109" fmla="*/ 378 h 408"/>
                <a:gd name="T110" fmla="*/ 293 w 557"/>
                <a:gd name="T111" fmla="*/ 360 h 408"/>
                <a:gd name="T112" fmla="*/ 299 w 557"/>
                <a:gd name="T113" fmla="*/ 324 h 408"/>
                <a:gd name="T114" fmla="*/ 269 w 557"/>
                <a:gd name="T115" fmla="*/ 300 h 408"/>
                <a:gd name="T116" fmla="*/ 257 w 557"/>
                <a:gd name="T117" fmla="*/ 29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7" h="408">
                  <a:moveTo>
                    <a:pt x="246" y="294"/>
                  </a:moveTo>
                  <a:lnTo>
                    <a:pt x="240" y="300"/>
                  </a:lnTo>
                  <a:lnTo>
                    <a:pt x="228" y="306"/>
                  </a:lnTo>
                  <a:lnTo>
                    <a:pt x="222" y="312"/>
                  </a:lnTo>
                  <a:lnTo>
                    <a:pt x="216" y="306"/>
                  </a:lnTo>
                  <a:lnTo>
                    <a:pt x="198" y="306"/>
                  </a:lnTo>
                  <a:lnTo>
                    <a:pt x="192" y="318"/>
                  </a:lnTo>
                  <a:lnTo>
                    <a:pt x="186" y="306"/>
                  </a:lnTo>
                  <a:lnTo>
                    <a:pt x="186" y="312"/>
                  </a:lnTo>
                  <a:lnTo>
                    <a:pt x="168" y="312"/>
                  </a:lnTo>
                  <a:lnTo>
                    <a:pt x="162" y="306"/>
                  </a:lnTo>
                  <a:lnTo>
                    <a:pt x="150" y="306"/>
                  </a:lnTo>
                  <a:lnTo>
                    <a:pt x="150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14" y="282"/>
                  </a:lnTo>
                  <a:lnTo>
                    <a:pt x="108" y="276"/>
                  </a:lnTo>
                  <a:lnTo>
                    <a:pt x="102" y="282"/>
                  </a:lnTo>
                  <a:lnTo>
                    <a:pt x="102" y="282"/>
                  </a:lnTo>
                  <a:lnTo>
                    <a:pt x="90" y="276"/>
                  </a:lnTo>
                  <a:lnTo>
                    <a:pt x="78" y="270"/>
                  </a:lnTo>
                  <a:lnTo>
                    <a:pt x="72" y="264"/>
                  </a:lnTo>
                  <a:lnTo>
                    <a:pt x="72" y="252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72" y="240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66" y="228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36" y="210"/>
                  </a:lnTo>
                  <a:lnTo>
                    <a:pt x="30" y="210"/>
                  </a:lnTo>
                  <a:lnTo>
                    <a:pt x="24" y="198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2" y="180"/>
                  </a:lnTo>
                  <a:lnTo>
                    <a:pt x="0" y="180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50"/>
                  </a:lnTo>
                  <a:lnTo>
                    <a:pt x="36" y="144"/>
                  </a:lnTo>
                  <a:lnTo>
                    <a:pt x="42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4" y="84"/>
                  </a:lnTo>
                  <a:lnTo>
                    <a:pt x="54" y="72"/>
                  </a:lnTo>
                  <a:lnTo>
                    <a:pt x="72" y="78"/>
                  </a:lnTo>
                  <a:lnTo>
                    <a:pt x="78" y="72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108" y="66"/>
                  </a:lnTo>
                  <a:lnTo>
                    <a:pt x="120" y="66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38" y="96"/>
                  </a:lnTo>
                  <a:lnTo>
                    <a:pt x="150" y="96"/>
                  </a:lnTo>
                  <a:lnTo>
                    <a:pt x="162" y="102"/>
                  </a:lnTo>
                  <a:lnTo>
                    <a:pt x="180" y="102"/>
                  </a:lnTo>
                  <a:lnTo>
                    <a:pt x="192" y="108"/>
                  </a:lnTo>
                  <a:lnTo>
                    <a:pt x="204" y="120"/>
                  </a:lnTo>
                  <a:lnTo>
                    <a:pt x="210" y="126"/>
                  </a:lnTo>
                  <a:lnTo>
                    <a:pt x="222" y="126"/>
                  </a:lnTo>
                  <a:lnTo>
                    <a:pt x="240" y="132"/>
                  </a:lnTo>
                  <a:lnTo>
                    <a:pt x="252" y="132"/>
                  </a:lnTo>
                  <a:lnTo>
                    <a:pt x="263" y="132"/>
                  </a:lnTo>
                  <a:lnTo>
                    <a:pt x="269" y="132"/>
                  </a:lnTo>
                  <a:lnTo>
                    <a:pt x="281" y="138"/>
                  </a:lnTo>
                  <a:lnTo>
                    <a:pt x="293" y="138"/>
                  </a:lnTo>
                  <a:lnTo>
                    <a:pt x="299" y="144"/>
                  </a:lnTo>
                  <a:lnTo>
                    <a:pt x="305" y="138"/>
                  </a:lnTo>
                  <a:lnTo>
                    <a:pt x="317" y="132"/>
                  </a:lnTo>
                  <a:lnTo>
                    <a:pt x="329" y="132"/>
                  </a:lnTo>
                  <a:lnTo>
                    <a:pt x="341" y="132"/>
                  </a:lnTo>
                  <a:lnTo>
                    <a:pt x="347" y="126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47" y="96"/>
                  </a:lnTo>
                  <a:lnTo>
                    <a:pt x="365" y="102"/>
                  </a:lnTo>
                  <a:lnTo>
                    <a:pt x="371" y="96"/>
                  </a:lnTo>
                  <a:lnTo>
                    <a:pt x="383" y="96"/>
                  </a:lnTo>
                  <a:lnTo>
                    <a:pt x="383" y="84"/>
                  </a:lnTo>
                  <a:lnTo>
                    <a:pt x="395" y="78"/>
                  </a:lnTo>
                  <a:lnTo>
                    <a:pt x="413" y="78"/>
                  </a:lnTo>
                  <a:lnTo>
                    <a:pt x="413" y="72"/>
                  </a:lnTo>
                  <a:lnTo>
                    <a:pt x="389" y="66"/>
                  </a:lnTo>
                  <a:lnTo>
                    <a:pt x="383" y="66"/>
                  </a:lnTo>
                  <a:lnTo>
                    <a:pt x="377" y="66"/>
                  </a:lnTo>
                  <a:lnTo>
                    <a:pt x="371" y="66"/>
                  </a:lnTo>
                  <a:lnTo>
                    <a:pt x="359" y="60"/>
                  </a:lnTo>
                  <a:lnTo>
                    <a:pt x="365" y="60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83" y="36"/>
                  </a:lnTo>
                  <a:lnTo>
                    <a:pt x="377" y="30"/>
                  </a:lnTo>
                  <a:lnTo>
                    <a:pt x="377" y="12"/>
                  </a:lnTo>
                  <a:lnTo>
                    <a:pt x="371" y="6"/>
                  </a:lnTo>
                  <a:lnTo>
                    <a:pt x="365" y="6"/>
                  </a:lnTo>
                  <a:lnTo>
                    <a:pt x="377" y="0"/>
                  </a:lnTo>
                  <a:lnTo>
                    <a:pt x="389" y="0"/>
                  </a:lnTo>
                  <a:lnTo>
                    <a:pt x="401" y="0"/>
                  </a:lnTo>
                  <a:lnTo>
                    <a:pt x="425" y="6"/>
                  </a:lnTo>
                  <a:lnTo>
                    <a:pt x="437" y="18"/>
                  </a:lnTo>
                  <a:lnTo>
                    <a:pt x="443" y="24"/>
                  </a:lnTo>
                  <a:lnTo>
                    <a:pt x="455" y="30"/>
                  </a:lnTo>
                  <a:lnTo>
                    <a:pt x="467" y="42"/>
                  </a:lnTo>
                  <a:lnTo>
                    <a:pt x="473" y="42"/>
                  </a:lnTo>
                  <a:lnTo>
                    <a:pt x="491" y="48"/>
                  </a:lnTo>
                  <a:lnTo>
                    <a:pt x="503" y="54"/>
                  </a:lnTo>
                  <a:lnTo>
                    <a:pt x="515" y="66"/>
                  </a:lnTo>
                  <a:lnTo>
                    <a:pt x="533" y="66"/>
                  </a:lnTo>
                  <a:lnTo>
                    <a:pt x="545" y="60"/>
                  </a:lnTo>
                  <a:lnTo>
                    <a:pt x="551" y="72"/>
                  </a:lnTo>
                  <a:lnTo>
                    <a:pt x="551" y="84"/>
                  </a:lnTo>
                  <a:lnTo>
                    <a:pt x="557" y="102"/>
                  </a:lnTo>
                  <a:lnTo>
                    <a:pt x="539" y="96"/>
                  </a:lnTo>
                  <a:lnTo>
                    <a:pt x="539" y="102"/>
                  </a:lnTo>
                  <a:lnTo>
                    <a:pt x="545" y="114"/>
                  </a:lnTo>
                  <a:lnTo>
                    <a:pt x="551" y="126"/>
                  </a:lnTo>
                  <a:lnTo>
                    <a:pt x="551" y="126"/>
                  </a:lnTo>
                  <a:lnTo>
                    <a:pt x="551" y="132"/>
                  </a:lnTo>
                  <a:lnTo>
                    <a:pt x="539" y="126"/>
                  </a:lnTo>
                  <a:lnTo>
                    <a:pt x="539" y="132"/>
                  </a:lnTo>
                  <a:lnTo>
                    <a:pt x="533" y="138"/>
                  </a:lnTo>
                  <a:lnTo>
                    <a:pt x="533" y="138"/>
                  </a:lnTo>
                  <a:lnTo>
                    <a:pt x="533" y="144"/>
                  </a:lnTo>
                  <a:lnTo>
                    <a:pt x="521" y="138"/>
                  </a:lnTo>
                  <a:lnTo>
                    <a:pt x="515" y="144"/>
                  </a:lnTo>
                  <a:lnTo>
                    <a:pt x="509" y="156"/>
                  </a:lnTo>
                  <a:lnTo>
                    <a:pt x="503" y="162"/>
                  </a:lnTo>
                  <a:lnTo>
                    <a:pt x="503" y="162"/>
                  </a:lnTo>
                  <a:lnTo>
                    <a:pt x="497" y="168"/>
                  </a:lnTo>
                  <a:lnTo>
                    <a:pt x="485" y="174"/>
                  </a:lnTo>
                  <a:lnTo>
                    <a:pt x="479" y="174"/>
                  </a:lnTo>
                  <a:lnTo>
                    <a:pt x="485" y="168"/>
                  </a:lnTo>
                  <a:lnTo>
                    <a:pt x="479" y="168"/>
                  </a:lnTo>
                  <a:lnTo>
                    <a:pt x="479" y="156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1" y="162"/>
                  </a:lnTo>
                  <a:lnTo>
                    <a:pt x="455" y="168"/>
                  </a:lnTo>
                  <a:lnTo>
                    <a:pt x="449" y="174"/>
                  </a:lnTo>
                  <a:lnTo>
                    <a:pt x="443" y="174"/>
                  </a:lnTo>
                  <a:lnTo>
                    <a:pt x="449" y="180"/>
                  </a:lnTo>
                  <a:lnTo>
                    <a:pt x="461" y="186"/>
                  </a:lnTo>
                  <a:lnTo>
                    <a:pt x="467" y="198"/>
                  </a:lnTo>
                  <a:lnTo>
                    <a:pt x="473" y="192"/>
                  </a:lnTo>
                  <a:lnTo>
                    <a:pt x="485" y="186"/>
                  </a:lnTo>
                  <a:lnTo>
                    <a:pt x="497" y="192"/>
                  </a:lnTo>
                  <a:lnTo>
                    <a:pt x="503" y="192"/>
                  </a:lnTo>
                  <a:lnTo>
                    <a:pt x="503" y="198"/>
                  </a:lnTo>
                  <a:lnTo>
                    <a:pt x="497" y="198"/>
                  </a:lnTo>
                  <a:lnTo>
                    <a:pt x="491" y="204"/>
                  </a:lnTo>
                  <a:lnTo>
                    <a:pt x="485" y="210"/>
                  </a:lnTo>
                  <a:lnTo>
                    <a:pt x="485" y="216"/>
                  </a:lnTo>
                  <a:lnTo>
                    <a:pt x="485" y="228"/>
                  </a:lnTo>
                  <a:lnTo>
                    <a:pt x="497" y="234"/>
                  </a:lnTo>
                  <a:lnTo>
                    <a:pt x="503" y="246"/>
                  </a:lnTo>
                  <a:lnTo>
                    <a:pt x="515" y="252"/>
                  </a:lnTo>
                  <a:lnTo>
                    <a:pt x="521" y="264"/>
                  </a:lnTo>
                  <a:lnTo>
                    <a:pt x="509" y="258"/>
                  </a:lnTo>
                  <a:lnTo>
                    <a:pt x="509" y="258"/>
                  </a:lnTo>
                  <a:lnTo>
                    <a:pt x="521" y="264"/>
                  </a:lnTo>
                  <a:lnTo>
                    <a:pt x="527" y="270"/>
                  </a:lnTo>
                  <a:lnTo>
                    <a:pt x="521" y="282"/>
                  </a:lnTo>
                  <a:lnTo>
                    <a:pt x="515" y="282"/>
                  </a:lnTo>
                  <a:lnTo>
                    <a:pt x="521" y="282"/>
                  </a:lnTo>
                  <a:lnTo>
                    <a:pt x="527" y="282"/>
                  </a:lnTo>
                  <a:lnTo>
                    <a:pt x="533" y="288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294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0"/>
                  </a:lnTo>
                  <a:lnTo>
                    <a:pt x="533" y="306"/>
                  </a:lnTo>
                  <a:lnTo>
                    <a:pt x="533" y="306"/>
                  </a:lnTo>
                  <a:lnTo>
                    <a:pt x="527" y="306"/>
                  </a:lnTo>
                  <a:lnTo>
                    <a:pt x="527" y="312"/>
                  </a:lnTo>
                  <a:lnTo>
                    <a:pt x="527" y="318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6"/>
                  </a:lnTo>
                  <a:lnTo>
                    <a:pt x="515" y="336"/>
                  </a:lnTo>
                  <a:lnTo>
                    <a:pt x="521" y="336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15" y="348"/>
                  </a:lnTo>
                  <a:lnTo>
                    <a:pt x="515" y="348"/>
                  </a:lnTo>
                  <a:lnTo>
                    <a:pt x="515" y="354"/>
                  </a:lnTo>
                  <a:lnTo>
                    <a:pt x="509" y="354"/>
                  </a:lnTo>
                  <a:lnTo>
                    <a:pt x="509" y="354"/>
                  </a:lnTo>
                  <a:lnTo>
                    <a:pt x="509" y="360"/>
                  </a:lnTo>
                  <a:lnTo>
                    <a:pt x="509" y="360"/>
                  </a:lnTo>
                  <a:lnTo>
                    <a:pt x="497" y="366"/>
                  </a:lnTo>
                  <a:lnTo>
                    <a:pt x="497" y="366"/>
                  </a:lnTo>
                  <a:lnTo>
                    <a:pt x="497" y="372"/>
                  </a:lnTo>
                  <a:lnTo>
                    <a:pt x="491" y="372"/>
                  </a:lnTo>
                  <a:lnTo>
                    <a:pt x="485" y="372"/>
                  </a:lnTo>
                  <a:lnTo>
                    <a:pt x="485" y="372"/>
                  </a:lnTo>
                  <a:lnTo>
                    <a:pt x="479" y="378"/>
                  </a:lnTo>
                  <a:lnTo>
                    <a:pt x="479" y="372"/>
                  </a:lnTo>
                  <a:lnTo>
                    <a:pt x="479" y="378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67" y="372"/>
                  </a:lnTo>
                  <a:lnTo>
                    <a:pt x="467" y="372"/>
                  </a:lnTo>
                  <a:lnTo>
                    <a:pt x="467" y="384"/>
                  </a:lnTo>
                  <a:lnTo>
                    <a:pt x="461" y="378"/>
                  </a:lnTo>
                  <a:lnTo>
                    <a:pt x="467" y="384"/>
                  </a:lnTo>
                  <a:lnTo>
                    <a:pt x="461" y="384"/>
                  </a:lnTo>
                  <a:lnTo>
                    <a:pt x="461" y="384"/>
                  </a:lnTo>
                  <a:lnTo>
                    <a:pt x="455" y="384"/>
                  </a:lnTo>
                  <a:lnTo>
                    <a:pt x="455" y="384"/>
                  </a:lnTo>
                  <a:lnTo>
                    <a:pt x="449" y="384"/>
                  </a:lnTo>
                  <a:lnTo>
                    <a:pt x="443" y="390"/>
                  </a:lnTo>
                  <a:lnTo>
                    <a:pt x="437" y="390"/>
                  </a:lnTo>
                  <a:lnTo>
                    <a:pt x="437" y="390"/>
                  </a:lnTo>
                  <a:lnTo>
                    <a:pt x="437" y="396"/>
                  </a:lnTo>
                  <a:lnTo>
                    <a:pt x="437" y="408"/>
                  </a:lnTo>
                  <a:lnTo>
                    <a:pt x="431" y="402"/>
                  </a:lnTo>
                  <a:lnTo>
                    <a:pt x="431" y="390"/>
                  </a:lnTo>
                  <a:lnTo>
                    <a:pt x="425" y="390"/>
                  </a:lnTo>
                  <a:lnTo>
                    <a:pt x="425" y="390"/>
                  </a:lnTo>
                  <a:lnTo>
                    <a:pt x="419" y="390"/>
                  </a:lnTo>
                  <a:lnTo>
                    <a:pt x="413" y="384"/>
                  </a:lnTo>
                  <a:lnTo>
                    <a:pt x="413" y="390"/>
                  </a:lnTo>
                  <a:lnTo>
                    <a:pt x="407" y="390"/>
                  </a:lnTo>
                  <a:lnTo>
                    <a:pt x="401" y="384"/>
                  </a:lnTo>
                  <a:lnTo>
                    <a:pt x="395" y="384"/>
                  </a:lnTo>
                  <a:lnTo>
                    <a:pt x="395" y="372"/>
                  </a:lnTo>
                  <a:lnTo>
                    <a:pt x="377" y="372"/>
                  </a:lnTo>
                  <a:lnTo>
                    <a:pt x="377" y="366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65" y="378"/>
                  </a:lnTo>
                  <a:lnTo>
                    <a:pt x="359" y="378"/>
                  </a:lnTo>
                  <a:lnTo>
                    <a:pt x="353" y="378"/>
                  </a:lnTo>
                  <a:lnTo>
                    <a:pt x="353" y="378"/>
                  </a:lnTo>
                  <a:lnTo>
                    <a:pt x="347" y="378"/>
                  </a:lnTo>
                  <a:lnTo>
                    <a:pt x="347" y="378"/>
                  </a:lnTo>
                  <a:lnTo>
                    <a:pt x="341" y="378"/>
                  </a:lnTo>
                  <a:lnTo>
                    <a:pt x="341" y="396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35" y="390"/>
                  </a:lnTo>
                  <a:lnTo>
                    <a:pt x="323" y="390"/>
                  </a:lnTo>
                  <a:lnTo>
                    <a:pt x="317" y="384"/>
                  </a:lnTo>
                  <a:lnTo>
                    <a:pt x="317" y="378"/>
                  </a:lnTo>
                  <a:lnTo>
                    <a:pt x="317" y="372"/>
                  </a:lnTo>
                  <a:lnTo>
                    <a:pt x="305" y="366"/>
                  </a:lnTo>
                  <a:lnTo>
                    <a:pt x="305" y="360"/>
                  </a:lnTo>
                  <a:lnTo>
                    <a:pt x="305" y="360"/>
                  </a:lnTo>
                  <a:lnTo>
                    <a:pt x="293" y="360"/>
                  </a:lnTo>
                  <a:lnTo>
                    <a:pt x="293" y="354"/>
                  </a:lnTo>
                  <a:lnTo>
                    <a:pt x="293" y="348"/>
                  </a:lnTo>
                  <a:lnTo>
                    <a:pt x="299" y="342"/>
                  </a:lnTo>
                  <a:lnTo>
                    <a:pt x="299" y="336"/>
                  </a:lnTo>
                  <a:lnTo>
                    <a:pt x="299" y="324"/>
                  </a:lnTo>
                  <a:lnTo>
                    <a:pt x="293" y="312"/>
                  </a:lnTo>
                  <a:lnTo>
                    <a:pt x="287" y="312"/>
                  </a:lnTo>
                  <a:lnTo>
                    <a:pt x="281" y="300"/>
                  </a:lnTo>
                  <a:lnTo>
                    <a:pt x="281" y="306"/>
                  </a:lnTo>
                  <a:lnTo>
                    <a:pt x="269" y="300"/>
                  </a:lnTo>
                  <a:lnTo>
                    <a:pt x="269" y="300"/>
                  </a:lnTo>
                  <a:lnTo>
                    <a:pt x="263" y="294"/>
                  </a:lnTo>
                  <a:lnTo>
                    <a:pt x="263" y="294"/>
                  </a:lnTo>
                  <a:lnTo>
                    <a:pt x="257" y="294"/>
                  </a:lnTo>
                  <a:lnTo>
                    <a:pt x="257" y="294"/>
                  </a:lnTo>
                  <a:lnTo>
                    <a:pt x="246" y="29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5" name="Freeform 281">
              <a:extLst>
                <a:ext uri="{FF2B5EF4-FFF2-40B4-BE49-F238E27FC236}">
                  <a16:creationId xmlns:a16="http://schemas.microsoft.com/office/drawing/2014/main" id="{6D0A4A57-B702-4A1F-8F77-DE8E53F4F0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5" y="1857"/>
              <a:ext cx="18" cy="23"/>
            </a:xfrm>
            <a:custGeom>
              <a:avLst/>
              <a:gdLst>
                <a:gd name="T0" fmla="*/ 18 w 18"/>
                <a:gd name="T1" fmla="*/ 0 h 23"/>
                <a:gd name="T2" fmla="*/ 6 w 18"/>
                <a:gd name="T3" fmla="*/ 0 h 23"/>
                <a:gd name="T4" fmla="*/ 0 w 18"/>
                <a:gd name="T5" fmla="*/ 6 h 23"/>
                <a:gd name="T6" fmla="*/ 0 w 18"/>
                <a:gd name="T7" fmla="*/ 17 h 23"/>
                <a:gd name="T8" fmla="*/ 6 w 18"/>
                <a:gd name="T9" fmla="*/ 23 h 23"/>
                <a:gd name="T10" fmla="*/ 12 w 18"/>
                <a:gd name="T11" fmla="*/ 17 h 23"/>
                <a:gd name="T12" fmla="*/ 18 w 18"/>
                <a:gd name="T13" fmla="*/ 12 h 23"/>
                <a:gd name="T14" fmla="*/ 18 w 18"/>
                <a:gd name="T15" fmla="*/ 6 h 23"/>
                <a:gd name="T16" fmla="*/ 18 w 18"/>
                <a:gd name="T17" fmla="*/ 0 h 23"/>
                <a:gd name="T18" fmla="*/ 18 w 18"/>
                <a:gd name="T1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3">
                  <a:moveTo>
                    <a:pt x="18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7"/>
                  </a:lnTo>
                  <a:lnTo>
                    <a:pt x="6" y="23"/>
                  </a:lnTo>
                  <a:lnTo>
                    <a:pt x="12" y="17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6" name="Freeform 282">
              <a:extLst>
                <a:ext uri="{FF2B5EF4-FFF2-40B4-BE49-F238E27FC236}">
                  <a16:creationId xmlns:a16="http://schemas.microsoft.com/office/drawing/2014/main" id="{86D8DE56-4225-4DA8-A2E2-D25C8185E78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593"/>
              <a:ext cx="96" cy="96"/>
            </a:xfrm>
            <a:custGeom>
              <a:avLst/>
              <a:gdLst>
                <a:gd name="T0" fmla="*/ 90 w 96"/>
                <a:gd name="T1" fmla="*/ 72 h 96"/>
                <a:gd name="T2" fmla="*/ 84 w 96"/>
                <a:gd name="T3" fmla="*/ 72 h 96"/>
                <a:gd name="T4" fmla="*/ 84 w 96"/>
                <a:gd name="T5" fmla="*/ 78 h 96"/>
                <a:gd name="T6" fmla="*/ 84 w 96"/>
                <a:gd name="T7" fmla="*/ 78 h 96"/>
                <a:gd name="T8" fmla="*/ 84 w 96"/>
                <a:gd name="T9" fmla="*/ 84 h 96"/>
                <a:gd name="T10" fmla="*/ 78 w 96"/>
                <a:gd name="T11" fmla="*/ 78 h 96"/>
                <a:gd name="T12" fmla="*/ 78 w 96"/>
                <a:gd name="T13" fmla="*/ 84 h 96"/>
                <a:gd name="T14" fmla="*/ 66 w 96"/>
                <a:gd name="T15" fmla="*/ 84 h 96"/>
                <a:gd name="T16" fmla="*/ 60 w 96"/>
                <a:gd name="T17" fmla="*/ 84 h 96"/>
                <a:gd name="T18" fmla="*/ 60 w 96"/>
                <a:gd name="T19" fmla="*/ 78 h 96"/>
                <a:gd name="T20" fmla="*/ 60 w 96"/>
                <a:gd name="T21" fmla="*/ 84 h 96"/>
                <a:gd name="T22" fmla="*/ 60 w 96"/>
                <a:gd name="T23" fmla="*/ 90 h 96"/>
                <a:gd name="T24" fmla="*/ 60 w 96"/>
                <a:gd name="T25" fmla="*/ 90 h 96"/>
                <a:gd name="T26" fmla="*/ 54 w 96"/>
                <a:gd name="T27" fmla="*/ 96 h 96"/>
                <a:gd name="T28" fmla="*/ 48 w 96"/>
                <a:gd name="T29" fmla="*/ 90 h 96"/>
                <a:gd name="T30" fmla="*/ 48 w 96"/>
                <a:gd name="T31" fmla="*/ 84 h 96"/>
                <a:gd name="T32" fmla="*/ 30 w 96"/>
                <a:gd name="T33" fmla="*/ 84 h 96"/>
                <a:gd name="T34" fmla="*/ 18 w 96"/>
                <a:gd name="T35" fmla="*/ 84 h 96"/>
                <a:gd name="T36" fmla="*/ 12 w 96"/>
                <a:gd name="T37" fmla="*/ 90 h 96"/>
                <a:gd name="T38" fmla="*/ 0 w 96"/>
                <a:gd name="T39" fmla="*/ 90 h 96"/>
                <a:gd name="T40" fmla="*/ 6 w 96"/>
                <a:gd name="T41" fmla="*/ 84 h 96"/>
                <a:gd name="T42" fmla="*/ 12 w 96"/>
                <a:gd name="T43" fmla="*/ 78 h 96"/>
                <a:gd name="T44" fmla="*/ 18 w 96"/>
                <a:gd name="T45" fmla="*/ 72 h 96"/>
                <a:gd name="T46" fmla="*/ 30 w 96"/>
                <a:gd name="T47" fmla="*/ 72 h 96"/>
                <a:gd name="T48" fmla="*/ 42 w 96"/>
                <a:gd name="T49" fmla="*/ 72 h 96"/>
                <a:gd name="T50" fmla="*/ 42 w 96"/>
                <a:gd name="T51" fmla="*/ 72 h 96"/>
                <a:gd name="T52" fmla="*/ 48 w 96"/>
                <a:gd name="T53" fmla="*/ 72 h 96"/>
                <a:gd name="T54" fmla="*/ 48 w 96"/>
                <a:gd name="T55" fmla="*/ 60 h 96"/>
                <a:gd name="T56" fmla="*/ 42 w 96"/>
                <a:gd name="T57" fmla="*/ 54 h 96"/>
                <a:gd name="T58" fmla="*/ 48 w 96"/>
                <a:gd name="T59" fmla="*/ 48 h 96"/>
                <a:gd name="T60" fmla="*/ 48 w 96"/>
                <a:gd name="T61" fmla="*/ 54 h 96"/>
                <a:gd name="T62" fmla="*/ 54 w 96"/>
                <a:gd name="T63" fmla="*/ 54 h 96"/>
                <a:gd name="T64" fmla="*/ 54 w 96"/>
                <a:gd name="T65" fmla="*/ 54 h 96"/>
                <a:gd name="T66" fmla="*/ 60 w 96"/>
                <a:gd name="T67" fmla="*/ 48 h 96"/>
                <a:gd name="T68" fmla="*/ 60 w 96"/>
                <a:gd name="T69" fmla="*/ 36 h 96"/>
                <a:gd name="T70" fmla="*/ 66 w 96"/>
                <a:gd name="T71" fmla="*/ 30 h 96"/>
                <a:gd name="T72" fmla="*/ 60 w 96"/>
                <a:gd name="T73" fmla="*/ 18 h 96"/>
                <a:gd name="T74" fmla="*/ 54 w 96"/>
                <a:gd name="T75" fmla="*/ 6 h 96"/>
                <a:gd name="T76" fmla="*/ 54 w 96"/>
                <a:gd name="T77" fmla="*/ 0 h 96"/>
                <a:gd name="T78" fmla="*/ 60 w 96"/>
                <a:gd name="T79" fmla="*/ 6 h 96"/>
                <a:gd name="T80" fmla="*/ 66 w 96"/>
                <a:gd name="T81" fmla="*/ 6 h 96"/>
                <a:gd name="T82" fmla="*/ 60 w 96"/>
                <a:gd name="T83" fmla="*/ 0 h 96"/>
                <a:gd name="T84" fmla="*/ 60 w 96"/>
                <a:gd name="T85" fmla="*/ 0 h 96"/>
                <a:gd name="T86" fmla="*/ 60 w 96"/>
                <a:gd name="T87" fmla="*/ 0 h 96"/>
                <a:gd name="T88" fmla="*/ 66 w 96"/>
                <a:gd name="T89" fmla="*/ 0 h 96"/>
                <a:gd name="T90" fmla="*/ 72 w 96"/>
                <a:gd name="T91" fmla="*/ 12 h 96"/>
                <a:gd name="T92" fmla="*/ 84 w 96"/>
                <a:gd name="T93" fmla="*/ 24 h 96"/>
                <a:gd name="T94" fmla="*/ 84 w 96"/>
                <a:gd name="T95" fmla="*/ 36 h 96"/>
                <a:gd name="T96" fmla="*/ 84 w 96"/>
                <a:gd name="T97" fmla="*/ 42 h 96"/>
                <a:gd name="T98" fmla="*/ 90 w 96"/>
                <a:gd name="T99" fmla="*/ 54 h 96"/>
                <a:gd name="T100" fmla="*/ 96 w 96"/>
                <a:gd name="T101" fmla="*/ 72 h 96"/>
                <a:gd name="T102" fmla="*/ 90 w 96"/>
                <a:gd name="T103" fmla="*/ 78 h 96"/>
                <a:gd name="T104" fmla="*/ 90 w 96"/>
                <a:gd name="T105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6">
                  <a:moveTo>
                    <a:pt x="90" y="72"/>
                  </a:moveTo>
                  <a:lnTo>
                    <a:pt x="84" y="72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54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30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36"/>
                  </a:lnTo>
                  <a:lnTo>
                    <a:pt x="66" y="30"/>
                  </a:lnTo>
                  <a:lnTo>
                    <a:pt x="60" y="18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12"/>
                  </a:lnTo>
                  <a:lnTo>
                    <a:pt x="84" y="24"/>
                  </a:lnTo>
                  <a:lnTo>
                    <a:pt x="84" y="36"/>
                  </a:lnTo>
                  <a:lnTo>
                    <a:pt x="84" y="42"/>
                  </a:lnTo>
                  <a:lnTo>
                    <a:pt x="90" y="54"/>
                  </a:lnTo>
                  <a:lnTo>
                    <a:pt x="96" y="72"/>
                  </a:lnTo>
                  <a:lnTo>
                    <a:pt x="90" y="78"/>
                  </a:lnTo>
                  <a:lnTo>
                    <a:pt x="90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7" name="Freeform 283">
              <a:extLst>
                <a:ext uri="{FF2B5EF4-FFF2-40B4-BE49-F238E27FC236}">
                  <a16:creationId xmlns:a16="http://schemas.microsoft.com/office/drawing/2014/main" id="{72DD55F8-6EDB-48DA-B07F-90D18B47C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1" y="1545"/>
              <a:ext cx="54" cy="48"/>
            </a:xfrm>
            <a:custGeom>
              <a:avLst/>
              <a:gdLst>
                <a:gd name="T0" fmla="*/ 42 w 54"/>
                <a:gd name="T1" fmla="*/ 18 h 48"/>
                <a:gd name="T2" fmla="*/ 30 w 54"/>
                <a:gd name="T3" fmla="*/ 12 h 48"/>
                <a:gd name="T4" fmla="*/ 18 w 54"/>
                <a:gd name="T5" fmla="*/ 6 h 48"/>
                <a:gd name="T6" fmla="*/ 0 w 54"/>
                <a:gd name="T7" fmla="*/ 0 h 48"/>
                <a:gd name="T8" fmla="*/ 0 w 54"/>
                <a:gd name="T9" fmla="*/ 6 h 48"/>
                <a:gd name="T10" fmla="*/ 6 w 54"/>
                <a:gd name="T11" fmla="*/ 12 h 48"/>
                <a:gd name="T12" fmla="*/ 12 w 54"/>
                <a:gd name="T13" fmla="*/ 24 h 48"/>
                <a:gd name="T14" fmla="*/ 6 w 54"/>
                <a:gd name="T15" fmla="*/ 24 h 48"/>
                <a:gd name="T16" fmla="*/ 6 w 54"/>
                <a:gd name="T17" fmla="*/ 24 h 48"/>
                <a:gd name="T18" fmla="*/ 6 w 54"/>
                <a:gd name="T19" fmla="*/ 30 h 48"/>
                <a:gd name="T20" fmla="*/ 6 w 54"/>
                <a:gd name="T21" fmla="*/ 36 h 48"/>
                <a:gd name="T22" fmla="*/ 12 w 54"/>
                <a:gd name="T23" fmla="*/ 48 h 48"/>
                <a:gd name="T24" fmla="*/ 18 w 54"/>
                <a:gd name="T25" fmla="*/ 48 h 48"/>
                <a:gd name="T26" fmla="*/ 18 w 54"/>
                <a:gd name="T27" fmla="*/ 42 h 48"/>
                <a:gd name="T28" fmla="*/ 6 w 54"/>
                <a:gd name="T29" fmla="*/ 36 h 48"/>
                <a:gd name="T30" fmla="*/ 12 w 54"/>
                <a:gd name="T31" fmla="*/ 36 h 48"/>
                <a:gd name="T32" fmla="*/ 18 w 54"/>
                <a:gd name="T33" fmla="*/ 36 h 48"/>
                <a:gd name="T34" fmla="*/ 36 w 54"/>
                <a:gd name="T35" fmla="*/ 42 h 48"/>
                <a:gd name="T36" fmla="*/ 42 w 54"/>
                <a:gd name="T37" fmla="*/ 36 h 48"/>
                <a:gd name="T38" fmla="*/ 42 w 54"/>
                <a:gd name="T39" fmla="*/ 30 h 48"/>
                <a:gd name="T40" fmla="*/ 54 w 54"/>
                <a:gd name="T41" fmla="*/ 24 h 48"/>
                <a:gd name="T42" fmla="*/ 48 w 54"/>
                <a:gd name="T43" fmla="*/ 18 h 48"/>
                <a:gd name="T44" fmla="*/ 42 w 54"/>
                <a:gd name="T45" fmla="*/ 12 h 48"/>
                <a:gd name="T46" fmla="*/ 42 w 54"/>
                <a:gd name="T47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42" y="18"/>
                  </a:moveTo>
                  <a:lnTo>
                    <a:pt x="30" y="12"/>
                  </a:lnTo>
                  <a:lnTo>
                    <a:pt x="18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42" y="12"/>
                  </a:lnTo>
                  <a:lnTo>
                    <a:pt x="42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8" name="Freeform 284">
              <a:extLst>
                <a:ext uri="{FF2B5EF4-FFF2-40B4-BE49-F238E27FC236}">
                  <a16:creationId xmlns:a16="http://schemas.microsoft.com/office/drawing/2014/main" id="{7B2EFED6-EFD7-4CA5-B5A3-A800D4A89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" y="1683"/>
              <a:ext cx="24" cy="36"/>
            </a:xfrm>
            <a:custGeom>
              <a:avLst/>
              <a:gdLst>
                <a:gd name="T0" fmla="*/ 24 w 24"/>
                <a:gd name="T1" fmla="*/ 12 h 36"/>
                <a:gd name="T2" fmla="*/ 24 w 24"/>
                <a:gd name="T3" fmla="*/ 24 h 36"/>
                <a:gd name="T4" fmla="*/ 24 w 24"/>
                <a:gd name="T5" fmla="*/ 30 h 36"/>
                <a:gd name="T6" fmla="*/ 24 w 24"/>
                <a:gd name="T7" fmla="*/ 36 h 36"/>
                <a:gd name="T8" fmla="*/ 18 w 24"/>
                <a:gd name="T9" fmla="*/ 30 h 36"/>
                <a:gd name="T10" fmla="*/ 18 w 24"/>
                <a:gd name="T11" fmla="*/ 36 h 36"/>
                <a:gd name="T12" fmla="*/ 18 w 24"/>
                <a:gd name="T13" fmla="*/ 30 h 36"/>
                <a:gd name="T14" fmla="*/ 12 w 24"/>
                <a:gd name="T15" fmla="*/ 24 h 36"/>
                <a:gd name="T16" fmla="*/ 12 w 24"/>
                <a:gd name="T17" fmla="*/ 18 h 36"/>
                <a:gd name="T18" fmla="*/ 6 w 24"/>
                <a:gd name="T19" fmla="*/ 12 h 36"/>
                <a:gd name="T20" fmla="*/ 6 w 24"/>
                <a:gd name="T21" fmla="*/ 18 h 36"/>
                <a:gd name="T22" fmla="*/ 6 w 24"/>
                <a:gd name="T23" fmla="*/ 18 h 36"/>
                <a:gd name="T24" fmla="*/ 0 w 24"/>
                <a:gd name="T25" fmla="*/ 12 h 36"/>
                <a:gd name="T26" fmla="*/ 6 w 24"/>
                <a:gd name="T27" fmla="*/ 12 h 36"/>
                <a:gd name="T28" fmla="*/ 0 w 24"/>
                <a:gd name="T29" fmla="*/ 12 h 36"/>
                <a:gd name="T30" fmla="*/ 12 w 24"/>
                <a:gd name="T31" fmla="*/ 0 h 36"/>
                <a:gd name="T32" fmla="*/ 18 w 24"/>
                <a:gd name="T33" fmla="*/ 6 h 36"/>
                <a:gd name="T34" fmla="*/ 18 w 24"/>
                <a:gd name="T35" fmla="*/ 6 h 36"/>
                <a:gd name="T36" fmla="*/ 18 w 24"/>
                <a:gd name="T37" fmla="*/ 12 h 36"/>
                <a:gd name="T38" fmla="*/ 24 w 24"/>
                <a:gd name="T3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36">
                  <a:moveTo>
                    <a:pt x="24" y="12"/>
                  </a:moveTo>
                  <a:lnTo>
                    <a:pt x="24" y="24"/>
                  </a:lnTo>
                  <a:lnTo>
                    <a:pt x="24" y="30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89" name="Freeform 285">
              <a:extLst>
                <a:ext uri="{FF2B5EF4-FFF2-40B4-BE49-F238E27FC236}">
                  <a16:creationId xmlns:a16="http://schemas.microsoft.com/office/drawing/2014/main" id="{791772C7-7787-4277-A7C6-AE24971C4D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3" y="1683"/>
              <a:ext cx="24" cy="18"/>
            </a:xfrm>
            <a:custGeom>
              <a:avLst/>
              <a:gdLst>
                <a:gd name="T0" fmla="*/ 24 w 24"/>
                <a:gd name="T1" fmla="*/ 12 h 18"/>
                <a:gd name="T2" fmla="*/ 12 w 24"/>
                <a:gd name="T3" fmla="*/ 12 h 18"/>
                <a:gd name="T4" fmla="*/ 12 w 24"/>
                <a:gd name="T5" fmla="*/ 18 h 18"/>
                <a:gd name="T6" fmla="*/ 6 w 24"/>
                <a:gd name="T7" fmla="*/ 12 h 18"/>
                <a:gd name="T8" fmla="*/ 0 w 24"/>
                <a:gd name="T9" fmla="*/ 6 h 18"/>
                <a:gd name="T10" fmla="*/ 0 w 24"/>
                <a:gd name="T11" fmla="*/ 6 h 18"/>
                <a:gd name="T12" fmla="*/ 6 w 24"/>
                <a:gd name="T13" fmla="*/ 0 h 18"/>
                <a:gd name="T14" fmla="*/ 12 w 24"/>
                <a:gd name="T15" fmla="*/ 0 h 18"/>
                <a:gd name="T16" fmla="*/ 18 w 24"/>
                <a:gd name="T17" fmla="*/ 0 h 18"/>
                <a:gd name="T18" fmla="*/ 24 w 24"/>
                <a:gd name="T19" fmla="*/ 0 h 18"/>
                <a:gd name="T20" fmla="*/ 24 w 24"/>
                <a:gd name="T21" fmla="*/ 6 h 18"/>
                <a:gd name="T22" fmla="*/ 24 w 24"/>
                <a:gd name="T2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8">
                  <a:moveTo>
                    <a:pt x="24" y="12"/>
                  </a:moveTo>
                  <a:lnTo>
                    <a:pt x="12" y="12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0" name="Freeform 286">
              <a:extLst>
                <a:ext uri="{FF2B5EF4-FFF2-40B4-BE49-F238E27FC236}">
                  <a16:creationId xmlns:a16="http://schemas.microsoft.com/office/drawing/2014/main" id="{0C49D4D5-34E4-4522-ABA6-3A2147337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7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1" name="Freeform 287">
              <a:extLst>
                <a:ext uri="{FF2B5EF4-FFF2-40B4-BE49-F238E27FC236}">
                  <a16:creationId xmlns:a16="http://schemas.microsoft.com/office/drawing/2014/main" id="{10C5BB46-8A9C-46CA-B70A-688C962D3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9" y="1629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2" name="Freeform 288">
              <a:extLst>
                <a:ext uri="{FF2B5EF4-FFF2-40B4-BE49-F238E27FC236}">
                  <a16:creationId xmlns:a16="http://schemas.microsoft.com/office/drawing/2014/main" id="{40F1FE28-004D-4458-AB85-B79C7BA86C4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5" y="1701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6 h 6"/>
                <a:gd name="T4" fmla="*/ 0 w 6"/>
                <a:gd name="T5" fmla="*/ 6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3" name="Freeform 289">
              <a:extLst>
                <a:ext uri="{FF2B5EF4-FFF2-40B4-BE49-F238E27FC236}">
                  <a16:creationId xmlns:a16="http://schemas.microsoft.com/office/drawing/2014/main" id="{3C812838-D52D-41E0-A8F1-5B56BB3B6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3" y="1575"/>
              <a:ext cx="54" cy="60"/>
            </a:xfrm>
            <a:custGeom>
              <a:avLst/>
              <a:gdLst>
                <a:gd name="T0" fmla="*/ 18 w 54"/>
                <a:gd name="T1" fmla="*/ 42 h 60"/>
                <a:gd name="T2" fmla="*/ 6 w 54"/>
                <a:gd name="T3" fmla="*/ 42 h 60"/>
                <a:gd name="T4" fmla="*/ 0 w 54"/>
                <a:gd name="T5" fmla="*/ 36 h 60"/>
                <a:gd name="T6" fmla="*/ 6 w 54"/>
                <a:gd name="T7" fmla="*/ 30 h 60"/>
                <a:gd name="T8" fmla="*/ 12 w 54"/>
                <a:gd name="T9" fmla="*/ 18 h 60"/>
                <a:gd name="T10" fmla="*/ 18 w 54"/>
                <a:gd name="T11" fmla="*/ 12 h 60"/>
                <a:gd name="T12" fmla="*/ 30 w 54"/>
                <a:gd name="T13" fmla="*/ 18 h 60"/>
                <a:gd name="T14" fmla="*/ 30 w 54"/>
                <a:gd name="T15" fmla="*/ 12 h 60"/>
                <a:gd name="T16" fmla="*/ 30 w 54"/>
                <a:gd name="T17" fmla="*/ 12 h 60"/>
                <a:gd name="T18" fmla="*/ 36 w 54"/>
                <a:gd name="T19" fmla="*/ 6 h 60"/>
                <a:gd name="T20" fmla="*/ 36 w 54"/>
                <a:gd name="T21" fmla="*/ 0 h 60"/>
                <a:gd name="T22" fmla="*/ 48 w 54"/>
                <a:gd name="T23" fmla="*/ 6 h 60"/>
                <a:gd name="T24" fmla="*/ 48 w 54"/>
                <a:gd name="T25" fmla="*/ 6 h 60"/>
                <a:gd name="T26" fmla="*/ 48 w 54"/>
                <a:gd name="T27" fmla="*/ 12 h 60"/>
                <a:gd name="T28" fmla="*/ 48 w 54"/>
                <a:gd name="T29" fmla="*/ 24 h 60"/>
                <a:gd name="T30" fmla="*/ 42 w 54"/>
                <a:gd name="T31" fmla="*/ 30 h 60"/>
                <a:gd name="T32" fmla="*/ 36 w 54"/>
                <a:gd name="T33" fmla="*/ 42 h 60"/>
                <a:gd name="T34" fmla="*/ 42 w 54"/>
                <a:gd name="T35" fmla="*/ 48 h 60"/>
                <a:gd name="T36" fmla="*/ 54 w 54"/>
                <a:gd name="T37" fmla="*/ 54 h 60"/>
                <a:gd name="T38" fmla="*/ 48 w 54"/>
                <a:gd name="T39" fmla="*/ 54 h 60"/>
                <a:gd name="T40" fmla="*/ 42 w 54"/>
                <a:gd name="T41" fmla="*/ 60 h 60"/>
                <a:gd name="T42" fmla="*/ 42 w 54"/>
                <a:gd name="T43" fmla="*/ 60 h 60"/>
                <a:gd name="T44" fmla="*/ 30 w 54"/>
                <a:gd name="T45" fmla="*/ 60 h 60"/>
                <a:gd name="T46" fmla="*/ 30 w 54"/>
                <a:gd name="T47" fmla="*/ 60 h 60"/>
                <a:gd name="T48" fmla="*/ 24 w 54"/>
                <a:gd name="T49" fmla="*/ 60 h 60"/>
                <a:gd name="T50" fmla="*/ 18 w 54"/>
                <a:gd name="T51" fmla="*/ 60 h 60"/>
                <a:gd name="T52" fmla="*/ 18 w 54"/>
                <a:gd name="T53" fmla="*/ 54 h 60"/>
                <a:gd name="T54" fmla="*/ 24 w 54"/>
                <a:gd name="T55" fmla="*/ 54 h 60"/>
                <a:gd name="T56" fmla="*/ 18 w 54"/>
                <a:gd name="T57" fmla="*/ 48 h 60"/>
                <a:gd name="T58" fmla="*/ 18 w 54"/>
                <a:gd name="T5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60">
                  <a:moveTo>
                    <a:pt x="18" y="42"/>
                  </a:moveTo>
                  <a:lnTo>
                    <a:pt x="6" y="42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18"/>
                  </a:lnTo>
                  <a:lnTo>
                    <a:pt x="18" y="12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42" y="30"/>
                  </a:lnTo>
                  <a:lnTo>
                    <a:pt x="36" y="42"/>
                  </a:lnTo>
                  <a:lnTo>
                    <a:pt x="42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4" name="Freeform 290">
              <a:extLst>
                <a:ext uri="{FF2B5EF4-FFF2-40B4-BE49-F238E27FC236}">
                  <a16:creationId xmlns:a16="http://schemas.microsoft.com/office/drawing/2014/main" id="{2E6DAD20-6257-4392-8AE6-2B6AB48F4E8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5" y="1629"/>
              <a:ext cx="42" cy="48"/>
            </a:xfrm>
            <a:custGeom>
              <a:avLst/>
              <a:gdLst>
                <a:gd name="T0" fmla="*/ 24 w 42"/>
                <a:gd name="T1" fmla="*/ 48 h 48"/>
                <a:gd name="T2" fmla="*/ 24 w 42"/>
                <a:gd name="T3" fmla="*/ 48 h 48"/>
                <a:gd name="T4" fmla="*/ 18 w 42"/>
                <a:gd name="T5" fmla="*/ 48 h 48"/>
                <a:gd name="T6" fmla="*/ 12 w 42"/>
                <a:gd name="T7" fmla="*/ 48 h 48"/>
                <a:gd name="T8" fmla="*/ 12 w 42"/>
                <a:gd name="T9" fmla="*/ 48 h 48"/>
                <a:gd name="T10" fmla="*/ 12 w 42"/>
                <a:gd name="T11" fmla="*/ 48 h 48"/>
                <a:gd name="T12" fmla="*/ 12 w 42"/>
                <a:gd name="T13" fmla="*/ 48 h 48"/>
                <a:gd name="T14" fmla="*/ 12 w 42"/>
                <a:gd name="T15" fmla="*/ 42 h 48"/>
                <a:gd name="T16" fmla="*/ 6 w 42"/>
                <a:gd name="T17" fmla="*/ 36 h 48"/>
                <a:gd name="T18" fmla="*/ 6 w 42"/>
                <a:gd name="T19" fmla="*/ 30 h 48"/>
                <a:gd name="T20" fmla="*/ 6 w 42"/>
                <a:gd name="T21" fmla="*/ 30 h 48"/>
                <a:gd name="T22" fmla="*/ 0 w 42"/>
                <a:gd name="T23" fmla="*/ 24 h 48"/>
                <a:gd name="T24" fmla="*/ 0 w 42"/>
                <a:gd name="T25" fmla="*/ 18 h 48"/>
                <a:gd name="T26" fmla="*/ 0 w 42"/>
                <a:gd name="T27" fmla="*/ 18 h 48"/>
                <a:gd name="T28" fmla="*/ 6 w 42"/>
                <a:gd name="T29" fmla="*/ 18 h 48"/>
                <a:gd name="T30" fmla="*/ 6 w 42"/>
                <a:gd name="T31" fmla="*/ 18 h 48"/>
                <a:gd name="T32" fmla="*/ 0 w 42"/>
                <a:gd name="T33" fmla="*/ 12 h 48"/>
                <a:gd name="T34" fmla="*/ 0 w 42"/>
                <a:gd name="T35" fmla="*/ 6 h 48"/>
                <a:gd name="T36" fmla="*/ 0 w 42"/>
                <a:gd name="T37" fmla="*/ 6 h 48"/>
                <a:gd name="T38" fmla="*/ 6 w 42"/>
                <a:gd name="T39" fmla="*/ 0 h 48"/>
                <a:gd name="T40" fmla="*/ 12 w 42"/>
                <a:gd name="T41" fmla="*/ 0 h 48"/>
                <a:gd name="T42" fmla="*/ 24 w 42"/>
                <a:gd name="T43" fmla="*/ 12 h 48"/>
                <a:gd name="T44" fmla="*/ 30 w 42"/>
                <a:gd name="T45" fmla="*/ 24 h 48"/>
                <a:gd name="T46" fmla="*/ 42 w 42"/>
                <a:gd name="T47" fmla="*/ 42 h 48"/>
                <a:gd name="T48" fmla="*/ 36 w 42"/>
                <a:gd name="T49" fmla="*/ 42 h 48"/>
                <a:gd name="T50" fmla="*/ 30 w 42"/>
                <a:gd name="T51" fmla="*/ 42 h 48"/>
                <a:gd name="T52" fmla="*/ 30 w 42"/>
                <a:gd name="T53" fmla="*/ 42 h 48"/>
                <a:gd name="T54" fmla="*/ 24 w 42"/>
                <a:gd name="T55" fmla="*/ 42 h 48"/>
                <a:gd name="T56" fmla="*/ 24 w 42"/>
                <a:gd name="T57" fmla="*/ 48 h 48"/>
                <a:gd name="T58" fmla="*/ 24 w 42"/>
                <a:gd name="T59" fmla="*/ 48 h 48"/>
                <a:gd name="T60" fmla="*/ 24 w 42"/>
                <a:gd name="T6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" h="48">
                  <a:moveTo>
                    <a:pt x="24" y="48"/>
                  </a:moveTo>
                  <a:lnTo>
                    <a:pt x="24" y="48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4" y="12"/>
                  </a:lnTo>
                  <a:lnTo>
                    <a:pt x="30" y="24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5" name="Freeform 291">
              <a:extLst>
                <a:ext uri="{FF2B5EF4-FFF2-40B4-BE49-F238E27FC236}">
                  <a16:creationId xmlns:a16="http://schemas.microsoft.com/office/drawing/2014/main" id="{54A58BA6-A3B5-4F6E-8124-33A48EEA92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3" y="1791"/>
              <a:ext cx="18" cy="42"/>
            </a:xfrm>
            <a:custGeom>
              <a:avLst/>
              <a:gdLst>
                <a:gd name="T0" fmla="*/ 12 w 18"/>
                <a:gd name="T1" fmla="*/ 42 h 42"/>
                <a:gd name="T2" fmla="*/ 6 w 18"/>
                <a:gd name="T3" fmla="*/ 30 h 42"/>
                <a:gd name="T4" fmla="*/ 0 w 18"/>
                <a:gd name="T5" fmla="*/ 18 h 42"/>
                <a:gd name="T6" fmla="*/ 6 w 18"/>
                <a:gd name="T7" fmla="*/ 12 h 42"/>
                <a:gd name="T8" fmla="*/ 12 w 18"/>
                <a:gd name="T9" fmla="*/ 0 h 42"/>
                <a:gd name="T10" fmla="*/ 18 w 18"/>
                <a:gd name="T11" fmla="*/ 6 h 42"/>
                <a:gd name="T12" fmla="*/ 18 w 18"/>
                <a:gd name="T13" fmla="*/ 12 h 42"/>
                <a:gd name="T14" fmla="*/ 18 w 18"/>
                <a:gd name="T15" fmla="*/ 24 h 42"/>
                <a:gd name="T16" fmla="*/ 12 w 18"/>
                <a:gd name="T17" fmla="*/ 30 h 42"/>
                <a:gd name="T18" fmla="*/ 12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2" y="42"/>
                  </a:moveTo>
                  <a:lnTo>
                    <a:pt x="6" y="30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2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6" name="Freeform 292">
              <a:extLst>
                <a:ext uri="{FF2B5EF4-FFF2-40B4-BE49-F238E27FC236}">
                  <a16:creationId xmlns:a16="http://schemas.microsoft.com/office/drawing/2014/main" id="{EBD38C3F-D759-4ABB-A368-7A709152C0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0" y="1467"/>
              <a:ext cx="323" cy="126"/>
            </a:xfrm>
            <a:custGeom>
              <a:avLst/>
              <a:gdLst>
                <a:gd name="T0" fmla="*/ 191 w 323"/>
                <a:gd name="T1" fmla="*/ 120 h 126"/>
                <a:gd name="T2" fmla="*/ 173 w 323"/>
                <a:gd name="T3" fmla="*/ 114 h 126"/>
                <a:gd name="T4" fmla="*/ 150 w 323"/>
                <a:gd name="T5" fmla="*/ 114 h 126"/>
                <a:gd name="T6" fmla="*/ 120 w 323"/>
                <a:gd name="T7" fmla="*/ 108 h 126"/>
                <a:gd name="T8" fmla="*/ 102 w 323"/>
                <a:gd name="T9" fmla="*/ 90 h 126"/>
                <a:gd name="T10" fmla="*/ 72 w 323"/>
                <a:gd name="T11" fmla="*/ 84 h 126"/>
                <a:gd name="T12" fmla="*/ 48 w 323"/>
                <a:gd name="T13" fmla="*/ 78 h 126"/>
                <a:gd name="T14" fmla="*/ 42 w 323"/>
                <a:gd name="T15" fmla="*/ 60 h 126"/>
                <a:gd name="T16" fmla="*/ 18 w 323"/>
                <a:gd name="T17" fmla="*/ 48 h 126"/>
                <a:gd name="T18" fmla="*/ 0 w 323"/>
                <a:gd name="T19" fmla="*/ 30 h 126"/>
                <a:gd name="T20" fmla="*/ 6 w 323"/>
                <a:gd name="T21" fmla="*/ 30 h 126"/>
                <a:gd name="T22" fmla="*/ 24 w 323"/>
                <a:gd name="T23" fmla="*/ 18 h 126"/>
                <a:gd name="T24" fmla="*/ 54 w 323"/>
                <a:gd name="T25" fmla="*/ 12 h 126"/>
                <a:gd name="T26" fmla="*/ 72 w 323"/>
                <a:gd name="T27" fmla="*/ 18 h 126"/>
                <a:gd name="T28" fmla="*/ 96 w 323"/>
                <a:gd name="T29" fmla="*/ 18 h 126"/>
                <a:gd name="T30" fmla="*/ 84 w 323"/>
                <a:gd name="T31" fmla="*/ 0 h 126"/>
                <a:gd name="T32" fmla="*/ 120 w 323"/>
                <a:gd name="T33" fmla="*/ 6 h 126"/>
                <a:gd name="T34" fmla="*/ 144 w 323"/>
                <a:gd name="T35" fmla="*/ 18 h 126"/>
                <a:gd name="T36" fmla="*/ 173 w 323"/>
                <a:gd name="T37" fmla="*/ 18 h 126"/>
                <a:gd name="T38" fmla="*/ 191 w 323"/>
                <a:gd name="T39" fmla="*/ 24 h 126"/>
                <a:gd name="T40" fmla="*/ 221 w 323"/>
                <a:gd name="T41" fmla="*/ 30 h 126"/>
                <a:gd name="T42" fmla="*/ 245 w 323"/>
                <a:gd name="T43" fmla="*/ 18 h 126"/>
                <a:gd name="T44" fmla="*/ 269 w 323"/>
                <a:gd name="T45" fmla="*/ 24 h 126"/>
                <a:gd name="T46" fmla="*/ 275 w 323"/>
                <a:gd name="T47" fmla="*/ 42 h 126"/>
                <a:gd name="T48" fmla="*/ 281 w 323"/>
                <a:gd name="T49" fmla="*/ 48 h 126"/>
                <a:gd name="T50" fmla="*/ 293 w 323"/>
                <a:gd name="T51" fmla="*/ 48 h 126"/>
                <a:gd name="T52" fmla="*/ 323 w 323"/>
                <a:gd name="T53" fmla="*/ 54 h 126"/>
                <a:gd name="T54" fmla="*/ 305 w 323"/>
                <a:gd name="T55" fmla="*/ 60 h 126"/>
                <a:gd name="T56" fmla="*/ 293 w 323"/>
                <a:gd name="T57" fmla="*/ 78 h 126"/>
                <a:gd name="T58" fmla="*/ 275 w 323"/>
                <a:gd name="T59" fmla="*/ 84 h 126"/>
                <a:gd name="T60" fmla="*/ 263 w 323"/>
                <a:gd name="T61" fmla="*/ 90 h 126"/>
                <a:gd name="T62" fmla="*/ 257 w 323"/>
                <a:gd name="T63" fmla="*/ 108 h 126"/>
                <a:gd name="T64" fmla="*/ 239 w 323"/>
                <a:gd name="T65" fmla="*/ 114 h 126"/>
                <a:gd name="T66" fmla="*/ 215 w 323"/>
                <a:gd name="T67" fmla="*/ 120 h 126"/>
                <a:gd name="T68" fmla="*/ 203 w 323"/>
                <a:gd name="T69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3" h="126">
                  <a:moveTo>
                    <a:pt x="203" y="120"/>
                  </a:moveTo>
                  <a:lnTo>
                    <a:pt x="191" y="120"/>
                  </a:lnTo>
                  <a:lnTo>
                    <a:pt x="179" y="114"/>
                  </a:lnTo>
                  <a:lnTo>
                    <a:pt x="173" y="114"/>
                  </a:lnTo>
                  <a:lnTo>
                    <a:pt x="162" y="114"/>
                  </a:lnTo>
                  <a:lnTo>
                    <a:pt x="150" y="114"/>
                  </a:lnTo>
                  <a:lnTo>
                    <a:pt x="132" y="108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90" y="84"/>
                  </a:lnTo>
                  <a:lnTo>
                    <a:pt x="72" y="84"/>
                  </a:lnTo>
                  <a:lnTo>
                    <a:pt x="60" y="78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42" y="60"/>
                  </a:lnTo>
                  <a:lnTo>
                    <a:pt x="30" y="48"/>
                  </a:lnTo>
                  <a:lnTo>
                    <a:pt x="18" y="48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24" y="18"/>
                  </a:lnTo>
                  <a:lnTo>
                    <a:pt x="36" y="12"/>
                  </a:lnTo>
                  <a:lnTo>
                    <a:pt x="54" y="12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84" y="24"/>
                  </a:lnTo>
                  <a:lnTo>
                    <a:pt x="96" y="18"/>
                  </a:lnTo>
                  <a:lnTo>
                    <a:pt x="84" y="12"/>
                  </a:lnTo>
                  <a:lnTo>
                    <a:pt x="84" y="0"/>
                  </a:lnTo>
                  <a:lnTo>
                    <a:pt x="102" y="0"/>
                  </a:lnTo>
                  <a:lnTo>
                    <a:pt x="120" y="6"/>
                  </a:lnTo>
                  <a:lnTo>
                    <a:pt x="126" y="12"/>
                  </a:lnTo>
                  <a:lnTo>
                    <a:pt x="144" y="18"/>
                  </a:lnTo>
                  <a:lnTo>
                    <a:pt x="162" y="18"/>
                  </a:lnTo>
                  <a:lnTo>
                    <a:pt x="173" y="18"/>
                  </a:lnTo>
                  <a:lnTo>
                    <a:pt x="185" y="24"/>
                  </a:lnTo>
                  <a:lnTo>
                    <a:pt x="191" y="24"/>
                  </a:lnTo>
                  <a:lnTo>
                    <a:pt x="209" y="30"/>
                  </a:lnTo>
                  <a:lnTo>
                    <a:pt x="221" y="30"/>
                  </a:lnTo>
                  <a:lnTo>
                    <a:pt x="233" y="24"/>
                  </a:lnTo>
                  <a:lnTo>
                    <a:pt x="245" y="18"/>
                  </a:lnTo>
                  <a:lnTo>
                    <a:pt x="263" y="24"/>
                  </a:lnTo>
                  <a:lnTo>
                    <a:pt x="269" y="24"/>
                  </a:lnTo>
                  <a:lnTo>
                    <a:pt x="275" y="30"/>
                  </a:lnTo>
                  <a:lnTo>
                    <a:pt x="275" y="42"/>
                  </a:lnTo>
                  <a:lnTo>
                    <a:pt x="269" y="42"/>
                  </a:lnTo>
                  <a:lnTo>
                    <a:pt x="281" y="48"/>
                  </a:lnTo>
                  <a:lnTo>
                    <a:pt x="287" y="48"/>
                  </a:lnTo>
                  <a:lnTo>
                    <a:pt x="293" y="48"/>
                  </a:lnTo>
                  <a:lnTo>
                    <a:pt x="299" y="48"/>
                  </a:lnTo>
                  <a:lnTo>
                    <a:pt x="323" y="54"/>
                  </a:lnTo>
                  <a:lnTo>
                    <a:pt x="323" y="60"/>
                  </a:lnTo>
                  <a:lnTo>
                    <a:pt x="305" y="60"/>
                  </a:lnTo>
                  <a:lnTo>
                    <a:pt x="293" y="66"/>
                  </a:lnTo>
                  <a:lnTo>
                    <a:pt x="293" y="78"/>
                  </a:lnTo>
                  <a:lnTo>
                    <a:pt x="281" y="78"/>
                  </a:lnTo>
                  <a:lnTo>
                    <a:pt x="275" y="84"/>
                  </a:lnTo>
                  <a:lnTo>
                    <a:pt x="257" y="78"/>
                  </a:lnTo>
                  <a:lnTo>
                    <a:pt x="263" y="90"/>
                  </a:lnTo>
                  <a:lnTo>
                    <a:pt x="269" y="96"/>
                  </a:lnTo>
                  <a:lnTo>
                    <a:pt x="257" y="108"/>
                  </a:lnTo>
                  <a:lnTo>
                    <a:pt x="251" y="114"/>
                  </a:lnTo>
                  <a:lnTo>
                    <a:pt x="239" y="114"/>
                  </a:lnTo>
                  <a:lnTo>
                    <a:pt x="227" y="114"/>
                  </a:lnTo>
                  <a:lnTo>
                    <a:pt x="215" y="120"/>
                  </a:lnTo>
                  <a:lnTo>
                    <a:pt x="209" y="126"/>
                  </a:lnTo>
                  <a:lnTo>
                    <a:pt x="203" y="1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7" name="Freeform 293">
              <a:extLst>
                <a:ext uri="{FF2B5EF4-FFF2-40B4-BE49-F238E27FC236}">
                  <a16:creationId xmlns:a16="http://schemas.microsoft.com/office/drawing/2014/main" id="{C201C43D-035B-425B-BC83-9BD2C81A29E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0" y="1425"/>
              <a:ext cx="384" cy="168"/>
            </a:xfrm>
            <a:custGeom>
              <a:avLst/>
              <a:gdLst>
                <a:gd name="T0" fmla="*/ 42 w 384"/>
                <a:gd name="T1" fmla="*/ 102 h 168"/>
                <a:gd name="T2" fmla="*/ 30 w 384"/>
                <a:gd name="T3" fmla="*/ 108 h 168"/>
                <a:gd name="T4" fmla="*/ 12 w 384"/>
                <a:gd name="T5" fmla="*/ 84 h 168"/>
                <a:gd name="T6" fmla="*/ 0 w 384"/>
                <a:gd name="T7" fmla="*/ 60 h 168"/>
                <a:gd name="T8" fmla="*/ 12 w 384"/>
                <a:gd name="T9" fmla="*/ 54 h 168"/>
                <a:gd name="T10" fmla="*/ 24 w 384"/>
                <a:gd name="T11" fmla="*/ 42 h 168"/>
                <a:gd name="T12" fmla="*/ 42 w 384"/>
                <a:gd name="T13" fmla="*/ 36 h 168"/>
                <a:gd name="T14" fmla="*/ 72 w 384"/>
                <a:gd name="T15" fmla="*/ 48 h 168"/>
                <a:gd name="T16" fmla="*/ 102 w 384"/>
                <a:gd name="T17" fmla="*/ 48 h 168"/>
                <a:gd name="T18" fmla="*/ 126 w 384"/>
                <a:gd name="T19" fmla="*/ 48 h 168"/>
                <a:gd name="T20" fmla="*/ 120 w 384"/>
                <a:gd name="T21" fmla="*/ 24 h 168"/>
                <a:gd name="T22" fmla="*/ 114 w 384"/>
                <a:gd name="T23" fmla="*/ 18 h 168"/>
                <a:gd name="T24" fmla="*/ 138 w 384"/>
                <a:gd name="T25" fmla="*/ 12 h 168"/>
                <a:gd name="T26" fmla="*/ 162 w 384"/>
                <a:gd name="T27" fmla="*/ 6 h 168"/>
                <a:gd name="T28" fmla="*/ 186 w 384"/>
                <a:gd name="T29" fmla="*/ 0 h 168"/>
                <a:gd name="T30" fmla="*/ 198 w 384"/>
                <a:gd name="T31" fmla="*/ 6 h 168"/>
                <a:gd name="T32" fmla="*/ 228 w 384"/>
                <a:gd name="T33" fmla="*/ 18 h 168"/>
                <a:gd name="T34" fmla="*/ 246 w 384"/>
                <a:gd name="T35" fmla="*/ 12 h 168"/>
                <a:gd name="T36" fmla="*/ 264 w 384"/>
                <a:gd name="T37" fmla="*/ 12 h 168"/>
                <a:gd name="T38" fmla="*/ 270 w 384"/>
                <a:gd name="T39" fmla="*/ 24 h 168"/>
                <a:gd name="T40" fmla="*/ 300 w 384"/>
                <a:gd name="T41" fmla="*/ 42 h 168"/>
                <a:gd name="T42" fmla="*/ 312 w 384"/>
                <a:gd name="T43" fmla="*/ 48 h 168"/>
                <a:gd name="T44" fmla="*/ 336 w 384"/>
                <a:gd name="T45" fmla="*/ 48 h 168"/>
                <a:gd name="T46" fmla="*/ 360 w 384"/>
                <a:gd name="T47" fmla="*/ 66 h 168"/>
                <a:gd name="T48" fmla="*/ 384 w 384"/>
                <a:gd name="T49" fmla="*/ 72 h 168"/>
                <a:gd name="T50" fmla="*/ 372 w 384"/>
                <a:gd name="T51" fmla="*/ 84 h 168"/>
                <a:gd name="T52" fmla="*/ 372 w 384"/>
                <a:gd name="T53" fmla="*/ 102 h 168"/>
                <a:gd name="T54" fmla="*/ 354 w 384"/>
                <a:gd name="T55" fmla="*/ 108 h 168"/>
                <a:gd name="T56" fmla="*/ 360 w 384"/>
                <a:gd name="T57" fmla="*/ 120 h 168"/>
                <a:gd name="T58" fmla="*/ 336 w 384"/>
                <a:gd name="T59" fmla="*/ 126 h 168"/>
                <a:gd name="T60" fmla="*/ 348 w 384"/>
                <a:gd name="T61" fmla="*/ 138 h 168"/>
                <a:gd name="T62" fmla="*/ 348 w 384"/>
                <a:gd name="T63" fmla="*/ 150 h 168"/>
                <a:gd name="T64" fmla="*/ 336 w 384"/>
                <a:gd name="T65" fmla="*/ 144 h 168"/>
                <a:gd name="T66" fmla="*/ 312 w 384"/>
                <a:gd name="T67" fmla="*/ 144 h 168"/>
                <a:gd name="T68" fmla="*/ 288 w 384"/>
                <a:gd name="T69" fmla="*/ 144 h 168"/>
                <a:gd name="T70" fmla="*/ 270 w 384"/>
                <a:gd name="T71" fmla="*/ 150 h 168"/>
                <a:gd name="T72" fmla="*/ 252 w 384"/>
                <a:gd name="T73" fmla="*/ 156 h 168"/>
                <a:gd name="T74" fmla="*/ 234 w 384"/>
                <a:gd name="T75" fmla="*/ 168 h 168"/>
                <a:gd name="T76" fmla="*/ 216 w 384"/>
                <a:gd name="T77" fmla="*/ 162 h 168"/>
                <a:gd name="T78" fmla="*/ 204 w 384"/>
                <a:gd name="T79" fmla="*/ 138 h 168"/>
                <a:gd name="T80" fmla="*/ 180 w 384"/>
                <a:gd name="T81" fmla="*/ 138 h 168"/>
                <a:gd name="T82" fmla="*/ 162 w 384"/>
                <a:gd name="T83" fmla="*/ 138 h 168"/>
                <a:gd name="T84" fmla="*/ 138 w 384"/>
                <a:gd name="T85" fmla="*/ 120 h 168"/>
                <a:gd name="T86" fmla="*/ 114 w 384"/>
                <a:gd name="T87" fmla="*/ 120 h 168"/>
                <a:gd name="T88" fmla="*/ 102 w 384"/>
                <a:gd name="T89" fmla="*/ 132 h 168"/>
                <a:gd name="T90" fmla="*/ 108 w 384"/>
                <a:gd name="T91" fmla="*/ 156 h 168"/>
                <a:gd name="T92" fmla="*/ 102 w 384"/>
                <a:gd name="T93" fmla="*/ 162 h 168"/>
                <a:gd name="T94" fmla="*/ 90 w 384"/>
                <a:gd name="T95" fmla="*/ 150 h 168"/>
                <a:gd name="T96" fmla="*/ 66 w 384"/>
                <a:gd name="T97" fmla="*/ 144 h 168"/>
                <a:gd name="T98" fmla="*/ 48 w 384"/>
                <a:gd name="T99" fmla="*/ 132 h 168"/>
                <a:gd name="T100" fmla="*/ 54 w 384"/>
                <a:gd name="T101" fmla="*/ 126 h 168"/>
                <a:gd name="T102" fmla="*/ 60 w 384"/>
                <a:gd name="T103" fmla="*/ 120 h 168"/>
                <a:gd name="T104" fmla="*/ 66 w 384"/>
                <a:gd name="T105" fmla="*/ 114 h 168"/>
                <a:gd name="T106" fmla="*/ 54 w 384"/>
                <a:gd name="T107" fmla="*/ 10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168">
                  <a:moveTo>
                    <a:pt x="54" y="102"/>
                  </a:moveTo>
                  <a:lnTo>
                    <a:pt x="42" y="102"/>
                  </a:lnTo>
                  <a:lnTo>
                    <a:pt x="30" y="102"/>
                  </a:lnTo>
                  <a:lnTo>
                    <a:pt x="30" y="108"/>
                  </a:lnTo>
                  <a:lnTo>
                    <a:pt x="24" y="96"/>
                  </a:lnTo>
                  <a:lnTo>
                    <a:pt x="12" y="84"/>
                  </a:lnTo>
                  <a:lnTo>
                    <a:pt x="0" y="78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2"/>
                  </a:lnTo>
                  <a:lnTo>
                    <a:pt x="30" y="36"/>
                  </a:lnTo>
                  <a:lnTo>
                    <a:pt x="42" y="36"/>
                  </a:lnTo>
                  <a:lnTo>
                    <a:pt x="54" y="42"/>
                  </a:lnTo>
                  <a:lnTo>
                    <a:pt x="72" y="48"/>
                  </a:lnTo>
                  <a:lnTo>
                    <a:pt x="84" y="48"/>
                  </a:lnTo>
                  <a:lnTo>
                    <a:pt x="102" y="48"/>
                  </a:lnTo>
                  <a:lnTo>
                    <a:pt x="120" y="54"/>
                  </a:lnTo>
                  <a:lnTo>
                    <a:pt x="126" y="48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14" y="18"/>
                  </a:lnTo>
                  <a:lnTo>
                    <a:pt x="126" y="12"/>
                  </a:lnTo>
                  <a:lnTo>
                    <a:pt x="138" y="12"/>
                  </a:lnTo>
                  <a:lnTo>
                    <a:pt x="150" y="12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6"/>
                  </a:lnTo>
                  <a:lnTo>
                    <a:pt x="222" y="12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46" y="12"/>
                  </a:lnTo>
                  <a:lnTo>
                    <a:pt x="258" y="12"/>
                  </a:lnTo>
                  <a:lnTo>
                    <a:pt x="264" y="12"/>
                  </a:lnTo>
                  <a:lnTo>
                    <a:pt x="258" y="18"/>
                  </a:lnTo>
                  <a:lnTo>
                    <a:pt x="270" y="24"/>
                  </a:lnTo>
                  <a:lnTo>
                    <a:pt x="288" y="36"/>
                  </a:lnTo>
                  <a:lnTo>
                    <a:pt x="300" y="4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24" y="54"/>
                  </a:lnTo>
                  <a:lnTo>
                    <a:pt x="336" y="48"/>
                  </a:lnTo>
                  <a:lnTo>
                    <a:pt x="348" y="60"/>
                  </a:lnTo>
                  <a:lnTo>
                    <a:pt x="360" y="66"/>
                  </a:lnTo>
                  <a:lnTo>
                    <a:pt x="372" y="60"/>
                  </a:lnTo>
                  <a:lnTo>
                    <a:pt x="384" y="72"/>
                  </a:lnTo>
                  <a:lnTo>
                    <a:pt x="378" y="84"/>
                  </a:lnTo>
                  <a:lnTo>
                    <a:pt x="372" y="84"/>
                  </a:lnTo>
                  <a:lnTo>
                    <a:pt x="378" y="96"/>
                  </a:lnTo>
                  <a:lnTo>
                    <a:pt x="372" y="102"/>
                  </a:lnTo>
                  <a:lnTo>
                    <a:pt x="354" y="96"/>
                  </a:lnTo>
                  <a:lnTo>
                    <a:pt x="354" y="108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36" y="126"/>
                  </a:lnTo>
                  <a:lnTo>
                    <a:pt x="342" y="126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48" y="150"/>
                  </a:lnTo>
                  <a:lnTo>
                    <a:pt x="336" y="144"/>
                  </a:lnTo>
                  <a:lnTo>
                    <a:pt x="324" y="144"/>
                  </a:lnTo>
                  <a:lnTo>
                    <a:pt x="312" y="144"/>
                  </a:lnTo>
                  <a:lnTo>
                    <a:pt x="294" y="144"/>
                  </a:lnTo>
                  <a:lnTo>
                    <a:pt x="288" y="144"/>
                  </a:lnTo>
                  <a:lnTo>
                    <a:pt x="282" y="156"/>
                  </a:lnTo>
                  <a:lnTo>
                    <a:pt x="270" y="150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6" y="162"/>
                  </a:lnTo>
                  <a:lnTo>
                    <a:pt x="234" y="168"/>
                  </a:lnTo>
                  <a:lnTo>
                    <a:pt x="222" y="162"/>
                  </a:lnTo>
                  <a:lnTo>
                    <a:pt x="216" y="162"/>
                  </a:lnTo>
                  <a:lnTo>
                    <a:pt x="216" y="150"/>
                  </a:lnTo>
                  <a:lnTo>
                    <a:pt x="204" y="138"/>
                  </a:lnTo>
                  <a:lnTo>
                    <a:pt x="192" y="138"/>
                  </a:lnTo>
                  <a:lnTo>
                    <a:pt x="180" y="138"/>
                  </a:lnTo>
                  <a:lnTo>
                    <a:pt x="174" y="138"/>
                  </a:lnTo>
                  <a:lnTo>
                    <a:pt x="162" y="138"/>
                  </a:lnTo>
                  <a:lnTo>
                    <a:pt x="150" y="126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20"/>
                  </a:lnTo>
                  <a:lnTo>
                    <a:pt x="102" y="120"/>
                  </a:lnTo>
                  <a:lnTo>
                    <a:pt x="102" y="132"/>
                  </a:lnTo>
                  <a:lnTo>
                    <a:pt x="108" y="144"/>
                  </a:lnTo>
                  <a:lnTo>
                    <a:pt x="108" y="156"/>
                  </a:lnTo>
                  <a:lnTo>
                    <a:pt x="114" y="168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66" y="114"/>
                  </a:lnTo>
                  <a:lnTo>
                    <a:pt x="66" y="102"/>
                  </a:lnTo>
                  <a:lnTo>
                    <a:pt x="54" y="1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8" name="Freeform 294">
              <a:extLst>
                <a:ext uri="{FF2B5EF4-FFF2-40B4-BE49-F238E27FC236}">
                  <a16:creationId xmlns:a16="http://schemas.microsoft.com/office/drawing/2014/main" id="{D97C5C19-4484-49EB-8030-A160E9E07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563"/>
              <a:ext cx="84" cy="30"/>
            </a:xfrm>
            <a:custGeom>
              <a:avLst/>
              <a:gdLst>
                <a:gd name="T0" fmla="*/ 18 w 84"/>
                <a:gd name="T1" fmla="*/ 6 h 30"/>
                <a:gd name="T2" fmla="*/ 0 w 84"/>
                <a:gd name="T3" fmla="*/ 0 h 30"/>
                <a:gd name="T4" fmla="*/ 0 w 84"/>
                <a:gd name="T5" fmla="*/ 0 h 30"/>
                <a:gd name="T6" fmla="*/ 12 w 84"/>
                <a:gd name="T7" fmla="*/ 0 h 30"/>
                <a:gd name="T8" fmla="*/ 24 w 84"/>
                <a:gd name="T9" fmla="*/ 0 h 30"/>
                <a:gd name="T10" fmla="*/ 36 w 84"/>
                <a:gd name="T11" fmla="*/ 6 h 30"/>
                <a:gd name="T12" fmla="*/ 54 w 84"/>
                <a:gd name="T13" fmla="*/ 12 h 30"/>
                <a:gd name="T14" fmla="*/ 66 w 84"/>
                <a:gd name="T15" fmla="*/ 18 h 30"/>
                <a:gd name="T16" fmla="*/ 84 w 84"/>
                <a:gd name="T17" fmla="*/ 24 h 30"/>
                <a:gd name="T18" fmla="*/ 78 w 84"/>
                <a:gd name="T19" fmla="*/ 30 h 30"/>
                <a:gd name="T20" fmla="*/ 66 w 84"/>
                <a:gd name="T21" fmla="*/ 30 h 30"/>
                <a:gd name="T22" fmla="*/ 54 w 84"/>
                <a:gd name="T23" fmla="*/ 30 h 30"/>
                <a:gd name="T24" fmla="*/ 42 w 84"/>
                <a:gd name="T25" fmla="*/ 30 h 30"/>
                <a:gd name="T26" fmla="*/ 24 w 84"/>
                <a:gd name="T27" fmla="*/ 30 h 30"/>
                <a:gd name="T28" fmla="*/ 24 w 84"/>
                <a:gd name="T29" fmla="*/ 18 h 30"/>
                <a:gd name="T30" fmla="*/ 18 w 84"/>
                <a:gd name="T31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30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54" y="12"/>
                  </a:lnTo>
                  <a:lnTo>
                    <a:pt x="66" y="18"/>
                  </a:lnTo>
                  <a:lnTo>
                    <a:pt x="84" y="24"/>
                  </a:lnTo>
                  <a:lnTo>
                    <a:pt x="78" y="30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42" y="30"/>
                  </a:lnTo>
                  <a:lnTo>
                    <a:pt x="24" y="30"/>
                  </a:lnTo>
                  <a:lnTo>
                    <a:pt x="24" y="18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299" name="Freeform 295">
              <a:extLst>
                <a:ext uri="{FF2B5EF4-FFF2-40B4-BE49-F238E27FC236}">
                  <a16:creationId xmlns:a16="http://schemas.microsoft.com/office/drawing/2014/main" id="{01797BB1-27A5-4402-A10A-2163C5981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569"/>
              <a:ext cx="102" cy="48"/>
            </a:xfrm>
            <a:custGeom>
              <a:avLst/>
              <a:gdLst>
                <a:gd name="T0" fmla="*/ 36 w 102"/>
                <a:gd name="T1" fmla="*/ 30 h 48"/>
                <a:gd name="T2" fmla="*/ 24 w 102"/>
                <a:gd name="T3" fmla="*/ 24 h 48"/>
                <a:gd name="T4" fmla="*/ 6 w 102"/>
                <a:gd name="T5" fmla="*/ 18 h 48"/>
                <a:gd name="T6" fmla="*/ 0 w 102"/>
                <a:gd name="T7" fmla="*/ 12 h 48"/>
                <a:gd name="T8" fmla="*/ 6 w 102"/>
                <a:gd name="T9" fmla="*/ 6 h 48"/>
                <a:gd name="T10" fmla="*/ 18 w 102"/>
                <a:gd name="T11" fmla="*/ 6 h 48"/>
                <a:gd name="T12" fmla="*/ 30 w 102"/>
                <a:gd name="T13" fmla="*/ 12 h 48"/>
                <a:gd name="T14" fmla="*/ 36 w 102"/>
                <a:gd name="T15" fmla="*/ 0 h 48"/>
                <a:gd name="T16" fmla="*/ 42 w 102"/>
                <a:gd name="T17" fmla="*/ 0 h 48"/>
                <a:gd name="T18" fmla="*/ 60 w 102"/>
                <a:gd name="T19" fmla="*/ 0 h 48"/>
                <a:gd name="T20" fmla="*/ 72 w 102"/>
                <a:gd name="T21" fmla="*/ 0 h 48"/>
                <a:gd name="T22" fmla="*/ 84 w 102"/>
                <a:gd name="T23" fmla="*/ 0 h 48"/>
                <a:gd name="T24" fmla="*/ 96 w 102"/>
                <a:gd name="T25" fmla="*/ 6 h 48"/>
                <a:gd name="T26" fmla="*/ 102 w 102"/>
                <a:gd name="T27" fmla="*/ 12 h 48"/>
                <a:gd name="T28" fmla="*/ 90 w 102"/>
                <a:gd name="T29" fmla="*/ 18 h 48"/>
                <a:gd name="T30" fmla="*/ 84 w 102"/>
                <a:gd name="T31" fmla="*/ 24 h 48"/>
                <a:gd name="T32" fmla="*/ 72 w 102"/>
                <a:gd name="T33" fmla="*/ 30 h 48"/>
                <a:gd name="T34" fmla="*/ 66 w 102"/>
                <a:gd name="T35" fmla="*/ 36 h 48"/>
                <a:gd name="T36" fmla="*/ 60 w 102"/>
                <a:gd name="T37" fmla="*/ 36 h 48"/>
                <a:gd name="T38" fmla="*/ 54 w 102"/>
                <a:gd name="T39" fmla="*/ 36 h 48"/>
                <a:gd name="T40" fmla="*/ 48 w 102"/>
                <a:gd name="T41" fmla="*/ 42 h 48"/>
                <a:gd name="T42" fmla="*/ 48 w 102"/>
                <a:gd name="T43" fmla="*/ 48 h 48"/>
                <a:gd name="T44" fmla="*/ 24 w 102"/>
                <a:gd name="T45" fmla="*/ 48 h 48"/>
                <a:gd name="T46" fmla="*/ 12 w 102"/>
                <a:gd name="T47" fmla="*/ 42 h 48"/>
                <a:gd name="T48" fmla="*/ 6 w 102"/>
                <a:gd name="T49" fmla="*/ 36 h 48"/>
                <a:gd name="T50" fmla="*/ 24 w 102"/>
                <a:gd name="T51" fmla="*/ 30 h 48"/>
                <a:gd name="T52" fmla="*/ 36 w 102"/>
                <a:gd name="T53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48">
                  <a:moveTo>
                    <a:pt x="36" y="30"/>
                  </a:moveTo>
                  <a:lnTo>
                    <a:pt x="24" y="24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6"/>
                  </a:lnTo>
                  <a:lnTo>
                    <a:pt x="30" y="12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48" y="42"/>
                  </a:lnTo>
                  <a:lnTo>
                    <a:pt x="48" y="48"/>
                  </a:lnTo>
                  <a:lnTo>
                    <a:pt x="24" y="48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24" y="30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0" name="Freeform 296">
              <a:extLst>
                <a:ext uri="{FF2B5EF4-FFF2-40B4-BE49-F238E27FC236}">
                  <a16:creationId xmlns:a16="http://schemas.microsoft.com/office/drawing/2014/main" id="{28C2FF46-DCB6-4446-932E-B25A7F5F82ED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2" y="1575"/>
              <a:ext cx="150" cy="96"/>
            </a:xfrm>
            <a:custGeom>
              <a:avLst/>
              <a:gdLst>
                <a:gd name="T0" fmla="*/ 144 w 150"/>
                <a:gd name="T1" fmla="*/ 72 h 96"/>
                <a:gd name="T2" fmla="*/ 138 w 150"/>
                <a:gd name="T3" fmla="*/ 84 h 96"/>
                <a:gd name="T4" fmla="*/ 126 w 150"/>
                <a:gd name="T5" fmla="*/ 90 h 96"/>
                <a:gd name="T6" fmla="*/ 126 w 150"/>
                <a:gd name="T7" fmla="*/ 96 h 96"/>
                <a:gd name="T8" fmla="*/ 120 w 150"/>
                <a:gd name="T9" fmla="*/ 90 h 96"/>
                <a:gd name="T10" fmla="*/ 108 w 150"/>
                <a:gd name="T11" fmla="*/ 90 h 96"/>
                <a:gd name="T12" fmla="*/ 108 w 150"/>
                <a:gd name="T13" fmla="*/ 78 h 96"/>
                <a:gd name="T14" fmla="*/ 96 w 150"/>
                <a:gd name="T15" fmla="*/ 72 h 96"/>
                <a:gd name="T16" fmla="*/ 90 w 150"/>
                <a:gd name="T17" fmla="*/ 72 h 96"/>
                <a:gd name="T18" fmla="*/ 78 w 150"/>
                <a:gd name="T19" fmla="*/ 66 h 96"/>
                <a:gd name="T20" fmla="*/ 60 w 150"/>
                <a:gd name="T21" fmla="*/ 60 h 96"/>
                <a:gd name="T22" fmla="*/ 54 w 150"/>
                <a:gd name="T23" fmla="*/ 60 h 96"/>
                <a:gd name="T24" fmla="*/ 42 w 150"/>
                <a:gd name="T25" fmla="*/ 60 h 96"/>
                <a:gd name="T26" fmla="*/ 36 w 150"/>
                <a:gd name="T27" fmla="*/ 66 h 96"/>
                <a:gd name="T28" fmla="*/ 30 w 150"/>
                <a:gd name="T29" fmla="*/ 66 h 96"/>
                <a:gd name="T30" fmla="*/ 30 w 150"/>
                <a:gd name="T31" fmla="*/ 60 h 96"/>
                <a:gd name="T32" fmla="*/ 24 w 150"/>
                <a:gd name="T33" fmla="*/ 48 h 96"/>
                <a:gd name="T34" fmla="*/ 18 w 150"/>
                <a:gd name="T35" fmla="*/ 42 h 96"/>
                <a:gd name="T36" fmla="*/ 18 w 150"/>
                <a:gd name="T37" fmla="*/ 42 h 96"/>
                <a:gd name="T38" fmla="*/ 18 w 150"/>
                <a:gd name="T39" fmla="*/ 42 h 96"/>
                <a:gd name="T40" fmla="*/ 18 w 150"/>
                <a:gd name="T41" fmla="*/ 42 h 96"/>
                <a:gd name="T42" fmla="*/ 18 w 150"/>
                <a:gd name="T43" fmla="*/ 36 h 96"/>
                <a:gd name="T44" fmla="*/ 12 w 150"/>
                <a:gd name="T45" fmla="*/ 36 h 96"/>
                <a:gd name="T46" fmla="*/ 12 w 150"/>
                <a:gd name="T47" fmla="*/ 36 h 96"/>
                <a:gd name="T48" fmla="*/ 12 w 150"/>
                <a:gd name="T49" fmla="*/ 24 h 96"/>
                <a:gd name="T50" fmla="*/ 12 w 150"/>
                <a:gd name="T51" fmla="*/ 24 h 96"/>
                <a:gd name="T52" fmla="*/ 18 w 150"/>
                <a:gd name="T53" fmla="*/ 24 h 96"/>
                <a:gd name="T54" fmla="*/ 24 w 150"/>
                <a:gd name="T55" fmla="*/ 24 h 96"/>
                <a:gd name="T56" fmla="*/ 24 w 150"/>
                <a:gd name="T57" fmla="*/ 24 h 96"/>
                <a:gd name="T58" fmla="*/ 24 w 150"/>
                <a:gd name="T59" fmla="*/ 24 h 96"/>
                <a:gd name="T60" fmla="*/ 30 w 150"/>
                <a:gd name="T61" fmla="*/ 18 h 96"/>
                <a:gd name="T62" fmla="*/ 18 w 150"/>
                <a:gd name="T63" fmla="*/ 12 h 96"/>
                <a:gd name="T64" fmla="*/ 6 w 150"/>
                <a:gd name="T65" fmla="*/ 12 h 96"/>
                <a:gd name="T66" fmla="*/ 6 w 150"/>
                <a:gd name="T67" fmla="*/ 18 h 96"/>
                <a:gd name="T68" fmla="*/ 6 w 150"/>
                <a:gd name="T69" fmla="*/ 18 h 96"/>
                <a:gd name="T70" fmla="*/ 0 w 150"/>
                <a:gd name="T71" fmla="*/ 6 h 96"/>
                <a:gd name="T72" fmla="*/ 0 w 150"/>
                <a:gd name="T73" fmla="*/ 0 h 96"/>
                <a:gd name="T74" fmla="*/ 0 w 150"/>
                <a:gd name="T75" fmla="*/ 0 h 96"/>
                <a:gd name="T76" fmla="*/ 18 w 150"/>
                <a:gd name="T77" fmla="*/ 0 h 96"/>
                <a:gd name="T78" fmla="*/ 18 w 150"/>
                <a:gd name="T79" fmla="*/ 12 h 96"/>
                <a:gd name="T80" fmla="*/ 30 w 150"/>
                <a:gd name="T81" fmla="*/ 12 h 96"/>
                <a:gd name="T82" fmla="*/ 42 w 150"/>
                <a:gd name="T83" fmla="*/ 18 h 96"/>
                <a:gd name="T84" fmla="*/ 54 w 150"/>
                <a:gd name="T85" fmla="*/ 18 h 96"/>
                <a:gd name="T86" fmla="*/ 54 w 150"/>
                <a:gd name="T87" fmla="*/ 12 h 96"/>
                <a:gd name="T88" fmla="*/ 54 w 150"/>
                <a:gd name="T89" fmla="*/ 12 h 96"/>
                <a:gd name="T90" fmla="*/ 66 w 150"/>
                <a:gd name="T91" fmla="*/ 0 h 96"/>
                <a:gd name="T92" fmla="*/ 78 w 150"/>
                <a:gd name="T93" fmla="*/ 12 h 96"/>
                <a:gd name="T94" fmla="*/ 84 w 150"/>
                <a:gd name="T95" fmla="*/ 24 h 96"/>
                <a:gd name="T96" fmla="*/ 102 w 150"/>
                <a:gd name="T97" fmla="*/ 30 h 96"/>
                <a:gd name="T98" fmla="*/ 108 w 150"/>
                <a:gd name="T99" fmla="*/ 30 h 96"/>
                <a:gd name="T100" fmla="*/ 126 w 150"/>
                <a:gd name="T101" fmla="*/ 42 h 96"/>
                <a:gd name="T102" fmla="*/ 144 w 150"/>
                <a:gd name="T103" fmla="*/ 54 h 96"/>
                <a:gd name="T104" fmla="*/ 150 w 150"/>
                <a:gd name="T105" fmla="*/ 66 h 96"/>
                <a:gd name="T106" fmla="*/ 144 w 150"/>
                <a:gd name="T107" fmla="*/ 66 h 96"/>
                <a:gd name="T108" fmla="*/ 144 w 150"/>
                <a:gd name="T109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0" h="96">
                  <a:moveTo>
                    <a:pt x="144" y="72"/>
                  </a:moveTo>
                  <a:lnTo>
                    <a:pt x="138" y="84"/>
                  </a:lnTo>
                  <a:lnTo>
                    <a:pt x="126" y="90"/>
                  </a:lnTo>
                  <a:lnTo>
                    <a:pt x="126" y="96"/>
                  </a:lnTo>
                  <a:lnTo>
                    <a:pt x="120" y="90"/>
                  </a:lnTo>
                  <a:lnTo>
                    <a:pt x="108" y="90"/>
                  </a:lnTo>
                  <a:lnTo>
                    <a:pt x="108" y="78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78" y="66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42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30" y="12"/>
                  </a:lnTo>
                  <a:lnTo>
                    <a:pt x="42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66" y="0"/>
                  </a:lnTo>
                  <a:lnTo>
                    <a:pt x="78" y="12"/>
                  </a:lnTo>
                  <a:lnTo>
                    <a:pt x="84" y="24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6" y="42"/>
                  </a:lnTo>
                  <a:lnTo>
                    <a:pt x="144" y="5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44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1" name="Freeform 297">
              <a:extLst>
                <a:ext uri="{FF2B5EF4-FFF2-40B4-BE49-F238E27FC236}">
                  <a16:creationId xmlns:a16="http://schemas.microsoft.com/office/drawing/2014/main" id="{E7308AA9-867F-4C4F-AE6E-84DDF79FE3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0" y="1629"/>
              <a:ext cx="138" cy="114"/>
            </a:xfrm>
            <a:custGeom>
              <a:avLst/>
              <a:gdLst>
                <a:gd name="T0" fmla="*/ 0 w 138"/>
                <a:gd name="T1" fmla="*/ 48 h 114"/>
                <a:gd name="T2" fmla="*/ 0 w 138"/>
                <a:gd name="T3" fmla="*/ 54 h 114"/>
                <a:gd name="T4" fmla="*/ 0 w 138"/>
                <a:gd name="T5" fmla="*/ 60 h 114"/>
                <a:gd name="T6" fmla="*/ 6 w 138"/>
                <a:gd name="T7" fmla="*/ 60 h 114"/>
                <a:gd name="T8" fmla="*/ 0 w 138"/>
                <a:gd name="T9" fmla="*/ 66 h 114"/>
                <a:gd name="T10" fmla="*/ 6 w 138"/>
                <a:gd name="T11" fmla="*/ 72 h 114"/>
                <a:gd name="T12" fmla="*/ 6 w 138"/>
                <a:gd name="T13" fmla="*/ 84 h 114"/>
                <a:gd name="T14" fmla="*/ 18 w 138"/>
                <a:gd name="T15" fmla="*/ 90 h 114"/>
                <a:gd name="T16" fmla="*/ 18 w 138"/>
                <a:gd name="T17" fmla="*/ 90 h 114"/>
                <a:gd name="T18" fmla="*/ 12 w 138"/>
                <a:gd name="T19" fmla="*/ 108 h 114"/>
                <a:gd name="T20" fmla="*/ 18 w 138"/>
                <a:gd name="T21" fmla="*/ 108 h 114"/>
                <a:gd name="T22" fmla="*/ 30 w 138"/>
                <a:gd name="T23" fmla="*/ 114 h 114"/>
                <a:gd name="T24" fmla="*/ 48 w 138"/>
                <a:gd name="T25" fmla="*/ 114 h 114"/>
                <a:gd name="T26" fmla="*/ 54 w 138"/>
                <a:gd name="T27" fmla="*/ 108 h 114"/>
                <a:gd name="T28" fmla="*/ 66 w 138"/>
                <a:gd name="T29" fmla="*/ 108 h 114"/>
                <a:gd name="T30" fmla="*/ 66 w 138"/>
                <a:gd name="T31" fmla="*/ 102 h 114"/>
                <a:gd name="T32" fmla="*/ 72 w 138"/>
                <a:gd name="T33" fmla="*/ 90 h 114"/>
                <a:gd name="T34" fmla="*/ 78 w 138"/>
                <a:gd name="T35" fmla="*/ 90 h 114"/>
                <a:gd name="T36" fmla="*/ 84 w 138"/>
                <a:gd name="T37" fmla="*/ 84 h 114"/>
                <a:gd name="T38" fmla="*/ 90 w 138"/>
                <a:gd name="T39" fmla="*/ 84 h 114"/>
                <a:gd name="T40" fmla="*/ 96 w 138"/>
                <a:gd name="T41" fmla="*/ 72 h 114"/>
                <a:gd name="T42" fmla="*/ 102 w 138"/>
                <a:gd name="T43" fmla="*/ 66 h 114"/>
                <a:gd name="T44" fmla="*/ 96 w 138"/>
                <a:gd name="T45" fmla="*/ 54 h 114"/>
                <a:gd name="T46" fmla="*/ 108 w 138"/>
                <a:gd name="T47" fmla="*/ 54 h 114"/>
                <a:gd name="T48" fmla="*/ 108 w 138"/>
                <a:gd name="T49" fmla="*/ 48 h 114"/>
                <a:gd name="T50" fmla="*/ 108 w 138"/>
                <a:gd name="T51" fmla="*/ 42 h 114"/>
                <a:gd name="T52" fmla="*/ 102 w 138"/>
                <a:gd name="T53" fmla="*/ 30 h 114"/>
                <a:gd name="T54" fmla="*/ 108 w 138"/>
                <a:gd name="T55" fmla="*/ 24 h 114"/>
                <a:gd name="T56" fmla="*/ 120 w 138"/>
                <a:gd name="T57" fmla="*/ 18 h 114"/>
                <a:gd name="T58" fmla="*/ 132 w 138"/>
                <a:gd name="T59" fmla="*/ 18 h 114"/>
                <a:gd name="T60" fmla="*/ 132 w 138"/>
                <a:gd name="T61" fmla="*/ 12 h 114"/>
                <a:gd name="T62" fmla="*/ 138 w 138"/>
                <a:gd name="T63" fmla="*/ 12 h 114"/>
                <a:gd name="T64" fmla="*/ 126 w 138"/>
                <a:gd name="T65" fmla="*/ 12 h 114"/>
                <a:gd name="T66" fmla="*/ 126 w 138"/>
                <a:gd name="T67" fmla="*/ 12 h 114"/>
                <a:gd name="T68" fmla="*/ 120 w 138"/>
                <a:gd name="T69" fmla="*/ 12 h 114"/>
                <a:gd name="T70" fmla="*/ 102 w 138"/>
                <a:gd name="T71" fmla="*/ 18 h 114"/>
                <a:gd name="T72" fmla="*/ 102 w 138"/>
                <a:gd name="T73" fmla="*/ 6 h 114"/>
                <a:gd name="T74" fmla="*/ 96 w 138"/>
                <a:gd name="T75" fmla="*/ 6 h 114"/>
                <a:gd name="T76" fmla="*/ 96 w 138"/>
                <a:gd name="T77" fmla="*/ 0 h 114"/>
                <a:gd name="T78" fmla="*/ 90 w 138"/>
                <a:gd name="T79" fmla="*/ 0 h 114"/>
                <a:gd name="T80" fmla="*/ 90 w 138"/>
                <a:gd name="T81" fmla="*/ 12 h 114"/>
                <a:gd name="T82" fmla="*/ 78 w 138"/>
                <a:gd name="T83" fmla="*/ 12 h 114"/>
                <a:gd name="T84" fmla="*/ 78 w 138"/>
                <a:gd name="T85" fmla="*/ 18 h 114"/>
                <a:gd name="T86" fmla="*/ 72 w 138"/>
                <a:gd name="T87" fmla="*/ 18 h 114"/>
                <a:gd name="T88" fmla="*/ 66 w 138"/>
                <a:gd name="T89" fmla="*/ 18 h 114"/>
                <a:gd name="T90" fmla="*/ 60 w 138"/>
                <a:gd name="T91" fmla="*/ 12 h 114"/>
                <a:gd name="T92" fmla="*/ 54 w 138"/>
                <a:gd name="T93" fmla="*/ 12 h 114"/>
                <a:gd name="T94" fmla="*/ 42 w 138"/>
                <a:gd name="T95" fmla="*/ 12 h 114"/>
                <a:gd name="T96" fmla="*/ 36 w 138"/>
                <a:gd name="T97" fmla="*/ 12 h 114"/>
                <a:gd name="T98" fmla="*/ 36 w 138"/>
                <a:gd name="T99" fmla="*/ 18 h 114"/>
                <a:gd name="T100" fmla="*/ 30 w 138"/>
                <a:gd name="T101" fmla="*/ 30 h 114"/>
                <a:gd name="T102" fmla="*/ 18 w 138"/>
                <a:gd name="T103" fmla="*/ 36 h 114"/>
                <a:gd name="T104" fmla="*/ 18 w 138"/>
                <a:gd name="T105" fmla="*/ 42 h 114"/>
                <a:gd name="T106" fmla="*/ 12 w 138"/>
                <a:gd name="T107" fmla="*/ 36 h 114"/>
                <a:gd name="T108" fmla="*/ 0 w 138"/>
                <a:gd name="T109" fmla="*/ 36 h 114"/>
                <a:gd name="T110" fmla="*/ 0 w 138"/>
                <a:gd name="T111" fmla="*/ 4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8" h="114">
                  <a:moveTo>
                    <a:pt x="0" y="48"/>
                  </a:moveTo>
                  <a:lnTo>
                    <a:pt x="0" y="54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6" y="84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30" y="114"/>
                  </a:lnTo>
                  <a:lnTo>
                    <a:pt x="48" y="114"/>
                  </a:lnTo>
                  <a:lnTo>
                    <a:pt x="54" y="108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72" y="90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84"/>
                  </a:lnTo>
                  <a:lnTo>
                    <a:pt x="96" y="72"/>
                  </a:lnTo>
                  <a:lnTo>
                    <a:pt x="102" y="66"/>
                  </a:lnTo>
                  <a:lnTo>
                    <a:pt x="96" y="54"/>
                  </a:lnTo>
                  <a:lnTo>
                    <a:pt x="108" y="54"/>
                  </a:lnTo>
                  <a:lnTo>
                    <a:pt x="108" y="48"/>
                  </a:lnTo>
                  <a:lnTo>
                    <a:pt x="108" y="42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02" y="18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72" y="18"/>
                  </a:lnTo>
                  <a:lnTo>
                    <a:pt x="66" y="18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2" name="Freeform 298">
              <a:extLst>
                <a:ext uri="{FF2B5EF4-FFF2-40B4-BE49-F238E27FC236}">
                  <a16:creationId xmlns:a16="http://schemas.microsoft.com/office/drawing/2014/main" id="{D057F52F-C214-47E4-AD3D-D9024FDCC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7" y="1665"/>
              <a:ext cx="17" cy="12"/>
            </a:xfrm>
            <a:custGeom>
              <a:avLst/>
              <a:gdLst>
                <a:gd name="T0" fmla="*/ 17 w 17"/>
                <a:gd name="T1" fmla="*/ 0 h 12"/>
                <a:gd name="T2" fmla="*/ 6 w 17"/>
                <a:gd name="T3" fmla="*/ 0 h 12"/>
                <a:gd name="T4" fmla="*/ 0 w 17"/>
                <a:gd name="T5" fmla="*/ 6 h 12"/>
                <a:gd name="T6" fmla="*/ 6 w 17"/>
                <a:gd name="T7" fmla="*/ 12 h 12"/>
                <a:gd name="T8" fmla="*/ 11 w 17"/>
                <a:gd name="T9" fmla="*/ 6 h 12"/>
                <a:gd name="T10" fmla="*/ 11 w 17"/>
                <a:gd name="T11" fmla="*/ 6 h 12"/>
                <a:gd name="T12" fmla="*/ 17 w 1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2">
                  <a:moveTo>
                    <a:pt x="17" y="0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3" name="Freeform 299">
              <a:extLst>
                <a:ext uri="{FF2B5EF4-FFF2-40B4-BE49-F238E27FC236}">
                  <a16:creationId xmlns:a16="http://schemas.microsoft.com/office/drawing/2014/main" id="{6749DFAA-43FC-4B67-8A69-D762E287D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6" y="1647"/>
              <a:ext cx="6" cy="12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1 w 1"/>
                <a:gd name="T5" fmla="*/ 1 h 2"/>
                <a:gd name="T6" fmla="*/ 0 w 1"/>
                <a:gd name="T7" fmla="*/ 1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4" name="Freeform 300">
              <a:extLst>
                <a:ext uri="{FF2B5EF4-FFF2-40B4-BE49-F238E27FC236}">
                  <a16:creationId xmlns:a16="http://schemas.microsoft.com/office/drawing/2014/main" id="{EB398F24-7BF2-4A31-B412-DE19FC9820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0" y="1653"/>
              <a:ext cx="6" cy="24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1 h 4"/>
                <a:gd name="T4" fmla="*/ 0 w 1"/>
                <a:gd name="T5" fmla="*/ 1 h 4"/>
                <a:gd name="T6" fmla="*/ 0 w 1"/>
                <a:gd name="T7" fmla="*/ 2 h 4"/>
                <a:gd name="T8" fmla="*/ 1 w 1"/>
                <a:gd name="T9" fmla="*/ 2 h 4"/>
                <a:gd name="T10" fmla="*/ 1 w 1"/>
                <a:gd name="T11" fmla="*/ 3 h 4"/>
                <a:gd name="T12" fmla="*/ 1 w 1"/>
                <a:gd name="T13" fmla="*/ 3 h 4"/>
                <a:gd name="T14" fmla="*/ 1 w 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5" name="Line 301">
              <a:extLst>
                <a:ext uri="{FF2B5EF4-FFF2-40B4-BE49-F238E27FC236}">
                  <a16:creationId xmlns:a16="http://schemas.microsoft.com/office/drawing/2014/main" id="{AD368904-B774-40CF-9BC7-BBA4277B0E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578" y="1689"/>
              <a:ext cx="1" cy="6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6" name="Freeform 302">
              <a:extLst>
                <a:ext uri="{FF2B5EF4-FFF2-40B4-BE49-F238E27FC236}">
                  <a16:creationId xmlns:a16="http://schemas.microsoft.com/office/drawing/2014/main" id="{699C864E-BC76-4004-842F-1BA086C24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8" y="1689"/>
              <a:ext cx="6" cy="6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7" name="Freeform 303">
              <a:extLst>
                <a:ext uri="{FF2B5EF4-FFF2-40B4-BE49-F238E27FC236}">
                  <a16:creationId xmlns:a16="http://schemas.microsoft.com/office/drawing/2014/main" id="{0CB6BDE9-8A8F-40A3-9C6D-7DB79700D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0" y="1659"/>
              <a:ext cx="18" cy="24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4 h 4"/>
                <a:gd name="T4" fmla="*/ 3 w 3"/>
                <a:gd name="T5" fmla="*/ 3 h 4"/>
                <a:gd name="T6" fmla="*/ 3 w 3"/>
                <a:gd name="T7" fmla="*/ 1 h 4"/>
                <a:gd name="T8" fmla="*/ 2 w 3"/>
                <a:gd name="T9" fmla="*/ 1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3" y="4"/>
                  </a:lnTo>
                  <a:lnTo>
                    <a:pt x="3" y="3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8" name="Freeform 304">
              <a:extLst>
                <a:ext uri="{FF2B5EF4-FFF2-40B4-BE49-F238E27FC236}">
                  <a16:creationId xmlns:a16="http://schemas.microsoft.com/office/drawing/2014/main" id="{E886F500-616A-408C-94E1-F76F170355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6" y="1677"/>
              <a:ext cx="12" cy="18"/>
            </a:xfrm>
            <a:custGeom>
              <a:avLst/>
              <a:gdLst>
                <a:gd name="T0" fmla="*/ 12 w 12"/>
                <a:gd name="T1" fmla="*/ 6 h 18"/>
                <a:gd name="T2" fmla="*/ 6 w 12"/>
                <a:gd name="T3" fmla="*/ 18 h 18"/>
                <a:gd name="T4" fmla="*/ 0 w 12"/>
                <a:gd name="T5" fmla="*/ 18 h 18"/>
                <a:gd name="T6" fmla="*/ 6 w 12"/>
                <a:gd name="T7" fmla="*/ 6 h 18"/>
                <a:gd name="T8" fmla="*/ 6 w 12"/>
                <a:gd name="T9" fmla="*/ 0 h 18"/>
                <a:gd name="T10" fmla="*/ 12 w 12"/>
                <a:gd name="T11" fmla="*/ 0 h 18"/>
                <a:gd name="T12" fmla="*/ 12 w 12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6"/>
                  </a:move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09" name="Freeform 305">
              <a:extLst>
                <a:ext uri="{FF2B5EF4-FFF2-40B4-BE49-F238E27FC236}">
                  <a16:creationId xmlns:a16="http://schemas.microsoft.com/office/drawing/2014/main" id="{4465EF2F-A6CA-4CBB-98E0-3BC1D54F3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2" y="1647"/>
              <a:ext cx="60" cy="60"/>
            </a:xfrm>
            <a:custGeom>
              <a:avLst/>
              <a:gdLst>
                <a:gd name="T0" fmla="*/ 36 w 60"/>
                <a:gd name="T1" fmla="*/ 0 h 60"/>
                <a:gd name="T2" fmla="*/ 24 w 60"/>
                <a:gd name="T3" fmla="*/ 0 h 60"/>
                <a:gd name="T4" fmla="*/ 6 w 60"/>
                <a:gd name="T5" fmla="*/ 0 h 60"/>
                <a:gd name="T6" fmla="*/ 6 w 60"/>
                <a:gd name="T7" fmla="*/ 6 h 60"/>
                <a:gd name="T8" fmla="*/ 6 w 60"/>
                <a:gd name="T9" fmla="*/ 12 h 60"/>
                <a:gd name="T10" fmla="*/ 0 w 60"/>
                <a:gd name="T11" fmla="*/ 12 h 60"/>
                <a:gd name="T12" fmla="*/ 0 w 60"/>
                <a:gd name="T13" fmla="*/ 12 h 60"/>
                <a:gd name="T14" fmla="*/ 0 w 60"/>
                <a:gd name="T15" fmla="*/ 30 h 60"/>
                <a:gd name="T16" fmla="*/ 6 w 60"/>
                <a:gd name="T17" fmla="*/ 30 h 60"/>
                <a:gd name="T18" fmla="*/ 6 w 60"/>
                <a:gd name="T19" fmla="*/ 36 h 60"/>
                <a:gd name="T20" fmla="*/ 0 w 60"/>
                <a:gd name="T21" fmla="*/ 48 h 60"/>
                <a:gd name="T22" fmla="*/ 0 w 60"/>
                <a:gd name="T23" fmla="*/ 54 h 60"/>
                <a:gd name="T24" fmla="*/ 12 w 60"/>
                <a:gd name="T25" fmla="*/ 60 h 60"/>
                <a:gd name="T26" fmla="*/ 24 w 60"/>
                <a:gd name="T27" fmla="*/ 54 h 60"/>
                <a:gd name="T28" fmla="*/ 30 w 60"/>
                <a:gd name="T29" fmla="*/ 48 h 60"/>
                <a:gd name="T30" fmla="*/ 42 w 60"/>
                <a:gd name="T31" fmla="*/ 36 h 60"/>
                <a:gd name="T32" fmla="*/ 54 w 60"/>
                <a:gd name="T33" fmla="*/ 30 h 60"/>
                <a:gd name="T34" fmla="*/ 54 w 60"/>
                <a:gd name="T35" fmla="*/ 18 h 60"/>
                <a:gd name="T36" fmla="*/ 54 w 60"/>
                <a:gd name="T37" fmla="*/ 6 h 60"/>
                <a:gd name="T38" fmla="*/ 60 w 60"/>
                <a:gd name="T39" fmla="*/ 0 h 60"/>
                <a:gd name="T40" fmla="*/ 60 w 60"/>
                <a:gd name="T41" fmla="*/ 0 h 60"/>
                <a:gd name="T42" fmla="*/ 48 w 60"/>
                <a:gd name="T43" fmla="*/ 0 h 60"/>
                <a:gd name="T44" fmla="*/ 36 w 60"/>
                <a:gd name="T4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60">
                  <a:moveTo>
                    <a:pt x="36" y="0"/>
                  </a:moveTo>
                  <a:lnTo>
                    <a:pt x="24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42" y="36"/>
                  </a:lnTo>
                  <a:lnTo>
                    <a:pt x="54" y="30"/>
                  </a:lnTo>
                  <a:lnTo>
                    <a:pt x="54" y="18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0" name="Freeform 306">
              <a:extLst>
                <a:ext uri="{FF2B5EF4-FFF2-40B4-BE49-F238E27FC236}">
                  <a16:creationId xmlns:a16="http://schemas.microsoft.com/office/drawing/2014/main" id="{33B725BE-6690-4398-AFB9-138DF33A24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4" y="1587"/>
              <a:ext cx="84" cy="60"/>
            </a:xfrm>
            <a:custGeom>
              <a:avLst/>
              <a:gdLst>
                <a:gd name="T0" fmla="*/ 72 w 84"/>
                <a:gd name="T1" fmla="*/ 54 h 60"/>
                <a:gd name="T2" fmla="*/ 66 w 84"/>
                <a:gd name="T3" fmla="*/ 54 h 60"/>
                <a:gd name="T4" fmla="*/ 48 w 84"/>
                <a:gd name="T5" fmla="*/ 60 h 60"/>
                <a:gd name="T6" fmla="*/ 48 w 84"/>
                <a:gd name="T7" fmla="*/ 48 h 60"/>
                <a:gd name="T8" fmla="*/ 42 w 84"/>
                <a:gd name="T9" fmla="*/ 48 h 60"/>
                <a:gd name="T10" fmla="*/ 42 w 84"/>
                <a:gd name="T11" fmla="*/ 42 h 60"/>
                <a:gd name="T12" fmla="*/ 36 w 84"/>
                <a:gd name="T13" fmla="*/ 42 h 60"/>
                <a:gd name="T14" fmla="*/ 36 w 84"/>
                <a:gd name="T15" fmla="*/ 54 h 60"/>
                <a:gd name="T16" fmla="*/ 24 w 84"/>
                <a:gd name="T17" fmla="*/ 54 h 60"/>
                <a:gd name="T18" fmla="*/ 24 w 84"/>
                <a:gd name="T19" fmla="*/ 60 h 60"/>
                <a:gd name="T20" fmla="*/ 18 w 84"/>
                <a:gd name="T21" fmla="*/ 60 h 60"/>
                <a:gd name="T22" fmla="*/ 12 w 84"/>
                <a:gd name="T23" fmla="*/ 60 h 60"/>
                <a:gd name="T24" fmla="*/ 6 w 84"/>
                <a:gd name="T25" fmla="*/ 54 h 60"/>
                <a:gd name="T26" fmla="*/ 12 w 84"/>
                <a:gd name="T27" fmla="*/ 48 h 60"/>
                <a:gd name="T28" fmla="*/ 12 w 84"/>
                <a:gd name="T29" fmla="*/ 42 h 60"/>
                <a:gd name="T30" fmla="*/ 12 w 84"/>
                <a:gd name="T31" fmla="*/ 36 h 60"/>
                <a:gd name="T32" fmla="*/ 0 w 84"/>
                <a:gd name="T33" fmla="*/ 30 h 60"/>
                <a:gd name="T34" fmla="*/ 0 w 84"/>
                <a:gd name="T35" fmla="*/ 24 h 60"/>
                <a:gd name="T36" fmla="*/ 6 w 84"/>
                <a:gd name="T37" fmla="*/ 18 h 60"/>
                <a:gd name="T38" fmla="*/ 18 w 84"/>
                <a:gd name="T39" fmla="*/ 6 h 60"/>
                <a:gd name="T40" fmla="*/ 24 w 84"/>
                <a:gd name="T41" fmla="*/ 0 h 60"/>
                <a:gd name="T42" fmla="*/ 42 w 84"/>
                <a:gd name="T43" fmla="*/ 6 h 60"/>
                <a:gd name="T44" fmla="*/ 54 w 84"/>
                <a:gd name="T45" fmla="*/ 12 h 60"/>
                <a:gd name="T46" fmla="*/ 42 w 84"/>
                <a:gd name="T47" fmla="*/ 12 h 60"/>
                <a:gd name="T48" fmla="*/ 24 w 84"/>
                <a:gd name="T49" fmla="*/ 18 h 60"/>
                <a:gd name="T50" fmla="*/ 30 w 84"/>
                <a:gd name="T51" fmla="*/ 24 h 60"/>
                <a:gd name="T52" fmla="*/ 42 w 84"/>
                <a:gd name="T53" fmla="*/ 30 h 60"/>
                <a:gd name="T54" fmla="*/ 66 w 84"/>
                <a:gd name="T55" fmla="*/ 30 h 60"/>
                <a:gd name="T56" fmla="*/ 66 w 84"/>
                <a:gd name="T57" fmla="*/ 42 h 60"/>
                <a:gd name="T58" fmla="*/ 78 w 84"/>
                <a:gd name="T59" fmla="*/ 42 h 60"/>
                <a:gd name="T60" fmla="*/ 84 w 84"/>
                <a:gd name="T61" fmla="*/ 54 h 60"/>
                <a:gd name="T62" fmla="*/ 84 w 84"/>
                <a:gd name="T63" fmla="*/ 54 h 60"/>
                <a:gd name="T64" fmla="*/ 72 w 84"/>
                <a:gd name="T65" fmla="*/ 54 h 60"/>
                <a:gd name="T66" fmla="*/ 72 w 84"/>
                <a:gd name="T6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60">
                  <a:moveTo>
                    <a:pt x="72" y="54"/>
                  </a:moveTo>
                  <a:lnTo>
                    <a:pt x="66" y="54"/>
                  </a:lnTo>
                  <a:lnTo>
                    <a:pt x="48" y="60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12"/>
                  </a:lnTo>
                  <a:lnTo>
                    <a:pt x="42" y="12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42" y="30"/>
                  </a:lnTo>
                  <a:lnTo>
                    <a:pt x="66" y="30"/>
                  </a:lnTo>
                  <a:lnTo>
                    <a:pt x="66" y="42"/>
                  </a:lnTo>
                  <a:lnTo>
                    <a:pt x="78" y="42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72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1" name="Freeform 307">
              <a:extLst>
                <a:ext uri="{FF2B5EF4-FFF2-40B4-BE49-F238E27FC236}">
                  <a16:creationId xmlns:a16="http://schemas.microsoft.com/office/drawing/2014/main" id="{5F77B448-62A3-487A-AA81-03138B3FE5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2" y="1539"/>
              <a:ext cx="156" cy="102"/>
            </a:xfrm>
            <a:custGeom>
              <a:avLst/>
              <a:gdLst>
                <a:gd name="T0" fmla="*/ 114 w 156"/>
                <a:gd name="T1" fmla="*/ 90 h 102"/>
                <a:gd name="T2" fmla="*/ 96 w 156"/>
                <a:gd name="T3" fmla="*/ 78 h 102"/>
                <a:gd name="T4" fmla="*/ 78 w 156"/>
                <a:gd name="T5" fmla="*/ 66 h 102"/>
                <a:gd name="T6" fmla="*/ 72 w 156"/>
                <a:gd name="T7" fmla="*/ 66 h 102"/>
                <a:gd name="T8" fmla="*/ 54 w 156"/>
                <a:gd name="T9" fmla="*/ 60 h 102"/>
                <a:gd name="T10" fmla="*/ 48 w 156"/>
                <a:gd name="T11" fmla="*/ 48 h 102"/>
                <a:gd name="T12" fmla="*/ 36 w 156"/>
                <a:gd name="T13" fmla="*/ 36 h 102"/>
                <a:gd name="T14" fmla="*/ 24 w 156"/>
                <a:gd name="T15" fmla="*/ 48 h 102"/>
                <a:gd name="T16" fmla="*/ 24 w 156"/>
                <a:gd name="T17" fmla="*/ 48 h 102"/>
                <a:gd name="T18" fmla="*/ 24 w 156"/>
                <a:gd name="T19" fmla="*/ 54 h 102"/>
                <a:gd name="T20" fmla="*/ 12 w 156"/>
                <a:gd name="T21" fmla="*/ 54 h 102"/>
                <a:gd name="T22" fmla="*/ 6 w 156"/>
                <a:gd name="T23" fmla="*/ 42 h 102"/>
                <a:gd name="T24" fmla="*/ 6 w 156"/>
                <a:gd name="T25" fmla="*/ 30 h 102"/>
                <a:gd name="T26" fmla="*/ 0 w 156"/>
                <a:gd name="T27" fmla="*/ 18 h 102"/>
                <a:gd name="T28" fmla="*/ 0 w 156"/>
                <a:gd name="T29" fmla="*/ 6 h 102"/>
                <a:gd name="T30" fmla="*/ 12 w 156"/>
                <a:gd name="T31" fmla="*/ 6 h 102"/>
                <a:gd name="T32" fmla="*/ 24 w 156"/>
                <a:gd name="T33" fmla="*/ 0 h 102"/>
                <a:gd name="T34" fmla="*/ 36 w 156"/>
                <a:gd name="T35" fmla="*/ 6 h 102"/>
                <a:gd name="T36" fmla="*/ 48 w 156"/>
                <a:gd name="T37" fmla="*/ 12 h 102"/>
                <a:gd name="T38" fmla="*/ 60 w 156"/>
                <a:gd name="T39" fmla="*/ 24 h 102"/>
                <a:gd name="T40" fmla="*/ 72 w 156"/>
                <a:gd name="T41" fmla="*/ 24 h 102"/>
                <a:gd name="T42" fmla="*/ 78 w 156"/>
                <a:gd name="T43" fmla="*/ 24 h 102"/>
                <a:gd name="T44" fmla="*/ 90 w 156"/>
                <a:gd name="T45" fmla="*/ 24 h 102"/>
                <a:gd name="T46" fmla="*/ 102 w 156"/>
                <a:gd name="T47" fmla="*/ 24 h 102"/>
                <a:gd name="T48" fmla="*/ 114 w 156"/>
                <a:gd name="T49" fmla="*/ 36 h 102"/>
                <a:gd name="T50" fmla="*/ 114 w 156"/>
                <a:gd name="T51" fmla="*/ 48 h 102"/>
                <a:gd name="T52" fmla="*/ 120 w 156"/>
                <a:gd name="T53" fmla="*/ 48 h 102"/>
                <a:gd name="T54" fmla="*/ 132 w 156"/>
                <a:gd name="T55" fmla="*/ 54 h 102"/>
                <a:gd name="T56" fmla="*/ 144 w 156"/>
                <a:gd name="T57" fmla="*/ 48 h 102"/>
                <a:gd name="T58" fmla="*/ 150 w 156"/>
                <a:gd name="T59" fmla="*/ 42 h 102"/>
                <a:gd name="T60" fmla="*/ 156 w 156"/>
                <a:gd name="T61" fmla="*/ 48 h 102"/>
                <a:gd name="T62" fmla="*/ 150 w 156"/>
                <a:gd name="T63" fmla="*/ 54 h 102"/>
                <a:gd name="T64" fmla="*/ 138 w 156"/>
                <a:gd name="T65" fmla="*/ 66 h 102"/>
                <a:gd name="T66" fmla="*/ 132 w 156"/>
                <a:gd name="T67" fmla="*/ 72 h 102"/>
                <a:gd name="T68" fmla="*/ 132 w 156"/>
                <a:gd name="T69" fmla="*/ 78 h 102"/>
                <a:gd name="T70" fmla="*/ 144 w 156"/>
                <a:gd name="T71" fmla="*/ 84 h 102"/>
                <a:gd name="T72" fmla="*/ 144 w 156"/>
                <a:gd name="T73" fmla="*/ 90 h 102"/>
                <a:gd name="T74" fmla="*/ 144 w 156"/>
                <a:gd name="T75" fmla="*/ 96 h 102"/>
                <a:gd name="T76" fmla="*/ 138 w 156"/>
                <a:gd name="T77" fmla="*/ 102 h 102"/>
                <a:gd name="T78" fmla="*/ 132 w 156"/>
                <a:gd name="T79" fmla="*/ 102 h 102"/>
                <a:gd name="T80" fmla="*/ 120 w 156"/>
                <a:gd name="T81" fmla="*/ 102 h 102"/>
                <a:gd name="T82" fmla="*/ 114 w 156"/>
                <a:gd name="T83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" h="102">
                  <a:moveTo>
                    <a:pt x="114" y="90"/>
                  </a:moveTo>
                  <a:lnTo>
                    <a:pt x="96" y="78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54" y="60"/>
                  </a:lnTo>
                  <a:lnTo>
                    <a:pt x="48" y="48"/>
                  </a:lnTo>
                  <a:lnTo>
                    <a:pt x="36" y="3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12" y="54"/>
                  </a:lnTo>
                  <a:lnTo>
                    <a:pt x="6" y="42"/>
                  </a:lnTo>
                  <a:lnTo>
                    <a:pt x="6" y="30"/>
                  </a:lnTo>
                  <a:lnTo>
                    <a:pt x="0" y="18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60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90" y="24"/>
                  </a:lnTo>
                  <a:lnTo>
                    <a:pt x="102" y="24"/>
                  </a:lnTo>
                  <a:lnTo>
                    <a:pt x="114" y="36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32" y="54"/>
                  </a:lnTo>
                  <a:lnTo>
                    <a:pt x="144" y="48"/>
                  </a:lnTo>
                  <a:lnTo>
                    <a:pt x="150" y="42"/>
                  </a:lnTo>
                  <a:lnTo>
                    <a:pt x="156" y="48"/>
                  </a:lnTo>
                  <a:lnTo>
                    <a:pt x="150" y="54"/>
                  </a:lnTo>
                  <a:lnTo>
                    <a:pt x="138" y="66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44" y="84"/>
                  </a:lnTo>
                  <a:lnTo>
                    <a:pt x="144" y="90"/>
                  </a:lnTo>
                  <a:lnTo>
                    <a:pt x="144" y="96"/>
                  </a:lnTo>
                  <a:lnTo>
                    <a:pt x="138" y="102"/>
                  </a:lnTo>
                  <a:lnTo>
                    <a:pt x="132" y="102"/>
                  </a:lnTo>
                  <a:lnTo>
                    <a:pt x="120" y="102"/>
                  </a:lnTo>
                  <a:lnTo>
                    <a:pt x="11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2" name="Freeform 308">
              <a:extLst>
                <a:ext uri="{FF2B5EF4-FFF2-40B4-BE49-F238E27FC236}">
                  <a16:creationId xmlns:a16="http://schemas.microsoft.com/office/drawing/2014/main" id="{B3E6A492-8616-4207-BBEE-98FFD6D90B2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1"/>
              <a:ext cx="24" cy="18"/>
            </a:xfrm>
            <a:custGeom>
              <a:avLst/>
              <a:gdLst>
                <a:gd name="T0" fmla="*/ 6 w 24"/>
                <a:gd name="T1" fmla="*/ 18 h 18"/>
                <a:gd name="T2" fmla="*/ 0 w 24"/>
                <a:gd name="T3" fmla="*/ 6 h 18"/>
                <a:gd name="T4" fmla="*/ 0 w 24"/>
                <a:gd name="T5" fmla="*/ 6 h 18"/>
                <a:gd name="T6" fmla="*/ 0 w 24"/>
                <a:gd name="T7" fmla="*/ 6 h 18"/>
                <a:gd name="T8" fmla="*/ 6 w 24"/>
                <a:gd name="T9" fmla="*/ 0 h 18"/>
                <a:gd name="T10" fmla="*/ 6 w 24"/>
                <a:gd name="T11" fmla="*/ 6 h 18"/>
                <a:gd name="T12" fmla="*/ 12 w 24"/>
                <a:gd name="T13" fmla="*/ 0 h 18"/>
                <a:gd name="T14" fmla="*/ 12 w 24"/>
                <a:gd name="T15" fmla="*/ 0 h 18"/>
                <a:gd name="T16" fmla="*/ 12 w 24"/>
                <a:gd name="T17" fmla="*/ 0 h 18"/>
                <a:gd name="T18" fmla="*/ 12 w 24"/>
                <a:gd name="T19" fmla="*/ 0 h 18"/>
                <a:gd name="T20" fmla="*/ 18 w 24"/>
                <a:gd name="T21" fmla="*/ 0 h 18"/>
                <a:gd name="T22" fmla="*/ 24 w 24"/>
                <a:gd name="T23" fmla="*/ 6 h 18"/>
                <a:gd name="T24" fmla="*/ 24 w 24"/>
                <a:gd name="T25" fmla="*/ 0 h 18"/>
                <a:gd name="T26" fmla="*/ 24 w 24"/>
                <a:gd name="T27" fmla="*/ 6 h 18"/>
                <a:gd name="T28" fmla="*/ 24 w 24"/>
                <a:gd name="T29" fmla="*/ 12 h 18"/>
                <a:gd name="T30" fmla="*/ 6 w 24"/>
                <a:gd name="T3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8">
                  <a:moveTo>
                    <a:pt x="6" y="18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3" name="Freeform 309">
              <a:extLst>
                <a:ext uri="{FF2B5EF4-FFF2-40B4-BE49-F238E27FC236}">
                  <a16:creationId xmlns:a16="http://schemas.microsoft.com/office/drawing/2014/main" id="{28564519-6E5D-4A80-8D90-415E8F5011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3" y="1557"/>
              <a:ext cx="60" cy="36"/>
            </a:xfrm>
            <a:custGeom>
              <a:avLst/>
              <a:gdLst>
                <a:gd name="T0" fmla="*/ 6 w 60"/>
                <a:gd name="T1" fmla="*/ 6 h 36"/>
                <a:gd name="T2" fmla="*/ 0 w 60"/>
                <a:gd name="T3" fmla="*/ 0 h 36"/>
                <a:gd name="T4" fmla="*/ 0 w 60"/>
                <a:gd name="T5" fmla="*/ 6 h 36"/>
                <a:gd name="T6" fmla="*/ 6 w 60"/>
                <a:gd name="T7" fmla="*/ 18 h 36"/>
                <a:gd name="T8" fmla="*/ 0 w 60"/>
                <a:gd name="T9" fmla="*/ 24 h 36"/>
                <a:gd name="T10" fmla="*/ 6 w 60"/>
                <a:gd name="T11" fmla="*/ 24 h 36"/>
                <a:gd name="T12" fmla="*/ 6 w 60"/>
                <a:gd name="T13" fmla="*/ 30 h 36"/>
                <a:gd name="T14" fmla="*/ 6 w 60"/>
                <a:gd name="T15" fmla="*/ 36 h 36"/>
                <a:gd name="T16" fmla="*/ 18 w 60"/>
                <a:gd name="T17" fmla="*/ 36 h 36"/>
                <a:gd name="T18" fmla="*/ 36 w 60"/>
                <a:gd name="T19" fmla="*/ 36 h 36"/>
                <a:gd name="T20" fmla="*/ 42 w 60"/>
                <a:gd name="T21" fmla="*/ 36 h 36"/>
                <a:gd name="T22" fmla="*/ 42 w 60"/>
                <a:gd name="T23" fmla="*/ 30 h 36"/>
                <a:gd name="T24" fmla="*/ 42 w 60"/>
                <a:gd name="T25" fmla="*/ 30 h 36"/>
                <a:gd name="T26" fmla="*/ 60 w 60"/>
                <a:gd name="T27" fmla="*/ 30 h 36"/>
                <a:gd name="T28" fmla="*/ 54 w 60"/>
                <a:gd name="T29" fmla="*/ 24 h 36"/>
                <a:gd name="T30" fmla="*/ 54 w 60"/>
                <a:gd name="T31" fmla="*/ 18 h 36"/>
                <a:gd name="T32" fmla="*/ 60 w 60"/>
                <a:gd name="T33" fmla="*/ 12 h 36"/>
                <a:gd name="T34" fmla="*/ 60 w 60"/>
                <a:gd name="T35" fmla="*/ 6 h 36"/>
                <a:gd name="T36" fmla="*/ 42 w 60"/>
                <a:gd name="T37" fmla="*/ 0 h 36"/>
                <a:gd name="T38" fmla="*/ 24 w 60"/>
                <a:gd name="T39" fmla="*/ 6 h 36"/>
                <a:gd name="T40" fmla="*/ 18 w 60"/>
                <a:gd name="T41" fmla="*/ 6 h 36"/>
                <a:gd name="T42" fmla="*/ 6 w 60"/>
                <a:gd name="T43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3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60" y="30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42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4" name="Freeform 310">
              <a:extLst>
                <a:ext uri="{FF2B5EF4-FFF2-40B4-BE49-F238E27FC236}">
                  <a16:creationId xmlns:a16="http://schemas.microsoft.com/office/drawing/2014/main" id="{F29CE330-BF0D-43EA-97F4-D731B000A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581"/>
              <a:ext cx="18" cy="30"/>
            </a:xfrm>
            <a:custGeom>
              <a:avLst/>
              <a:gdLst>
                <a:gd name="T0" fmla="*/ 0 w 18"/>
                <a:gd name="T1" fmla="*/ 6 h 30"/>
                <a:gd name="T2" fmla="*/ 6 w 18"/>
                <a:gd name="T3" fmla="*/ 24 h 30"/>
                <a:gd name="T4" fmla="*/ 12 w 18"/>
                <a:gd name="T5" fmla="*/ 30 h 30"/>
                <a:gd name="T6" fmla="*/ 12 w 18"/>
                <a:gd name="T7" fmla="*/ 30 h 30"/>
                <a:gd name="T8" fmla="*/ 18 w 18"/>
                <a:gd name="T9" fmla="*/ 18 h 30"/>
                <a:gd name="T10" fmla="*/ 18 w 18"/>
                <a:gd name="T11" fmla="*/ 18 h 30"/>
                <a:gd name="T12" fmla="*/ 12 w 18"/>
                <a:gd name="T13" fmla="*/ 6 h 30"/>
                <a:gd name="T14" fmla="*/ 12 w 18"/>
                <a:gd name="T15" fmla="*/ 0 h 30"/>
                <a:gd name="T16" fmla="*/ 6 w 18"/>
                <a:gd name="T17" fmla="*/ 0 h 30"/>
                <a:gd name="T18" fmla="*/ 0 w 18"/>
                <a:gd name="T19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30">
                  <a:moveTo>
                    <a:pt x="0" y="6"/>
                  </a:moveTo>
                  <a:lnTo>
                    <a:pt x="6" y="2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5" name="Freeform 311">
              <a:extLst>
                <a:ext uri="{FF2B5EF4-FFF2-40B4-BE49-F238E27FC236}">
                  <a16:creationId xmlns:a16="http://schemas.microsoft.com/office/drawing/2014/main" id="{A97C28DD-9C9D-48AD-9794-DB880DBCC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2" y="1593"/>
              <a:ext cx="42" cy="30"/>
            </a:xfrm>
            <a:custGeom>
              <a:avLst/>
              <a:gdLst>
                <a:gd name="T0" fmla="*/ 6 w 42"/>
                <a:gd name="T1" fmla="*/ 0 h 30"/>
                <a:gd name="T2" fmla="*/ 0 w 42"/>
                <a:gd name="T3" fmla="*/ 0 h 30"/>
                <a:gd name="T4" fmla="*/ 12 w 42"/>
                <a:gd name="T5" fmla="*/ 0 h 30"/>
                <a:gd name="T6" fmla="*/ 24 w 42"/>
                <a:gd name="T7" fmla="*/ 0 h 30"/>
                <a:gd name="T8" fmla="*/ 36 w 42"/>
                <a:gd name="T9" fmla="*/ 0 h 30"/>
                <a:gd name="T10" fmla="*/ 36 w 42"/>
                <a:gd name="T11" fmla="*/ 12 h 30"/>
                <a:gd name="T12" fmla="*/ 42 w 42"/>
                <a:gd name="T13" fmla="*/ 12 h 30"/>
                <a:gd name="T14" fmla="*/ 36 w 42"/>
                <a:gd name="T15" fmla="*/ 18 h 30"/>
                <a:gd name="T16" fmla="*/ 42 w 42"/>
                <a:gd name="T17" fmla="*/ 30 h 30"/>
                <a:gd name="T18" fmla="*/ 42 w 42"/>
                <a:gd name="T19" fmla="*/ 30 h 30"/>
                <a:gd name="T20" fmla="*/ 36 w 42"/>
                <a:gd name="T21" fmla="*/ 30 h 30"/>
                <a:gd name="T22" fmla="*/ 36 w 42"/>
                <a:gd name="T23" fmla="*/ 24 h 30"/>
                <a:gd name="T24" fmla="*/ 36 w 42"/>
                <a:gd name="T25" fmla="*/ 24 h 30"/>
                <a:gd name="T26" fmla="*/ 30 w 42"/>
                <a:gd name="T27" fmla="*/ 24 h 30"/>
                <a:gd name="T28" fmla="*/ 30 w 42"/>
                <a:gd name="T29" fmla="*/ 24 h 30"/>
                <a:gd name="T30" fmla="*/ 24 w 42"/>
                <a:gd name="T31" fmla="*/ 18 h 30"/>
                <a:gd name="T32" fmla="*/ 24 w 42"/>
                <a:gd name="T33" fmla="*/ 18 h 30"/>
                <a:gd name="T34" fmla="*/ 12 w 42"/>
                <a:gd name="T35" fmla="*/ 18 h 30"/>
                <a:gd name="T36" fmla="*/ 6 w 42"/>
                <a:gd name="T37" fmla="*/ 12 h 30"/>
                <a:gd name="T38" fmla="*/ 6 w 42"/>
                <a:gd name="T3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0">
                  <a:moveTo>
                    <a:pt x="6" y="0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12" y="18"/>
                  </a:lnTo>
                  <a:lnTo>
                    <a:pt x="6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6" name="Freeform 312">
              <a:extLst>
                <a:ext uri="{FF2B5EF4-FFF2-40B4-BE49-F238E27FC236}">
                  <a16:creationId xmlns:a16="http://schemas.microsoft.com/office/drawing/2014/main" id="{B600F890-5BE6-4C25-9BC8-333D30DB0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8" y="1587"/>
              <a:ext cx="42" cy="42"/>
            </a:xfrm>
            <a:custGeom>
              <a:avLst/>
              <a:gdLst>
                <a:gd name="T0" fmla="*/ 6 w 42"/>
                <a:gd name="T1" fmla="*/ 36 h 42"/>
                <a:gd name="T2" fmla="*/ 0 w 42"/>
                <a:gd name="T3" fmla="*/ 24 h 42"/>
                <a:gd name="T4" fmla="*/ 6 w 42"/>
                <a:gd name="T5" fmla="*/ 18 h 42"/>
                <a:gd name="T6" fmla="*/ 0 w 42"/>
                <a:gd name="T7" fmla="*/ 18 h 42"/>
                <a:gd name="T8" fmla="*/ 0 w 42"/>
                <a:gd name="T9" fmla="*/ 6 h 42"/>
                <a:gd name="T10" fmla="*/ 6 w 42"/>
                <a:gd name="T11" fmla="*/ 0 h 42"/>
                <a:gd name="T12" fmla="*/ 18 w 42"/>
                <a:gd name="T13" fmla="*/ 0 h 42"/>
                <a:gd name="T14" fmla="*/ 24 w 42"/>
                <a:gd name="T15" fmla="*/ 12 h 42"/>
                <a:gd name="T16" fmla="*/ 42 w 42"/>
                <a:gd name="T17" fmla="*/ 18 h 42"/>
                <a:gd name="T18" fmla="*/ 36 w 42"/>
                <a:gd name="T19" fmla="*/ 18 h 42"/>
                <a:gd name="T20" fmla="*/ 30 w 42"/>
                <a:gd name="T21" fmla="*/ 36 h 42"/>
                <a:gd name="T22" fmla="*/ 30 w 42"/>
                <a:gd name="T23" fmla="*/ 42 h 42"/>
                <a:gd name="T24" fmla="*/ 18 w 42"/>
                <a:gd name="T25" fmla="*/ 36 h 42"/>
                <a:gd name="T26" fmla="*/ 24 w 42"/>
                <a:gd name="T27" fmla="*/ 36 h 42"/>
                <a:gd name="T28" fmla="*/ 18 w 42"/>
                <a:gd name="T29" fmla="*/ 24 h 42"/>
                <a:gd name="T30" fmla="*/ 6 w 42"/>
                <a:gd name="T31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36"/>
                  </a:moveTo>
                  <a:lnTo>
                    <a:pt x="0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12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18" y="24"/>
                  </a:lnTo>
                  <a:lnTo>
                    <a:pt x="6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7" name="Freeform 313">
              <a:extLst>
                <a:ext uri="{FF2B5EF4-FFF2-40B4-BE49-F238E27FC236}">
                  <a16:creationId xmlns:a16="http://schemas.microsoft.com/office/drawing/2014/main" id="{AC3274A0-928A-4A89-967A-3FE148F30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6" y="1611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2 w 18"/>
                <a:gd name="T3" fmla="*/ 12 h 12"/>
                <a:gd name="T4" fmla="*/ 0 w 18"/>
                <a:gd name="T5" fmla="*/ 6 h 12"/>
                <a:gd name="T6" fmla="*/ 0 w 18"/>
                <a:gd name="T7" fmla="*/ 6 h 12"/>
                <a:gd name="T8" fmla="*/ 0 w 18"/>
                <a:gd name="T9" fmla="*/ 0 h 12"/>
                <a:gd name="T10" fmla="*/ 0 w 18"/>
                <a:gd name="T11" fmla="*/ 0 h 12"/>
                <a:gd name="T12" fmla="*/ 6 w 18"/>
                <a:gd name="T13" fmla="*/ 6 h 12"/>
                <a:gd name="T14" fmla="*/ 6 w 18"/>
                <a:gd name="T15" fmla="*/ 6 h 12"/>
                <a:gd name="T16" fmla="*/ 12 w 18"/>
                <a:gd name="T17" fmla="*/ 6 h 12"/>
                <a:gd name="T18" fmla="*/ 12 w 18"/>
                <a:gd name="T19" fmla="*/ 6 h 12"/>
                <a:gd name="T20" fmla="*/ 12 w 18"/>
                <a:gd name="T21" fmla="*/ 12 h 12"/>
                <a:gd name="T22" fmla="*/ 18 w 18"/>
                <a:gd name="T2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2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8" name="Freeform 314">
              <a:extLst>
                <a:ext uri="{FF2B5EF4-FFF2-40B4-BE49-F238E27FC236}">
                  <a16:creationId xmlns:a16="http://schemas.microsoft.com/office/drawing/2014/main" id="{B7E9DE95-19A5-4988-BDBA-41C2839970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5" y="1587"/>
              <a:ext cx="60" cy="66"/>
            </a:xfrm>
            <a:custGeom>
              <a:avLst/>
              <a:gdLst>
                <a:gd name="T0" fmla="*/ 12 w 60"/>
                <a:gd name="T1" fmla="*/ 36 h 66"/>
                <a:gd name="T2" fmla="*/ 6 w 60"/>
                <a:gd name="T3" fmla="*/ 36 h 66"/>
                <a:gd name="T4" fmla="*/ 0 w 60"/>
                <a:gd name="T5" fmla="*/ 24 h 66"/>
                <a:gd name="T6" fmla="*/ 0 w 60"/>
                <a:gd name="T7" fmla="*/ 24 h 66"/>
                <a:gd name="T8" fmla="*/ 6 w 60"/>
                <a:gd name="T9" fmla="*/ 12 h 66"/>
                <a:gd name="T10" fmla="*/ 6 w 60"/>
                <a:gd name="T11" fmla="*/ 12 h 66"/>
                <a:gd name="T12" fmla="*/ 24 w 60"/>
                <a:gd name="T13" fmla="*/ 6 h 66"/>
                <a:gd name="T14" fmla="*/ 36 w 60"/>
                <a:gd name="T15" fmla="*/ 6 h 66"/>
                <a:gd name="T16" fmla="*/ 54 w 60"/>
                <a:gd name="T17" fmla="*/ 6 h 66"/>
                <a:gd name="T18" fmla="*/ 60 w 60"/>
                <a:gd name="T19" fmla="*/ 6 h 66"/>
                <a:gd name="T20" fmla="*/ 60 w 60"/>
                <a:gd name="T21" fmla="*/ 0 h 66"/>
                <a:gd name="T22" fmla="*/ 60 w 60"/>
                <a:gd name="T23" fmla="*/ 6 h 66"/>
                <a:gd name="T24" fmla="*/ 60 w 60"/>
                <a:gd name="T25" fmla="*/ 12 h 66"/>
                <a:gd name="T26" fmla="*/ 48 w 60"/>
                <a:gd name="T27" fmla="*/ 12 h 66"/>
                <a:gd name="T28" fmla="*/ 36 w 60"/>
                <a:gd name="T29" fmla="*/ 18 h 66"/>
                <a:gd name="T30" fmla="*/ 42 w 60"/>
                <a:gd name="T31" fmla="*/ 18 h 66"/>
                <a:gd name="T32" fmla="*/ 36 w 60"/>
                <a:gd name="T33" fmla="*/ 18 h 66"/>
                <a:gd name="T34" fmla="*/ 36 w 60"/>
                <a:gd name="T35" fmla="*/ 24 h 66"/>
                <a:gd name="T36" fmla="*/ 30 w 60"/>
                <a:gd name="T37" fmla="*/ 24 h 66"/>
                <a:gd name="T38" fmla="*/ 36 w 60"/>
                <a:gd name="T39" fmla="*/ 24 h 66"/>
                <a:gd name="T40" fmla="*/ 30 w 60"/>
                <a:gd name="T41" fmla="*/ 18 h 66"/>
                <a:gd name="T42" fmla="*/ 24 w 60"/>
                <a:gd name="T43" fmla="*/ 18 h 66"/>
                <a:gd name="T44" fmla="*/ 30 w 60"/>
                <a:gd name="T45" fmla="*/ 30 h 66"/>
                <a:gd name="T46" fmla="*/ 30 w 60"/>
                <a:gd name="T47" fmla="*/ 36 h 66"/>
                <a:gd name="T48" fmla="*/ 30 w 60"/>
                <a:gd name="T49" fmla="*/ 30 h 66"/>
                <a:gd name="T50" fmla="*/ 30 w 60"/>
                <a:gd name="T51" fmla="*/ 36 h 66"/>
                <a:gd name="T52" fmla="*/ 24 w 60"/>
                <a:gd name="T53" fmla="*/ 36 h 66"/>
                <a:gd name="T54" fmla="*/ 42 w 60"/>
                <a:gd name="T55" fmla="*/ 48 h 66"/>
                <a:gd name="T56" fmla="*/ 42 w 60"/>
                <a:gd name="T57" fmla="*/ 48 h 66"/>
                <a:gd name="T58" fmla="*/ 36 w 60"/>
                <a:gd name="T59" fmla="*/ 48 h 66"/>
                <a:gd name="T60" fmla="*/ 30 w 60"/>
                <a:gd name="T61" fmla="*/ 48 h 66"/>
                <a:gd name="T62" fmla="*/ 36 w 60"/>
                <a:gd name="T63" fmla="*/ 54 h 66"/>
                <a:gd name="T64" fmla="*/ 30 w 60"/>
                <a:gd name="T65" fmla="*/ 54 h 66"/>
                <a:gd name="T66" fmla="*/ 30 w 60"/>
                <a:gd name="T67" fmla="*/ 66 h 66"/>
                <a:gd name="T68" fmla="*/ 30 w 60"/>
                <a:gd name="T69" fmla="*/ 66 h 66"/>
                <a:gd name="T70" fmla="*/ 24 w 60"/>
                <a:gd name="T71" fmla="*/ 66 h 66"/>
                <a:gd name="T72" fmla="*/ 24 w 60"/>
                <a:gd name="T73" fmla="*/ 60 h 66"/>
                <a:gd name="T74" fmla="*/ 18 w 60"/>
                <a:gd name="T75" fmla="*/ 60 h 66"/>
                <a:gd name="T76" fmla="*/ 12 w 60"/>
                <a:gd name="T77" fmla="*/ 54 h 66"/>
                <a:gd name="T78" fmla="*/ 12 w 60"/>
                <a:gd name="T79" fmla="*/ 48 h 66"/>
                <a:gd name="T80" fmla="*/ 24 w 60"/>
                <a:gd name="T81" fmla="*/ 42 h 66"/>
                <a:gd name="T82" fmla="*/ 30 w 60"/>
                <a:gd name="T83" fmla="*/ 48 h 66"/>
                <a:gd name="T84" fmla="*/ 30 w 60"/>
                <a:gd name="T85" fmla="*/ 48 h 66"/>
                <a:gd name="T86" fmla="*/ 24 w 60"/>
                <a:gd name="T87" fmla="*/ 42 h 66"/>
                <a:gd name="T88" fmla="*/ 12 w 60"/>
                <a:gd name="T89" fmla="*/ 42 h 66"/>
                <a:gd name="T90" fmla="*/ 12 w 60"/>
                <a:gd name="T91" fmla="*/ 42 h 66"/>
                <a:gd name="T92" fmla="*/ 6 w 60"/>
                <a:gd name="T93" fmla="*/ 36 h 66"/>
                <a:gd name="T94" fmla="*/ 12 w 60"/>
                <a:gd name="T95" fmla="*/ 3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" h="66">
                  <a:moveTo>
                    <a:pt x="12" y="36"/>
                  </a:moveTo>
                  <a:lnTo>
                    <a:pt x="6" y="3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lnTo>
                    <a:pt x="36" y="6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24" y="42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19" name="Freeform 315">
              <a:extLst>
                <a:ext uri="{FF2B5EF4-FFF2-40B4-BE49-F238E27FC236}">
                  <a16:creationId xmlns:a16="http://schemas.microsoft.com/office/drawing/2014/main" id="{15D5A37F-E16C-4654-92FE-586A1085B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7" y="1665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6 w 24"/>
                <a:gd name="T3" fmla="*/ 0 h 6"/>
                <a:gd name="T4" fmla="*/ 0 w 24"/>
                <a:gd name="T5" fmla="*/ 0 h 6"/>
                <a:gd name="T6" fmla="*/ 0 w 24"/>
                <a:gd name="T7" fmla="*/ 6 h 6"/>
                <a:gd name="T8" fmla="*/ 6 w 24"/>
                <a:gd name="T9" fmla="*/ 6 h 6"/>
                <a:gd name="T10" fmla="*/ 18 w 24"/>
                <a:gd name="T11" fmla="*/ 6 h 6"/>
                <a:gd name="T12" fmla="*/ 24 w 24"/>
                <a:gd name="T13" fmla="*/ 6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0" name="Freeform 316">
              <a:extLst>
                <a:ext uri="{FF2B5EF4-FFF2-40B4-BE49-F238E27FC236}">
                  <a16:creationId xmlns:a16="http://schemas.microsoft.com/office/drawing/2014/main" id="{616121C0-5B63-487B-B89E-49031AA97C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5" y="1623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6 w 18"/>
                <a:gd name="T3" fmla="*/ 0 h 12"/>
                <a:gd name="T4" fmla="*/ 0 w 18"/>
                <a:gd name="T5" fmla="*/ 0 h 12"/>
                <a:gd name="T6" fmla="*/ 6 w 18"/>
                <a:gd name="T7" fmla="*/ 6 h 12"/>
                <a:gd name="T8" fmla="*/ 18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1" name="Freeform 317">
              <a:extLst>
                <a:ext uri="{FF2B5EF4-FFF2-40B4-BE49-F238E27FC236}">
                  <a16:creationId xmlns:a16="http://schemas.microsoft.com/office/drawing/2014/main" id="{653A6631-D78C-461C-95E4-B0E95613B34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617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2" name="Rectangle 318">
              <a:extLst>
                <a:ext uri="{FF2B5EF4-FFF2-40B4-BE49-F238E27FC236}">
                  <a16:creationId xmlns:a16="http://schemas.microsoft.com/office/drawing/2014/main" id="{F2E9F8E0-9CDE-4A85-B32E-B68E5CE2E7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1" y="1629"/>
              <a:ext cx="1" cy="6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3" name="Rectangle 319">
              <a:extLst>
                <a:ext uri="{FF2B5EF4-FFF2-40B4-BE49-F238E27FC236}">
                  <a16:creationId xmlns:a16="http://schemas.microsoft.com/office/drawing/2014/main" id="{EF808AD7-275E-4E92-9C76-B36AD7886B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75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4" name="Freeform 320">
              <a:extLst>
                <a:ext uri="{FF2B5EF4-FFF2-40B4-BE49-F238E27FC236}">
                  <a16:creationId xmlns:a16="http://schemas.microsoft.com/office/drawing/2014/main" id="{D30A8BCC-09EA-41EF-9127-E8F7255E8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  <a:gd name="T108" fmla="*/ 60 w 120"/>
                <a:gd name="T109" fmla="*/ 36 h 108"/>
                <a:gd name="T110" fmla="*/ 54 w 120"/>
                <a:gd name="T111" fmla="*/ 36 h 108"/>
                <a:gd name="T112" fmla="*/ 60 w 120"/>
                <a:gd name="T113" fmla="*/ 36 h 108"/>
                <a:gd name="T114" fmla="*/ 60 w 120"/>
                <a:gd name="T115" fmla="*/ 36 h 108"/>
                <a:gd name="T116" fmla="*/ 66 w 120"/>
                <a:gd name="T117" fmla="*/ 0 h 108"/>
                <a:gd name="T118" fmla="*/ 60 w 120"/>
                <a:gd name="T119" fmla="*/ 60 h 108"/>
                <a:gd name="T120" fmla="*/ 66 w 120"/>
                <a:gd name="T1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60" y="36"/>
                  </a:lnTo>
                  <a:lnTo>
                    <a:pt x="54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6" y="0"/>
                  </a:lnTo>
                  <a:lnTo>
                    <a:pt x="60" y="6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5" name="Freeform 321">
              <a:extLst>
                <a:ext uri="{FF2B5EF4-FFF2-40B4-BE49-F238E27FC236}">
                  <a16:creationId xmlns:a16="http://schemas.microsoft.com/office/drawing/2014/main" id="{7174D39F-A74E-401D-B2CC-C7CB7602E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7" y="1527"/>
              <a:ext cx="120" cy="108"/>
            </a:xfrm>
            <a:custGeom>
              <a:avLst/>
              <a:gdLst>
                <a:gd name="T0" fmla="*/ 66 w 120"/>
                <a:gd name="T1" fmla="*/ 0 h 108"/>
                <a:gd name="T2" fmla="*/ 54 w 120"/>
                <a:gd name="T3" fmla="*/ 0 h 108"/>
                <a:gd name="T4" fmla="*/ 42 w 120"/>
                <a:gd name="T5" fmla="*/ 0 h 108"/>
                <a:gd name="T6" fmla="*/ 36 w 120"/>
                <a:gd name="T7" fmla="*/ 0 h 108"/>
                <a:gd name="T8" fmla="*/ 36 w 120"/>
                <a:gd name="T9" fmla="*/ 0 h 108"/>
                <a:gd name="T10" fmla="*/ 36 w 120"/>
                <a:gd name="T11" fmla="*/ 0 h 108"/>
                <a:gd name="T12" fmla="*/ 30 w 120"/>
                <a:gd name="T13" fmla="*/ 6 h 108"/>
                <a:gd name="T14" fmla="*/ 24 w 120"/>
                <a:gd name="T15" fmla="*/ 6 h 108"/>
                <a:gd name="T16" fmla="*/ 24 w 120"/>
                <a:gd name="T17" fmla="*/ 12 h 108"/>
                <a:gd name="T18" fmla="*/ 12 w 120"/>
                <a:gd name="T19" fmla="*/ 6 h 108"/>
                <a:gd name="T20" fmla="*/ 12 w 120"/>
                <a:gd name="T21" fmla="*/ 12 h 108"/>
                <a:gd name="T22" fmla="*/ 0 w 120"/>
                <a:gd name="T23" fmla="*/ 12 h 108"/>
                <a:gd name="T24" fmla="*/ 0 w 120"/>
                <a:gd name="T25" fmla="*/ 18 h 108"/>
                <a:gd name="T26" fmla="*/ 0 w 120"/>
                <a:gd name="T27" fmla="*/ 18 h 108"/>
                <a:gd name="T28" fmla="*/ 0 w 120"/>
                <a:gd name="T29" fmla="*/ 24 h 108"/>
                <a:gd name="T30" fmla="*/ 0 w 120"/>
                <a:gd name="T31" fmla="*/ 30 h 108"/>
                <a:gd name="T32" fmla="*/ 12 w 120"/>
                <a:gd name="T33" fmla="*/ 30 h 108"/>
                <a:gd name="T34" fmla="*/ 12 w 120"/>
                <a:gd name="T35" fmla="*/ 36 h 108"/>
                <a:gd name="T36" fmla="*/ 18 w 120"/>
                <a:gd name="T37" fmla="*/ 30 h 108"/>
                <a:gd name="T38" fmla="*/ 30 w 120"/>
                <a:gd name="T39" fmla="*/ 30 h 108"/>
                <a:gd name="T40" fmla="*/ 36 w 120"/>
                <a:gd name="T41" fmla="*/ 42 h 108"/>
                <a:gd name="T42" fmla="*/ 48 w 120"/>
                <a:gd name="T43" fmla="*/ 54 h 108"/>
                <a:gd name="T44" fmla="*/ 54 w 120"/>
                <a:gd name="T45" fmla="*/ 60 h 108"/>
                <a:gd name="T46" fmla="*/ 60 w 120"/>
                <a:gd name="T47" fmla="*/ 66 h 108"/>
                <a:gd name="T48" fmla="*/ 60 w 120"/>
                <a:gd name="T49" fmla="*/ 66 h 108"/>
                <a:gd name="T50" fmla="*/ 66 w 120"/>
                <a:gd name="T51" fmla="*/ 66 h 108"/>
                <a:gd name="T52" fmla="*/ 78 w 120"/>
                <a:gd name="T53" fmla="*/ 78 h 108"/>
                <a:gd name="T54" fmla="*/ 84 w 120"/>
                <a:gd name="T55" fmla="*/ 78 h 108"/>
                <a:gd name="T56" fmla="*/ 90 w 120"/>
                <a:gd name="T57" fmla="*/ 84 h 108"/>
                <a:gd name="T58" fmla="*/ 96 w 120"/>
                <a:gd name="T59" fmla="*/ 96 h 108"/>
                <a:gd name="T60" fmla="*/ 96 w 120"/>
                <a:gd name="T61" fmla="*/ 108 h 108"/>
                <a:gd name="T62" fmla="*/ 96 w 120"/>
                <a:gd name="T63" fmla="*/ 108 h 108"/>
                <a:gd name="T64" fmla="*/ 102 w 120"/>
                <a:gd name="T65" fmla="*/ 102 h 108"/>
                <a:gd name="T66" fmla="*/ 108 w 120"/>
                <a:gd name="T67" fmla="*/ 96 h 108"/>
                <a:gd name="T68" fmla="*/ 108 w 120"/>
                <a:gd name="T69" fmla="*/ 96 h 108"/>
                <a:gd name="T70" fmla="*/ 102 w 120"/>
                <a:gd name="T71" fmla="*/ 90 h 108"/>
                <a:gd name="T72" fmla="*/ 102 w 120"/>
                <a:gd name="T73" fmla="*/ 78 h 108"/>
                <a:gd name="T74" fmla="*/ 108 w 120"/>
                <a:gd name="T75" fmla="*/ 78 h 108"/>
                <a:gd name="T76" fmla="*/ 120 w 120"/>
                <a:gd name="T77" fmla="*/ 84 h 108"/>
                <a:gd name="T78" fmla="*/ 120 w 120"/>
                <a:gd name="T79" fmla="*/ 78 h 108"/>
                <a:gd name="T80" fmla="*/ 108 w 120"/>
                <a:gd name="T81" fmla="*/ 72 h 108"/>
                <a:gd name="T82" fmla="*/ 96 w 120"/>
                <a:gd name="T83" fmla="*/ 66 h 108"/>
                <a:gd name="T84" fmla="*/ 96 w 120"/>
                <a:gd name="T85" fmla="*/ 60 h 108"/>
                <a:gd name="T86" fmla="*/ 90 w 120"/>
                <a:gd name="T87" fmla="*/ 60 h 108"/>
                <a:gd name="T88" fmla="*/ 78 w 120"/>
                <a:gd name="T89" fmla="*/ 54 h 108"/>
                <a:gd name="T90" fmla="*/ 72 w 120"/>
                <a:gd name="T91" fmla="*/ 48 h 108"/>
                <a:gd name="T92" fmla="*/ 66 w 120"/>
                <a:gd name="T93" fmla="*/ 42 h 108"/>
                <a:gd name="T94" fmla="*/ 60 w 120"/>
                <a:gd name="T95" fmla="*/ 36 h 108"/>
                <a:gd name="T96" fmla="*/ 54 w 120"/>
                <a:gd name="T97" fmla="*/ 24 h 108"/>
                <a:gd name="T98" fmla="*/ 54 w 120"/>
                <a:gd name="T99" fmla="*/ 18 h 108"/>
                <a:gd name="T100" fmla="*/ 60 w 120"/>
                <a:gd name="T101" fmla="*/ 12 h 108"/>
                <a:gd name="T102" fmla="*/ 66 w 120"/>
                <a:gd name="T103" fmla="*/ 18 h 108"/>
                <a:gd name="T104" fmla="*/ 66 w 120"/>
                <a:gd name="T105" fmla="*/ 6 h 108"/>
                <a:gd name="T106" fmla="*/ 66 w 120"/>
                <a:gd name="T10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" h="108">
                  <a:moveTo>
                    <a:pt x="66" y="0"/>
                  </a:moveTo>
                  <a:lnTo>
                    <a:pt x="54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84"/>
                  </a:lnTo>
                  <a:lnTo>
                    <a:pt x="96" y="96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2" y="90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84"/>
                  </a:lnTo>
                  <a:lnTo>
                    <a:pt x="120" y="78"/>
                  </a:lnTo>
                  <a:lnTo>
                    <a:pt x="108" y="72"/>
                  </a:lnTo>
                  <a:lnTo>
                    <a:pt x="96" y="66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78" y="54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60" y="36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2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6" name="Freeform 322">
              <a:extLst>
                <a:ext uri="{FF2B5EF4-FFF2-40B4-BE49-F238E27FC236}">
                  <a16:creationId xmlns:a16="http://schemas.microsoft.com/office/drawing/2014/main" id="{4A11F610-2EEC-4D8F-B115-170CA0D52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7" name="Freeform 323">
              <a:extLst>
                <a:ext uri="{FF2B5EF4-FFF2-40B4-BE49-F238E27FC236}">
                  <a16:creationId xmlns:a16="http://schemas.microsoft.com/office/drawing/2014/main" id="{01CEA4DE-21E3-4F4C-AD21-57478BBBAE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629"/>
              <a:ext cx="36" cy="24"/>
            </a:xfrm>
            <a:custGeom>
              <a:avLst/>
              <a:gdLst>
                <a:gd name="T0" fmla="*/ 30 w 36"/>
                <a:gd name="T1" fmla="*/ 12 h 24"/>
                <a:gd name="T2" fmla="*/ 30 w 36"/>
                <a:gd name="T3" fmla="*/ 24 h 24"/>
                <a:gd name="T4" fmla="*/ 18 w 36"/>
                <a:gd name="T5" fmla="*/ 18 h 24"/>
                <a:gd name="T6" fmla="*/ 6 w 36"/>
                <a:gd name="T7" fmla="*/ 12 h 24"/>
                <a:gd name="T8" fmla="*/ 0 w 36"/>
                <a:gd name="T9" fmla="*/ 6 h 24"/>
                <a:gd name="T10" fmla="*/ 12 w 36"/>
                <a:gd name="T11" fmla="*/ 6 h 24"/>
                <a:gd name="T12" fmla="*/ 24 w 36"/>
                <a:gd name="T13" fmla="*/ 6 h 24"/>
                <a:gd name="T14" fmla="*/ 36 w 36"/>
                <a:gd name="T15" fmla="*/ 0 h 24"/>
                <a:gd name="T16" fmla="*/ 30 w 36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4">
                  <a:moveTo>
                    <a:pt x="30" y="12"/>
                  </a:moveTo>
                  <a:lnTo>
                    <a:pt x="30" y="24"/>
                  </a:lnTo>
                  <a:lnTo>
                    <a:pt x="18" y="18"/>
                  </a:lnTo>
                  <a:lnTo>
                    <a:pt x="6" y="12"/>
                  </a:lnTo>
                  <a:lnTo>
                    <a:pt x="0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8" name="Freeform 324">
              <a:extLst>
                <a:ext uri="{FF2B5EF4-FFF2-40B4-BE49-F238E27FC236}">
                  <a16:creationId xmlns:a16="http://schemas.microsoft.com/office/drawing/2014/main" id="{11A1E55C-780B-4056-A5BF-01384BF0CF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93"/>
              <a:ext cx="12" cy="30"/>
            </a:xfrm>
            <a:custGeom>
              <a:avLst/>
              <a:gdLst>
                <a:gd name="T0" fmla="*/ 6 w 12"/>
                <a:gd name="T1" fmla="*/ 30 h 30"/>
                <a:gd name="T2" fmla="*/ 6 w 12"/>
                <a:gd name="T3" fmla="*/ 30 h 30"/>
                <a:gd name="T4" fmla="*/ 0 w 12"/>
                <a:gd name="T5" fmla="*/ 24 h 30"/>
                <a:gd name="T6" fmla="*/ 0 w 12"/>
                <a:gd name="T7" fmla="*/ 12 h 30"/>
                <a:gd name="T8" fmla="*/ 0 w 12"/>
                <a:gd name="T9" fmla="*/ 6 h 30"/>
                <a:gd name="T10" fmla="*/ 6 w 12"/>
                <a:gd name="T11" fmla="*/ 0 h 30"/>
                <a:gd name="T12" fmla="*/ 12 w 12"/>
                <a:gd name="T13" fmla="*/ 12 h 30"/>
                <a:gd name="T14" fmla="*/ 12 w 12"/>
                <a:gd name="T15" fmla="*/ 24 h 30"/>
                <a:gd name="T16" fmla="*/ 6 w 12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lnTo>
                    <a:pt x="6" y="30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12"/>
                  </a:lnTo>
                  <a:lnTo>
                    <a:pt x="12" y="24"/>
                  </a:lnTo>
                  <a:lnTo>
                    <a:pt x="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29" name="Rectangle 325">
              <a:extLst>
                <a:ext uri="{FF2B5EF4-FFF2-40B4-BE49-F238E27FC236}">
                  <a16:creationId xmlns:a16="http://schemas.microsoft.com/office/drawing/2014/main" id="{D2B2C14A-72BA-4A05-8D26-116D7DBBCE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3" y="156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0" name="Freeform 326">
              <a:extLst>
                <a:ext uri="{FF2B5EF4-FFF2-40B4-BE49-F238E27FC236}">
                  <a16:creationId xmlns:a16="http://schemas.microsoft.com/office/drawing/2014/main" id="{322AD265-23A9-4348-A4AE-8ECCC4CCFA1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191" cy="72"/>
            </a:xfrm>
            <a:custGeom>
              <a:avLst/>
              <a:gdLst>
                <a:gd name="T0" fmla="*/ 131 w 191"/>
                <a:gd name="T1" fmla="*/ 60 h 72"/>
                <a:gd name="T2" fmla="*/ 113 w 191"/>
                <a:gd name="T3" fmla="*/ 66 h 72"/>
                <a:gd name="T4" fmla="*/ 107 w 191"/>
                <a:gd name="T5" fmla="*/ 72 h 72"/>
                <a:gd name="T6" fmla="*/ 107 w 191"/>
                <a:gd name="T7" fmla="*/ 72 h 72"/>
                <a:gd name="T8" fmla="*/ 101 w 191"/>
                <a:gd name="T9" fmla="*/ 66 h 72"/>
                <a:gd name="T10" fmla="*/ 83 w 191"/>
                <a:gd name="T11" fmla="*/ 66 h 72"/>
                <a:gd name="T12" fmla="*/ 66 w 191"/>
                <a:gd name="T13" fmla="*/ 72 h 72"/>
                <a:gd name="T14" fmla="*/ 48 w 191"/>
                <a:gd name="T15" fmla="*/ 66 h 72"/>
                <a:gd name="T16" fmla="*/ 36 w 191"/>
                <a:gd name="T17" fmla="*/ 66 h 72"/>
                <a:gd name="T18" fmla="*/ 24 w 191"/>
                <a:gd name="T19" fmla="*/ 66 h 72"/>
                <a:gd name="T20" fmla="*/ 24 w 191"/>
                <a:gd name="T21" fmla="*/ 60 h 72"/>
                <a:gd name="T22" fmla="*/ 18 w 191"/>
                <a:gd name="T23" fmla="*/ 54 h 72"/>
                <a:gd name="T24" fmla="*/ 12 w 191"/>
                <a:gd name="T25" fmla="*/ 48 h 72"/>
                <a:gd name="T26" fmla="*/ 6 w 191"/>
                <a:gd name="T27" fmla="*/ 42 h 72"/>
                <a:gd name="T28" fmla="*/ 12 w 191"/>
                <a:gd name="T29" fmla="*/ 42 h 72"/>
                <a:gd name="T30" fmla="*/ 6 w 191"/>
                <a:gd name="T31" fmla="*/ 36 h 72"/>
                <a:gd name="T32" fmla="*/ 0 w 191"/>
                <a:gd name="T33" fmla="*/ 30 h 72"/>
                <a:gd name="T34" fmla="*/ 12 w 191"/>
                <a:gd name="T35" fmla="*/ 18 h 72"/>
                <a:gd name="T36" fmla="*/ 30 w 191"/>
                <a:gd name="T37" fmla="*/ 18 h 72"/>
                <a:gd name="T38" fmla="*/ 36 w 191"/>
                <a:gd name="T39" fmla="*/ 12 h 72"/>
                <a:gd name="T40" fmla="*/ 48 w 191"/>
                <a:gd name="T41" fmla="*/ 12 h 72"/>
                <a:gd name="T42" fmla="*/ 72 w 191"/>
                <a:gd name="T43" fmla="*/ 0 h 72"/>
                <a:gd name="T44" fmla="*/ 89 w 191"/>
                <a:gd name="T45" fmla="*/ 0 h 72"/>
                <a:gd name="T46" fmla="*/ 95 w 191"/>
                <a:gd name="T47" fmla="*/ 6 h 72"/>
                <a:gd name="T48" fmla="*/ 125 w 191"/>
                <a:gd name="T49" fmla="*/ 12 h 72"/>
                <a:gd name="T50" fmla="*/ 149 w 191"/>
                <a:gd name="T51" fmla="*/ 6 h 72"/>
                <a:gd name="T52" fmla="*/ 173 w 191"/>
                <a:gd name="T53" fmla="*/ 6 h 72"/>
                <a:gd name="T54" fmla="*/ 179 w 191"/>
                <a:gd name="T55" fmla="*/ 24 h 72"/>
                <a:gd name="T56" fmla="*/ 185 w 191"/>
                <a:gd name="T57" fmla="*/ 30 h 72"/>
                <a:gd name="T58" fmla="*/ 185 w 191"/>
                <a:gd name="T59" fmla="*/ 48 h 72"/>
                <a:gd name="T60" fmla="*/ 185 w 191"/>
                <a:gd name="T61" fmla="*/ 60 h 72"/>
                <a:gd name="T62" fmla="*/ 173 w 191"/>
                <a:gd name="T63" fmla="*/ 54 h 72"/>
                <a:gd name="T64" fmla="*/ 167 w 191"/>
                <a:gd name="T65" fmla="*/ 60 h 72"/>
                <a:gd name="T66" fmla="*/ 143 w 191"/>
                <a:gd name="T6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" h="72">
                  <a:moveTo>
                    <a:pt x="143" y="60"/>
                  </a:moveTo>
                  <a:lnTo>
                    <a:pt x="131" y="60"/>
                  </a:lnTo>
                  <a:lnTo>
                    <a:pt x="113" y="60"/>
                  </a:lnTo>
                  <a:lnTo>
                    <a:pt x="113" y="66"/>
                  </a:lnTo>
                  <a:lnTo>
                    <a:pt x="113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60"/>
                  </a:lnTo>
                  <a:lnTo>
                    <a:pt x="101" y="66"/>
                  </a:lnTo>
                  <a:lnTo>
                    <a:pt x="95" y="66"/>
                  </a:lnTo>
                  <a:lnTo>
                    <a:pt x="83" y="66"/>
                  </a:lnTo>
                  <a:lnTo>
                    <a:pt x="78" y="72"/>
                  </a:lnTo>
                  <a:lnTo>
                    <a:pt x="66" y="72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42" y="72"/>
                  </a:lnTo>
                  <a:lnTo>
                    <a:pt x="36" y="66"/>
                  </a:lnTo>
                  <a:lnTo>
                    <a:pt x="30" y="60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24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9" y="0"/>
                  </a:lnTo>
                  <a:lnTo>
                    <a:pt x="95" y="0"/>
                  </a:lnTo>
                  <a:lnTo>
                    <a:pt x="95" y="6"/>
                  </a:lnTo>
                  <a:lnTo>
                    <a:pt x="113" y="6"/>
                  </a:lnTo>
                  <a:lnTo>
                    <a:pt x="125" y="12"/>
                  </a:lnTo>
                  <a:lnTo>
                    <a:pt x="137" y="12"/>
                  </a:lnTo>
                  <a:lnTo>
                    <a:pt x="149" y="6"/>
                  </a:lnTo>
                  <a:lnTo>
                    <a:pt x="167" y="6"/>
                  </a:lnTo>
                  <a:lnTo>
                    <a:pt x="173" y="6"/>
                  </a:lnTo>
                  <a:lnTo>
                    <a:pt x="173" y="18"/>
                  </a:lnTo>
                  <a:lnTo>
                    <a:pt x="179" y="24"/>
                  </a:lnTo>
                  <a:lnTo>
                    <a:pt x="191" y="24"/>
                  </a:lnTo>
                  <a:lnTo>
                    <a:pt x="185" y="30"/>
                  </a:lnTo>
                  <a:lnTo>
                    <a:pt x="185" y="36"/>
                  </a:lnTo>
                  <a:lnTo>
                    <a:pt x="185" y="48"/>
                  </a:lnTo>
                  <a:lnTo>
                    <a:pt x="191" y="60"/>
                  </a:lnTo>
                  <a:lnTo>
                    <a:pt x="185" y="60"/>
                  </a:lnTo>
                  <a:lnTo>
                    <a:pt x="185" y="54"/>
                  </a:lnTo>
                  <a:lnTo>
                    <a:pt x="173" y="54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55" y="60"/>
                  </a:lnTo>
                  <a:lnTo>
                    <a:pt x="143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1" name="Freeform 327">
              <a:extLst>
                <a:ext uri="{FF2B5EF4-FFF2-40B4-BE49-F238E27FC236}">
                  <a16:creationId xmlns:a16="http://schemas.microsoft.com/office/drawing/2014/main" id="{851BFD8D-97E0-4787-A49C-247E7FFEC91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5" y="1587"/>
              <a:ext cx="30" cy="18"/>
            </a:xfrm>
            <a:custGeom>
              <a:avLst/>
              <a:gdLst>
                <a:gd name="T0" fmla="*/ 0 w 30"/>
                <a:gd name="T1" fmla="*/ 0 h 18"/>
                <a:gd name="T2" fmla="*/ 0 w 30"/>
                <a:gd name="T3" fmla="*/ 0 h 18"/>
                <a:gd name="T4" fmla="*/ 0 w 30"/>
                <a:gd name="T5" fmla="*/ 6 h 18"/>
                <a:gd name="T6" fmla="*/ 0 w 30"/>
                <a:gd name="T7" fmla="*/ 12 h 18"/>
                <a:gd name="T8" fmla="*/ 6 w 30"/>
                <a:gd name="T9" fmla="*/ 18 h 18"/>
                <a:gd name="T10" fmla="*/ 0 w 30"/>
                <a:gd name="T11" fmla="*/ 18 h 18"/>
                <a:gd name="T12" fmla="*/ 12 w 30"/>
                <a:gd name="T13" fmla="*/ 12 h 18"/>
                <a:gd name="T14" fmla="*/ 30 w 30"/>
                <a:gd name="T15" fmla="*/ 12 h 18"/>
                <a:gd name="T16" fmla="*/ 24 w 30"/>
                <a:gd name="T17" fmla="*/ 6 h 18"/>
                <a:gd name="T18" fmla="*/ 18 w 30"/>
                <a:gd name="T19" fmla="*/ 0 h 18"/>
                <a:gd name="T20" fmla="*/ 0 w 3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2" name="Freeform 328">
              <a:extLst>
                <a:ext uri="{FF2B5EF4-FFF2-40B4-BE49-F238E27FC236}">
                  <a16:creationId xmlns:a16="http://schemas.microsoft.com/office/drawing/2014/main" id="{28CCF8F1-FC09-46F3-81B0-0E40CBE4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7" y="1419"/>
              <a:ext cx="84" cy="54"/>
            </a:xfrm>
            <a:custGeom>
              <a:avLst/>
              <a:gdLst>
                <a:gd name="T0" fmla="*/ 84 w 84"/>
                <a:gd name="T1" fmla="*/ 30 h 54"/>
                <a:gd name="T2" fmla="*/ 78 w 84"/>
                <a:gd name="T3" fmla="*/ 30 h 54"/>
                <a:gd name="T4" fmla="*/ 84 w 84"/>
                <a:gd name="T5" fmla="*/ 42 h 54"/>
                <a:gd name="T6" fmla="*/ 72 w 84"/>
                <a:gd name="T7" fmla="*/ 48 h 54"/>
                <a:gd name="T8" fmla="*/ 72 w 84"/>
                <a:gd name="T9" fmla="*/ 54 h 54"/>
                <a:gd name="T10" fmla="*/ 54 w 84"/>
                <a:gd name="T11" fmla="*/ 48 h 54"/>
                <a:gd name="T12" fmla="*/ 36 w 84"/>
                <a:gd name="T13" fmla="*/ 48 h 54"/>
                <a:gd name="T14" fmla="*/ 24 w 84"/>
                <a:gd name="T15" fmla="*/ 48 h 54"/>
                <a:gd name="T16" fmla="*/ 6 w 84"/>
                <a:gd name="T17" fmla="*/ 48 h 54"/>
                <a:gd name="T18" fmla="*/ 0 w 84"/>
                <a:gd name="T19" fmla="*/ 42 h 54"/>
                <a:gd name="T20" fmla="*/ 6 w 84"/>
                <a:gd name="T21" fmla="*/ 36 h 54"/>
                <a:gd name="T22" fmla="*/ 0 w 84"/>
                <a:gd name="T23" fmla="*/ 18 h 54"/>
                <a:gd name="T24" fmla="*/ 12 w 84"/>
                <a:gd name="T25" fmla="*/ 12 h 54"/>
                <a:gd name="T26" fmla="*/ 30 w 84"/>
                <a:gd name="T27" fmla="*/ 0 h 54"/>
                <a:gd name="T28" fmla="*/ 42 w 84"/>
                <a:gd name="T29" fmla="*/ 0 h 54"/>
                <a:gd name="T30" fmla="*/ 54 w 84"/>
                <a:gd name="T31" fmla="*/ 0 h 54"/>
                <a:gd name="T32" fmla="*/ 66 w 84"/>
                <a:gd name="T33" fmla="*/ 0 h 54"/>
                <a:gd name="T34" fmla="*/ 72 w 84"/>
                <a:gd name="T35" fmla="*/ 18 h 54"/>
                <a:gd name="T36" fmla="*/ 84 w 84"/>
                <a:gd name="T37" fmla="*/ 3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54">
                  <a:moveTo>
                    <a:pt x="84" y="30"/>
                  </a:moveTo>
                  <a:lnTo>
                    <a:pt x="78" y="30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24" y="48"/>
                  </a:lnTo>
                  <a:lnTo>
                    <a:pt x="6" y="48"/>
                  </a:lnTo>
                  <a:lnTo>
                    <a:pt x="0" y="42"/>
                  </a:lnTo>
                  <a:lnTo>
                    <a:pt x="6" y="36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2" y="18"/>
                  </a:lnTo>
                  <a:lnTo>
                    <a:pt x="8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3" name="Freeform 329">
              <a:extLst>
                <a:ext uri="{FF2B5EF4-FFF2-40B4-BE49-F238E27FC236}">
                  <a16:creationId xmlns:a16="http://schemas.microsoft.com/office/drawing/2014/main" id="{6C8B87A3-C200-4CCC-AA06-5E652EA53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407"/>
              <a:ext cx="18" cy="24"/>
            </a:xfrm>
            <a:custGeom>
              <a:avLst/>
              <a:gdLst>
                <a:gd name="T0" fmla="*/ 12 w 18"/>
                <a:gd name="T1" fmla="*/ 24 h 24"/>
                <a:gd name="T2" fmla="*/ 6 w 18"/>
                <a:gd name="T3" fmla="*/ 24 h 24"/>
                <a:gd name="T4" fmla="*/ 0 w 18"/>
                <a:gd name="T5" fmla="*/ 24 h 24"/>
                <a:gd name="T6" fmla="*/ 0 w 18"/>
                <a:gd name="T7" fmla="*/ 24 h 24"/>
                <a:gd name="T8" fmla="*/ 0 w 18"/>
                <a:gd name="T9" fmla="*/ 18 h 24"/>
                <a:gd name="T10" fmla="*/ 0 w 18"/>
                <a:gd name="T11" fmla="*/ 6 h 24"/>
                <a:gd name="T12" fmla="*/ 0 w 18"/>
                <a:gd name="T13" fmla="*/ 0 h 24"/>
                <a:gd name="T14" fmla="*/ 6 w 18"/>
                <a:gd name="T15" fmla="*/ 6 h 24"/>
                <a:gd name="T16" fmla="*/ 6 w 18"/>
                <a:gd name="T17" fmla="*/ 0 h 24"/>
                <a:gd name="T18" fmla="*/ 12 w 18"/>
                <a:gd name="T19" fmla="*/ 0 h 24"/>
                <a:gd name="T20" fmla="*/ 12 w 18"/>
                <a:gd name="T21" fmla="*/ 6 h 24"/>
                <a:gd name="T22" fmla="*/ 18 w 18"/>
                <a:gd name="T23" fmla="*/ 6 h 24"/>
                <a:gd name="T24" fmla="*/ 18 w 18"/>
                <a:gd name="T25" fmla="*/ 6 h 24"/>
                <a:gd name="T26" fmla="*/ 12 w 18"/>
                <a:gd name="T27" fmla="*/ 12 h 24"/>
                <a:gd name="T28" fmla="*/ 12 w 18"/>
                <a:gd name="T29" fmla="*/ 12 h 24"/>
                <a:gd name="T30" fmla="*/ 12 w 18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24">
                  <a:moveTo>
                    <a:pt x="12" y="24"/>
                  </a:moveTo>
                  <a:lnTo>
                    <a:pt x="6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4" name="Freeform 330">
              <a:extLst>
                <a:ext uri="{FF2B5EF4-FFF2-40B4-BE49-F238E27FC236}">
                  <a16:creationId xmlns:a16="http://schemas.microsoft.com/office/drawing/2014/main" id="{126A94BF-97A8-4082-86BC-79A9DEB7E7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3" y="1419"/>
              <a:ext cx="12" cy="12"/>
            </a:xfrm>
            <a:custGeom>
              <a:avLst/>
              <a:gdLst>
                <a:gd name="T0" fmla="*/ 12 w 12"/>
                <a:gd name="T1" fmla="*/ 0 h 12"/>
                <a:gd name="T2" fmla="*/ 12 w 12"/>
                <a:gd name="T3" fmla="*/ 0 h 12"/>
                <a:gd name="T4" fmla="*/ 6 w 12"/>
                <a:gd name="T5" fmla="*/ 0 h 12"/>
                <a:gd name="T6" fmla="*/ 6 w 12"/>
                <a:gd name="T7" fmla="*/ 0 h 12"/>
                <a:gd name="T8" fmla="*/ 6 w 12"/>
                <a:gd name="T9" fmla="*/ 0 h 12"/>
                <a:gd name="T10" fmla="*/ 0 w 12"/>
                <a:gd name="T11" fmla="*/ 0 h 12"/>
                <a:gd name="T12" fmla="*/ 0 w 12"/>
                <a:gd name="T13" fmla="*/ 0 h 12"/>
                <a:gd name="T14" fmla="*/ 0 w 12"/>
                <a:gd name="T15" fmla="*/ 6 h 12"/>
                <a:gd name="T16" fmla="*/ 6 w 12"/>
                <a:gd name="T17" fmla="*/ 12 h 12"/>
                <a:gd name="T18" fmla="*/ 12 w 12"/>
                <a:gd name="T19" fmla="*/ 6 h 12"/>
                <a:gd name="T20" fmla="*/ 12 w 12"/>
                <a:gd name="T21" fmla="*/ 6 h 12"/>
                <a:gd name="T22" fmla="*/ 12 w 12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5" name="Freeform 331">
              <a:extLst>
                <a:ext uri="{FF2B5EF4-FFF2-40B4-BE49-F238E27FC236}">
                  <a16:creationId xmlns:a16="http://schemas.microsoft.com/office/drawing/2014/main" id="{425FA36B-2EB2-46B0-B16D-6F990EBC1B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395"/>
              <a:ext cx="18" cy="12"/>
            </a:xfrm>
            <a:custGeom>
              <a:avLst/>
              <a:gdLst>
                <a:gd name="T0" fmla="*/ 12 w 18"/>
                <a:gd name="T1" fmla="*/ 12 h 12"/>
                <a:gd name="T2" fmla="*/ 0 w 18"/>
                <a:gd name="T3" fmla="*/ 12 h 12"/>
                <a:gd name="T4" fmla="*/ 0 w 18"/>
                <a:gd name="T5" fmla="*/ 12 h 12"/>
                <a:gd name="T6" fmla="*/ 0 w 18"/>
                <a:gd name="T7" fmla="*/ 12 h 12"/>
                <a:gd name="T8" fmla="*/ 6 w 18"/>
                <a:gd name="T9" fmla="*/ 6 h 12"/>
                <a:gd name="T10" fmla="*/ 18 w 18"/>
                <a:gd name="T11" fmla="*/ 0 h 12"/>
                <a:gd name="T12" fmla="*/ 12 w 1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2">
                  <a:moveTo>
                    <a:pt x="12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8" y="0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6" name="Freeform 332">
              <a:extLst>
                <a:ext uri="{FF2B5EF4-FFF2-40B4-BE49-F238E27FC236}">
                  <a16:creationId xmlns:a16="http://schemas.microsoft.com/office/drawing/2014/main" id="{A202CD44-C3E6-4513-AD8C-581133722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425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6 w 6"/>
                <a:gd name="T7" fmla="*/ 6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7" name="Rectangle 333">
              <a:extLst>
                <a:ext uri="{FF2B5EF4-FFF2-40B4-BE49-F238E27FC236}">
                  <a16:creationId xmlns:a16="http://schemas.microsoft.com/office/drawing/2014/main" id="{F87A6AA4-B841-49DC-8741-DEE5CD3613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19" y="1431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8" name="Freeform 334">
              <a:extLst>
                <a:ext uri="{FF2B5EF4-FFF2-40B4-BE49-F238E27FC236}">
                  <a16:creationId xmlns:a16="http://schemas.microsoft.com/office/drawing/2014/main" id="{EF2948E1-4CF6-4F52-AA75-0F19F23E7C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377"/>
              <a:ext cx="36" cy="18"/>
            </a:xfrm>
            <a:custGeom>
              <a:avLst/>
              <a:gdLst>
                <a:gd name="T0" fmla="*/ 36 w 36"/>
                <a:gd name="T1" fmla="*/ 12 h 18"/>
                <a:gd name="T2" fmla="*/ 36 w 36"/>
                <a:gd name="T3" fmla="*/ 0 h 18"/>
                <a:gd name="T4" fmla="*/ 12 w 36"/>
                <a:gd name="T5" fmla="*/ 0 h 18"/>
                <a:gd name="T6" fmla="*/ 0 w 36"/>
                <a:gd name="T7" fmla="*/ 6 h 18"/>
                <a:gd name="T8" fmla="*/ 0 w 36"/>
                <a:gd name="T9" fmla="*/ 6 h 18"/>
                <a:gd name="T10" fmla="*/ 6 w 36"/>
                <a:gd name="T11" fmla="*/ 12 h 18"/>
                <a:gd name="T12" fmla="*/ 6 w 36"/>
                <a:gd name="T13" fmla="*/ 12 h 18"/>
                <a:gd name="T14" fmla="*/ 24 w 36"/>
                <a:gd name="T15" fmla="*/ 18 h 18"/>
                <a:gd name="T16" fmla="*/ 36 w 36"/>
                <a:gd name="T17" fmla="*/ 18 h 18"/>
                <a:gd name="T18" fmla="*/ 36 w 36"/>
                <a:gd name="T1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lnTo>
                    <a:pt x="36" y="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39" name="Freeform 335">
              <a:extLst>
                <a:ext uri="{FF2B5EF4-FFF2-40B4-BE49-F238E27FC236}">
                  <a16:creationId xmlns:a16="http://schemas.microsoft.com/office/drawing/2014/main" id="{84C1028B-EF57-4E95-9D19-F8A679E5DD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389"/>
              <a:ext cx="66" cy="30"/>
            </a:xfrm>
            <a:custGeom>
              <a:avLst/>
              <a:gdLst>
                <a:gd name="T0" fmla="*/ 30 w 66"/>
                <a:gd name="T1" fmla="*/ 18 h 30"/>
                <a:gd name="T2" fmla="*/ 18 w 66"/>
                <a:gd name="T3" fmla="*/ 24 h 30"/>
                <a:gd name="T4" fmla="*/ 0 w 66"/>
                <a:gd name="T5" fmla="*/ 24 h 30"/>
                <a:gd name="T6" fmla="*/ 0 w 66"/>
                <a:gd name="T7" fmla="*/ 24 h 30"/>
                <a:gd name="T8" fmla="*/ 0 w 66"/>
                <a:gd name="T9" fmla="*/ 12 h 30"/>
                <a:gd name="T10" fmla="*/ 12 w 66"/>
                <a:gd name="T11" fmla="*/ 12 h 30"/>
                <a:gd name="T12" fmla="*/ 24 w 66"/>
                <a:gd name="T13" fmla="*/ 18 h 30"/>
                <a:gd name="T14" fmla="*/ 24 w 66"/>
                <a:gd name="T15" fmla="*/ 12 h 30"/>
                <a:gd name="T16" fmla="*/ 24 w 66"/>
                <a:gd name="T17" fmla="*/ 0 h 30"/>
                <a:gd name="T18" fmla="*/ 42 w 66"/>
                <a:gd name="T19" fmla="*/ 6 h 30"/>
                <a:gd name="T20" fmla="*/ 54 w 66"/>
                <a:gd name="T21" fmla="*/ 6 h 30"/>
                <a:gd name="T22" fmla="*/ 60 w 66"/>
                <a:gd name="T23" fmla="*/ 18 h 30"/>
                <a:gd name="T24" fmla="*/ 66 w 66"/>
                <a:gd name="T25" fmla="*/ 30 h 30"/>
                <a:gd name="T26" fmla="*/ 54 w 66"/>
                <a:gd name="T27" fmla="*/ 30 h 30"/>
                <a:gd name="T28" fmla="*/ 30 w 66"/>
                <a:gd name="T29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30">
                  <a:moveTo>
                    <a:pt x="30" y="18"/>
                  </a:moveTo>
                  <a:lnTo>
                    <a:pt x="18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2"/>
                  </a:lnTo>
                  <a:lnTo>
                    <a:pt x="24" y="0"/>
                  </a:lnTo>
                  <a:lnTo>
                    <a:pt x="42" y="6"/>
                  </a:lnTo>
                  <a:lnTo>
                    <a:pt x="54" y="6"/>
                  </a:lnTo>
                  <a:lnTo>
                    <a:pt x="60" y="18"/>
                  </a:lnTo>
                  <a:lnTo>
                    <a:pt x="66" y="30"/>
                  </a:lnTo>
                  <a:lnTo>
                    <a:pt x="5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0" name="Freeform 336">
              <a:extLst>
                <a:ext uri="{FF2B5EF4-FFF2-40B4-BE49-F238E27FC236}">
                  <a16:creationId xmlns:a16="http://schemas.microsoft.com/office/drawing/2014/main" id="{50A5DC1D-81A7-4B1D-9154-D639F9C08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" y="1407"/>
              <a:ext cx="54" cy="30"/>
            </a:xfrm>
            <a:custGeom>
              <a:avLst/>
              <a:gdLst>
                <a:gd name="T0" fmla="*/ 0 w 54"/>
                <a:gd name="T1" fmla="*/ 24 h 30"/>
                <a:gd name="T2" fmla="*/ 0 w 54"/>
                <a:gd name="T3" fmla="*/ 6 h 30"/>
                <a:gd name="T4" fmla="*/ 0 w 54"/>
                <a:gd name="T5" fmla="*/ 6 h 30"/>
                <a:gd name="T6" fmla="*/ 18 w 54"/>
                <a:gd name="T7" fmla="*/ 6 h 30"/>
                <a:gd name="T8" fmla="*/ 30 w 54"/>
                <a:gd name="T9" fmla="*/ 0 h 30"/>
                <a:gd name="T10" fmla="*/ 54 w 54"/>
                <a:gd name="T11" fmla="*/ 12 h 30"/>
                <a:gd name="T12" fmla="*/ 36 w 54"/>
                <a:gd name="T13" fmla="*/ 24 h 30"/>
                <a:gd name="T14" fmla="*/ 24 w 54"/>
                <a:gd name="T15" fmla="*/ 30 h 30"/>
                <a:gd name="T16" fmla="*/ 12 w 54"/>
                <a:gd name="T17" fmla="*/ 30 h 30"/>
                <a:gd name="T18" fmla="*/ 12 w 54"/>
                <a:gd name="T19" fmla="*/ 24 h 30"/>
                <a:gd name="T20" fmla="*/ 6 w 54"/>
                <a:gd name="T21" fmla="*/ 24 h 30"/>
                <a:gd name="T22" fmla="*/ 0 w 54"/>
                <a:gd name="T23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30">
                  <a:moveTo>
                    <a:pt x="0" y="2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8" y="6"/>
                  </a:lnTo>
                  <a:lnTo>
                    <a:pt x="30" y="0"/>
                  </a:lnTo>
                  <a:lnTo>
                    <a:pt x="54" y="12"/>
                  </a:lnTo>
                  <a:lnTo>
                    <a:pt x="36" y="24"/>
                  </a:lnTo>
                  <a:lnTo>
                    <a:pt x="24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1" name="Freeform 337">
              <a:extLst>
                <a:ext uri="{FF2B5EF4-FFF2-40B4-BE49-F238E27FC236}">
                  <a16:creationId xmlns:a16="http://schemas.microsoft.com/office/drawing/2014/main" id="{D6AC6AB1-12D6-46FF-8A6E-AAF59BA403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1" y="1449"/>
              <a:ext cx="36" cy="30"/>
            </a:xfrm>
            <a:custGeom>
              <a:avLst/>
              <a:gdLst>
                <a:gd name="T0" fmla="*/ 30 w 36"/>
                <a:gd name="T1" fmla="*/ 18 h 30"/>
                <a:gd name="T2" fmla="*/ 36 w 36"/>
                <a:gd name="T3" fmla="*/ 12 h 30"/>
                <a:gd name="T4" fmla="*/ 36 w 36"/>
                <a:gd name="T5" fmla="*/ 6 h 30"/>
                <a:gd name="T6" fmla="*/ 36 w 36"/>
                <a:gd name="T7" fmla="*/ 0 h 30"/>
                <a:gd name="T8" fmla="*/ 24 w 36"/>
                <a:gd name="T9" fmla="*/ 0 h 30"/>
                <a:gd name="T10" fmla="*/ 12 w 36"/>
                <a:gd name="T11" fmla="*/ 6 h 30"/>
                <a:gd name="T12" fmla="*/ 6 w 36"/>
                <a:gd name="T13" fmla="*/ 18 h 30"/>
                <a:gd name="T14" fmla="*/ 0 w 36"/>
                <a:gd name="T15" fmla="*/ 24 h 30"/>
                <a:gd name="T16" fmla="*/ 12 w 36"/>
                <a:gd name="T17" fmla="*/ 24 h 30"/>
                <a:gd name="T18" fmla="*/ 24 w 36"/>
                <a:gd name="T19" fmla="*/ 24 h 30"/>
                <a:gd name="T20" fmla="*/ 24 w 36"/>
                <a:gd name="T21" fmla="*/ 30 h 30"/>
                <a:gd name="T22" fmla="*/ 24 w 36"/>
                <a:gd name="T23" fmla="*/ 30 h 30"/>
                <a:gd name="T24" fmla="*/ 30 w 36"/>
                <a:gd name="T25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0">
                  <a:moveTo>
                    <a:pt x="30" y="18"/>
                  </a:moveTo>
                  <a:lnTo>
                    <a:pt x="36" y="12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2" y="24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3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2" name="Freeform 338">
              <a:extLst>
                <a:ext uri="{FF2B5EF4-FFF2-40B4-BE49-F238E27FC236}">
                  <a16:creationId xmlns:a16="http://schemas.microsoft.com/office/drawing/2014/main" id="{421A6D72-BC6D-417E-B1DD-E72AA2CB095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431"/>
              <a:ext cx="96" cy="66"/>
            </a:xfrm>
            <a:custGeom>
              <a:avLst/>
              <a:gdLst>
                <a:gd name="T0" fmla="*/ 36 w 96"/>
                <a:gd name="T1" fmla="*/ 6 h 66"/>
                <a:gd name="T2" fmla="*/ 36 w 96"/>
                <a:gd name="T3" fmla="*/ 0 h 66"/>
                <a:gd name="T4" fmla="*/ 24 w 96"/>
                <a:gd name="T5" fmla="*/ 0 h 66"/>
                <a:gd name="T6" fmla="*/ 12 w 96"/>
                <a:gd name="T7" fmla="*/ 6 h 66"/>
                <a:gd name="T8" fmla="*/ 0 w 96"/>
                <a:gd name="T9" fmla="*/ 12 h 66"/>
                <a:gd name="T10" fmla="*/ 0 w 96"/>
                <a:gd name="T11" fmla="*/ 12 h 66"/>
                <a:gd name="T12" fmla="*/ 0 w 96"/>
                <a:gd name="T13" fmla="*/ 12 h 66"/>
                <a:gd name="T14" fmla="*/ 0 w 96"/>
                <a:gd name="T15" fmla="*/ 24 h 66"/>
                <a:gd name="T16" fmla="*/ 6 w 96"/>
                <a:gd name="T17" fmla="*/ 36 h 66"/>
                <a:gd name="T18" fmla="*/ 6 w 96"/>
                <a:gd name="T19" fmla="*/ 48 h 66"/>
                <a:gd name="T20" fmla="*/ 12 w 96"/>
                <a:gd name="T21" fmla="*/ 48 h 66"/>
                <a:gd name="T22" fmla="*/ 24 w 96"/>
                <a:gd name="T23" fmla="*/ 48 h 66"/>
                <a:gd name="T24" fmla="*/ 24 w 96"/>
                <a:gd name="T25" fmla="*/ 54 h 66"/>
                <a:gd name="T26" fmla="*/ 30 w 96"/>
                <a:gd name="T27" fmla="*/ 54 h 66"/>
                <a:gd name="T28" fmla="*/ 36 w 96"/>
                <a:gd name="T29" fmla="*/ 54 h 66"/>
                <a:gd name="T30" fmla="*/ 48 w 96"/>
                <a:gd name="T31" fmla="*/ 60 h 66"/>
                <a:gd name="T32" fmla="*/ 60 w 96"/>
                <a:gd name="T33" fmla="*/ 60 h 66"/>
                <a:gd name="T34" fmla="*/ 60 w 96"/>
                <a:gd name="T35" fmla="*/ 66 h 66"/>
                <a:gd name="T36" fmla="*/ 72 w 96"/>
                <a:gd name="T37" fmla="*/ 66 h 66"/>
                <a:gd name="T38" fmla="*/ 84 w 96"/>
                <a:gd name="T39" fmla="*/ 66 h 66"/>
                <a:gd name="T40" fmla="*/ 84 w 96"/>
                <a:gd name="T41" fmla="*/ 66 h 66"/>
                <a:gd name="T42" fmla="*/ 96 w 96"/>
                <a:gd name="T43" fmla="*/ 54 h 66"/>
                <a:gd name="T44" fmla="*/ 96 w 96"/>
                <a:gd name="T45" fmla="*/ 48 h 66"/>
                <a:gd name="T46" fmla="*/ 90 w 96"/>
                <a:gd name="T47" fmla="*/ 36 h 66"/>
                <a:gd name="T48" fmla="*/ 84 w 96"/>
                <a:gd name="T49" fmla="*/ 30 h 66"/>
                <a:gd name="T50" fmla="*/ 90 w 96"/>
                <a:gd name="T51" fmla="*/ 24 h 66"/>
                <a:gd name="T52" fmla="*/ 84 w 96"/>
                <a:gd name="T53" fmla="*/ 6 h 66"/>
                <a:gd name="T54" fmla="*/ 66 w 96"/>
                <a:gd name="T55" fmla="*/ 6 h 66"/>
                <a:gd name="T56" fmla="*/ 48 w 96"/>
                <a:gd name="T57" fmla="*/ 6 h 66"/>
                <a:gd name="T58" fmla="*/ 36 w 96"/>
                <a:gd name="T59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66">
                  <a:moveTo>
                    <a:pt x="36" y="6"/>
                  </a:moveTo>
                  <a:lnTo>
                    <a:pt x="3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6" y="36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6" y="54"/>
                  </a:lnTo>
                  <a:lnTo>
                    <a:pt x="48" y="60"/>
                  </a:lnTo>
                  <a:lnTo>
                    <a:pt x="60" y="60"/>
                  </a:lnTo>
                  <a:lnTo>
                    <a:pt x="60" y="66"/>
                  </a:lnTo>
                  <a:lnTo>
                    <a:pt x="72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90" y="24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48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3" name="Freeform 339">
              <a:extLst>
                <a:ext uri="{FF2B5EF4-FFF2-40B4-BE49-F238E27FC236}">
                  <a16:creationId xmlns:a16="http://schemas.microsoft.com/office/drawing/2014/main" id="{C72BE36A-A2B4-476F-A30E-BC9FD8BF14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509"/>
              <a:ext cx="96" cy="54"/>
            </a:xfrm>
            <a:custGeom>
              <a:avLst/>
              <a:gdLst>
                <a:gd name="T0" fmla="*/ 84 w 96"/>
                <a:gd name="T1" fmla="*/ 48 h 54"/>
                <a:gd name="T2" fmla="*/ 84 w 96"/>
                <a:gd name="T3" fmla="*/ 54 h 54"/>
                <a:gd name="T4" fmla="*/ 66 w 96"/>
                <a:gd name="T5" fmla="*/ 48 h 54"/>
                <a:gd name="T6" fmla="*/ 48 w 96"/>
                <a:gd name="T7" fmla="*/ 54 h 54"/>
                <a:gd name="T8" fmla="*/ 42 w 96"/>
                <a:gd name="T9" fmla="*/ 54 h 54"/>
                <a:gd name="T10" fmla="*/ 30 w 96"/>
                <a:gd name="T11" fmla="*/ 54 h 54"/>
                <a:gd name="T12" fmla="*/ 24 w 96"/>
                <a:gd name="T13" fmla="*/ 48 h 54"/>
                <a:gd name="T14" fmla="*/ 24 w 96"/>
                <a:gd name="T15" fmla="*/ 48 h 54"/>
                <a:gd name="T16" fmla="*/ 24 w 96"/>
                <a:gd name="T17" fmla="*/ 42 h 54"/>
                <a:gd name="T18" fmla="*/ 18 w 96"/>
                <a:gd name="T19" fmla="*/ 42 h 54"/>
                <a:gd name="T20" fmla="*/ 12 w 96"/>
                <a:gd name="T21" fmla="*/ 42 h 54"/>
                <a:gd name="T22" fmla="*/ 0 w 96"/>
                <a:gd name="T23" fmla="*/ 24 h 54"/>
                <a:gd name="T24" fmla="*/ 6 w 96"/>
                <a:gd name="T25" fmla="*/ 24 h 54"/>
                <a:gd name="T26" fmla="*/ 12 w 96"/>
                <a:gd name="T27" fmla="*/ 12 h 54"/>
                <a:gd name="T28" fmla="*/ 24 w 96"/>
                <a:gd name="T29" fmla="*/ 6 h 54"/>
                <a:gd name="T30" fmla="*/ 24 w 96"/>
                <a:gd name="T31" fmla="*/ 6 h 54"/>
                <a:gd name="T32" fmla="*/ 42 w 96"/>
                <a:gd name="T33" fmla="*/ 6 h 54"/>
                <a:gd name="T34" fmla="*/ 60 w 96"/>
                <a:gd name="T35" fmla="*/ 0 h 54"/>
                <a:gd name="T36" fmla="*/ 60 w 96"/>
                <a:gd name="T37" fmla="*/ 0 h 54"/>
                <a:gd name="T38" fmla="*/ 66 w 96"/>
                <a:gd name="T39" fmla="*/ 6 h 54"/>
                <a:gd name="T40" fmla="*/ 72 w 96"/>
                <a:gd name="T41" fmla="*/ 12 h 54"/>
                <a:gd name="T42" fmla="*/ 78 w 96"/>
                <a:gd name="T43" fmla="*/ 24 h 54"/>
                <a:gd name="T44" fmla="*/ 78 w 96"/>
                <a:gd name="T45" fmla="*/ 36 h 54"/>
                <a:gd name="T46" fmla="*/ 84 w 96"/>
                <a:gd name="T47" fmla="*/ 36 h 54"/>
                <a:gd name="T48" fmla="*/ 90 w 96"/>
                <a:gd name="T49" fmla="*/ 36 h 54"/>
                <a:gd name="T50" fmla="*/ 96 w 96"/>
                <a:gd name="T51" fmla="*/ 42 h 54"/>
                <a:gd name="T52" fmla="*/ 90 w 96"/>
                <a:gd name="T53" fmla="*/ 42 h 54"/>
                <a:gd name="T54" fmla="*/ 90 w 96"/>
                <a:gd name="T55" fmla="*/ 42 h 54"/>
                <a:gd name="T56" fmla="*/ 84 w 96"/>
                <a:gd name="T5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54">
                  <a:moveTo>
                    <a:pt x="84" y="48"/>
                  </a:moveTo>
                  <a:lnTo>
                    <a:pt x="84" y="54"/>
                  </a:lnTo>
                  <a:lnTo>
                    <a:pt x="66" y="48"/>
                  </a:lnTo>
                  <a:lnTo>
                    <a:pt x="48" y="54"/>
                  </a:lnTo>
                  <a:lnTo>
                    <a:pt x="42" y="54"/>
                  </a:lnTo>
                  <a:lnTo>
                    <a:pt x="30" y="5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24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4" name="Freeform 340">
              <a:extLst>
                <a:ext uri="{FF2B5EF4-FFF2-40B4-BE49-F238E27FC236}">
                  <a16:creationId xmlns:a16="http://schemas.microsoft.com/office/drawing/2014/main" id="{A5AD34E3-6A94-46E6-A2A2-B5F98C08FD6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5" y="1479"/>
              <a:ext cx="66" cy="24"/>
            </a:xfrm>
            <a:custGeom>
              <a:avLst/>
              <a:gdLst>
                <a:gd name="T0" fmla="*/ 54 w 66"/>
                <a:gd name="T1" fmla="*/ 6 h 24"/>
                <a:gd name="T2" fmla="*/ 66 w 66"/>
                <a:gd name="T3" fmla="*/ 12 h 24"/>
                <a:gd name="T4" fmla="*/ 66 w 66"/>
                <a:gd name="T5" fmla="*/ 18 h 24"/>
                <a:gd name="T6" fmla="*/ 60 w 66"/>
                <a:gd name="T7" fmla="*/ 18 h 24"/>
                <a:gd name="T8" fmla="*/ 60 w 66"/>
                <a:gd name="T9" fmla="*/ 18 h 24"/>
                <a:gd name="T10" fmla="*/ 60 w 66"/>
                <a:gd name="T11" fmla="*/ 18 h 24"/>
                <a:gd name="T12" fmla="*/ 54 w 66"/>
                <a:gd name="T13" fmla="*/ 24 h 24"/>
                <a:gd name="T14" fmla="*/ 54 w 66"/>
                <a:gd name="T15" fmla="*/ 24 h 24"/>
                <a:gd name="T16" fmla="*/ 48 w 66"/>
                <a:gd name="T17" fmla="*/ 24 h 24"/>
                <a:gd name="T18" fmla="*/ 48 w 66"/>
                <a:gd name="T19" fmla="*/ 24 h 24"/>
                <a:gd name="T20" fmla="*/ 30 w 66"/>
                <a:gd name="T21" fmla="*/ 24 h 24"/>
                <a:gd name="T22" fmla="*/ 24 w 66"/>
                <a:gd name="T23" fmla="*/ 24 h 24"/>
                <a:gd name="T24" fmla="*/ 18 w 66"/>
                <a:gd name="T25" fmla="*/ 24 h 24"/>
                <a:gd name="T26" fmla="*/ 6 w 66"/>
                <a:gd name="T27" fmla="*/ 12 h 24"/>
                <a:gd name="T28" fmla="*/ 0 w 66"/>
                <a:gd name="T29" fmla="*/ 6 h 24"/>
                <a:gd name="T30" fmla="*/ 24 w 66"/>
                <a:gd name="T31" fmla="*/ 0 h 24"/>
                <a:gd name="T32" fmla="*/ 24 w 66"/>
                <a:gd name="T33" fmla="*/ 0 h 24"/>
                <a:gd name="T34" fmla="*/ 30 w 66"/>
                <a:gd name="T35" fmla="*/ 0 h 24"/>
                <a:gd name="T36" fmla="*/ 42 w 66"/>
                <a:gd name="T37" fmla="*/ 0 h 24"/>
                <a:gd name="T38" fmla="*/ 42 w 66"/>
                <a:gd name="T39" fmla="*/ 6 h 24"/>
                <a:gd name="T40" fmla="*/ 48 w 66"/>
                <a:gd name="T41" fmla="*/ 6 h 24"/>
                <a:gd name="T42" fmla="*/ 54 w 66"/>
                <a:gd name="T4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24">
                  <a:moveTo>
                    <a:pt x="54" y="6"/>
                  </a:moveTo>
                  <a:lnTo>
                    <a:pt x="66" y="12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6" y="12"/>
                  </a:lnTo>
                  <a:lnTo>
                    <a:pt x="0" y="6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5" name="Freeform 341">
              <a:extLst>
                <a:ext uri="{FF2B5EF4-FFF2-40B4-BE49-F238E27FC236}">
                  <a16:creationId xmlns:a16="http://schemas.microsoft.com/office/drawing/2014/main" id="{6DFBD30E-EF5E-4C54-BDBC-C8E9263721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473"/>
              <a:ext cx="36" cy="18"/>
            </a:xfrm>
            <a:custGeom>
              <a:avLst/>
              <a:gdLst>
                <a:gd name="T0" fmla="*/ 6 w 36"/>
                <a:gd name="T1" fmla="*/ 0 h 18"/>
                <a:gd name="T2" fmla="*/ 0 w 36"/>
                <a:gd name="T3" fmla="*/ 0 h 18"/>
                <a:gd name="T4" fmla="*/ 6 w 36"/>
                <a:gd name="T5" fmla="*/ 6 h 18"/>
                <a:gd name="T6" fmla="*/ 18 w 36"/>
                <a:gd name="T7" fmla="*/ 12 h 18"/>
                <a:gd name="T8" fmla="*/ 24 w 36"/>
                <a:gd name="T9" fmla="*/ 12 h 18"/>
                <a:gd name="T10" fmla="*/ 24 w 36"/>
                <a:gd name="T11" fmla="*/ 18 h 18"/>
                <a:gd name="T12" fmla="*/ 30 w 36"/>
                <a:gd name="T13" fmla="*/ 18 h 18"/>
                <a:gd name="T14" fmla="*/ 30 w 36"/>
                <a:gd name="T15" fmla="*/ 18 h 18"/>
                <a:gd name="T16" fmla="*/ 36 w 36"/>
                <a:gd name="T17" fmla="*/ 12 h 18"/>
                <a:gd name="T18" fmla="*/ 36 w 36"/>
                <a:gd name="T19" fmla="*/ 6 h 18"/>
                <a:gd name="T20" fmla="*/ 30 w 36"/>
                <a:gd name="T21" fmla="*/ 6 h 18"/>
                <a:gd name="T22" fmla="*/ 30 w 36"/>
                <a:gd name="T23" fmla="*/ 6 h 18"/>
                <a:gd name="T24" fmla="*/ 30 w 36"/>
                <a:gd name="T25" fmla="*/ 0 h 18"/>
                <a:gd name="T26" fmla="*/ 18 w 36"/>
                <a:gd name="T27" fmla="*/ 0 h 18"/>
                <a:gd name="T28" fmla="*/ 6 w 36"/>
                <a:gd name="T2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6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6" name="Freeform 342">
              <a:extLst>
                <a:ext uri="{FF2B5EF4-FFF2-40B4-BE49-F238E27FC236}">
                  <a16:creationId xmlns:a16="http://schemas.microsoft.com/office/drawing/2014/main" id="{90B46609-DB48-4C69-BC32-5D168A4266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31"/>
              <a:ext cx="84" cy="90"/>
            </a:xfrm>
            <a:custGeom>
              <a:avLst/>
              <a:gdLst>
                <a:gd name="T0" fmla="*/ 24 w 84"/>
                <a:gd name="T1" fmla="*/ 18 h 90"/>
                <a:gd name="T2" fmla="*/ 24 w 84"/>
                <a:gd name="T3" fmla="*/ 18 h 90"/>
                <a:gd name="T4" fmla="*/ 24 w 84"/>
                <a:gd name="T5" fmla="*/ 12 h 90"/>
                <a:gd name="T6" fmla="*/ 30 w 84"/>
                <a:gd name="T7" fmla="*/ 12 h 90"/>
                <a:gd name="T8" fmla="*/ 36 w 84"/>
                <a:gd name="T9" fmla="*/ 12 h 90"/>
                <a:gd name="T10" fmla="*/ 30 w 84"/>
                <a:gd name="T11" fmla="*/ 12 h 90"/>
                <a:gd name="T12" fmla="*/ 30 w 84"/>
                <a:gd name="T13" fmla="*/ 6 h 90"/>
                <a:gd name="T14" fmla="*/ 30 w 84"/>
                <a:gd name="T15" fmla="*/ 6 h 90"/>
                <a:gd name="T16" fmla="*/ 24 w 84"/>
                <a:gd name="T17" fmla="*/ 0 h 90"/>
                <a:gd name="T18" fmla="*/ 30 w 84"/>
                <a:gd name="T19" fmla="*/ 0 h 90"/>
                <a:gd name="T20" fmla="*/ 36 w 84"/>
                <a:gd name="T21" fmla="*/ 0 h 90"/>
                <a:gd name="T22" fmla="*/ 36 w 84"/>
                <a:gd name="T23" fmla="*/ 6 h 90"/>
                <a:gd name="T24" fmla="*/ 48 w 84"/>
                <a:gd name="T25" fmla="*/ 6 h 90"/>
                <a:gd name="T26" fmla="*/ 48 w 84"/>
                <a:gd name="T27" fmla="*/ 6 h 90"/>
                <a:gd name="T28" fmla="*/ 48 w 84"/>
                <a:gd name="T29" fmla="*/ 12 h 90"/>
                <a:gd name="T30" fmla="*/ 60 w 84"/>
                <a:gd name="T31" fmla="*/ 6 h 90"/>
                <a:gd name="T32" fmla="*/ 60 w 84"/>
                <a:gd name="T33" fmla="*/ 6 h 90"/>
                <a:gd name="T34" fmla="*/ 72 w 84"/>
                <a:gd name="T35" fmla="*/ 12 h 90"/>
                <a:gd name="T36" fmla="*/ 78 w 84"/>
                <a:gd name="T37" fmla="*/ 12 h 90"/>
                <a:gd name="T38" fmla="*/ 78 w 84"/>
                <a:gd name="T39" fmla="*/ 12 h 90"/>
                <a:gd name="T40" fmla="*/ 78 w 84"/>
                <a:gd name="T41" fmla="*/ 12 h 90"/>
                <a:gd name="T42" fmla="*/ 78 w 84"/>
                <a:gd name="T43" fmla="*/ 24 h 90"/>
                <a:gd name="T44" fmla="*/ 84 w 84"/>
                <a:gd name="T45" fmla="*/ 36 h 90"/>
                <a:gd name="T46" fmla="*/ 84 w 84"/>
                <a:gd name="T47" fmla="*/ 48 h 90"/>
                <a:gd name="T48" fmla="*/ 84 w 84"/>
                <a:gd name="T49" fmla="*/ 48 h 90"/>
                <a:gd name="T50" fmla="*/ 60 w 84"/>
                <a:gd name="T51" fmla="*/ 54 h 90"/>
                <a:gd name="T52" fmla="*/ 66 w 84"/>
                <a:gd name="T53" fmla="*/ 60 h 90"/>
                <a:gd name="T54" fmla="*/ 78 w 84"/>
                <a:gd name="T55" fmla="*/ 72 h 90"/>
                <a:gd name="T56" fmla="*/ 72 w 84"/>
                <a:gd name="T57" fmla="*/ 78 h 90"/>
                <a:gd name="T58" fmla="*/ 72 w 84"/>
                <a:gd name="T59" fmla="*/ 84 h 90"/>
                <a:gd name="T60" fmla="*/ 72 w 84"/>
                <a:gd name="T61" fmla="*/ 84 h 90"/>
                <a:gd name="T62" fmla="*/ 60 w 84"/>
                <a:gd name="T63" fmla="*/ 84 h 90"/>
                <a:gd name="T64" fmla="*/ 48 w 84"/>
                <a:gd name="T65" fmla="*/ 84 h 90"/>
                <a:gd name="T66" fmla="*/ 48 w 84"/>
                <a:gd name="T67" fmla="*/ 90 h 90"/>
                <a:gd name="T68" fmla="*/ 36 w 84"/>
                <a:gd name="T69" fmla="*/ 90 h 90"/>
                <a:gd name="T70" fmla="*/ 30 w 84"/>
                <a:gd name="T71" fmla="*/ 84 h 90"/>
                <a:gd name="T72" fmla="*/ 18 w 84"/>
                <a:gd name="T73" fmla="*/ 84 h 90"/>
                <a:gd name="T74" fmla="*/ 24 w 84"/>
                <a:gd name="T75" fmla="*/ 66 h 90"/>
                <a:gd name="T76" fmla="*/ 6 w 84"/>
                <a:gd name="T77" fmla="*/ 66 h 90"/>
                <a:gd name="T78" fmla="*/ 6 w 84"/>
                <a:gd name="T79" fmla="*/ 66 h 90"/>
                <a:gd name="T80" fmla="*/ 6 w 84"/>
                <a:gd name="T81" fmla="*/ 60 h 90"/>
                <a:gd name="T82" fmla="*/ 6 w 84"/>
                <a:gd name="T83" fmla="*/ 54 h 90"/>
                <a:gd name="T84" fmla="*/ 6 w 84"/>
                <a:gd name="T85" fmla="*/ 48 h 90"/>
                <a:gd name="T86" fmla="*/ 0 w 84"/>
                <a:gd name="T87" fmla="*/ 48 h 90"/>
                <a:gd name="T88" fmla="*/ 6 w 84"/>
                <a:gd name="T89" fmla="*/ 36 h 90"/>
                <a:gd name="T90" fmla="*/ 12 w 84"/>
                <a:gd name="T91" fmla="*/ 30 h 90"/>
                <a:gd name="T92" fmla="*/ 12 w 84"/>
                <a:gd name="T93" fmla="*/ 24 h 90"/>
                <a:gd name="T94" fmla="*/ 12 w 84"/>
                <a:gd name="T95" fmla="*/ 18 h 90"/>
                <a:gd name="T96" fmla="*/ 12 w 84"/>
                <a:gd name="T97" fmla="*/ 18 h 90"/>
                <a:gd name="T98" fmla="*/ 12 w 84"/>
                <a:gd name="T99" fmla="*/ 12 h 90"/>
                <a:gd name="T100" fmla="*/ 24 w 84"/>
                <a:gd name="T101" fmla="*/ 1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4" h="90">
                  <a:moveTo>
                    <a:pt x="24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24"/>
                  </a:lnTo>
                  <a:lnTo>
                    <a:pt x="84" y="36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60" y="54"/>
                  </a:lnTo>
                  <a:lnTo>
                    <a:pt x="66" y="60"/>
                  </a:lnTo>
                  <a:lnTo>
                    <a:pt x="78" y="72"/>
                  </a:lnTo>
                  <a:lnTo>
                    <a:pt x="72" y="7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0" y="84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36" y="90"/>
                  </a:lnTo>
                  <a:lnTo>
                    <a:pt x="30" y="84"/>
                  </a:lnTo>
                  <a:lnTo>
                    <a:pt x="18" y="84"/>
                  </a:lnTo>
                  <a:lnTo>
                    <a:pt x="24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lnTo>
                    <a:pt x="6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7" name="Rectangle 343">
              <a:extLst>
                <a:ext uri="{FF2B5EF4-FFF2-40B4-BE49-F238E27FC236}">
                  <a16:creationId xmlns:a16="http://schemas.microsoft.com/office/drawing/2014/main" id="{AD28167C-F4A0-42F3-AAA9-9059DC9A51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31" y="1437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8" name="Freeform 344">
              <a:extLst>
                <a:ext uri="{FF2B5EF4-FFF2-40B4-BE49-F238E27FC236}">
                  <a16:creationId xmlns:a16="http://schemas.microsoft.com/office/drawing/2014/main" id="{3D7CA105-2547-4804-84DE-99DCE6A22E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" y="148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6 h 12"/>
                <a:gd name="T4" fmla="*/ 0 w 6"/>
                <a:gd name="T5" fmla="*/ 6 h 12"/>
                <a:gd name="T6" fmla="*/ 6 w 6"/>
                <a:gd name="T7" fmla="*/ 12 h 12"/>
                <a:gd name="T8" fmla="*/ 6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49" name="Freeform 345">
              <a:extLst>
                <a:ext uri="{FF2B5EF4-FFF2-40B4-BE49-F238E27FC236}">
                  <a16:creationId xmlns:a16="http://schemas.microsoft.com/office/drawing/2014/main" id="{435AC7B7-1371-442A-9B37-C7EB431701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9" y="1503"/>
              <a:ext cx="42" cy="42"/>
            </a:xfrm>
            <a:custGeom>
              <a:avLst/>
              <a:gdLst>
                <a:gd name="T0" fmla="*/ 6 w 42"/>
                <a:gd name="T1" fmla="*/ 0 h 42"/>
                <a:gd name="T2" fmla="*/ 0 w 42"/>
                <a:gd name="T3" fmla="*/ 6 h 42"/>
                <a:gd name="T4" fmla="*/ 0 w 42"/>
                <a:gd name="T5" fmla="*/ 6 h 42"/>
                <a:gd name="T6" fmla="*/ 6 w 42"/>
                <a:gd name="T7" fmla="*/ 12 h 42"/>
                <a:gd name="T8" fmla="*/ 12 w 42"/>
                <a:gd name="T9" fmla="*/ 18 h 42"/>
                <a:gd name="T10" fmla="*/ 18 w 42"/>
                <a:gd name="T11" fmla="*/ 30 h 42"/>
                <a:gd name="T12" fmla="*/ 18 w 42"/>
                <a:gd name="T13" fmla="*/ 42 h 42"/>
                <a:gd name="T14" fmla="*/ 24 w 42"/>
                <a:gd name="T15" fmla="*/ 42 h 42"/>
                <a:gd name="T16" fmla="*/ 30 w 42"/>
                <a:gd name="T17" fmla="*/ 42 h 42"/>
                <a:gd name="T18" fmla="*/ 30 w 42"/>
                <a:gd name="T19" fmla="*/ 36 h 42"/>
                <a:gd name="T20" fmla="*/ 42 w 42"/>
                <a:gd name="T21" fmla="*/ 30 h 42"/>
                <a:gd name="T22" fmla="*/ 30 w 42"/>
                <a:gd name="T23" fmla="*/ 24 h 42"/>
                <a:gd name="T24" fmla="*/ 24 w 42"/>
                <a:gd name="T25" fmla="*/ 18 h 42"/>
                <a:gd name="T26" fmla="*/ 18 w 42"/>
                <a:gd name="T27" fmla="*/ 6 h 42"/>
                <a:gd name="T28" fmla="*/ 12 w 42"/>
                <a:gd name="T29" fmla="*/ 0 h 42"/>
                <a:gd name="T30" fmla="*/ 6 w 42"/>
                <a:gd name="T3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2">
                  <a:moveTo>
                    <a:pt x="6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18"/>
                  </a:lnTo>
                  <a:lnTo>
                    <a:pt x="18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42" y="30"/>
                  </a:lnTo>
                  <a:lnTo>
                    <a:pt x="30" y="24"/>
                  </a:lnTo>
                  <a:lnTo>
                    <a:pt x="24" y="18"/>
                  </a:lnTo>
                  <a:lnTo>
                    <a:pt x="18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0" name="Freeform 346">
              <a:extLst>
                <a:ext uri="{FF2B5EF4-FFF2-40B4-BE49-F238E27FC236}">
                  <a16:creationId xmlns:a16="http://schemas.microsoft.com/office/drawing/2014/main" id="{47FFCFDA-AE3C-4EAC-8A34-69201AC87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3" y="1252"/>
              <a:ext cx="204" cy="143"/>
            </a:xfrm>
            <a:custGeom>
              <a:avLst/>
              <a:gdLst>
                <a:gd name="T0" fmla="*/ 120 w 204"/>
                <a:gd name="T1" fmla="*/ 18 h 143"/>
                <a:gd name="T2" fmla="*/ 114 w 204"/>
                <a:gd name="T3" fmla="*/ 18 h 143"/>
                <a:gd name="T4" fmla="*/ 114 w 204"/>
                <a:gd name="T5" fmla="*/ 18 h 143"/>
                <a:gd name="T6" fmla="*/ 102 w 204"/>
                <a:gd name="T7" fmla="*/ 18 h 143"/>
                <a:gd name="T8" fmla="*/ 96 w 204"/>
                <a:gd name="T9" fmla="*/ 24 h 143"/>
                <a:gd name="T10" fmla="*/ 96 w 204"/>
                <a:gd name="T11" fmla="*/ 30 h 143"/>
                <a:gd name="T12" fmla="*/ 90 w 204"/>
                <a:gd name="T13" fmla="*/ 30 h 143"/>
                <a:gd name="T14" fmla="*/ 84 w 204"/>
                <a:gd name="T15" fmla="*/ 30 h 143"/>
                <a:gd name="T16" fmla="*/ 84 w 204"/>
                <a:gd name="T17" fmla="*/ 36 h 143"/>
                <a:gd name="T18" fmla="*/ 78 w 204"/>
                <a:gd name="T19" fmla="*/ 42 h 143"/>
                <a:gd name="T20" fmla="*/ 72 w 204"/>
                <a:gd name="T21" fmla="*/ 42 h 143"/>
                <a:gd name="T22" fmla="*/ 66 w 204"/>
                <a:gd name="T23" fmla="*/ 48 h 143"/>
                <a:gd name="T24" fmla="*/ 60 w 204"/>
                <a:gd name="T25" fmla="*/ 54 h 143"/>
                <a:gd name="T26" fmla="*/ 66 w 204"/>
                <a:gd name="T27" fmla="*/ 60 h 143"/>
                <a:gd name="T28" fmla="*/ 54 w 204"/>
                <a:gd name="T29" fmla="*/ 72 h 143"/>
                <a:gd name="T30" fmla="*/ 42 w 204"/>
                <a:gd name="T31" fmla="*/ 78 h 143"/>
                <a:gd name="T32" fmla="*/ 48 w 204"/>
                <a:gd name="T33" fmla="*/ 78 h 143"/>
                <a:gd name="T34" fmla="*/ 48 w 204"/>
                <a:gd name="T35" fmla="*/ 84 h 143"/>
                <a:gd name="T36" fmla="*/ 36 w 204"/>
                <a:gd name="T37" fmla="*/ 84 h 143"/>
                <a:gd name="T38" fmla="*/ 30 w 204"/>
                <a:gd name="T39" fmla="*/ 90 h 143"/>
                <a:gd name="T40" fmla="*/ 18 w 204"/>
                <a:gd name="T41" fmla="*/ 84 h 143"/>
                <a:gd name="T42" fmla="*/ 24 w 204"/>
                <a:gd name="T43" fmla="*/ 90 h 143"/>
                <a:gd name="T44" fmla="*/ 18 w 204"/>
                <a:gd name="T45" fmla="*/ 96 h 143"/>
                <a:gd name="T46" fmla="*/ 12 w 204"/>
                <a:gd name="T47" fmla="*/ 96 h 143"/>
                <a:gd name="T48" fmla="*/ 6 w 204"/>
                <a:gd name="T49" fmla="*/ 96 h 143"/>
                <a:gd name="T50" fmla="*/ 12 w 204"/>
                <a:gd name="T51" fmla="*/ 102 h 143"/>
                <a:gd name="T52" fmla="*/ 6 w 204"/>
                <a:gd name="T53" fmla="*/ 108 h 143"/>
                <a:gd name="T54" fmla="*/ 12 w 204"/>
                <a:gd name="T55" fmla="*/ 108 h 143"/>
                <a:gd name="T56" fmla="*/ 24 w 204"/>
                <a:gd name="T57" fmla="*/ 108 h 143"/>
                <a:gd name="T58" fmla="*/ 0 w 204"/>
                <a:gd name="T59" fmla="*/ 108 h 143"/>
                <a:gd name="T60" fmla="*/ 0 w 204"/>
                <a:gd name="T61" fmla="*/ 114 h 143"/>
                <a:gd name="T62" fmla="*/ 6 w 204"/>
                <a:gd name="T63" fmla="*/ 120 h 143"/>
                <a:gd name="T64" fmla="*/ 12 w 204"/>
                <a:gd name="T65" fmla="*/ 114 h 143"/>
                <a:gd name="T66" fmla="*/ 12 w 204"/>
                <a:gd name="T67" fmla="*/ 114 h 143"/>
                <a:gd name="T68" fmla="*/ 6 w 204"/>
                <a:gd name="T69" fmla="*/ 125 h 143"/>
                <a:gd name="T70" fmla="*/ 12 w 204"/>
                <a:gd name="T71" fmla="*/ 125 h 143"/>
                <a:gd name="T72" fmla="*/ 6 w 204"/>
                <a:gd name="T73" fmla="*/ 131 h 143"/>
                <a:gd name="T74" fmla="*/ 30 w 204"/>
                <a:gd name="T75" fmla="*/ 143 h 143"/>
                <a:gd name="T76" fmla="*/ 48 w 204"/>
                <a:gd name="T77" fmla="*/ 125 h 143"/>
                <a:gd name="T78" fmla="*/ 60 w 204"/>
                <a:gd name="T79" fmla="*/ 131 h 143"/>
                <a:gd name="T80" fmla="*/ 66 w 204"/>
                <a:gd name="T81" fmla="*/ 108 h 143"/>
                <a:gd name="T82" fmla="*/ 60 w 204"/>
                <a:gd name="T83" fmla="*/ 90 h 143"/>
                <a:gd name="T84" fmla="*/ 78 w 204"/>
                <a:gd name="T85" fmla="*/ 72 h 143"/>
                <a:gd name="T86" fmla="*/ 78 w 204"/>
                <a:gd name="T87" fmla="*/ 54 h 143"/>
                <a:gd name="T88" fmla="*/ 90 w 204"/>
                <a:gd name="T89" fmla="*/ 36 h 143"/>
                <a:gd name="T90" fmla="*/ 120 w 204"/>
                <a:gd name="T91" fmla="*/ 30 h 143"/>
                <a:gd name="T92" fmla="*/ 126 w 204"/>
                <a:gd name="T93" fmla="*/ 18 h 143"/>
                <a:gd name="T94" fmla="*/ 156 w 204"/>
                <a:gd name="T95" fmla="*/ 24 h 143"/>
                <a:gd name="T96" fmla="*/ 174 w 204"/>
                <a:gd name="T97" fmla="*/ 12 h 143"/>
                <a:gd name="T98" fmla="*/ 198 w 204"/>
                <a:gd name="T99" fmla="*/ 18 h 143"/>
                <a:gd name="T100" fmla="*/ 198 w 204"/>
                <a:gd name="T101" fmla="*/ 12 h 143"/>
                <a:gd name="T102" fmla="*/ 204 w 204"/>
                <a:gd name="T103" fmla="*/ 6 h 143"/>
                <a:gd name="T104" fmla="*/ 180 w 204"/>
                <a:gd name="T105" fmla="*/ 6 h 143"/>
                <a:gd name="T106" fmla="*/ 180 w 204"/>
                <a:gd name="T107" fmla="*/ 6 h 143"/>
                <a:gd name="T108" fmla="*/ 174 w 204"/>
                <a:gd name="T109" fmla="*/ 0 h 143"/>
                <a:gd name="T110" fmla="*/ 156 w 204"/>
                <a:gd name="T111" fmla="*/ 12 h 143"/>
                <a:gd name="T112" fmla="*/ 150 w 204"/>
                <a:gd name="T113" fmla="*/ 0 h 143"/>
                <a:gd name="T114" fmla="*/ 132 w 204"/>
                <a:gd name="T115" fmla="*/ 12 h 143"/>
                <a:gd name="T116" fmla="*/ 132 w 204"/>
                <a:gd name="T117" fmla="*/ 12 h 143"/>
                <a:gd name="T118" fmla="*/ 120 w 204"/>
                <a:gd name="T119" fmla="*/ 1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4" h="143">
                  <a:moveTo>
                    <a:pt x="120" y="12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2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96" y="24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84" y="42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30" y="90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12" y="102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0" y="108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0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8" y="114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31"/>
                  </a:lnTo>
                  <a:lnTo>
                    <a:pt x="6" y="131"/>
                  </a:lnTo>
                  <a:lnTo>
                    <a:pt x="12" y="137"/>
                  </a:lnTo>
                  <a:lnTo>
                    <a:pt x="18" y="143"/>
                  </a:lnTo>
                  <a:lnTo>
                    <a:pt x="30" y="143"/>
                  </a:lnTo>
                  <a:lnTo>
                    <a:pt x="42" y="131"/>
                  </a:lnTo>
                  <a:lnTo>
                    <a:pt x="48" y="131"/>
                  </a:lnTo>
                  <a:lnTo>
                    <a:pt x="48" y="125"/>
                  </a:lnTo>
                  <a:lnTo>
                    <a:pt x="54" y="120"/>
                  </a:lnTo>
                  <a:lnTo>
                    <a:pt x="54" y="131"/>
                  </a:lnTo>
                  <a:lnTo>
                    <a:pt x="60" y="131"/>
                  </a:lnTo>
                  <a:lnTo>
                    <a:pt x="66" y="120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60" y="102"/>
                  </a:lnTo>
                  <a:lnTo>
                    <a:pt x="60" y="90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102" y="30"/>
                  </a:lnTo>
                  <a:lnTo>
                    <a:pt x="108" y="30"/>
                  </a:lnTo>
                  <a:lnTo>
                    <a:pt x="120" y="30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74" y="12"/>
                  </a:lnTo>
                  <a:lnTo>
                    <a:pt x="186" y="12"/>
                  </a:lnTo>
                  <a:lnTo>
                    <a:pt x="186" y="18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2" y="12"/>
                  </a:lnTo>
                  <a:lnTo>
                    <a:pt x="186" y="12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74" y="6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68" y="6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56" y="6"/>
                  </a:lnTo>
                  <a:lnTo>
                    <a:pt x="15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44" y="12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6" y="12"/>
                  </a:lnTo>
                  <a:lnTo>
                    <a:pt x="12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1" name="Freeform 347">
              <a:extLst>
                <a:ext uri="{FF2B5EF4-FFF2-40B4-BE49-F238E27FC236}">
                  <a16:creationId xmlns:a16="http://schemas.microsoft.com/office/drawing/2014/main" id="{3B25E349-5381-4086-AE03-C8A256EF91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9" y="1168"/>
              <a:ext cx="72" cy="30"/>
            </a:xfrm>
            <a:custGeom>
              <a:avLst/>
              <a:gdLst>
                <a:gd name="T0" fmla="*/ 18 w 72"/>
                <a:gd name="T1" fmla="*/ 0 h 30"/>
                <a:gd name="T2" fmla="*/ 6 w 72"/>
                <a:gd name="T3" fmla="*/ 0 h 30"/>
                <a:gd name="T4" fmla="*/ 0 w 72"/>
                <a:gd name="T5" fmla="*/ 0 h 30"/>
                <a:gd name="T6" fmla="*/ 0 w 72"/>
                <a:gd name="T7" fmla="*/ 6 h 30"/>
                <a:gd name="T8" fmla="*/ 6 w 72"/>
                <a:gd name="T9" fmla="*/ 6 h 30"/>
                <a:gd name="T10" fmla="*/ 6 w 72"/>
                <a:gd name="T11" fmla="*/ 6 h 30"/>
                <a:gd name="T12" fmla="*/ 0 w 72"/>
                <a:gd name="T13" fmla="*/ 6 h 30"/>
                <a:gd name="T14" fmla="*/ 12 w 72"/>
                <a:gd name="T15" fmla="*/ 12 h 30"/>
                <a:gd name="T16" fmla="*/ 18 w 72"/>
                <a:gd name="T17" fmla="*/ 18 h 30"/>
                <a:gd name="T18" fmla="*/ 24 w 72"/>
                <a:gd name="T19" fmla="*/ 12 h 30"/>
                <a:gd name="T20" fmla="*/ 30 w 72"/>
                <a:gd name="T21" fmla="*/ 12 h 30"/>
                <a:gd name="T22" fmla="*/ 30 w 72"/>
                <a:gd name="T23" fmla="*/ 12 h 30"/>
                <a:gd name="T24" fmla="*/ 36 w 72"/>
                <a:gd name="T25" fmla="*/ 12 h 30"/>
                <a:gd name="T26" fmla="*/ 36 w 72"/>
                <a:gd name="T27" fmla="*/ 12 h 30"/>
                <a:gd name="T28" fmla="*/ 18 w 72"/>
                <a:gd name="T29" fmla="*/ 18 h 30"/>
                <a:gd name="T30" fmla="*/ 18 w 72"/>
                <a:gd name="T31" fmla="*/ 18 h 30"/>
                <a:gd name="T32" fmla="*/ 42 w 72"/>
                <a:gd name="T33" fmla="*/ 18 h 30"/>
                <a:gd name="T34" fmla="*/ 30 w 72"/>
                <a:gd name="T35" fmla="*/ 18 h 30"/>
                <a:gd name="T36" fmla="*/ 36 w 72"/>
                <a:gd name="T37" fmla="*/ 24 h 30"/>
                <a:gd name="T38" fmla="*/ 24 w 72"/>
                <a:gd name="T39" fmla="*/ 24 h 30"/>
                <a:gd name="T40" fmla="*/ 36 w 72"/>
                <a:gd name="T41" fmla="*/ 24 h 30"/>
                <a:gd name="T42" fmla="*/ 42 w 72"/>
                <a:gd name="T43" fmla="*/ 30 h 30"/>
                <a:gd name="T44" fmla="*/ 42 w 72"/>
                <a:gd name="T45" fmla="*/ 30 h 30"/>
                <a:gd name="T46" fmla="*/ 48 w 72"/>
                <a:gd name="T47" fmla="*/ 24 h 30"/>
                <a:gd name="T48" fmla="*/ 54 w 72"/>
                <a:gd name="T49" fmla="*/ 18 h 30"/>
                <a:gd name="T50" fmla="*/ 54 w 72"/>
                <a:gd name="T51" fmla="*/ 12 h 30"/>
                <a:gd name="T52" fmla="*/ 72 w 72"/>
                <a:gd name="T53" fmla="*/ 12 h 30"/>
                <a:gd name="T54" fmla="*/ 54 w 72"/>
                <a:gd name="T55" fmla="*/ 6 h 30"/>
                <a:gd name="T56" fmla="*/ 48 w 72"/>
                <a:gd name="T57" fmla="*/ 6 h 30"/>
                <a:gd name="T58" fmla="*/ 48 w 72"/>
                <a:gd name="T59" fmla="*/ 6 h 30"/>
                <a:gd name="T60" fmla="*/ 42 w 72"/>
                <a:gd name="T61" fmla="*/ 0 h 30"/>
                <a:gd name="T62" fmla="*/ 36 w 72"/>
                <a:gd name="T63" fmla="*/ 0 h 30"/>
                <a:gd name="T64" fmla="*/ 36 w 72"/>
                <a:gd name="T65" fmla="*/ 12 h 30"/>
                <a:gd name="T66" fmla="*/ 24 w 72"/>
                <a:gd name="T67" fmla="*/ 0 h 30"/>
                <a:gd name="T68" fmla="*/ 18 w 72"/>
                <a:gd name="T69" fmla="*/ 6 h 30"/>
                <a:gd name="T70" fmla="*/ 12 w 72"/>
                <a:gd name="T71" fmla="*/ 6 h 30"/>
                <a:gd name="T72" fmla="*/ 18 w 72"/>
                <a:gd name="T7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30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30" y="18"/>
                  </a:lnTo>
                  <a:lnTo>
                    <a:pt x="36" y="24"/>
                  </a:lnTo>
                  <a:lnTo>
                    <a:pt x="24" y="24"/>
                  </a:lnTo>
                  <a:lnTo>
                    <a:pt x="36" y="24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2" name="Freeform 348">
              <a:extLst>
                <a:ext uri="{FF2B5EF4-FFF2-40B4-BE49-F238E27FC236}">
                  <a16:creationId xmlns:a16="http://schemas.microsoft.com/office/drawing/2014/main" id="{D461FBC0-2866-4BE1-9F3B-F3865343D68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7" y="1162"/>
              <a:ext cx="60" cy="12"/>
            </a:xfrm>
            <a:custGeom>
              <a:avLst/>
              <a:gdLst>
                <a:gd name="T0" fmla="*/ 24 w 60"/>
                <a:gd name="T1" fmla="*/ 6 h 12"/>
                <a:gd name="T2" fmla="*/ 6 w 60"/>
                <a:gd name="T3" fmla="*/ 6 h 12"/>
                <a:gd name="T4" fmla="*/ 6 w 60"/>
                <a:gd name="T5" fmla="*/ 6 h 12"/>
                <a:gd name="T6" fmla="*/ 0 w 60"/>
                <a:gd name="T7" fmla="*/ 6 h 12"/>
                <a:gd name="T8" fmla="*/ 0 w 60"/>
                <a:gd name="T9" fmla="*/ 6 h 12"/>
                <a:gd name="T10" fmla="*/ 24 w 60"/>
                <a:gd name="T11" fmla="*/ 6 h 12"/>
                <a:gd name="T12" fmla="*/ 12 w 60"/>
                <a:gd name="T13" fmla="*/ 12 h 12"/>
                <a:gd name="T14" fmla="*/ 30 w 60"/>
                <a:gd name="T15" fmla="*/ 12 h 12"/>
                <a:gd name="T16" fmla="*/ 48 w 60"/>
                <a:gd name="T17" fmla="*/ 12 h 12"/>
                <a:gd name="T18" fmla="*/ 60 w 60"/>
                <a:gd name="T19" fmla="*/ 6 h 12"/>
                <a:gd name="T20" fmla="*/ 54 w 60"/>
                <a:gd name="T21" fmla="*/ 6 h 12"/>
                <a:gd name="T22" fmla="*/ 36 w 60"/>
                <a:gd name="T23" fmla="*/ 6 h 12"/>
                <a:gd name="T24" fmla="*/ 30 w 60"/>
                <a:gd name="T25" fmla="*/ 6 h 12"/>
                <a:gd name="T26" fmla="*/ 30 w 60"/>
                <a:gd name="T27" fmla="*/ 0 h 12"/>
                <a:gd name="T28" fmla="*/ 24 w 60"/>
                <a:gd name="T29" fmla="*/ 6 h 12"/>
                <a:gd name="T30" fmla="*/ 24 w 60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2">
                  <a:moveTo>
                    <a:pt x="24" y="6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4" y="6"/>
                  </a:lnTo>
                  <a:lnTo>
                    <a:pt x="12" y="12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3" name="Freeform 349">
              <a:extLst>
                <a:ext uri="{FF2B5EF4-FFF2-40B4-BE49-F238E27FC236}">
                  <a16:creationId xmlns:a16="http://schemas.microsoft.com/office/drawing/2014/main" id="{FAB18B84-0C65-43D7-876C-B97269AF4C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1" y="118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12 w 24"/>
                <a:gd name="T3" fmla="*/ 6 h 6"/>
                <a:gd name="T4" fmla="*/ 0 w 24"/>
                <a:gd name="T5" fmla="*/ 6 h 6"/>
                <a:gd name="T6" fmla="*/ 0 w 24"/>
                <a:gd name="T7" fmla="*/ 0 h 6"/>
                <a:gd name="T8" fmla="*/ 0 w 24"/>
                <a:gd name="T9" fmla="*/ 0 h 6"/>
                <a:gd name="T10" fmla="*/ 12 w 24"/>
                <a:gd name="T11" fmla="*/ 0 h 6"/>
                <a:gd name="T12" fmla="*/ 24 w 24"/>
                <a:gd name="T13" fmla="*/ 0 h 6"/>
                <a:gd name="T14" fmla="*/ 18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12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4" name="Freeform 350">
              <a:extLst>
                <a:ext uri="{FF2B5EF4-FFF2-40B4-BE49-F238E27FC236}">
                  <a16:creationId xmlns:a16="http://schemas.microsoft.com/office/drawing/2014/main" id="{0BFBED82-2CC4-4C8B-ACFC-1FC09118E0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276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6 w 12"/>
                <a:gd name="T3" fmla="*/ 6 h 6"/>
                <a:gd name="T4" fmla="*/ 0 w 12"/>
                <a:gd name="T5" fmla="*/ 6 h 6"/>
                <a:gd name="T6" fmla="*/ 6 w 12"/>
                <a:gd name="T7" fmla="*/ 6 h 6"/>
                <a:gd name="T8" fmla="*/ 6 w 12"/>
                <a:gd name="T9" fmla="*/ 6 h 6"/>
                <a:gd name="T10" fmla="*/ 12 w 12"/>
                <a:gd name="T11" fmla="*/ 0 h 6"/>
                <a:gd name="T12" fmla="*/ 6 w 12"/>
                <a:gd name="T13" fmla="*/ 0 h 6"/>
                <a:gd name="T14" fmla="*/ 6 w 12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5" name="Freeform 351">
              <a:extLst>
                <a:ext uri="{FF2B5EF4-FFF2-40B4-BE49-F238E27FC236}">
                  <a16:creationId xmlns:a16="http://schemas.microsoft.com/office/drawing/2014/main" id="{D5B3EC7F-EA1C-4691-8809-77AEB0C8B0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264"/>
              <a:ext cx="108" cy="108"/>
            </a:xfrm>
            <a:custGeom>
              <a:avLst/>
              <a:gdLst>
                <a:gd name="T0" fmla="*/ 90 w 108"/>
                <a:gd name="T1" fmla="*/ 60 h 108"/>
                <a:gd name="T2" fmla="*/ 84 w 108"/>
                <a:gd name="T3" fmla="*/ 54 h 108"/>
                <a:gd name="T4" fmla="*/ 84 w 108"/>
                <a:gd name="T5" fmla="*/ 42 h 108"/>
                <a:gd name="T6" fmla="*/ 78 w 108"/>
                <a:gd name="T7" fmla="*/ 30 h 108"/>
                <a:gd name="T8" fmla="*/ 78 w 108"/>
                <a:gd name="T9" fmla="*/ 24 h 108"/>
                <a:gd name="T10" fmla="*/ 72 w 108"/>
                <a:gd name="T11" fmla="*/ 18 h 108"/>
                <a:gd name="T12" fmla="*/ 66 w 108"/>
                <a:gd name="T13" fmla="*/ 12 h 108"/>
                <a:gd name="T14" fmla="*/ 66 w 108"/>
                <a:gd name="T15" fmla="*/ 6 h 108"/>
                <a:gd name="T16" fmla="*/ 66 w 108"/>
                <a:gd name="T17" fmla="*/ 0 h 108"/>
                <a:gd name="T18" fmla="*/ 54 w 108"/>
                <a:gd name="T19" fmla="*/ 0 h 108"/>
                <a:gd name="T20" fmla="*/ 42 w 108"/>
                <a:gd name="T21" fmla="*/ 0 h 108"/>
                <a:gd name="T22" fmla="*/ 42 w 108"/>
                <a:gd name="T23" fmla="*/ 12 h 108"/>
                <a:gd name="T24" fmla="*/ 36 w 108"/>
                <a:gd name="T25" fmla="*/ 12 h 108"/>
                <a:gd name="T26" fmla="*/ 24 w 108"/>
                <a:gd name="T27" fmla="*/ 12 h 108"/>
                <a:gd name="T28" fmla="*/ 18 w 108"/>
                <a:gd name="T29" fmla="*/ 12 h 108"/>
                <a:gd name="T30" fmla="*/ 6 w 108"/>
                <a:gd name="T31" fmla="*/ 6 h 108"/>
                <a:gd name="T32" fmla="*/ 0 w 108"/>
                <a:gd name="T33" fmla="*/ 6 h 108"/>
                <a:gd name="T34" fmla="*/ 24 w 108"/>
                <a:gd name="T35" fmla="*/ 18 h 108"/>
                <a:gd name="T36" fmla="*/ 36 w 108"/>
                <a:gd name="T37" fmla="*/ 36 h 108"/>
                <a:gd name="T38" fmla="*/ 36 w 108"/>
                <a:gd name="T39" fmla="*/ 42 h 108"/>
                <a:gd name="T40" fmla="*/ 42 w 108"/>
                <a:gd name="T41" fmla="*/ 42 h 108"/>
                <a:gd name="T42" fmla="*/ 48 w 108"/>
                <a:gd name="T43" fmla="*/ 48 h 108"/>
                <a:gd name="T44" fmla="*/ 48 w 108"/>
                <a:gd name="T45" fmla="*/ 54 h 108"/>
                <a:gd name="T46" fmla="*/ 36 w 108"/>
                <a:gd name="T47" fmla="*/ 66 h 108"/>
                <a:gd name="T48" fmla="*/ 30 w 108"/>
                <a:gd name="T49" fmla="*/ 72 h 108"/>
                <a:gd name="T50" fmla="*/ 18 w 108"/>
                <a:gd name="T51" fmla="*/ 72 h 108"/>
                <a:gd name="T52" fmla="*/ 24 w 108"/>
                <a:gd name="T53" fmla="*/ 90 h 108"/>
                <a:gd name="T54" fmla="*/ 24 w 108"/>
                <a:gd name="T55" fmla="*/ 102 h 108"/>
                <a:gd name="T56" fmla="*/ 36 w 108"/>
                <a:gd name="T57" fmla="*/ 102 h 108"/>
                <a:gd name="T58" fmla="*/ 36 w 108"/>
                <a:gd name="T59" fmla="*/ 108 h 108"/>
                <a:gd name="T60" fmla="*/ 36 w 108"/>
                <a:gd name="T61" fmla="*/ 102 h 108"/>
                <a:gd name="T62" fmla="*/ 42 w 108"/>
                <a:gd name="T63" fmla="*/ 108 h 108"/>
                <a:gd name="T64" fmla="*/ 42 w 108"/>
                <a:gd name="T65" fmla="*/ 108 h 108"/>
                <a:gd name="T66" fmla="*/ 66 w 108"/>
                <a:gd name="T67" fmla="*/ 102 h 108"/>
                <a:gd name="T68" fmla="*/ 72 w 108"/>
                <a:gd name="T69" fmla="*/ 102 h 108"/>
                <a:gd name="T70" fmla="*/ 78 w 108"/>
                <a:gd name="T71" fmla="*/ 102 h 108"/>
                <a:gd name="T72" fmla="*/ 90 w 108"/>
                <a:gd name="T73" fmla="*/ 96 h 108"/>
                <a:gd name="T74" fmla="*/ 96 w 108"/>
                <a:gd name="T75" fmla="*/ 90 h 108"/>
                <a:gd name="T76" fmla="*/ 102 w 108"/>
                <a:gd name="T77" fmla="*/ 84 h 108"/>
                <a:gd name="T78" fmla="*/ 108 w 108"/>
                <a:gd name="T79" fmla="*/ 78 h 108"/>
                <a:gd name="T80" fmla="*/ 90 w 108"/>
                <a:gd name="T81" fmla="*/ 66 h 108"/>
                <a:gd name="T82" fmla="*/ 96 w 108"/>
                <a:gd name="T83" fmla="*/ 66 h 108"/>
                <a:gd name="T84" fmla="*/ 90 w 108"/>
                <a:gd name="T85" fmla="*/ 6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8" h="108">
                  <a:moveTo>
                    <a:pt x="90" y="60"/>
                  </a:moveTo>
                  <a:lnTo>
                    <a:pt x="84" y="54"/>
                  </a:lnTo>
                  <a:lnTo>
                    <a:pt x="84" y="42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2" y="0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6" y="6"/>
                  </a:lnTo>
                  <a:lnTo>
                    <a:pt x="0" y="6"/>
                  </a:lnTo>
                  <a:lnTo>
                    <a:pt x="24" y="18"/>
                  </a:lnTo>
                  <a:lnTo>
                    <a:pt x="36" y="36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8" y="72"/>
                  </a:lnTo>
                  <a:lnTo>
                    <a:pt x="24" y="90"/>
                  </a:lnTo>
                  <a:lnTo>
                    <a:pt x="24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8" y="102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108" y="78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0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6" name="Freeform 352">
              <a:extLst>
                <a:ext uri="{FF2B5EF4-FFF2-40B4-BE49-F238E27FC236}">
                  <a16:creationId xmlns:a16="http://schemas.microsoft.com/office/drawing/2014/main" id="{D61FBC8C-A38B-4D76-96C5-9152AB411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21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7" name="Freeform 353">
              <a:extLst>
                <a:ext uri="{FF2B5EF4-FFF2-40B4-BE49-F238E27FC236}">
                  <a16:creationId xmlns:a16="http://schemas.microsoft.com/office/drawing/2014/main" id="{E4393C94-4F6F-46D2-8B1E-CD9D0CF21F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1503"/>
              <a:ext cx="78" cy="30"/>
            </a:xfrm>
            <a:custGeom>
              <a:avLst/>
              <a:gdLst>
                <a:gd name="T0" fmla="*/ 30 w 78"/>
                <a:gd name="T1" fmla="*/ 24 h 30"/>
                <a:gd name="T2" fmla="*/ 18 w 78"/>
                <a:gd name="T3" fmla="*/ 24 h 30"/>
                <a:gd name="T4" fmla="*/ 12 w 78"/>
                <a:gd name="T5" fmla="*/ 24 h 30"/>
                <a:gd name="T6" fmla="*/ 6 w 78"/>
                <a:gd name="T7" fmla="*/ 18 h 30"/>
                <a:gd name="T8" fmla="*/ 0 w 78"/>
                <a:gd name="T9" fmla="*/ 18 h 30"/>
                <a:gd name="T10" fmla="*/ 0 w 78"/>
                <a:gd name="T11" fmla="*/ 18 h 30"/>
                <a:gd name="T12" fmla="*/ 0 w 78"/>
                <a:gd name="T13" fmla="*/ 18 h 30"/>
                <a:gd name="T14" fmla="*/ 6 w 78"/>
                <a:gd name="T15" fmla="*/ 18 h 30"/>
                <a:gd name="T16" fmla="*/ 12 w 78"/>
                <a:gd name="T17" fmla="*/ 18 h 30"/>
                <a:gd name="T18" fmla="*/ 12 w 78"/>
                <a:gd name="T19" fmla="*/ 12 h 30"/>
                <a:gd name="T20" fmla="*/ 24 w 78"/>
                <a:gd name="T21" fmla="*/ 12 h 30"/>
                <a:gd name="T22" fmla="*/ 36 w 78"/>
                <a:gd name="T23" fmla="*/ 12 h 30"/>
                <a:gd name="T24" fmla="*/ 36 w 78"/>
                <a:gd name="T25" fmla="*/ 12 h 30"/>
                <a:gd name="T26" fmla="*/ 36 w 78"/>
                <a:gd name="T27" fmla="*/ 6 h 30"/>
                <a:gd name="T28" fmla="*/ 42 w 78"/>
                <a:gd name="T29" fmla="*/ 0 h 30"/>
                <a:gd name="T30" fmla="*/ 48 w 78"/>
                <a:gd name="T31" fmla="*/ 0 h 30"/>
                <a:gd name="T32" fmla="*/ 54 w 78"/>
                <a:gd name="T33" fmla="*/ 0 h 30"/>
                <a:gd name="T34" fmla="*/ 72 w 78"/>
                <a:gd name="T35" fmla="*/ 0 h 30"/>
                <a:gd name="T36" fmla="*/ 78 w 78"/>
                <a:gd name="T37" fmla="*/ 12 h 30"/>
                <a:gd name="T38" fmla="*/ 72 w 78"/>
                <a:gd name="T39" fmla="*/ 12 h 30"/>
                <a:gd name="T40" fmla="*/ 72 w 78"/>
                <a:gd name="T41" fmla="*/ 12 h 30"/>
                <a:gd name="T42" fmla="*/ 66 w 78"/>
                <a:gd name="T43" fmla="*/ 24 h 30"/>
                <a:gd name="T44" fmla="*/ 66 w 78"/>
                <a:gd name="T45" fmla="*/ 24 h 30"/>
                <a:gd name="T46" fmla="*/ 48 w 78"/>
                <a:gd name="T47" fmla="*/ 30 h 30"/>
                <a:gd name="T48" fmla="*/ 42 w 78"/>
                <a:gd name="T49" fmla="*/ 24 h 30"/>
                <a:gd name="T50" fmla="*/ 30 w 78"/>
                <a:gd name="T51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" h="30">
                  <a:moveTo>
                    <a:pt x="30" y="24"/>
                  </a:moveTo>
                  <a:lnTo>
                    <a:pt x="18" y="24"/>
                  </a:lnTo>
                  <a:lnTo>
                    <a:pt x="12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72" y="0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48" y="30"/>
                  </a:lnTo>
                  <a:lnTo>
                    <a:pt x="42" y="24"/>
                  </a:lnTo>
                  <a:lnTo>
                    <a:pt x="30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8" name="Freeform 354">
              <a:extLst>
                <a:ext uri="{FF2B5EF4-FFF2-40B4-BE49-F238E27FC236}">
                  <a16:creationId xmlns:a16="http://schemas.microsoft.com/office/drawing/2014/main" id="{E17BC183-484C-40C2-BFF7-8A85DFC8C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45"/>
              <a:ext cx="36" cy="36"/>
            </a:xfrm>
            <a:custGeom>
              <a:avLst/>
              <a:gdLst>
                <a:gd name="T0" fmla="*/ 36 w 36"/>
                <a:gd name="T1" fmla="*/ 6 h 36"/>
                <a:gd name="T2" fmla="*/ 36 w 36"/>
                <a:gd name="T3" fmla="*/ 6 h 36"/>
                <a:gd name="T4" fmla="*/ 36 w 36"/>
                <a:gd name="T5" fmla="*/ 6 h 36"/>
                <a:gd name="T6" fmla="*/ 30 w 36"/>
                <a:gd name="T7" fmla="*/ 12 h 36"/>
                <a:gd name="T8" fmla="*/ 30 w 36"/>
                <a:gd name="T9" fmla="*/ 12 h 36"/>
                <a:gd name="T10" fmla="*/ 36 w 36"/>
                <a:gd name="T11" fmla="*/ 12 h 36"/>
                <a:gd name="T12" fmla="*/ 36 w 36"/>
                <a:gd name="T13" fmla="*/ 18 h 36"/>
                <a:gd name="T14" fmla="*/ 36 w 36"/>
                <a:gd name="T15" fmla="*/ 18 h 36"/>
                <a:gd name="T16" fmla="*/ 36 w 36"/>
                <a:gd name="T17" fmla="*/ 18 h 36"/>
                <a:gd name="T18" fmla="*/ 36 w 36"/>
                <a:gd name="T19" fmla="*/ 24 h 36"/>
                <a:gd name="T20" fmla="*/ 30 w 36"/>
                <a:gd name="T21" fmla="*/ 24 h 36"/>
                <a:gd name="T22" fmla="*/ 36 w 36"/>
                <a:gd name="T23" fmla="*/ 24 h 36"/>
                <a:gd name="T24" fmla="*/ 36 w 36"/>
                <a:gd name="T25" fmla="*/ 24 h 36"/>
                <a:gd name="T26" fmla="*/ 30 w 36"/>
                <a:gd name="T27" fmla="*/ 24 h 36"/>
                <a:gd name="T28" fmla="*/ 30 w 36"/>
                <a:gd name="T29" fmla="*/ 30 h 36"/>
                <a:gd name="T30" fmla="*/ 30 w 36"/>
                <a:gd name="T31" fmla="*/ 30 h 36"/>
                <a:gd name="T32" fmla="*/ 30 w 36"/>
                <a:gd name="T33" fmla="*/ 36 h 36"/>
                <a:gd name="T34" fmla="*/ 30 w 36"/>
                <a:gd name="T35" fmla="*/ 36 h 36"/>
                <a:gd name="T36" fmla="*/ 24 w 36"/>
                <a:gd name="T37" fmla="*/ 30 h 36"/>
                <a:gd name="T38" fmla="*/ 24 w 36"/>
                <a:gd name="T39" fmla="*/ 30 h 36"/>
                <a:gd name="T40" fmla="*/ 18 w 36"/>
                <a:gd name="T41" fmla="*/ 30 h 36"/>
                <a:gd name="T42" fmla="*/ 18 w 36"/>
                <a:gd name="T43" fmla="*/ 30 h 36"/>
                <a:gd name="T44" fmla="*/ 18 w 36"/>
                <a:gd name="T45" fmla="*/ 24 h 36"/>
                <a:gd name="T46" fmla="*/ 12 w 36"/>
                <a:gd name="T47" fmla="*/ 24 h 36"/>
                <a:gd name="T48" fmla="*/ 12 w 36"/>
                <a:gd name="T49" fmla="*/ 24 h 36"/>
                <a:gd name="T50" fmla="*/ 6 w 36"/>
                <a:gd name="T51" fmla="*/ 12 h 36"/>
                <a:gd name="T52" fmla="*/ 6 w 36"/>
                <a:gd name="T53" fmla="*/ 12 h 36"/>
                <a:gd name="T54" fmla="*/ 6 w 36"/>
                <a:gd name="T55" fmla="*/ 12 h 36"/>
                <a:gd name="T56" fmla="*/ 0 w 36"/>
                <a:gd name="T57" fmla="*/ 6 h 36"/>
                <a:gd name="T58" fmla="*/ 0 w 36"/>
                <a:gd name="T59" fmla="*/ 6 h 36"/>
                <a:gd name="T60" fmla="*/ 0 w 36"/>
                <a:gd name="T61" fmla="*/ 0 h 36"/>
                <a:gd name="T62" fmla="*/ 0 w 36"/>
                <a:gd name="T63" fmla="*/ 0 h 36"/>
                <a:gd name="T64" fmla="*/ 6 w 36"/>
                <a:gd name="T65" fmla="*/ 6 h 36"/>
                <a:gd name="T66" fmla="*/ 6 w 36"/>
                <a:gd name="T67" fmla="*/ 0 h 36"/>
                <a:gd name="T68" fmla="*/ 12 w 36"/>
                <a:gd name="T69" fmla="*/ 0 h 36"/>
                <a:gd name="T70" fmla="*/ 12 w 36"/>
                <a:gd name="T71" fmla="*/ 0 h 36"/>
                <a:gd name="T72" fmla="*/ 18 w 36"/>
                <a:gd name="T73" fmla="*/ 6 h 36"/>
                <a:gd name="T74" fmla="*/ 18 w 36"/>
                <a:gd name="T75" fmla="*/ 0 h 36"/>
                <a:gd name="T76" fmla="*/ 24 w 36"/>
                <a:gd name="T77" fmla="*/ 0 h 36"/>
                <a:gd name="T78" fmla="*/ 24 w 36"/>
                <a:gd name="T79" fmla="*/ 0 h 36"/>
                <a:gd name="T80" fmla="*/ 24 w 36"/>
                <a:gd name="T81" fmla="*/ 0 h 36"/>
                <a:gd name="T82" fmla="*/ 30 w 36"/>
                <a:gd name="T83" fmla="*/ 0 h 36"/>
                <a:gd name="T84" fmla="*/ 30 w 36"/>
                <a:gd name="T85" fmla="*/ 6 h 36"/>
                <a:gd name="T86" fmla="*/ 30 w 36"/>
                <a:gd name="T87" fmla="*/ 6 h 36"/>
                <a:gd name="T88" fmla="*/ 36 w 36"/>
                <a:gd name="T8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36">
                  <a:moveTo>
                    <a:pt x="36" y="6"/>
                  </a:moveTo>
                  <a:lnTo>
                    <a:pt x="36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59" name="Freeform 355">
              <a:extLst>
                <a:ext uri="{FF2B5EF4-FFF2-40B4-BE49-F238E27FC236}">
                  <a16:creationId xmlns:a16="http://schemas.microsoft.com/office/drawing/2014/main" id="{305EE905-34EE-4B2B-BC36-C836291FC52C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60" cy="48"/>
            </a:xfrm>
            <a:custGeom>
              <a:avLst/>
              <a:gdLst>
                <a:gd name="T0" fmla="*/ 54 w 60"/>
                <a:gd name="T1" fmla="*/ 24 h 48"/>
                <a:gd name="T2" fmla="*/ 54 w 60"/>
                <a:gd name="T3" fmla="*/ 24 h 48"/>
                <a:gd name="T4" fmla="*/ 54 w 60"/>
                <a:gd name="T5" fmla="*/ 18 h 48"/>
                <a:gd name="T6" fmla="*/ 60 w 60"/>
                <a:gd name="T7" fmla="*/ 18 h 48"/>
                <a:gd name="T8" fmla="*/ 60 w 60"/>
                <a:gd name="T9" fmla="*/ 18 h 48"/>
                <a:gd name="T10" fmla="*/ 54 w 60"/>
                <a:gd name="T11" fmla="*/ 18 h 48"/>
                <a:gd name="T12" fmla="*/ 54 w 60"/>
                <a:gd name="T13" fmla="*/ 18 h 48"/>
                <a:gd name="T14" fmla="*/ 54 w 60"/>
                <a:gd name="T15" fmla="*/ 18 h 48"/>
                <a:gd name="T16" fmla="*/ 54 w 60"/>
                <a:gd name="T17" fmla="*/ 18 h 48"/>
                <a:gd name="T18" fmla="*/ 54 w 60"/>
                <a:gd name="T19" fmla="*/ 12 h 48"/>
                <a:gd name="T20" fmla="*/ 36 w 60"/>
                <a:gd name="T21" fmla="*/ 12 h 48"/>
                <a:gd name="T22" fmla="*/ 30 w 60"/>
                <a:gd name="T23" fmla="*/ 0 h 48"/>
                <a:gd name="T24" fmla="*/ 30 w 60"/>
                <a:gd name="T25" fmla="*/ 6 h 48"/>
                <a:gd name="T26" fmla="*/ 30 w 60"/>
                <a:gd name="T27" fmla="*/ 6 h 48"/>
                <a:gd name="T28" fmla="*/ 24 w 60"/>
                <a:gd name="T29" fmla="*/ 6 h 48"/>
                <a:gd name="T30" fmla="*/ 24 w 60"/>
                <a:gd name="T31" fmla="*/ 6 h 48"/>
                <a:gd name="T32" fmla="*/ 18 w 60"/>
                <a:gd name="T33" fmla="*/ 6 h 48"/>
                <a:gd name="T34" fmla="*/ 24 w 60"/>
                <a:gd name="T35" fmla="*/ 6 h 48"/>
                <a:gd name="T36" fmla="*/ 24 w 60"/>
                <a:gd name="T37" fmla="*/ 12 h 48"/>
                <a:gd name="T38" fmla="*/ 24 w 60"/>
                <a:gd name="T39" fmla="*/ 12 h 48"/>
                <a:gd name="T40" fmla="*/ 18 w 60"/>
                <a:gd name="T41" fmla="*/ 12 h 48"/>
                <a:gd name="T42" fmla="*/ 18 w 60"/>
                <a:gd name="T43" fmla="*/ 12 h 48"/>
                <a:gd name="T44" fmla="*/ 18 w 60"/>
                <a:gd name="T45" fmla="*/ 12 h 48"/>
                <a:gd name="T46" fmla="*/ 18 w 60"/>
                <a:gd name="T47" fmla="*/ 18 h 48"/>
                <a:gd name="T48" fmla="*/ 18 w 60"/>
                <a:gd name="T49" fmla="*/ 18 h 48"/>
                <a:gd name="T50" fmla="*/ 12 w 60"/>
                <a:gd name="T51" fmla="*/ 18 h 48"/>
                <a:gd name="T52" fmla="*/ 12 w 60"/>
                <a:gd name="T53" fmla="*/ 18 h 48"/>
                <a:gd name="T54" fmla="*/ 12 w 60"/>
                <a:gd name="T55" fmla="*/ 12 h 48"/>
                <a:gd name="T56" fmla="*/ 6 w 60"/>
                <a:gd name="T57" fmla="*/ 18 h 48"/>
                <a:gd name="T58" fmla="*/ 6 w 60"/>
                <a:gd name="T59" fmla="*/ 18 h 48"/>
                <a:gd name="T60" fmla="*/ 0 w 60"/>
                <a:gd name="T61" fmla="*/ 18 h 48"/>
                <a:gd name="T62" fmla="*/ 6 w 60"/>
                <a:gd name="T63" fmla="*/ 18 h 48"/>
                <a:gd name="T64" fmla="*/ 6 w 60"/>
                <a:gd name="T65" fmla="*/ 24 h 48"/>
                <a:gd name="T66" fmla="*/ 6 w 60"/>
                <a:gd name="T67" fmla="*/ 18 h 48"/>
                <a:gd name="T68" fmla="*/ 18 w 60"/>
                <a:gd name="T69" fmla="*/ 30 h 48"/>
                <a:gd name="T70" fmla="*/ 18 w 60"/>
                <a:gd name="T71" fmla="*/ 36 h 48"/>
                <a:gd name="T72" fmla="*/ 30 w 60"/>
                <a:gd name="T73" fmla="*/ 42 h 48"/>
                <a:gd name="T74" fmla="*/ 42 w 60"/>
                <a:gd name="T75" fmla="*/ 48 h 48"/>
                <a:gd name="T76" fmla="*/ 42 w 60"/>
                <a:gd name="T77" fmla="*/ 48 h 48"/>
                <a:gd name="T78" fmla="*/ 42 w 60"/>
                <a:gd name="T79" fmla="*/ 48 h 48"/>
                <a:gd name="T80" fmla="*/ 42 w 60"/>
                <a:gd name="T81" fmla="*/ 48 h 48"/>
                <a:gd name="T82" fmla="*/ 42 w 60"/>
                <a:gd name="T83" fmla="*/ 42 h 48"/>
                <a:gd name="T84" fmla="*/ 36 w 60"/>
                <a:gd name="T85" fmla="*/ 42 h 48"/>
                <a:gd name="T86" fmla="*/ 36 w 60"/>
                <a:gd name="T87" fmla="*/ 42 h 48"/>
                <a:gd name="T88" fmla="*/ 30 w 60"/>
                <a:gd name="T89" fmla="*/ 30 h 48"/>
                <a:gd name="T90" fmla="*/ 30 w 60"/>
                <a:gd name="T91" fmla="*/ 30 h 48"/>
                <a:gd name="T92" fmla="*/ 30 w 60"/>
                <a:gd name="T93" fmla="*/ 30 h 48"/>
                <a:gd name="T94" fmla="*/ 24 w 60"/>
                <a:gd name="T95" fmla="*/ 24 h 48"/>
                <a:gd name="T96" fmla="*/ 24 w 60"/>
                <a:gd name="T97" fmla="*/ 24 h 48"/>
                <a:gd name="T98" fmla="*/ 24 w 60"/>
                <a:gd name="T99" fmla="*/ 18 h 48"/>
                <a:gd name="T100" fmla="*/ 24 w 60"/>
                <a:gd name="T101" fmla="*/ 18 h 48"/>
                <a:gd name="T102" fmla="*/ 30 w 60"/>
                <a:gd name="T103" fmla="*/ 24 h 48"/>
                <a:gd name="T104" fmla="*/ 30 w 60"/>
                <a:gd name="T105" fmla="*/ 18 h 48"/>
                <a:gd name="T106" fmla="*/ 36 w 60"/>
                <a:gd name="T107" fmla="*/ 18 h 48"/>
                <a:gd name="T108" fmla="*/ 36 w 60"/>
                <a:gd name="T109" fmla="*/ 18 h 48"/>
                <a:gd name="T110" fmla="*/ 42 w 60"/>
                <a:gd name="T111" fmla="*/ 24 h 48"/>
                <a:gd name="T112" fmla="*/ 42 w 60"/>
                <a:gd name="T113" fmla="*/ 18 h 48"/>
                <a:gd name="T114" fmla="*/ 48 w 60"/>
                <a:gd name="T115" fmla="*/ 18 h 48"/>
                <a:gd name="T116" fmla="*/ 48 w 60"/>
                <a:gd name="T117" fmla="*/ 18 h 48"/>
                <a:gd name="T118" fmla="*/ 48 w 60"/>
                <a:gd name="T119" fmla="*/ 18 h 48"/>
                <a:gd name="T120" fmla="*/ 54 w 60"/>
                <a:gd name="T121" fmla="*/ 18 h 48"/>
                <a:gd name="T122" fmla="*/ 54 w 60"/>
                <a:gd name="T12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" h="48">
                  <a:moveTo>
                    <a:pt x="54" y="24"/>
                  </a:move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36" y="12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0" y="42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0" name="Freeform 356">
              <a:extLst>
                <a:ext uri="{FF2B5EF4-FFF2-40B4-BE49-F238E27FC236}">
                  <a16:creationId xmlns:a16="http://schemas.microsoft.com/office/drawing/2014/main" id="{82E168E5-9E61-4A54-A391-938F3FC1E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9" y="1575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18 w 18"/>
                <a:gd name="T3" fmla="*/ 6 h 6"/>
                <a:gd name="T4" fmla="*/ 12 w 18"/>
                <a:gd name="T5" fmla="*/ 0 h 6"/>
                <a:gd name="T6" fmla="*/ 12 w 18"/>
                <a:gd name="T7" fmla="*/ 0 h 6"/>
                <a:gd name="T8" fmla="*/ 6 w 18"/>
                <a:gd name="T9" fmla="*/ 0 h 6"/>
                <a:gd name="T10" fmla="*/ 6 w 18"/>
                <a:gd name="T11" fmla="*/ 0 h 6"/>
                <a:gd name="T12" fmla="*/ 0 w 18"/>
                <a:gd name="T13" fmla="*/ 0 h 6"/>
                <a:gd name="T14" fmla="*/ 18 w 1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1" name="Freeform 357">
              <a:extLst>
                <a:ext uri="{FF2B5EF4-FFF2-40B4-BE49-F238E27FC236}">
                  <a16:creationId xmlns:a16="http://schemas.microsoft.com/office/drawing/2014/main" id="{CA4BFC2F-779B-4F37-B2AF-D251355E5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3" y="1473"/>
              <a:ext cx="126" cy="108"/>
            </a:xfrm>
            <a:custGeom>
              <a:avLst/>
              <a:gdLst>
                <a:gd name="T0" fmla="*/ 126 w 126"/>
                <a:gd name="T1" fmla="*/ 84 h 108"/>
                <a:gd name="T2" fmla="*/ 126 w 126"/>
                <a:gd name="T3" fmla="*/ 90 h 108"/>
                <a:gd name="T4" fmla="*/ 120 w 126"/>
                <a:gd name="T5" fmla="*/ 90 h 108"/>
                <a:gd name="T6" fmla="*/ 120 w 126"/>
                <a:gd name="T7" fmla="*/ 90 h 108"/>
                <a:gd name="T8" fmla="*/ 120 w 126"/>
                <a:gd name="T9" fmla="*/ 90 h 108"/>
                <a:gd name="T10" fmla="*/ 114 w 126"/>
                <a:gd name="T11" fmla="*/ 96 h 108"/>
                <a:gd name="T12" fmla="*/ 96 w 126"/>
                <a:gd name="T13" fmla="*/ 96 h 108"/>
                <a:gd name="T14" fmla="*/ 96 w 126"/>
                <a:gd name="T15" fmla="*/ 96 h 108"/>
                <a:gd name="T16" fmla="*/ 96 w 126"/>
                <a:gd name="T17" fmla="*/ 96 h 108"/>
                <a:gd name="T18" fmla="*/ 84 w 126"/>
                <a:gd name="T19" fmla="*/ 96 h 108"/>
                <a:gd name="T20" fmla="*/ 78 w 126"/>
                <a:gd name="T21" fmla="*/ 96 h 108"/>
                <a:gd name="T22" fmla="*/ 78 w 126"/>
                <a:gd name="T23" fmla="*/ 108 h 108"/>
                <a:gd name="T24" fmla="*/ 66 w 126"/>
                <a:gd name="T25" fmla="*/ 108 h 108"/>
                <a:gd name="T26" fmla="*/ 66 w 126"/>
                <a:gd name="T27" fmla="*/ 108 h 108"/>
                <a:gd name="T28" fmla="*/ 60 w 126"/>
                <a:gd name="T29" fmla="*/ 108 h 108"/>
                <a:gd name="T30" fmla="*/ 36 w 126"/>
                <a:gd name="T31" fmla="*/ 96 h 108"/>
                <a:gd name="T32" fmla="*/ 30 w 126"/>
                <a:gd name="T33" fmla="*/ 96 h 108"/>
                <a:gd name="T34" fmla="*/ 36 w 126"/>
                <a:gd name="T35" fmla="*/ 90 h 108"/>
                <a:gd name="T36" fmla="*/ 36 w 126"/>
                <a:gd name="T37" fmla="*/ 78 h 108"/>
                <a:gd name="T38" fmla="*/ 36 w 126"/>
                <a:gd name="T39" fmla="*/ 72 h 108"/>
                <a:gd name="T40" fmla="*/ 42 w 126"/>
                <a:gd name="T41" fmla="*/ 78 h 108"/>
                <a:gd name="T42" fmla="*/ 36 w 126"/>
                <a:gd name="T43" fmla="*/ 66 h 108"/>
                <a:gd name="T44" fmla="*/ 36 w 126"/>
                <a:gd name="T45" fmla="*/ 60 h 108"/>
                <a:gd name="T46" fmla="*/ 30 w 126"/>
                <a:gd name="T47" fmla="*/ 60 h 108"/>
                <a:gd name="T48" fmla="*/ 30 w 126"/>
                <a:gd name="T49" fmla="*/ 48 h 108"/>
                <a:gd name="T50" fmla="*/ 30 w 126"/>
                <a:gd name="T51" fmla="*/ 48 h 108"/>
                <a:gd name="T52" fmla="*/ 24 w 126"/>
                <a:gd name="T53" fmla="*/ 48 h 108"/>
                <a:gd name="T54" fmla="*/ 18 w 126"/>
                <a:gd name="T55" fmla="*/ 42 h 108"/>
                <a:gd name="T56" fmla="*/ 12 w 126"/>
                <a:gd name="T57" fmla="*/ 42 h 108"/>
                <a:gd name="T58" fmla="*/ 6 w 126"/>
                <a:gd name="T59" fmla="*/ 42 h 108"/>
                <a:gd name="T60" fmla="*/ 6 w 126"/>
                <a:gd name="T61" fmla="*/ 36 h 108"/>
                <a:gd name="T62" fmla="*/ 6 w 126"/>
                <a:gd name="T63" fmla="*/ 36 h 108"/>
                <a:gd name="T64" fmla="*/ 0 w 126"/>
                <a:gd name="T65" fmla="*/ 36 h 108"/>
                <a:gd name="T66" fmla="*/ 12 w 126"/>
                <a:gd name="T67" fmla="*/ 30 h 108"/>
                <a:gd name="T68" fmla="*/ 24 w 126"/>
                <a:gd name="T69" fmla="*/ 30 h 108"/>
                <a:gd name="T70" fmla="*/ 30 w 126"/>
                <a:gd name="T71" fmla="*/ 30 h 108"/>
                <a:gd name="T72" fmla="*/ 30 w 126"/>
                <a:gd name="T73" fmla="*/ 18 h 108"/>
                <a:gd name="T74" fmla="*/ 36 w 126"/>
                <a:gd name="T75" fmla="*/ 18 h 108"/>
                <a:gd name="T76" fmla="*/ 36 w 126"/>
                <a:gd name="T77" fmla="*/ 24 h 108"/>
                <a:gd name="T78" fmla="*/ 54 w 126"/>
                <a:gd name="T79" fmla="*/ 24 h 108"/>
                <a:gd name="T80" fmla="*/ 48 w 126"/>
                <a:gd name="T81" fmla="*/ 18 h 108"/>
                <a:gd name="T82" fmla="*/ 60 w 126"/>
                <a:gd name="T83" fmla="*/ 12 h 108"/>
                <a:gd name="T84" fmla="*/ 66 w 126"/>
                <a:gd name="T85" fmla="*/ 6 h 108"/>
                <a:gd name="T86" fmla="*/ 72 w 126"/>
                <a:gd name="T87" fmla="*/ 0 h 108"/>
                <a:gd name="T88" fmla="*/ 78 w 126"/>
                <a:gd name="T89" fmla="*/ 6 h 108"/>
                <a:gd name="T90" fmla="*/ 90 w 126"/>
                <a:gd name="T91" fmla="*/ 12 h 108"/>
                <a:gd name="T92" fmla="*/ 96 w 126"/>
                <a:gd name="T93" fmla="*/ 12 h 108"/>
                <a:gd name="T94" fmla="*/ 96 w 126"/>
                <a:gd name="T95" fmla="*/ 18 h 108"/>
                <a:gd name="T96" fmla="*/ 102 w 126"/>
                <a:gd name="T97" fmla="*/ 18 h 108"/>
                <a:gd name="T98" fmla="*/ 108 w 126"/>
                <a:gd name="T99" fmla="*/ 24 h 108"/>
                <a:gd name="T100" fmla="*/ 108 w 126"/>
                <a:gd name="T101" fmla="*/ 24 h 108"/>
                <a:gd name="T102" fmla="*/ 126 w 126"/>
                <a:gd name="T103" fmla="*/ 24 h 108"/>
                <a:gd name="T104" fmla="*/ 120 w 126"/>
                <a:gd name="T105" fmla="*/ 42 h 108"/>
                <a:gd name="T106" fmla="*/ 120 w 126"/>
                <a:gd name="T107" fmla="*/ 48 h 108"/>
                <a:gd name="T108" fmla="*/ 114 w 126"/>
                <a:gd name="T109" fmla="*/ 48 h 108"/>
                <a:gd name="T110" fmla="*/ 108 w 126"/>
                <a:gd name="T111" fmla="*/ 60 h 108"/>
                <a:gd name="T112" fmla="*/ 114 w 126"/>
                <a:gd name="T113" fmla="*/ 60 h 108"/>
                <a:gd name="T114" fmla="*/ 114 w 126"/>
                <a:gd name="T115" fmla="*/ 66 h 108"/>
                <a:gd name="T116" fmla="*/ 114 w 126"/>
                <a:gd name="T117" fmla="*/ 72 h 108"/>
                <a:gd name="T118" fmla="*/ 114 w 126"/>
                <a:gd name="T119" fmla="*/ 72 h 108"/>
                <a:gd name="T120" fmla="*/ 114 w 126"/>
                <a:gd name="T121" fmla="*/ 78 h 108"/>
                <a:gd name="T122" fmla="*/ 114 w 126"/>
                <a:gd name="T123" fmla="*/ 84 h 108"/>
                <a:gd name="T124" fmla="*/ 126 w 126"/>
                <a:gd name="T12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6" h="108">
                  <a:moveTo>
                    <a:pt x="126" y="84"/>
                  </a:moveTo>
                  <a:lnTo>
                    <a:pt x="126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14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0" y="108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6" y="90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42" y="78"/>
                  </a:lnTo>
                  <a:lnTo>
                    <a:pt x="36" y="66"/>
                  </a:lnTo>
                  <a:lnTo>
                    <a:pt x="36" y="60"/>
                  </a:lnTo>
                  <a:lnTo>
                    <a:pt x="30" y="60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54" y="24"/>
                  </a:lnTo>
                  <a:lnTo>
                    <a:pt x="48" y="18"/>
                  </a:lnTo>
                  <a:lnTo>
                    <a:pt x="60" y="12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26" y="24"/>
                  </a:lnTo>
                  <a:lnTo>
                    <a:pt x="120" y="42"/>
                  </a:lnTo>
                  <a:lnTo>
                    <a:pt x="120" y="48"/>
                  </a:lnTo>
                  <a:lnTo>
                    <a:pt x="114" y="48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8"/>
                  </a:lnTo>
                  <a:lnTo>
                    <a:pt x="114" y="84"/>
                  </a:lnTo>
                  <a:lnTo>
                    <a:pt x="126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2" name="Freeform 358">
              <a:extLst>
                <a:ext uri="{FF2B5EF4-FFF2-40B4-BE49-F238E27FC236}">
                  <a16:creationId xmlns:a16="http://schemas.microsoft.com/office/drawing/2014/main" id="{1D2D852C-6897-42C5-95E7-39117FAE71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5" y="1575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2 h 18"/>
                <a:gd name="T4" fmla="*/ 0 w 12"/>
                <a:gd name="T5" fmla="*/ 6 h 18"/>
                <a:gd name="T6" fmla="*/ 6 w 12"/>
                <a:gd name="T7" fmla="*/ 0 h 18"/>
                <a:gd name="T8" fmla="*/ 12 w 12"/>
                <a:gd name="T9" fmla="*/ 6 h 18"/>
                <a:gd name="T10" fmla="*/ 6 w 12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3" name="Freeform 359">
              <a:extLst>
                <a:ext uri="{FF2B5EF4-FFF2-40B4-BE49-F238E27FC236}">
                  <a16:creationId xmlns:a16="http://schemas.microsoft.com/office/drawing/2014/main" id="{3F0A0015-223C-4CA4-B80D-763822A9D7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7" y="1509"/>
              <a:ext cx="66" cy="30"/>
            </a:xfrm>
            <a:custGeom>
              <a:avLst/>
              <a:gdLst>
                <a:gd name="T0" fmla="*/ 30 w 66"/>
                <a:gd name="T1" fmla="*/ 30 h 30"/>
                <a:gd name="T2" fmla="*/ 12 w 66"/>
                <a:gd name="T3" fmla="*/ 30 h 30"/>
                <a:gd name="T4" fmla="*/ 6 w 66"/>
                <a:gd name="T5" fmla="*/ 18 h 30"/>
                <a:gd name="T6" fmla="*/ 0 w 66"/>
                <a:gd name="T7" fmla="*/ 18 h 30"/>
                <a:gd name="T8" fmla="*/ 0 w 66"/>
                <a:gd name="T9" fmla="*/ 18 h 30"/>
                <a:gd name="T10" fmla="*/ 0 w 66"/>
                <a:gd name="T11" fmla="*/ 18 h 30"/>
                <a:gd name="T12" fmla="*/ 6 w 66"/>
                <a:gd name="T13" fmla="*/ 6 h 30"/>
                <a:gd name="T14" fmla="*/ 6 w 66"/>
                <a:gd name="T15" fmla="*/ 6 h 30"/>
                <a:gd name="T16" fmla="*/ 12 w 66"/>
                <a:gd name="T17" fmla="*/ 6 h 30"/>
                <a:gd name="T18" fmla="*/ 12 w 66"/>
                <a:gd name="T19" fmla="*/ 6 h 30"/>
                <a:gd name="T20" fmla="*/ 24 w 66"/>
                <a:gd name="T21" fmla="*/ 6 h 30"/>
                <a:gd name="T22" fmla="*/ 42 w 66"/>
                <a:gd name="T23" fmla="*/ 0 h 30"/>
                <a:gd name="T24" fmla="*/ 54 w 66"/>
                <a:gd name="T25" fmla="*/ 0 h 30"/>
                <a:gd name="T26" fmla="*/ 66 w 66"/>
                <a:gd name="T27" fmla="*/ 6 h 30"/>
                <a:gd name="T28" fmla="*/ 54 w 66"/>
                <a:gd name="T29" fmla="*/ 12 h 30"/>
                <a:gd name="T30" fmla="*/ 48 w 66"/>
                <a:gd name="T31" fmla="*/ 24 h 30"/>
                <a:gd name="T32" fmla="*/ 42 w 66"/>
                <a:gd name="T33" fmla="*/ 24 h 30"/>
                <a:gd name="T34" fmla="*/ 30 w 66"/>
                <a:gd name="T3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0">
                  <a:moveTo>
                    <a:pt x="30" y="30"/>
                  </a:moveTo>
                  <a:lnTo>
                    <a:pt x="12" y="30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24" y="6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6" y="6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2" y="24"/>
                  </a:lnTo>
                  <a:lnTo>
                    <a:pt x="30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4" name="Freeform 360">
              <a:extLst>
                <a:ext uri="{FF2B5EF4-FFF2-40B4-BE49-F238E27FC236}">
                  <a16:creationId xmlns:a16="http://schemas.microsoft.com/office/drawing/2014/main" id="{867CC7AC-D09C-4AA8-B11E-82B56B44D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9" y="1186"/>
              <a:ext cx="1300" cy="401"/>
            </a:xfrm>
            <a:custGeom>
              <a:avLst/>
              <a:gdLst>
                <a:gd name="T0" fmla="*/ 1126 w 1300"/>
                <a:gd name="T1" fmla="*/ 90 h 401"/>
                <a:gd name="T2" fmla="*/ 1018 w 1300"/>
                <a:gd name="T3" fmla="*/ 72 h 401"/>
                <a:gd name="T4" fmla="*/ 922 w 1300"/>
                <a:gd name="T5" fmla="*/ 60 h 401"/>
                <a:gd name="T6" fmla="*/ 844 w 1300"/>
                <a:gd name="T7" fmla="*/ 54 h 401"/>
                <a:gd name="T8" fmla="*/ 820 w 1300"/>
                <a:gd name="T9" fmla="*/ 60 h 401"/>
                <a:gd name="T10" fmla="*/ 743 w 1300"/>
                <a:gd name="T11" fmla="*/ 54 h 401"/>
                <a:gd name="T12" fmla="*/ 617 w 1300"/>
                <a:gd name="T13" fmla="*/ 36 h 401"/>
                <a:gd name="T14" fmla="*/ 605 w 1300"/>
                <a:gd name="T15" fmla="*/ 24 h 401"/>
                <a:gd name="T16" fmla="*/ 539 w 1300"/>
                <a:gd name="T17" fmla="*/ 12 h 401"/>
                <a:gd name="T18" fmla="*/ 485 w 1300"/>
                <a:gd name="T19" fmla="*/ 18 h 401"/>
                <a:gd name="T20" fmla="*/ 413 w 1300"/>
                <a:gd name="T21" fmla="*/ 30 h 401"/>
                <a:gd name="T22" fmla="*/ 389 w 1300"/>
                <a:gd name="T23" fmla="*/ 54 h 401"/>
                <a:gd name="T24" fmla="*/ 413 w 1300"/>
                <a:gd name="T25" fmla="*/ 60 h 401"/>
                <a:gd name="T26" fmla="*/ 353 w 1300"/>
                <a:gd name="T27" fmla="*/ 60 h 401"/>
                <a:gd name="T28" fmla="*/ 383 w 1300"/>
                <a:gd name="T29" fmla="*/ 84 h 401"/>
                <a:gd name="T30" fmla="*/ 377 w 1300"/>
                <a:gd name="T31" fmla="*/ 102 h 401"/>
                <a:gd name="T32" fmla="*/ 353 w 1300"/>
                <a:gd name="T33" fmla="*/ 108 h 401"/>
                <a:gd name="T34" fmla="*/ 299 w 1300"/>
                <a:gd name="T35" fmla="*/ 48 h 401"/>
                <a:gd name="T36" fmla="*/ 323 w 1300"/>
                <a:gd name="T37" fmla="*/ 90 h 401"/>
                <a:gd name="T38" fmla="*/ 251 w 1300"/>
                <a:gd name="T39" fmla="*/ 96 h 401"/>
                <a:gd name="T40" fmla="*/ 203 w 1300"/>
                <a:gd name="T41" fmla="*/ 90 h 401"/>
                <a:gd name="T42" fmla="*/ 137 w 1300"/>
                <a:gd name="T43" fmla="*/ 102 h 401"/>
                <a:gd name="T44" fmla="*/ 125 w 1300"/>
                <a:gd name="T45" fmla="*/ 114 h 401"/>
                <a:gd name="T46" fmla="*/ 90 w 1300"/>
                <a:gd name="T47" fmla="*/ 144 h 401"/>
                <a:gd name="T48" fmla="*/ 42 w 1300"/>
                <a:gd name="T49" fmla="*/ 108 h 401"/>
                <a:gd name="T50" fmla="*/ 36 w 1300"/>
                <a:gd name="T51" fmla="*/ 84 h 401"/>
                <a:gd name="T52" fmla="*/ 12 w 1300"/>
                <a:gd name="T53" fmla="*/ 84 h 401"/>
                <a:gd name="T54" fmla="*/ 30 w 1300"/>
                <a:gd name="T55" fmla="*/ 144 h 401"/>
                <a:gd name="T56" fmla="*/ 24 w 1300"/>
                <a:gd name="T57" fmla="*/ 180 h 401"/>
                <a:gd name="T58" fmla="*/ 42 w 1300"/>
                <a:gd name="T59" fmla="*/ 233 h 401"/>
                <a:gd name="T60" fmla="*/ 108 w 1300"/>
                <a:gd name="T61" fmla="*/ 287 h 401"/>
                <a:gd name="T62" fmla="*/ 143 w 1300"/>
                <a:gd name="T63" fmla="*/ 341 h 401"/>
                <a:gd name="T64" fmla="*/ 143 w 1300"/>
                <a:gd name="T65" fmla="*/ 371 h 401"/>
                <a:gd name="T66" fmla="*/ 257 w 1300"/>
                <a:gd name="T67" fmla="*/ 401 h 401"/>
                <a:gd name="T68" fmla="*/ 251 w 1300"/>
                <a:gd name="T69" fmla="*/ 347 h 401"/>
                <a:gd name="T70" fmla="*/ 245 w 1300"/>
                <a:gd name="T71" fmla="*/ 281 h 401"/>
                <a:gd name="T72" fmla="*/ 335 w 1300"/>
                <a:gd name="T73" fmla="*/ 275 h 401"/>
                <a:gd name="T74" fmla="*/ 407 w 1300"/>
                <a:gd name="T75" fmla="*/ 239 h 401"/>
                <a:gd name="T76" fmla="*/ 479 w 1300"/>
                <a:gd name="T77" fmla="*/ 257 h 401"/>
                <a:gd name="T78" fmla="*/ 581 w 1300"/>
                <a:gd name="T79" fmla="*/ 305 h 401"/>
                <a:gd name="T80" fmla="*/ 671 w 1300"/>
                <a:gd name="T81" fmla="*/ 299 h 401"/>
                <a:gd name="T82" fmla="*/ 755 w 1300"/>
                <a:gd name="T83" fmla="*/ 299 h 401"/>
                <a:gd name="T84" fmla="*/ 874 w 1300"/>
                <a:gd name="T85" fmla="*/ 305 h 401"/>
                <a:gd name="T86" fmla="*/ 910 w 1300"/>
                <a:gd name="T87" fmla="*/ 263 h 401"/>
                <a:gd name="T88" fmla="*/ 1024 w 1300"/>
                <a:gd name="T89" fmla="*/ 317 h 401"/>
                <a:gd name="T90" fmla="*/ 1066 w 1300"/>
                <a:gd name="T91" fmla="*/ 377 h 401"/>
                <a:gd name="T92" fmla="*/ 1090 w 1300"/>
                <a:gd name="T93" fmla="*/ 389 h 401"/>
                <a:gd name="T94" fmla="*/ 1114 w 1300"/>
                <a:gd name="T95" fmla="*/ 311 h 401"/>
                <a:gd name="T96" fmla="*/ 1048 w 1300"/>
                <a:gd name="T97" fmla="*/ 251 h 401"/>
                <a:gd name="T98" fmla="*/ 1018 w 1300"/>
                <a:gd name="T99" fmla="*/ 227 h 401"/>
                <a:gd name="T100" fmla="*/ 1060 w 1300"/>
                <a:gd name="T101" fmla="*/ 191 h 401"/>
                <a:gd name="T102" fmla="*/ 1126 w 1300"/>
                <a:gd name="T103" fmla="*/ 197 h 401"/>
                <a:gd name="T104" fmla="*/ 1156 w 1300"/>
                <a:gd name="T105" fmla="*/ 174 h 401"/>
                <a:gd name="T106" fmla="*/ 1180 w 1300"/>
                <a:gd name="T107" fmla="*/ 162 h 401"/>
                <a:gd name="T108" fmla="*/ 1180 w 1300"/>
                <a:gd name="T109" fmla="*/ 221 h 401"/>
                <a:gd name="T110" fmla="*/ 1252 w 1300"/>
                <a:gd name="T111" fmla="*/ 263 h 401"/>
                <a:gd name="T112" fmla="*/ 1252 w 1300"/>
                <a:gd name="T113" fmla="*/ 233 h 401"/>
                <a:gd name="T114" fmla="*/ 1216 w 1300"/>
                <a:gd name="T115" fmla="*/ 186 h 401"/>
                <a:gd name="T116" fmla="*/ 1264 w 1300"/>
                <a:gd name="T117" fmla="*/ 174 h 401"/>
                <a:gd name="T118" fmla="*/ 1294 w 1300"/>
                <a:gd name="T119" fmla="*/ 150 h 401"/>
                <a:gd name="T120" fmla="*/ 1240 w 1300"/>
                <a:gd name="T121" fmla="*/ 108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0" h="401">
                  <a:moveTo>
                    <a:pt x="1204" y="90"/>
                  </a:moveTo>
                  <a:lnTo>
                    <a:pt x="1180" y="84"/>
                  </a:lnTo>
                  <a:lnTo>
                    <a:pt x="1156" y="78"/>
                  </a:lnTo>
                  <a:lnTo>
                    <a:pt x="1132" y="78"/>
                  </a:lnTo>
                  <a:lnTo>
                    <a:pt x="1114" y="78"/>
                  </a:lnTo>
                  <a:lnTo>
                    <a:pt x="1120" y="84"/>
                  </a:lnTo>
                  <a:lnTo>
                    <a:pt x="1132" y="90"/>
                  </a:lnTo>
                  <a:lnTo>
                    <a:pt x="1132" y="90"/>
                  </a:lnTo>
                  <a:lnTo>
                    <a:pt x="1126" y="90"/>
                  </a:lnTo>
                  <a:lnTo>
                    <a:pt x="1114" y="84"/>
                  </a:lnTo>
                  <a:lnTo>
                    <a:pt x="1108" y="84"/>
                  </a:lnTo>
                  <a:lnTo>
                    <a:pt x="1096" y="78"/>
                  </a:lnTo>
                  <a:lnTo>
                    <a:pt x="1090" y="84"/>
                  </a:lnTo>
                  <a:lnTo>
                    <a:pt x="1054" y="78"/>
                  </a:lnTo>
                  <a:lnTo>
                    <a:pt x="1054" y="84"/>
                  </a:lnTo>
                  <a:lnTo>
                    <a:pt x="1042" y="78"/>
                  </a:lnTo>
                  <a:lnTo>
                    <a:pt x="1030" y="78"/>
                  </a:lnTo>
                  <a:lnTo>
                    <a:pt x="1018" y="72"/>
                  </a:lnTo>
                  <a:lnTo>
                    <a:pt x="1000" y="66"/>
                  </a:lnTo>
                  <a:lnTo>
                    <a:pt x="982" y="66"/>
                  </a:lnTo>
                  <a:lnTo>
                    <a:pt x="958" y="66"/>
                  </a:lnTo>
                  <a:lnTo>
                    <a:pt x="952" y="66"/>
                  </a:lnTo>
                  <a:lnTo>
                    <a:pt x="940" y="66"/>
                  </a:lnTo>
                  <a:lnTo>
                    <a:pt x="934" y="66"/>
                  </a:lnTo>
                  <a:lnTo>
                    <a:pt x="934" y="60"/>
                  </a:lnTo>
                  <a:lnTo>
                    <a:pt x="928" y="60"/>
                  </a:lnTo>
                  <a:lnTo>
                    <a:pt x="922" y="60"/>
                  </a:lnTo>
                  <a:lnTo>
                    <a:pt x="922" y="60"/>
                  </a:lnTo>
                  <a:lnTo>
                    <a:pt x="910" y="54"/>
                  </a:lnTo>
                  <a:lnTo>
                    <a:pt x="898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92" y="54"/>
                  </a:lnTo>
                  <a:lnTo>
                    <a:pt x="868" y="54"/>
                  </a:lnTo>
                  <a:lnTo>
                    <a:pt x="838" y="48"/>
                  </a:lnTo>
                  <a:lnTo>
                    <a:pt x="844" y="54"/>
                  </a:lnTo>
                  <a:lnTo>
                    <a:pt x="838" y="54"/>
                  </a:lnTo>
                  <a:lnTo>
                    <a:pt x="838" y="54"/>
                  </a:lnTo>
                  <a:lnTo>
                    <a:pt x="844" y="54"/>
                  </a:lnTo>
                  <a:lnTo>
                    <a:pt x="844" y="60"/>
                  </a:lnTo>
                  <a:lnTo>
                    <a:pt x="850" y="60"/>
                  </a:lnTo>
                  <a:lnTo>
                    <a:pt x="838" y="60"/>
                  </a:lnTo>
                  <a:lnTo>
                    <a:pt x="838" y="66"/>
                  </a:lnTo>
                  <a:lnTo>
                    <a:pt x="844" y="66"/>
                  </a:lnTo>
                  <a:lnTo>
                    <a:pt x="820" y="60"/>
                  </a:lnTo>
                  <a:lnTo>
                    <a:pt x="814" y="66"/>
                  </a:lnTo>
                  <a:lnTo>
                    <a:pt x="790" y="60"/>
                  </a:lnTo>
                  <a:lnTo>
                    <a:pt x="790" y="60"/>
                  </a:lnTo>
                  <a:lnTo>
                    <a:pt x="796" y="66"/>
                  </a:lnTo>
                  <a:lnTo>
                    <a:pt x="790" y="72"/>
                  </a:lnTo>
                  <a:lnTo>
                    <a:pt x="778" y="66"/>
                  </a:lnTo>
                  <a:lnTo>
                    <a:pt x="767" y="60"/>
                  </a:lnTo>
                  <a:lnTo>
                    <a:pt x="749" y="54"/>
                  </a:lnTo>
                  <a:lnTo>
                    <a:pt x="743" y="54"/>
                  </a:lnTo>
                  <a:lnTo>
                    <a:pt x="755" y="66"/>
                  </a:lnTo>
                  <a:lnTo>
                    <a:pt x="737" y="54"/>
                  </a:lnTo>
                  <a:lnTo>
                    <a:pt x="707" y="48"/>
                  </a:lnTo>
                  <a:lnTo>
                    <a:pt x="677" y="48"/>
                  </a:lnTo>
                  <a:lnTo>
                    <a:pt x="665" y="42"/>
                  </a:lnTo>
                  <a:lnTo>
                    <a:pt x="665" y="42"/>
                  </a:lnTo>
                  <a:lnTo>
                    <a:pt x="653" y="42"/>
                  </a:lnTo>
                  <a:lnTo>
                    <a:pt x="629" y="42"/>
                  </a:lnTo>
                  <a:lnTo>
                    <a:pt x="617" y="36"/>
                  </a:lnTo>
                  <a:lnTo>
                    <a:pt x="605" y="36"/>
                  </a:lnTo>
                  <a:lnTo>
                    <a:pt x="605" y="36"/>
                  </a:lnTo>
                  <a:lnTo>
                    <a:pt x="593" y="36"/>
                  </a:lnTo>
                  <a:lnTo>
                    <a:pt x="605" y="42"/>
                  </a:lnTo>
                  <a:lnTo>
                    <a:pt x="593" y="42"/>
                  </a:lnTo>
                  <a:lnTo>
                    <a:pt x="575" y="48"/>
                  </a:lnTo>
                  <a:lnTo>
                    <a:pt x="575" y="42"/>
                  </a:lnTo>
                  <a:lnTo>
                    <a:pt x="593" y="36"/>
                  </a:lnTo>
                  <a:lnTo>
                    <a:pt x="605" y="24"/>
                  </a:lnTo>
                  <a:lnTo>
                    <a:pt x="599" y="24"/>
                  </a:lnTo>
                  <a:lnTo>
                    <a:pt x="593" y="18"/>
                  </a:lnTo>
                  <a:lnTo>
                    <a:pt x="605" y="24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87" y="18"/>
                  </a:lnTo>
                  <a:lnTo>
                    <a:pt x="575" y="12"/>
                  </a:lnTo>
                  <a:lnTo>
                    <a:pt x="551" y="12"/>
                  </a:lnTo>
                  <a:lnTo>
                    <a:pt x="539" y="12"/>
                  </a:lnTo>
                  <a:lnTo>
                    <a:pt x="539" y="6"/>
                  </a:lnTo>
                  <a:lnTo>
                    <a:pt x="527" y="6"/>
                  </a:lnTo>
                  <a:lnTo>
                    <a:pt x="515" y="6"/>
                  </a:lnTo>
                  <a:lnTo>
                    <a:pt x="527" y="6"/>
                  </a:lnTo>
                  <a:lnTo>
                    <a:pt x="503" y="0"/>
                  </a:lnTo>
                  <a:lnTo>
                    <a:pt x="491" y="6"/>
                  </a:lnTo>
                  <a:lnTo>
                    <a:pt x="497" y="12"/>
                  </a:lnTo>
                  <a:lnTo>
                    <a:pt x="503" y="12"/>
                  </a:lnTo>
                  <a:lnTo>
                    <a:pt x="485" y="18"/>
                  </a:lnTo>
                  <a:lnTo>
                    <a:pt x="491" y="18"/>
                  </a:lnTo>
                  <a:lnTo>
                    <a:pt x="479" y="18"/>
                  </a:lnTo>
                  <a:lnTo>
                    <a:pt x="467" y="18"/>
                  </a:lnTo>
                  <a:lnTo>
                    <a:pt x="449" y="18"/>
                  </a:lnTo>
                  <a:lnTo>
                    <a:pt x="455" y="18"/>
                  </a:lnTo>
                  <a:lnTo>
                    <a:pt x="437" y="24"/>
                  </a:lnTo>
                  <a:lnTo>
                    <a:pt x="419" y="24"/>
                  </a:lnTo>
                  <a:lnTo>
                    <a:pt x="413" y="24"/>
                  </a:lnTo>
                  <a:lnTo>
                    <a:pt x="413" y="30"/>
                  </a:lnTo>
                  <a:lnTo>
                    <a:pt x="407" y="30"/>
                  </a:lnTo>
                  <a:lnTo>
                    <a:pt x="419" y="36"/>
                  </a:lnTo>
                  <a:lnTo>
                    <a:pt x="413" y="36"/>
                  </a:lnTo>
                  <a:lnTo>
                    <a:pt x="419" y="36"/>
                  </a:lnTo>
                  <a:lnTo>
                    <a:pt x="419" y="36"/>
                  </a:lnTo>
                  <a:lnTo>
                    <a:pt x="401" y="42"/>
                  </a:lnTo>
                  <a:lnTo>
                    <a:pt x="377" y="42"/>
                  </a:lnTo>
                  <a:lnTo>
                    <a:pt x="383" y="48"/>
                  </a:lnTo>
                  <a:lnTo>
                    <a:pt x="389" y="54"/>
                  </a:lnTo>
                  <a:lnTo>
                    <a:pt x="401" y="54"/>
                  </a:lnTo>
                  <a:lnTo>
                    <a:pt x="419" y="60"/>
                  </a:lnTo>
                  <a:lnTo>
                    <a:pt x="425" y="72"/>
                  </a:lnTo>
                  <a:lnTo>
                    <a:pt x="425" y="72"/>
                  </a:lnTo>
                  <a:lnTo>
                    <a:pt x="419" y="72"/>
                  </a:lnTo>
                  <a:lnTo>
                    <a:pt x="413" y="66"/>
                  </a:lnTo>
                  <a:lnTo>
                    <a:pt x="413" y="72"/>
                  </a:lnTo>
                  <a:lnTo>
                    <a:pt x="407" y="66"/>
                  </a:lnTo>
                  <a:lnTo>
                    <a:pt x="413" y="60"/>
                  </a:lnTo>
                  <a:lnTo>
                    <a:pt x="395" y="60"/>
                  </a:lnTo>
                  <a:lnTo>
                    <a:pt x="377" y="54"/>
                  </a:lnTo>
                  <a:lnTo>
                    <a:pt x="365" y="54"/>
                  </a:lnTo>
                  <a:lnTo>
                    <a:pt x="371" y="60"/>
                  </a:lnTo>
                  <a:lnTo>
                    <a:pt x="359" y="60"/>
                  </a:lnTo>
                  <a:lnTo>
                    <a:pt x="359" y="60"/>
                  </a:lnTo>
                  <a:lnTo>
                    <a:pt x="377" y="66"/>
                  </a:lnTo>
                  <a:lnTo>
                    <a:pt x="383" y="66"/>
                  </a:lnTo>
                  <a:lnTo>
                    <a:pt x="353" y="60"/>
                  </a:lnTo>
                  <a:lnTo>
                    <a:pt x="347" y="48"/>
                  </a:lnTo>
                  <a:lnTo>
                    <a:pt x="341" y="48"/>
                  </a:lnTo>
                  <a:lnTo>
                    <a:pt x="347" y="54"/>
                  </a:lnTo>
                  <a:lnTo>
                    <a:pt x="341" y="60"/>
                  </a:lnTo>
                  <a:lnTo>
                    <a:pt x="341" y="66"/>
                  </a:lnTo>
                  <a:lnTo>
                    <a:pt x="353" y="72"/>
                  </a:lnTo>
                  <a:lnTo>
                    <a:pt x="353" y="78"/>
                  </a:lnTo>
                  <a:lnTo>
                    <a:pt x="359" y="84"/>
                  </a:lnTo>
                  <a:lnTo>
                    <a:pt x="383" y="84"/>
                  </a:lnTo>
                  <a:lnTo>
                    <a:pt x="389" y="90"/>
                  </a:lnTo>
                  <a:lnTo>
                    <a:pt x="395" y="96"/>
                  </a:lnTo>
                  <a:lnTo>
                    <a:pt x="401" y="102"/>
                  </a:lnTo>
                  <a:lnTo>
                    <a:pt x="413" y="102"/>
                  </a:lnTo>
                  <a:lnTo>
                    <a:pt x="395" y="102"/>
                  </a:lnTo>
                  <a:lnTo>
                    <a:pt x="389" y="90"/>
                  </a:lnTo>
                  <a:lnTo>
                    <a:pt x="383" y="90"/>
                  </a:lnTo>
                  <a:lnTo>
                    <a:pt x="365" y="90"/>
                  </a:lnTo>
                  <a:lnTo>
                    <a:pt x="377" y="102"/>
                  </a:lnTo>
                  <a:lnTo>
                    <a:pt x="371" y="114"/>
                  </a:lnTo>
                  <a:lnTo>
                    <a:pt x="365" y="114"/>
                  </a:lnTo>
                  <a:lnTo>
                    <a:pt x="359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47" y="114"/>
                  </a:lnTo>
                  <a:lnTo>
                    <a:pt x="347" y="114"/>
                  </a:lnTo>
                  <a:lnTo>
                    <a:pt x="359" y="114"/>
                  </a:lnTo>
                  <a:lnTo>
                    <a:pt x="353" y="108"/>
                  </a:lnTo>
                  <a:lnTo>
                    <a:pt x="359" y="102"/>
                  </a:lnTo>
                  <a:lnTo>
                    <a:pt x="359" y="96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35" y="66"/>
                  </a:lnTo>
                  <a:lnTo>
                    <a:pt x="329" y="60"/>
                  </a:lnTo>
                  <a:lnTo>
                    <a:pt x="329" y="54"/>
                  </a:lnTo>
                  <a:lnTo>
                    <a:pt x="311" y="48"/>
                  </a:lnTo>
                  <a:lnTo>
                    <a:pt x="299" y="48"/>
                  </a:lnTo>
                  <a:lnTo>
                    <a:pt x="293" y="60"/>
                  </a:lnTo>
                  <a:lnTo>
                    <a:pt x="287" y="66"/>
                  </a:lnTo>
                  <a:lnTo>
                    <a:pt x="293" y="72"/>
                  </a:lnTo>
                  <a:lnTo>
                    <a:pt x="299" y="72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11" y="84"/>
                  </a:lnTo>
                  <a:lnTo>
                    <a:pt x="317" y="90"/>
                  </a:lnTo>
                  <a:lnTo>
                    <a:pt x="323" y="90"/>
                  </a:lnTo>
                  <a:lnTo>
                    <a:pt x="317" y="96"/>
                  </a:lnTo>
                  <a:lnTo>
                    <a:pt x="305" y="90"/>
                  </a:lnTo>
                  <a:lnTo>
                    <a:pt x="287" y="84"/>
                  </a:lnTo>
                  <a:lnTo>
                    <a:pt x="269" y="84"/>
                  </a:lnTo>
                  <a:lnTo>
                    <a:pt x="251" y="78"/>
                  </a:lnTo>
                  <a:lnTo>
                    <a:pt x="245" y="84"/>
                  </a:lnTo>
                  <a:lnTo>
                    <a:pt x="257" y="90"/>
                  </a:lnTo>
                  <a:lnTo>
                    <a:pt x="251" y="90"/>
                  </a:lnTo>
                  <a:lnTo>
                    <a:pt x="251" y="96"/>
                  </a:lnTo>
                  <a:lnTo>
                    <a:pt x="245" y="96"/>
                  </a:lnTo>
                  <a:lnTo>
                    <a:pt x="245" y="90"/>
                  </a:lnTo>
                  <a:lnTo>
                    <a:pt x="233" y="90"/>
                  </a:lnTo>
                  <a:lnTo>
                    <a:pt x="221" y="90"/>
                  </a:lnTo>
                  <a:lnTo>
                    <a:pt x="215" y="96"/>
                  </a:lnTo>
                  <a:lnTo>
                    <a:pt x="197" y="96"/>
                  </a:lnTo>
                  <a:lnTo>
                    <a:pt x="203" y="96"/>
                  </a:lnTo>
                  <a:lnTo>
                    <a:pt x="197" y="90"/>
                  </a:lnTo>
                  <a:lnTo>
                    <a:pt x="203" y="90"/>
                  </a:lnTo>
                  <a:lnTo>
                    <a:pt x="191" y="90"/>
                  </a:lnTo>
                  <a:lnTo>
                    <a:pt x="191" y="96"/>
                  </a:lnTo>
                  <a:lnTo>
                    <a:pt x="173" y="96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1" y="102"/>
                  </a:lnTo>
                  <a:lnTo>
                    <a:pt x="155" y="108"/>
                  </a:lnTo>
                  <a:lnTo>
                    <a:pt x="143" y="108"/>
                  </a:lnTo>
                  <a:lnTo>
                    <a:pt x="137" y="102"/>
                  </a:lnTo>
                  <a:lnTo>
                    <a:pt x="149" y="102"/>
                  </a:lnTo>
                  <a:lnTo>
                    <a:pt x="131" y="90"/>
                  </a:lnTo>
                  <a:lnTo>
                    <a:pt x="119" y="90"/>
                  </a:lnTo>
                  <a:lnTo>
                    <a:pt x="125" y="96"/>
                  </a:lnTo>
                  <a:lnTo>
                    <a:pt x="131" y="108"/>
                  </a:lnTo>
                  <a:lnTo>
                    <a:pt x="131" y="114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25" y="114"/>
                  </a:lnTo>
                  <a:lnTo>
                    <a:pt x="119" y="114"/>
                  </a:lnTo>
                  <a:lnTo>
                    <a:pt x="108" y="120"/>
                  </a:lnTo>
                  <a:lnTo>
                    <a:pt x="102" y="126"/>
                  </a:lnTo>
                  <a:lnTo>
                    <a:pt x="108" y="138"/>
                  </a:lnTo>
                  <a:lnTo>
                    <a:pt x="90" y="132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66" y="132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60" y="114"/>
                  </a:lnTo>
                  <a:lnTo>
                    <a:pt x="84" y="120"/>
                  </a:lnTo>
                  <a:lnTo>
                    <a:pt x="108" y="114"/>
                  </a:lnTo>
                  <a:lnTo>
                    <a:pt x="108" y="108"/>
                  </a:lnTo>
                  <a:lnTo>
                    <a:pt x="102" y="102"/>
                  </a:lnTo>
                  <a:lnTo>
                    <a:pt x="78" y="96"/>
                  </a:lnTo>
                  <a:lnTo>
                    <a:pt x="54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24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8" y="120"/>
                  </a:lnTo>
                  <a:lnTo>
                    <a:pt x="18" y="132"/>
                  </a:lnTo>
                  <a:lnTo>
                    <a:pt x="24" y="138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42" y="156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24" y="174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203"/>
                  </a:lnTo>
                  <a:lnTo>
                    <a:pt x="18" y="209"/>
                  </a:lnTo>
                  <a:lnTo>
                    <a:pt x="24" y="221"/>
                  </a:lnTo>
                  <a:lnTo>
                    <a:pt x="30" y="233"/>
                  </a:lnTo>
                  <a:lnTo>
                    <a:pt x="42" y="233"/>
                  </a:lnTo>
                  <a:lnTo>
                    <a:pt x="54" y="233"/>
                  </a:lnTo>
                  <a:lnTo>
                    <a:pt x="60" y="251"/>
                  </a:lnTo>
                  <a:lnTo>
                    <a:pt x="72" y="263"/>
                  </a:lnTo>
                  <a:lnTo>
                    <a:pt x="66" y="263"/>
                  </a:lnTo>
                  <a:lnTo>
                    <a:pt x="72" y="275"/>
                  </a:lnTo>
                  <a:lnTo>
                    <a:pt x="78" y="269"/>
                  </a:lnTo>
                  <a:lnTo>
                    <a:pt x="96" y="275"/>
                  </a:lnTo>
                  <a:lnTo>
                    <a:pt x="96" y="281"/>
                  </a:lnTo>
                  <a:lnTo>
                    <a:pt x="108" y="287"/>
                  </a:lnTo>
                  <a:lnTo>
                    <a:pt x="119" y="299"/>
                  </a:lnTo>
                  <a:lnTo>
                    <a:pt x="125" y="299"/>
                  </a:lnTo>
                  <a:lnTo>
                    <a:pt x="143" y="305"/>
                  </a:lnTo>
                  <a:lnTo>
                    <a:pt x="155" y="305"/>
                  </a:lnTo>
                  <a:lnTo>
                    <a:pt x="161" y="323"/>
                  </a:lnTo>
                  <a:lnTo>
                    <a:pt x="155" y="329"/>
                  </a:lnTo>
                  <a:lnTo>
                    <a:pt x="149" y="335"/>
                  </a:lnTo>
                  <a:lnTo>
                    <a:pt x="155" y="335"/>
                  </a:lnTo>
                  <a:lnTo>
                    <a:pt x="143" y="341"/>
                  </a:lnTo>
                  <a:lnTo>
                    <a:pt x="137" y="341"/>
                  </a:lnTo>
                  <a:lnTo>
                    <a:pt x="149" y="347"/>
                  </a:lnTo>
                  <a:lnTo>
                    <a:pt x="143" y="347"/>
                  </a:lnTo>
                  <a:lnTo>
                    <a:pt x="143" y="353"/>
                  </a:lnTo>
                  <a:lnTo>
                    <a:pt x="143" y="347"/>
                  </a:lnTo>
                  <a:lnTo>
                    <a:pt x="143" y="359"/>
                  </a:lnTo>
                  <a:lnTo>
                    <a:pt x="131" y="359"/>
                  </a:lnTo>
                  <a:lnTo>
                    <a:pt x="131" y="359"/>
                  </a:lnTo>
                  <a:lnTo>
                    <a:pt x="143" y="371"/>
                  </a:lnTo>
                  <a:lnTo>
                    <a:pt x="161" y="377"/>
                  </a:lnTo>
                  <a:lnTo>
                    <a:pt x="161" y="377"/>
                  </a:lnTo>
                  <a:lnTo>
                    <a:pt x="173" y="377"/>
                  </a:lnTo>
                  <a:lnTo>
                    <a:pt x="185" y="377"/>
                  </a:lnTo>
                  <a:lnTo>
                    <a:pt x="197" y="383"/>
                  </a:lnTo>
                  <a:lnTo>
                    <a:pt x="215" y="389"/>
                  </a:lnTo>
                  <a:lnTo>
                    <a:pt x="227" y="395"/>
                  </a:lnTo>
                  <a:lnTo>
                    <a:pt x="245" y="401"/>
                  </a:lnTo>
                  <a:lnTo>
                    <a:pt x="257" y="401"/>
                  </a:lnTo>
                  <a:lnTo>
                    <a:pt x="251" y="395"/>
                  </a:lnTo>
                  <a:lnTo>
                    <a:pt x="245" y="383"/>
                  </a:lnTo>
                  <a:lnTo>
                    <a:pt x="239" y="377"/>
                  </a:lnTo>
                  <a:lnTo>
                    <a:pt x="239" y="377"/>
                  </a:lnTo>
                  <a:lnTo>
                    <a:pt x="233" y="371"/>
                  </a:lnTo>
                  <a:lnTo>
                    <a:pt x="233" y="365"/>
                  </a:lnTo>
                  <a:lnTo>
                    <a:pt x="239" y="353"/>
                  </a:lnTo>
                  <a:lnTo>
                    <a:pt x="245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45" y="335"/>
                  </a:lnTo>
                  <a:lnTo>
                    <a:pt x="233" y="323"/>
                  </a:lnTo>
                  <a:lnTo>
                    <a:pt x="221" y="317"/>
                  </a:lnTo>
                  <a:lnTo>
                    <a:pt x="221" y="299"/>
                  </a:lnTo>
                  <a:lnTo>
                    <a:pt x="221" y="287"/>
                  </a:lnTo>
                  <a:lnTo>
                    <a:pt x="233" y="293"/>
                  </a:lnTo>
                  <a:lnTo>
                    <a:pt x="239" y="287"/>
                  </a:lnTo>
                  <a:lnTo>
                    <a:pt x="245" y="281"/>
                  </a:lnTo>
                  <a:lnTo>
                    <a:pt x="251" y="275"/>
                  </a:lnTo>
                  <a:lnTo>
                    <a:pt x="263" y="275"/>
                  </a:lnTo>
                  <a:lnTo>
                    <a:pt x="275" y="281"/>
                  </a:lnTo>
                  <a:lnTo>
                    <a:pt x="293" y="287"/>
                  </a:lnTo>
                  <a:lnTo>
                    <a:pt x="305" y="287"/>
                  </a:lnTo>
                  <a:lnTo>
                    <a:pt x="323" y="287"/>
                  </a:lnTo>
                  <a:lnTo>
                    <a:pt x="341" y="293"/>
                  </a:lnTo>
                  <a:lnTo>
                    <a:pt x="347" y="287"/>
                  </a:lnTo>
                  <a:lnTo>
                    <a:pt x="335" y="275"/>
                  </a:lnTo>
                  <a:lnTo>
                    <a:pt x="341" y="263"/>
                  </a:lnTo>
                  <a:lnTo>
                    <a:pt x="347" y="263"/>
                  </a:lnTo>
                  <a:lnTo>
                    <a:pt x="335" y="257"/>
                  </a:lnTo>
                  <a:lnTo>
                    <a:pt x="347" y="251"/>
                  </a:lnTo>
                  <a:lnTo>
                    <a:pt x="359" y="251"/>
                  </a:lnTo>
                  <a:lnTo>
                    <a:pt x="371" y="251"/>
                  </a:lnTo>
                  <a:lnTo>
                    <a:pt x="383" y="245"/>
                  </a:lnTo>
                  <a:lnTo>
                    <a:pt x="395" y="245"/>
                  </a:lnTo>
                  <a:lnTo>
                    <a:pt x="407" y="239"/>
                  </a:lnTo>
                  <a:lnTo>
                    <a:pt x="413" y="239"/>
                  </a:lnTo>
                  <a:lnTo>
                    <a:pt x="419" y="245"/>
                  </a:lnTo>
                  <a:lnTo>
                    <a:pt x="443" y="251"/>
                  </a:lnTo>
                  <a:lnTo>
                    <a:pt x="449" y="257"/>
                  </a:lnTo>
                  <a:lnTo>
                    <a:pt x="455" y="257"/>
                  </a:lnTo>
                  <a:lnTo>
                    <a:pt x="467" y="251"/>
                  </a:lnTo>
                  <a:lnTo>
                    <a:pt x="479" y="251"/>
                  </a:lnTo>
                  <a:lnTo>
                    <a:pt x="485" y="251"/>
                  </a:lnTo>
                  <a:lnTo>
                    <a:pt x="479" y="257"/>
                  </a:lnTo>
                  <a:lnTo>
                    <a:pt x="491" y="263"/>
                  </a:lnTo>
                  <a:lnTo>
                    <a:pt x="509" y="275"/>
                  </a:lnTo>
                  <a:lnTo>
                    <a:pt x="521" y="281"/>
                  </a:lnTo>
                  <a:lnTo>
                    <a:pt x="533" y="293"/>
                  </a:lnTo>
                  <a:lnTo>
                    <a:pt x="533" y="287"/>
                  </a:lnTo>
                  <a:lnTo>
                    <a:pt x="545" y="293"/>
                  </a:lnTo>
                  <a:lnTo>
                    <a:pt x="557" y="287"/>
                  </a:lnTo>
                  <a:lnTo>
                    <a:pt x="569" y="299"/>
                  </a:lnTo>
                  <a:lnTo>
                    <a:pt x="581" y="305"/>
                  </a:lnTo>
                  <a:lnTo>
                    <a:pt x="593" y="299"/>
                  </a:lnTo>
                  <a:lnTo>
                    <a:pt x="605" y="311"/>
                  </a:lnTo>
                  <a:lnTo>
                    <a:pt x="611" y="311"/>
                  </a:lnTo>
                  <a:lnTo>
                    <a:pt x="617" y="311"/>
                  </a:lnTo>
                  <a:lnTo>
                    <a:pt x="623" y="305"/>
                  </a:lnTo>
                  <a:lnTo>
                    <a:pt x="635" y="299"/>
                  </a:lnTo>
                  <a:lnTo>
                    <a:pt x="647" y="293"/>
                  </a:lnTo>
                  <a:lnTo>
                    <a:pt x="665" y="293"/>
                  </a:lnTo>
                  <a:lnTo>
                    <a:pt x="671" y="299"/>
                  </a:lnTo>
                  <a:lnTo>
                    <a:pt x="683" y="299"/>
                  </a:lnTo>
                  <a:lnTo>
                    <a:pt x="695" y="305"/>
                  </a:lnTo>
                  <a:lnTo>
                    <a:pt x="707" y="299"/>
                  </a:lnTo>
                  <a:lnTo>
                    <a:pt x="695" y="293"/>
                  </a:lnTo>
                  <a:lnTo>
                    <a:pt x="695" y="281"/>
                  </a:lnTo>
                  <a:lnTo>
                    <a:pt x="713" y="281"/>
                  </a:lnTo>
                  <a:lnTo>
                    <a:pt x="731" y="287"/>
                  </a:lnTo>
                  <a:lnTo>
                    <a:pt x="737" y="293"/>
                  </a:lnTo>
                  <a:lnTo>
                    <a:pt x="755" y="299"/>
                  </a:lnTo>
                  <a:lnTo>
                    <a:pt x="773" y="299"/>
                  </a:lnTo>
                  <a:lnTo>
                    <a:pt x="784" y="299"/>
                  </a:lnTo>
                  <a:lnTo>
                    <a:pt x="796" y="305"/>
                  </a:lnTo>
                  <a:lnTo>
                    <a:pt x="802" y="305"/>
                  </a:lnTo>
                  <a:lnTo>
                    <a:pt x="820" y="311"/>
                  </a:lnTo>
                  <a:lnTo>
                    <a:pt x="832" y="311"/>
                  </a:lnTo>
                  <a:lnTo>
                    <a:pt x="844" y="305"/>
                  </a:lnTo>
                  <a:lnTo>
                    <a:pt x="856" y="299"/>
                  </a:lnTo>
                  <a:lnTo>
                    <a:pt x="874" y="305"/>
                  </a:lnTo>
                  <a:lnTo>
                    <a:pt x="880" y="305"/>
                  </a:lnTo>
                  <a:lnTo>
                    <a:pt x="898" y="305"/>
                  </a:lnTo>
                  <a:lnTo>
                    <a:pt x="904" y="299"/>
                  </a:lnTo>
                  <a:lnTo>
                    <a:pt x="898" y="293"/>
                  </a:lnTo>
                  <a:lnTo>
                    <a:pt x="898" y="275"/>
                  </a:lnTo>
                  <a:lnTo>
                    <a:pt x="892" y="269"/>
                  </a:lnTo>
                  <a:lnTo>
                    <a:pt x="886" y="269"/>
                  </a:lnTo>
                  <a:lnTo>
                    <a:pt x="898" y="263"/>
                  </a:lnTo>
                  <a:lnTo>
                    <a:pt x="910" y="263"/>
                  </a:lnTo>
                  <a:lnTo>
                    <a:pt x="922" y="263"/>
                  </a:lnTo>
                  <a:lnTo>
                    <a:pt x="946" y="269"/>
                  </a:lnTo>
                  <a:lnTo>
                    <a:pt x="958" y="281"/>
                  </a:lnTo>
                  <a:lnTo>
                    <a:pt x="964" y="287"/>
                  </a:lnTo>
                  <a:lnTo>
                    <a:pt x="976" y="293"/>
                  </a:lnTo>
                  <a:lnTo>
                    <a:pt x="988" y="305"/>
                  </a:lnTo>
                  <a:lnTo>
                    <a:pt x="994" y="305"/>
                  </a:lnTo>
                  <a:lnTo>
                    <a:pt x="1012" y="311"/>
                  </a:lnTo>
                  <a:lnTo>
                    <a:pt x="1024" y="317"/>
                  </a:lnTo>
                  <a:lnTo>
                    <a:pt x="1036" y="329"/>
                  </a:lnTo>
                  <a:lnTo>
                    <a:pt x="1054" y="329"/>
                  </a:lnTo>
                  <a:lnTo>
                    <a:pt x="1066" y="323"/>
                  </a:lnTo>
                  <a:lnTo>
                    <a:pt x="1072" y="335"/>
                  </a:lnTo>
                  <a:lnTo>
                    <a:pt x="1072" y="347"/>
                  </a:lnTo>
                  <a:lnTo>
                    <a:pt x="1078" y="365"/>
                  </a:lnTo>
                  <a:lnTo>
                    <a:pt x="1060" y="359"/>
                  </a:lnTo>
                  <a:lnTo>
                    <a:pt x="1060" y="365"/>
                  </a:lnTo>
                  <a:lnTo>
                    <a:pt x="1066" y="377"/>
                  </a:lnTo>
                  <a:lnTo>
                    <a:pt x="1072" y="389"/>
                  </a:lnTo>
                  <a:lnTo>
                    <a:pt x="1072" y="389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2" y="395"/>
                  </a:lnTo>
                  <a:lnTo>
                    <a:pt x="1078" y="383"/>
                  </a:lnTo>
                  <a:lnTo>
                    <a:pt x="1084" y="383"/>
                  </a:lnTo>
                  <a:lnTo>
                    <a:pt x="1090" y="389"/>
                  </a:lnTo>
                  <a:lnTo>
                    <a:pt x="1096" y="389"/>
                  </a:lnTo>
                  <a:lnTo>
                    <a:pt x="1108" y="383"/>
                  </a:lnTo>
                  <a:lnTo>
                    <a:pt x="1108" y="377"/>
                  </a:lnTo>
                  <a:lnTo>
                    <a:pt x="1114" y="371"/>
                  </a:lnTo>
                  <a:lnTo>
                    <a:pt x="1114" y="359"/>
                  </a:lnTo>
                  <a:lnTo>
                    <a:pt x="1114" y="347"/>
                  </a:lnTo>
                  <a:lnTo>
                    <a:pt x="1114" y="335"/>
                  </a:lnTo>
                  <a:lnTo>
                    <a:pt x="1114" y="323"/>
                  </a:lnTo>
                  <a:lnTo>
                    <a:pt x="1114" y="311"/>
                  </a:lnTo>
                  <a:lnTo>
                    <a:pt x="1108" y="305"/>
                  </a:lnTo>
                  <a:lnTo>
                    <a:pt x="1102" y="293"/>
                  </a:lnTo>
                  <a:lnTo>
                    <a:pt x="1102" y="287"/>
                  </a:lnTo>
                  <a:lnTo>
                    <a:pt x="1096" y="281"/>
                  </a:lnTo>
                  <a:lnTo>
                    <a:pt x="1090" y="269"/>
                  </a:lnTo>
                  <a:lnTo>
                    <a:pt x="1078" y="263"/>
                  </a:lnTo>
                  <a:lnTo>
                    <a:pt x="1084" y="263"/>
                  </a:lnTo>
                  <a:lnTo>
                    <a:pt x="1060" y="251"/>
                  </a:lnTo>
                  <a:lnTo>
                    <a:pt x="1048" y="251"/>
                  </a:lnTo>
                  <a:lnTo>
                    <a:pt x="1054" y="257"/>
                  </a:lnTo>
                  <a:lnTo>
                    <a:pt x="1042" y="263"/>
                  </a:lnTo>
                  <a:lnTo>
                    <a:pt x="1042" y="257"/>
                  </a:lnTo>
                  <a:lnTo>
                    <a:pt x="1036" y="257"/>
                  </a:lnTo>
                  <a:lnTo>
                    <a:pt x="1036" y="257"/>
                  </a:lnTo>
                  <a:lnTo>
                    <a:pt x="1030" y="251"/>
                  </a:lnTo>
                  <a:lnTo>
                    <a:pt x="1012" y="245"/>
                  </a:lnTo>
                  <a:lnTo>
                    <a:pt x="1018" y="233"/>
                  </a:lnTo>
                  <a:lnTo>
                    <a:pt x="1018" y="227"/>
                  </a:lnTo>
                  <a:lnTo>
                    <a:pt x="1024" y="221"/>
                  </a:lnTo>
                  <a:lnTo>
                    <a:pt x="1024" y="209"/>
                  </a:lnTo>
                  <a:lnTo>
                    <a:pt x="1024" y="203"/>
                  </a:lnTo>
                  <a:lnTo>
                    <a:pt x="1024" y="197"/>
                  </a:lnTo>
                  <a:lnTo>
                    <a:pt x="1036" y="191"/>
                  </a:lnTo>
                  <a:lnTo>
                    <a:pt x="1048" y="191"/>
                  </a:lnTo>
                  <a:lnTo>
                    <a:pt x="1054" y="191"/>
                  </a:lnTo>
                  <a:lnTo>
                    <a:pt x="1060" y="191"/>
                  </a:lnTo>
                  <a:lnTo>
                    <a:pt x="1060" y="191"/>
                  </a:lnTo>
                  <a:lnTo>
                    <a:pt x="1078" y="191"/>
                  </a:lnTo>
                  <a:lnTo>
                    <a:pt x="1084" y="191"/>
                  </a:lnTo>
                  <a:lnTo>
                    <a:pt x="1078" y="191"/>
                  </a:lnTo>
                  <a:lnTo>
                    <a:pt x="1096" y="191"/>
                  </a:lnTo>
                  <a:lnTo>
                    <a:pt x="1108" y="191"/>
                  </a:lnTo>
                  <a:lnTo>
                    <a:pt x="1108" y="197"/>
                  </a:lnTo>
                  <a:lnTo>
                    <a:pt x="1108" y="197"/>
                  </a:lnTo>
                  <a:lnTo>
                    <a:pt x="1120" y="197"/>
                  </a:lnTo>
                  <a:lnTo>
                    <a:pt x="1126" y="197"/>
                  </a:lnTo>
                  <a:lnTo>
                    <a:pt x="1138" y="197"/>
                  </a:lnTo>
                  <a:lnTo>
                    <a:pt x="1138" y="191"/>
                  </a:lnTo>
                  <a:lnTo>
                    <a:pt x="1126" y="191"/>
                  </a:lnTo>
                  <a:lnTo>
                    <a:pt x="1126" y="191"/>
                  </a:lnTo>
                  <a:lnTo>
                    <a:pt x="1126" y="180"/>
                  </a:lnTo>
                  <a:lnTo>
                    <a:pt x="1126" y="168"/>
                  </a:lnTo>
                  <a:lnTo>
                    <a:pt x="1144" y="168"/>
                  </a:lnTo>
                  <a:lnTo>
                    <a:pt x="1150" y="168"/>
                  </a:lnTo>
                  <a:lnTo>
                    <a:pt x="1156" y="174"/>
                  </a:lnTo>
                  <a:lnTo>
                    <a:pt x="1156" y="174"/>
                  </a:lnTo>
                  <a:lnTo>
                    <a:pt x="1168" y="180"/>
                  </a:lnTo>
                  <a:lnTo>
                    <a:pt x="1168" y="168"/>
                  </a:lnTo>
                  <a:lnTo>
                    <a:pt x="1174" y="168"/>
                  </a:lnTo>
                  <a:lnTo>
                    <a:pt x="1168" y="156"/>
                  </a:lnTo>
                  <a:lnTo>
                    <a:pt x="1168" y="156"/>
                  </a:lnTo>
                  <a:lnTo>
                    <a:pt x="1186" y="156"/>
                  </a:lnTo>
                  <a:lnTo>
                    <a:pt x="1186" y="162"/>
                  </a:lnTo>
                  <a:lnTo>
                    <a:pt x="1180" y="162"/>
                  </a:lnTo>
                  <a:lnTo>
                    <a:pt x="1186" y="168"/>
                  </a:lnTo>
                  <a:lnTo>
                    <a:pt x="1192" y="174"/>
                  </a:lnTo>
                  <a:lnTo>
                    <a:pt x="1186" y="180"/>
                  </a:lnTo>
                  <a:lnTo>
                    <a:pt x="1186" y="186"/>
                  </a:lnTo>
                  <a:lnTo>
                    <a:pt x="1180" y="197"/>
                  </a:lnTo>
                  <a:lnTo>
                    <a:pt x="1180" y="209"/>
                  </a:lnTo>
                  <a:lnTo>
                    <a:pt x="1174" y="209"/>
                  </a:lnTo>
                  <a:lnTo>
                    <a:pt x="1174" y="215"/>
                  </a:lnTo>
                  <a:lnTo>
                    <a:pt x="1180" y="221"/>
                  </a:lnTo>
                  <a:lnTo>
                    <a:pt x="1186" y="233"/>
                  </a:lnTo>
                  <a:lnTo>
                    <a:pt x="1192" y="239"/>
                  </a:lnTo>
                  <a:lnTo>
                    <a:pt x="1210" y="251"/>
                  </a:lnTo>
                  <a:lnTo>
                    <a:pt x="1222" y="263"/>
                  </a:lnTo>
                  <a:lnTo>
                    <a:pt x="1240" y="281"/>
                  </a:lnTo>
                  <a:lnTo>
                    <a:pt x="1252" y="293"/>
                  </a:lnTo>
                  <a:lnTo>
                    <a:pt x="1252" y="281"/>
                  </a:lnTo>
                  <a:lnTo>
                    <a:pt x="1246" y="269"/>
                  </a:lnTo>
                  <a:lnTo>
                    <a:pt x="1252" y="263"/>
                  </a:lnTo>
                  <a:lnTo>
                    <a:pt x="1258" y="263"/>
                  </a:lnTo>
                  <a:lnTo>
                    <a:pt x="1258" y="263"/>
                  </a:lnTo>
                  <a:lnTo>
                    <a:pt x="1246" y="251"/>
                  </a:lnTo>
                  <a:lnTo>
                    <a:pt x="1258" y="245"/>
                  </a:lnTo>
                  <a:lnTo>
                    <a:pt x="1246" y="233"/>
                  </a:lnTo>
                  <a:lnTo>
                    <a:pt x="1240" y="227"/>
                  </a:lnTo>
                  <a:lnTo>
                    <a:pt x="1246" y="227"/>
                  </a:lnTo>
                  <a:lnTo>
                    <a:pt x="1246" y="227"/>
                  </a:lnTo>
                  <a:lnTo>
                    <a:pt x="1252" y="233"/>
                  </a:lnTo>
                  <a:lnTo>
                    <a:pt x="1240" y="221"/>
                  </a:lnTo>
                  <a:lnTo>
                    <a:pt x="1240" y="221"/>
                  </a:lnTo>
                  <a:lnTo>
                    <a:pt x="1228" y="209"/>
                  </a:lnTo>
                  <a:lnTo>
                    <a:pt x="1222" y="209"/>
                  </a:lnTo>
                  <a:lnTo>
                    <a:pt x="1216" y="209"/>
                  </a:lnTo>
                  <a:lnTo>
                    <a:pt x="1210" y="197"/>
                  </a:lnTo>
                  <a:lnTo>
                    <a:pt x="1204" y="186"/>
                  </a:lnTo>
                  <a:lnTo>
                    <a:pt x="1210" y="186"/>
                  </a:lnTo>
                  <a:lnTo>
                    <a:pt x="1216" y="186"/>
                  </a:lnTo>
                  <a:lnTo>
                    <a:pt x="1216" y="186"/>
                  </a:lnTo>
                  <a:lnTo>
                    <a:pt x="1222" y="180"/>
                  </a:lnTo>
                  <a:lnTo>
                    <a:pt x="1228" y="186"/>
                  </a:lnTo>
                  <a:lnTo>
                    <a:pt x="1228" y="180"/>
                  </a:lnTo>
                  <a:lnTo>
                    <a:pt x="1246" y="180"/>
                  </a:lnTo>
                  <a:lnTo>
                    <a:pt x="1258" y="186"/>
                  </a:lnTo>
                  <a:lnTo>
                    <a:pt x="1258" y="186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74"/>
                  </a:lnTo>
                  <a:lnTo>
                    <a:pt x="1264" y="168"/>
                  </a:lnTo>
                  <a:lnTo>
                    <a:pt x="1276" y="162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282" y="156"/>
                  </a:lnTo>
                  <a:lnTo>
                    <a:pt x="1300" y="162"/>
                  </a:lnTo>
                  <a:lnTo>
                    <a:pt x="1300" y="156"/>
                  </a:lnTo>
                  <a:lnTo>
                    <a:pt x="1294" y="150"/>
                  </a:lnTo>
                  <a:lnTo>
                    <a:pt x="1282" y="150"/>
                  </a:lnTo>
                  <a:lnTo>
                    <a:pt x="1282" y="144"/>
                  </a:lnTo>
                  <a:lnTo>
                    <a:pt x="1264" y="138"/>
                  </a:lnTo>
                  <a:lnTo>
                    <a:pt x="1264" y="138"/>
                  </a:lnTo>
                  <a:lnTo>
                    <a:pt x="1252" y="132"/>
                  </a:lnTo>
                  <a:lnTo>
                    <a:pt x="1258" y="132"/>
                  </a:lnTo>
                  <a:lnTo>
                    <a:pt x="1270" y="132"/>
                  </a:lnTo>
                  <a:lnTo>
                    <a:pt x="1252" y="120"/>
                  </a:lnTo>
                  <a:lnTo>
                    <a:pt x="1240" y="108"/>
                  </a:lnTo>
                  <a:lnTo>
                    <a:pt x="1222" y="102"/>
                  </a:lnTo>
                  <a:lnTo>
                    <a:pt x="1204" y="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5" name="Freeform 361">
              <a:extLst>
                <a:ext uri="{FF2B5EF4-FFF2-40B4-BE49-F238E27FC236}">
                  <a16:creationId xmlns:a16="http://schemas.microsoft.com/office/drawing/2014/main" id="{933AB9D7-D8F0-418E-996D-1F3B79A910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76"/>
              <a:ext cx="96" cy="48"/>
            </a:xfrm>
            <a:custGeom>
              <a:avLst/>
              <a:gdLst>
                <a:gd name="T0" fmla="*/ 96 w 96"/>
                <a:gd name="T1" fmla="*/ 30 h 48"/>
                <a:gd name="T2" fmla="*/ 96 w 96"/>
                <a:gd name="T3" fmla="*/ 24 h 48"/>
                <a:gd name="T4" fmla="*/ 90 w 96"/>
                <a:gd name="T5" fmla="*/ 18 h 48"/>
                <a:gd name="T6" fmla="*/ 84 w 96"/>
                <a:gd name="T7" fmla="*/ 18 h 48"/>
                <a:gd name="T8" fmla="*/ 84 w 96"/>
                <a:gd name="T9" fmla="*/ 18 h 48"/>
                <a:gd name="T10" fmla="*/ 84 w 96"/>
                <a:gd name="T11" fmla="*/ 18 h 48"/>
                <a:gd name="T12" fmla="*/ 72 w 96"/>
                <a:gd name="T13" fmla="*/ 18 h 48"/>
                <a:gd name="T14" fmla="*/ 66 w 96"/>
                <a:gd name="T15" fmla="*/ 24 h 48"/>
                <a:gd name="T16" fmla="*/ 66 w 96"/>
                <a:gd name="T17" fmla="*/ 24 h 48"/>
                <a:gd name="T18" fmla="*/ 60 w 96"/>
                <a:gd name="T19" fmla="*/ 24 h 48"/>
                <a:gd name="T20" fmla="*/ 66 w 96"/>
                <a:gd name="T21" fmla="*/ 24 h 48"/>
                <a:gd name="T22" fmla="*/ 72 w 96"/>
                <a:gd name="T23" fmla="*/ 18 h 48"/>
                <a:gd name="T24" fmla="*/ 72 w 96"/>
                <a:gd name="T25" fmla="*/ 12 h 48"/>
                <a:gd name="T26" fmla="*/ 66 w 96"/>
                <a:gd name="T27" fmla="*/ 6 h 48"/>
                <a:gd name="T28" fmla="*/ 66 w 96"/>
                <a:gd name="T29" fmla="*/ 6 h 48"/>
                <a:gd name="T30" fmla="*/ 60 w 96"/>
                <a:gd name="T31" fmla="*/ 0 h 48"/>
                <a:gd name="T32" fmla="*/ 48 w 96"/>
                <a:gd name="T33" fmla="*/ 6 h 48"/>
                <a:gd name="T34" fmla="*/ 30 w 96"/>
                <a:gd name="T35" fmla="*/ 18 h 48"/>
                <a:gd name="T36" fmla="*/ 18 w 96"/>
                <a:gd name="T37" fmla="*/ 30 h 48"/>
                <a:gd name="T38" fmla="*/ 0 w 96"/>
                <a:gd name="T39" fmla="*/ 36 h 48"/>
                <a:gd name="T40" fmla="*/ 12 w 96"/>
                <a:gd name="T41" fmla="*/ 30 h 48"/>
                <a:gd name="T42" fmla="*/ 12 w 96"/>
                <a:gd name="T43" fmla="*/ 30 h 48"/>
                <a:gd name="T44" fmla="*/ 18 w 96"/>
                <a:gd name="T45" fmla="*/ 30 h 48"/>
                <a:gd name="T46" fmla="*/ 24 w 96"/>
                <a:gd name="T47" fmla="*/ 24 h 48"/>
                <a:gd name="T48" fmla="*/ 24 w 96"/>
                <a:gd name="T49" fmla="*/ 30 h 48"/>
                <a:gd name="T50" fmla="*/ 24 w 96"/>
                <a:gd name="T51" fmla="*/ 24 h 48"/>
                <a:gd name="T52" fmla="*/ 18 w 96"/>
                <a:gd name="T53" fmla="*/ 30 h 48"/>
                <a:gd name="T54" fmla="*/ 18 w 96"/>
                <a:gd name="T55" fmla="*/ 36 h 48"/>
                <a:gd name="T56" fmla="*/ 36 w 96"/>
                <a:gd name="T57" fmla="*/ 36 h 48"/>
                <a:gd name="T58" fmla="*/ 30 w 96"/>
                <a:gd name="T59" fmla="*/ 42 h 48"/>
                <a:gd name="T60" fmla="*/ 36 w 96"/>
                <a:gd name="T61" fmla="*/ 48 h 48"/>
                <a:gd name="T62" fmla="*/ 42 w 96"/>
                <a:gd name="T63" fmla="*/ 48 h 48"/>
                <a:gd name="T64" fmla="*/ 42 w 96"/>
                <a:gd name="T65" fmla="*/ 48 h 48"/>
                <a:gd name="T66" fmla="*/ 48 w 96"/>
                <a:gd name="T67" fmla="*/ 48 h 48"/>
                <a:gd name="T68" fmla="*/ 48 w 96"/>
                <a:gd name="T69" fmla="*/ 48 h 48"/>
                <a:gd name="T70" fmla="*/ 48 w 96"/>
                <a:gd name="T71" fmla="*/ 42 h 48"/>
                <a:gd name="T72" fmla="*/ 60 w 96"/>
                <a:gd name="T73" fmla="*/ 36 h 48"/>
                <a:gd name="T74" fmla="*/ 66 w 96"/>
                <a:gd name="T75" fmla="*/ 36 h 48"/>
                <a:gd name="T76" fmla="*/ 66 w 96"/>
                <a:gd name="T77" fmla="*/ 30 h 48"/>
                <a:gd name="T78" fmla="*/ 66 w 96"/>
                <a:gd name="T79" fmla="*/ 36 h 48"/>
                <a:gd name="T80" fmla="*/ 72 w 96"/>
                <a:gd name="T81" fmla="*/ 36 h 48"/>
                <a:gd name="T82" fmla="*/ 78 w 96"/>
                <a:gd name="T83" fmla="*/ 30 h 48"/>
                <a:gd name="T84" fmla="*/ 84 w 96"/>
                <a:gd name="T85" fmla="*/ 30 h 48"/>
                <a:gd name="T86" fmla="*/ 96 w 96"/>
                <a:gd name="T8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48">
                  <a:moveTo>
                    <a:pt x="96" y="30"/>
                  </a:moveTo>
                  <a:lnTo>
                    <a:pt x="96" y="24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2" y="18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18" y="30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6" name="Freeform 362">
              <a:extLst>
                <a:ext uri="{FF2B5EF4-FFF2-40B4-BE49-F238E27FC236}">
                  <a16:creationId xmlns:a16="http://schemas.microsoft.com/office/drawing/2014/main" id="{75A358BC-919A-43AC-BE87-8BAC4159B33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" y="1437"/>
              <a:ext cx="96" cy="96"/>
            </a:xfrm>
            <a:custGeom>
              <a:avLst/>
              <a:gdLst>
                <a:gd name="T0" fmla="*/ 84 w 96"/>
                <a:gd name="T1" fmla="*/ 66 h 96"/>
                <a:gd name="T2" fmla="*/ 72 w 96"/>
                <a:gd name="T3" fmla="*/ 54 h 96"/>
                <a:gd name="T4" fmla="*/ 60 w 96"/>
                <a:gd name="T5" fmla="*/ 48 h 96"/>
                <a:gd name="T6" fmla="*/ 48 w 96"/>
                <a:gd name="T7" fmla="*/ 36 h 96"/>
                <a:gd name="T8" fmla="*/ 30 w 96"/>
                <a:gd name="T9" fmla="*/ 24 h 96"/>
                <a:gd name="T10" fmla="*/ 30 w 96"/>
                <a:gd name="T11" fmla="*/ 24 h 96"/>
                <a:gd name="T12" fmla="*/ 18 w 96"/>
                <a:gd name="T13" fmla="*/ 12 h 96"/>
                <a:gd name="T14" fmla="*/ 6 w 96"/>
                <a:gd name="T15" fmla="*/ 0 h 96"/>
                <a:gd name="T16" fmla="*/ 0 w 96"/>
                <a:gd name="T17" fmla="*/ 0 h 96"/>
                <a:gd name="T18" fmla="*/ 12 w 96"/>
                <a:gd name="T19" fmla="*/ 6 h 96"/>
                <a:gd name="T20" fmla="*/ 12 w 96"/>
                <a:gd name="T21" fmla="*/ 12 h 96"/>
                <a:gd name="T22" fmla="*/ 6 w 96"/>
                <a:gd name="T23" fmla="*/ 12 h 96"/>
                <a:gd name="T24" fmla="*/ 18 w 96"/>
                <a:gd name="T25" fmla="*/ 24 h 96"/>
                <a:gd name="T26" fmla="*/ 30 w 96"/>
                <a:gd name="T27" fmla="*/ 30 h 96"/>
                <a:gd name="T28" fmla="*/ 36 w 96"/>
                <a:gd name="T29" fmla="*/ 42 h 96"/>
                <a:gd name="T30" fmla="*/ 48 w 96"/>
                <a:gd name="T31" fmla="*/ 54 h 96"/>
                <a:gd name="T32" fmla="*/ 54 w 96"/>
                <a:gd name="T33" fmla="*/ 66 h 96"/>
                <a:gd name="T34" fmla="*/ 60 w 96"/>
                <a:gd name="T35" fmla="*/ 78 h 96"/>
                <a:gd name="T36" fmla="*/ 72 w 96"/>
                <a:gd name="T37" fmla="*/ 84 h 96"/>
                <a:gd name="T38" fmla="*/ 78 w 96"/>
                <a:gd name="T39" fmla="*/ 96 h 96"/>
                <a:gd name="T40" fmla="*/ 78 w 96"/>
                <a:gd name="T41" fmla="*/ 96 h 96"/>
                <a:gd name="T42" fmla="*/ 78 w 96"/>
                <a:gd name="T43" fmla="*/ 90 h 96"/>
                <a:gd name="T44" fmla="*/ 90 w 96"/>
                <a:gd name="T45" fmla="*/ 96 h 96"/>
                <a:gd name="T46" fmla="*/ 96 w 96"/>
                <a:gd name="T47" fmla="*/ 96 h 96"/>
                <a:gd name="T48" fmla="*/ 84 w 96"/>
                <a:gd name="T49" fmla="*/ 90 h 96"/>
                <a:gd name="T50" fmla="*/ 66 w 96"/>
                <a:gd name="T51" fmla="*/ 78 h 96"/>
                <a:gd name="T52" fmla="*/ 60 w 96"/>
                <a:gd name="T53" fmla="*/ 60 h 96"/>
                <a:gd name="T54" fmla="*/ 66 w 96"/>
                <a:gd name="T55" fmla="*/ 60 h 96"/>
                <a:gd name="T56" fmla="*/ 78 w 96"/>
                <a:gd name="T57" fmla="*/ 66 h 96"/>
                <a:gd name="T58" fmla="*/ 84 w 96"/>
                <a:gd name="T59" fmla="*/ 6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6">
                  <a:moveTo>
                    <a:pt x="84" y="66"/>
                  </a:moveTo>
                  <a:lnTo>
                    <a:pt x="72" y="54"/>
                  </a:lnTo>
                  <a:lnTo>
                    <a:pt x="60" y="48"/>
                  </a:lnTo>
                  <a:lnTo>
                    <a:pt x="48" y="3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2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36" y="42"/>
                  </a:lnTo>
                  <a:lnTo>
                    <a:pt x="48" y="54"/>
                  </a:lnTo>
                  <a:lnTo>
                    <a:pt x="54" y="66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84" y="90"/>
                  </a:lnTo>
                  <a:lnTo>
                    <a:pt x="66" y="78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8" y="66"/>
                  </a:lnTo>
                  <a:lnTo>
                    <a:pt x="84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7" name="Freeform 363">
              <a:extLst>
                <a:ext uri="{FF2B5EF4-FFF2-40B4-BE49-F238E27FC236}">
                  <a16:creationId xmlns:a16="http://schemas.microsoft.com/office/drawing/2014/main" id="{1389D7D8-6659-4443-9AF8-AA0658C549D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92"/>
              <a:ext cx="96" cy="36"/>
            </a:xfrm>
            <a:custGeom>
              <a:avLst/>
              <a:gdLst>
                <a:gd name="T0" fmla="*/ 96 w 96"/>
                <a:gd name="T1" fmla="*/ 6 h 36"/>
                <a:gd name="T2" fmla="*/ 90 w 96"/>
                <a:gd name="T3" fmla="*/ 12 h 36"/>
                <a:gd name="T4" fmla="*/ 66 w 96"/>
                <a:gd name="T5" fmla="*/ 18 h 36"/>
                <a:gd name="T6" fmla="*/ 48 w 96"/>
                <a:gd name="T7" fmla="*/ 18 h 36"/>
                <a:gd name="T8" fmla="*/ 42 w 96"/>
                <a:gd name="T9" fmla="*/ 24 h 36"/>
                <a:gd name="T10" fmla="*/ 42 w 96"/>
                <a:gd name="T11" fmla="*/ 24 h 36"/>
                <a:gd name="T12" fmla="*/ 42 w 96"/>
                <a:gd name="T13" fmla="*/ 24 h 36"/>
                <a:gd name="T14" fmla="*/ 36 w 96"/>
                <a:gd name="T15" fmla="*/ 24 h 36"/>
                <a:gd name="T16" fmla="*/ 36 w 96"/>
                <a:gd name="T17" fmla="*/ 24 h 36"/>
                <a:gd name="T18" fmla="*/ 30 w 96"/>
                <a:gd name="T19" fmla="*/ 24 h 36"/>
                <a:gd name="T20" fmla="*/ 30 w 96"/>
                <a:gd name="T21" fmla="*/ 30 h 36"/>
                <a:gd name="T22" fmla="*/ 30 w 96"/>
                <a:gd name="T23" fmla="*/ 30 h 36"/>
                <a:gd name="T24" fmla="*/ 30 w 96"/>
                <a:gd name="T25" fmla="*/ 36 h 36"/>
                <a:gd name="T26" fmla="*/ 24 w 96"/>
                <a:gd name="T27" fmla="*/ 30 h 36"/>
                <a:gd name="T28" fmla="*/ 30 w 96"/>
                <a:gd name="T29" fmla="*/ 36 h 36"/>
                <a:gd name="T30" fmla="*/ 24 w 96"/>
                <a:gd name="T31" fmla="*/ 36 h 36"/>
                <a:gd name="T32" fmla="*/ 30 w 96"/>
                <a:gd name="T33" fmla="*/ 36 h 36"/>
                <a:gd name="T34" fmla="*/ 6 w 96"/>
                <a:gd name="T35" fmla="*/ 36 h 36"/>
                <a:gd name="T36" fmla="*/ 12 w 96"/>
                <a:gd name="T37" fmla="*/ 36 h 36"/>
                <a:gd name="T38" fmla="*/ 0 w 96"/>
                <a:gd name="T39" fmla="*/ 36 h 36"/>
                <a:gd name="T40" fmla="*/ 12 w 96"/>
                <a:gd name="T41" fmla="*/ 30 h 36"/>
                <a:gd name="T42" fmla="*/ 12 w 96"/>
                <a:gd name="T43" fmla="*/ 30 h 36"/>
                <a:gd name="T44" fmla="*/ 12 w 96"/>
                <a:gd name="T45" fmla="*/ 30 h 36"/>
                <a:gd name="T46" fmla="*/ 12 w 96"/>
                <a:gd name="T47" fmla="*/ 24 h 36"/>
                <a:gd name="T48" fmla="*/ 18 w 96"/>
                <a:gd name="T49" fmla="*/ 24 h 36"/>
                <a:gd name="T50" fmla="*/ 12 w 96"/>
                <a:gd name="T51" fmla="*/ 24 h 36"/>
                <a:gd name="T52" fmla="*/ 12 w 96"/>
                <a:gd name="T53" fmla="*/ 18 h 36"/>
                <a:gd name="T54" fmla="*/ 12 w 96"/>
                <a:gd name="T55" fmla="*/ 18 h 36"/>
                <a:gd name="T56" fmla="*/ 18 w 96"/>
                <a:gd name="T57" fmla="*/ 18 h 36"/>
                <a:gd name="T58" fmla="*/ 18 w 96"/>
                <a:gd name="T59" fmla="*/ 18 h 36"/>
                <a:gd name="T60" fmla="*/ 36 w 96"/>
                <a:gd name="T61" fmla="*/ 12 h 36"/>
                <a:gd name="T62" fmla="*/ 42 w 96"/>
                <a:gd name="T63" fmla="*/ 12 h 36"/>
                <a:gd name="T64" fmla="*/ 72 w 96"/>
                <a:gd name="T65" fmla="*/ 6 h 36"/>
                <a:gd name="T66" fmla="*/ 84 w 96"/>
                <a:gd name="T67" fmla="*/ 0 h 36"/>
                <a:gd name="T68" fmla="*/ 96 w 96"/>
                <a:gd name="T6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36">
                  <a:moveTo>
                    <a:pt x="96" y="6"/>
                  </a:moveTo>
                  <a:lnTo>
                    <a:pt x="90" y="12"/>
                  </a:lnTo>
                  <a:lnTo>
                    <a:pt x="66" y="18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72" y="6"/>
                  </a:lnTo>
                  <a:lnTo>
                    <a:pt x="84" y="0"/>
                  </a:lnTo>
                  <a:lnTo>
                    <a:pt x="9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8" name="Freeform 364">
              <a:extLst>
                <a:ext uri="{FF2B5EF4-FFF2-40B4-BE49-F238E27FC236}">
                  <a16:creationId xmlns:a16="http://schemas.microsoft.com/office/drawing/2014/main" id="{CED8970B-0585-4F5F-AB49-6702E1D63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" y="1228"/>
              <a:ext cx="54" cy="30"/>
            </a:xfrm>
            <a:custGeom>
              <a:avLst/>
              <a:gdLst>
                <a:gd name="T0" fmla="*/ 54 w 54"/>
                <a:gd name="T1" fmla="*/ 30 h 30"/>
                <a:gd name="T2" fmla="*/ 36 w 54"/>
                <a:gd name="T3" fmla="*/ 18 h 30"/>
                <a:gd name="T4" fmla="*/ 30 w 54"/>
                <a:gd name="T5" fmla="*/ 12 h 30"/>
                <a:gd name="T6" fmla="*/ 30 w 54"/>
                <a:gd name="T7" fmla="*/ 6 h 30"/>
                <a:gd name="T8" fmla="*/ 30 w 54"/>
                <a:gd name="T9" fmla="*/ 6 h 30"/>
                <a:gd name="T10" fmla="*/ 30 w 54"/>
                <a:gd name="T11" fmla="*/ 0 h 30"/>
                <a:gd name="T12" fmla="*/ 12 w 54"/>
                <a:gd name="T13" fmla="*/ 0 h 30"/>
                <a:gd name="T14" fmla="*/ 6 w 54"/>
                <a:gd name="T15" fmla="*/ 6 h 30"/>
                <a:gd name="T16" fmla="*/ 6 w 54"/>
                <a:gd name="T17" fmla="*/ 6 h 30"/>
                <a:gd name="T18" fmla="*/ 6 w 54"/>
                <a:gd name="T19" fmla="*/ 12 h 30"/>
                <a:gd name="T20" fmla="*/ 6 w 54"/>
                <a:gd name="T21" fmla="*/ 12 h 30"/>
                <a:gd name="T22" fmla="*/ 0 w 54"/>
                <a:gd name="T23" fmla="*/ 18 h 30"/>
                <a:gd name="T24" fmla="*/ 6 w 54"/>
                <a:gd name="T25" fmla="*/ 18 h 30"/>
                <a:gd name="T26" fmla="*/ 12 w 54"/>
                <a:gd name="T27" fmla="*/ 18 h 30"/>
                <a:gd name="T28" fmla="*/ 18 w 54"/>
                <a:gd name="T29" fmla="*/ 18 h 30"/>
                <a:gd name="T30" fmla="*/ 18 w 54"/>
                <a:gd name="T31" fmla="*/ 24 h 30"/>
                <a:gd name="T32" fmla="*/ 24 w 54"/>
                <a:gd name="T33" fmla="*/ 24 h 30"/>
                <a:gd name="T34" fmla="*/ 24 w 54"/>
                <a:gd name="T35" fmla="*/ 24 h 30"/>
                <a:gd name="T36" fmla="*/ 30 w 54"/>
                <a:gd name="T37" fmla="*/ 30 h 30"/>
                <a:gd name="T38" fmla="*/ 36 w 54"/>
                <a:gd name="T39" fmla="*/ 30 h 30"/>
                <a:gd name="T40" fmla="*/ 42 w 54"/>
                <a:gd name="T41" fmla="*/ 30 h 30"/>
                <a:gd name="T42" fmla="*/ 54 w 54"/>
                <a:gd name="T43" fmla="*/ 30 h 30"/>
                <a:gd name="T44" fmla="*/ 54 w 54"/>
                <a:gd name="T4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0">
                  <a:moveTo>
                    <a:pt x="54" y="30"/>
                  </a:moveTo>
                  <a:lnTo>
                    <a:pt x="36" y="18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4" y="30"/>
                  </a:lnTo>
                  <a:lnTo>
                    <a:pt x="54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69" name="Freeform 365">
              <a:extLst>
                <a:ext uri="{FF2B5EF4-FFF2-40B4-BE49-F238E27FC236}">
                  <a16:creationId xmlns:a16="http://schemas.microsoft.com/office/drawing/2014/main" id="{FFE78A6D-D5B3-41E3-94F9-FD0DAF87CB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2" y="1204"/>
              <a:ext cx="65" cy="12"/>
            </a:xfrm>
            <a:custGeom>
              <a:avLst/>
              <a:gdLst>
                <a:gd name="T0" fmla="*/ 65 w 65"/>
                <a:gd name="T1" fmla="*/ 6 h 12"/>
                <a:gd name="T2" fmla="*/ 23 w 65"/>
                <a:gd name="T3" fmla="*/ 0 h 12"/>
                <a:gd name="T4" fmla="*/ 29 w 65"/>
                <a:gd name="T5" fmla="*/ 0 h 12"/>
                <a:gd name="T6" fmla="*/ 23 w 65"/>
                <a:gd name="T7" fmla="*/ 0 h 12"/>
                <a:gd name="T8" fmla="*/ 23 w 65"/>
                <a:gd name="T9" fmla="*/ 0 h 12"/>
                <a:gd name="T10" fmla="*/ 5 w 65"/>
                <a:gd name="T11" fmla="*/ 0 h 12"/>
                <a:gd name="T12" fmla="*/ 0 w 65"/>
                <a:gd name="T13" fmla="*/ 0 h 12"/>
                <a:gd name="T14" fmla="*/ 0 w 65"/>
                <a:gd name="T15" fmla="*/ 0 h 12"/>
                <a:gd name="T16" fmla="*/ 0 w 65"/>
                <a:gd name="T17" fmla="*/ 6 h 12"/>
                <a:gd name="T18" fmla="*/ 5 w 65"/>
                <a:gd name="T19" fmla="*/ 6 h 12"/>
                <a:gd name="T20" fmla="*/ 29 w 65"/>
                <a:gd name="T21" fmla="*/ 12 h 12"/>
                <a:gd name="T22" fmla="*/ 29 w 65"/>
                <a:gd name="T23" fmla="*/ 12 h 12"/>
                <a:gd name="T24" fmla="*/ 47 w 65"/>
                <a:gd name="T25" fmla="*/ 12 h 12"/>
                <a:gd name="T26" fmla="*/ 59 w 65"/>
                <a:gd name="T27" fmla="*/ 12 h 12"/>
                <a:gd name="T28" fmla="*/ 53 w 65"/>
                <a:gd name="T29" fmla="*/ 6 h 12"/>
                <a:gd name="T30" fmla="*/ 65 w 65"/>
                <a:gd name="T31" fmla="*/ 6 h 12"/>
                <a:gd name="T32" fmla="*/ 65 w 65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2">
                  <a:moveTo>
                    <a:pt x="65" y="6"/>
                  </a:moveTo>
                  <a:lnTo>
                    <a:pt x="23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47" y="12"/>
                  </a:lnTo>
                  <a:lnTo>
                    <a:pt x="59" y="12"/>
                  </a:lnTo>
                  <a:lnTo>
                    <a:pt x="53" y="6"/>
                  </a:lnTo>
                  <a:lnTo>
                    <a:pt x="65" y="6"/>
                  </a:lnTo>
                  <a:lnTo>
                    <a:pt x="65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0" name="Freeform 366">
              <a:extLst>
                <a:ext uri="{FF2B5EF4-FFF2-40B4-BE49-F238E27FC236}">
                  <a16:creationId xmlns:a16="http://schemas.microsoft.com/office/drawing/2014/main" id="{16FC43D9-D653-4BC0-97F0-C1D4891400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2" y="1168"/>
              <a:ext cx="48" cy="12"/>
            </a:xfrm>
            <a:custGeom>
              <a:avLst/>
              <a:gdLst>
                <a:gd name="T0" fmla="*/ 42 w 48"/>
                <a:gd name="T1" fmla="*/ 0 h 12"/>
                <a:gd name="T2" fmla="*/ 30 w 48"/>
                <a:gd name="T3" fmla="*/ 0 h 12"/>
                <a:gd name="T4" fmla="*/ 24 w 48"/>
                <a:gd name="T5" fmla="*/ 0 h 12"/>
                <a:gd name="T6" fmla="*/ 24 w 48"/>
                <a:gd name="T7" fmla="*/ 0 h 12"/>
                <a:gd name="T8" fmla="*/ 0 w 48"/>
                <a:gd name="T9" fmla="*/ 0 h 12"/>
                <a:gd name="T10" fmla="*/ 0 w 48"/>
                <a:gd name="T11" fmla="*/ 6 h 12"/>
                <a:gd name="T12" fmla="*/ 6 w 48"/>
                <a:gd name="T13" fmla="*/ 6 h 12"/>
                <a:gd name="T14" fmla="*/ 18 w 48"/>
                <a:gd name="T15" fmla="*/ 6 h 12"/>
                <a:gd name="T16" fmla="*/ 48 w 48"/>
                <a:gd name="T17" fmla="*/ 12 h 12"/>
                <a:gd name="T18" fmla="*/ 48 w 48"/>
                <a:gd name="T19" fmla="*/ 6 h 12"/>
                <a:gd name="T20" fmla="*/ 42 w 4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1" name="Freeform 367">
              <a:extLst>
                <a:ext uri="{FF2B5EF4-FFF2-40B4-BE49-F238E27FC236}">
                  <a16:creationId xmlns:a16="http://schemas.microsoft.com/office/drawing/2014/main" id="{36E41B56-69FB-4E73-BCC9-7B3D3462D2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12" y="1174"/>
              <a:ext cx="36" cy="12"/>
            </a:xfrm>
            <a:custGeom>
              <a:avLst/>
              <a:gdLst>
                <a:gd name="T0" fmla="*/ 36 w 36"/>
                <a:gd name="T1" fmla="*/ 6 h 12"/>
                <a:gd name="T2" fmla="*/ 12 w 36"/>
                <a:gd name="T3" fmla="*/ 0 h 12"/>
                <a:gd name="T4" fmla="*/ 12 w 36"/>
                <a:gd name="T5" fmla="*/ 6 h 12"/>
                <a:gd name="T6" fmla="*/ 6 w 36"/>
                <a:gd name="T7" fmla="*/ 0 h 12"/>
                <a:gd name="T8" fmla="*/ 0 w 36"/>
                <a:gd name="T9" fmla="*/ 0 h 12"/>
                <a:gd name="T10" fmla="*/ 6 w 36"/>
                <a:gd name="T11" fmla="*/ 0 h 12"/>
                <a:gd name="T12" fmla="*/ 0 w 36"/>
                <a:gd name="T13" fmla="*/ 0 h 12"/>
                <a:gd name="T14" fmla="*/ 0 w 36"/>
                <a:gd name="T15" fmla="*/ 0 h 12"/>
                <a:gd name="T16" fmla="*/ 0 w 36"/>
                <a:gd name="T17" fmla="*/ 6 h 12"/>
                <a:gd name="T18" fmla="*/ 0 w 36"/>
                <a:gd name="T19" fmla="*/ 6 h 12"/>
                <a:gd name="T20" fmla="*/ 0 w 36"/>
                <a:gd name="T21" fmla="*/ 12 h 12"/>
                <a:gd name="T22" fmla="*/ 36 w 36"/>
                <a:gd name="T23" fmla="*/ 6 h 12"/>
                <a:gd name="T24" fmla="*/ 36 w 36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lnTo>
                    <a:pt x="12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2" name="Freeform 368">
              <a:extLst>
                <a:ext uri="{FF2B5EF4-FFF2-40B4-BE49-F238E27FC236}">
                  <a16:creationId xmlns:a16="http://schemas.microsoft.com/office/drawing/2014/main" id="{0E760C15-FE8A-4DA2-A0C5-671991B202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428" y="1156"/>
              <a:ext cx="42" cy="12"/>
            </a:xfrm>
            <a:custGeom>
              <a:avLst/>
              <a:gdLst>
                <a:gd name="T0" fmla="*/ 42 w 42"/>
                <a:gd name="T1" fmla="*/ 6 h 12"/>
                <a:gd name="T2" fmla="*/ 24 w 42"/>
                <a:gd name="T3" fmla="*/ 0 h 12"/>
                <a:gd name="T4" fmla="*/ 6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0 w 42"/>
                <a:gd name="T11" fmla="*/ 6 h 12"/>
                <a:gd name="T12" fmla="*/ 12 w 42"/>
                <a:gd name="T13" fmla="*/ 12 h 12"/>
                <a:gd name="T14" fmla="*/ 12 w 42"/>
                <a:gd name="T15" fmla="*/ 12 h 12"/>
                <a:gd name="T16" fmla="*/ 42 w 42"/>
                <a:gd name="T17" fmla="*/ 12 h 12"/>
                <a:gd name="T18" fmla="*/ 36 w 42"/>
                <a:gd name="T19" fmla="*/ 6 h 12"/>
                <a:gd name="T20" fmla="*/ 42 w 42"/>
                <a:gd name="T2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12">
                  <a:moveTo>
                    <a:pt x="42" y="6"/>
                  </a:moveTo>
                  <a:lnTo>
                    <a:pt x="24" y="0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3" name="Freeform 369">
              <a:extLst>
                <a:ext uri="{FF2B5EF4-FFF2-40B4-BE49-F238E27FC236}">
                  <a16:creationId xmlns:a16="http://schemas.microsoft.com/office/drawing/2014/main" id="{F7C6BED1-202C-407F-BD84-2FB09DBC52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3" y="1210"/>
              <a:ext cx="36" cy="6"/>
            </a:xfrm>
            <a:custGeom>
              <a:avLst/>
              <a:gdLst>
                <a:gd name="T0" fmla="*/ 36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0 w 36"/>
                <a:gd name="T7" fmla="*/ 0 h 6"/>
                <a:gd name="T8" fmla="*/ 36 w 36"/>
                <a:gd name="T9" fmla="*/ 6 h 6"/>
                <a:gd name="T10" fmla="*/ 36 w 3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6">
                  <a:moveTo>
                    <a:pt x="3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4" name="Freeform 370">
              <a:extLst>
                <a:ext uri="{FF2B5EF4-FFF2-40B4-BE49-F238E27FC236}">
                  <a16:creationId xmlns:a16="http://schemas.microsoft.com/office/drawing/2014/main" id="{820781F8-4B60-42A0-870E-BF4B9C266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431"/>
              <a:ext cx="18" cy="6"/>
            </a:xfrm>
            <a:custGeom>
              <a:avLst/>
              <a:gdLst>
                <a:gd name="T0" fmla="*/ 6 w 18"/>
                <a:gd name="T1" fmla="*/ 0 h 6"/>
                <a:gd name="T2" fmla="*/ 6 w 18"/>
                <a:gd name="T3" fmla="*/ 0 h 6"/>
                <a:gd name="T4" fmla="*/ 0 w 18"/>
                <a:gd name="T5" fmla="*/ 0 h 6"/>
                <a:gd name="T6" fmla="*/ 0 w 18"/>
                <a:gd name="T7" fmla="*/ 0 h 6"/>
                <a:gd name="T8" fmla="*/ 0 w 18"/>
                <a:gd name="T9" fmla="*/ 0 h 6"/>
                <a:gd name="T10" fmla="*/ 0 w 18"/>
                <a:gd name="T11" fmla="*/ 0 h 6"/>
                <a:gd name="T12" fmla="*/ 0 w 18"/>
                <a:gd name="T13" fmla="*/ 6 h 6"/>
                <a:gd name="T14" fmla="*/ 6 w 18"/>
                <a:gd name="T15" fmla="*/ 6 h 6"/>
                <a:gd name="T16" fmla="*/ 18 w 18"/>
                <a:gd name="T17" fmla="*/ 6 h 6"/>
                <a:gd name="T18" fmla="*/ 18 w 18"/>
                <a:gd name="T19" fmla="*/ 0 h 6"/>
                <a:gd name="T20" fmla="*/ 12 w 18"/>
                <a:gd name="T21" fmla="*/ 0 h 6"/>
                <a:gd name="T22" fmla="*/ 6 w 1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5" name="Freeform 371">
              <a:extLst>
                <a:ext uri="{FF2B5EF4-FFF2-40B4-BE49-F238E27FC236}">
                  <a16:creationId xmlns:a16="http://schemas.microsoft.com/office/drawing/2014/main" id="{42B8A550-EAD5-46F0-9F6D-DBE2B5ACA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5" y="1222"/>
              <a:ext cx="30" cy="6"/>
            </a:xfrm>
            <a:custGeom>
              <a:avLst/>
              <a:gdLst>
                <a:gd name="T0" fmla="*/ 30 w 30"/>
                <a:gd name="T1" fmla="*/ 6 h 6"/>
                <a:gd name="T2" fmla="*/ 0 w 30"/>
                <a:gd name="T3" fmla="*/ 6 h 6"/>
                <a:gd name="T4" fmla="*/ 6 w 30"/>
                <a:gd name="T5" fmla="*/ 0 h 6"/>
                <a:gd name="T6" fmla="*/ 24 w 30"/>
                <a:gd name="T7" fmla="*/ 6 h 6"/>
                <a:gd name="T8" fmla="*/ 30 w 3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">
                  <a:moveTo>
                    <a:pt x="30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24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6" name="Freeform 372">
              <a:extLst>
                <a:ext uri="{FF2B5EF4-FFF2-40B4-BE49-F238E27FC236}">
                  <a16:creationId xmlns:a16="http://schemas.microsoft.com/office/drawing/2014/main" id="{86D36637-D53F-40BB-A47B-2D8B7B08F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4" y="1270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6 w 18"/>
                <a:gd name="T3" fmla="*/ 6 h 6"/>
                <a:gd name="T4" fmla="*/ 0 w 18"/>
                <a:gd name="T5" fmla="*/ 0 h 6"/>
                <a:gd name="T6" fmla="*/ 6 w 18"/>
                <a:gd name="T7" fmla="*/ 0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7" name="Freeform 373">
              <a:extLst>
                <a:ext uri="{FF2B5EF4-FFF2-40B4-BE49-F238E27FC236}">
                  <a16:creationId xmlns:a16="http://schemas.microsoft.com/office/drawing/2014/main" id="{9BE71408-2125-4042-BA8B-917B93CC8C1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5" y="1246"/>
              <a:ext cx="24" cy="6"/>
            </a:xfrm>
            <a:custGeom>
              <a:avLst/>
              <a:gdLst>
                <a:gd name="T0" fmla="*/ 18 w 24"/>
                <a:gd name="T1" fmla="*/ 6 h 6"/>
                <a:gd name="T2" fmla="*/ 0 w 24"/>
                <a:gd name="T3" fmla="*/ 6 h 6"/>
                <a:gd name="T4" fmla="*/ 12 w 24"/>
                <a:gd name="T5" fmla="*/ 0 h 6"/>
                <a:gd name="T6" fmla="*/ 24 w 24"/>
                <a:gd name="T7" fmla="*/ 6 h 6"/>
                <a:gd name="T8" fmla="*/ 18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8" y="6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8" name="Freeform 374">
              <a:extLst>
                <a:ext uri="{FF2B5EF4-FFF2-40B4-BE49-F238E27FC236}">
                  <a16:creationId xmlns:a16="http://schemas.microsoft.com/office/drawing/2014/main" id="{F496E042-1A61-4F60-A61B-5A0C163DC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29" y="1162"/>
              <a:ext cx="29" cy="6"/>
            </a:xfrm>
            <a:custGeom>
              <a:avLst/>
              <a:gdLst>
                <a:gd name="T0" fmla="*/ 29 w 29"/>
                <a:gd name="T1" fmla="*/ 0 h 6"/>
                <a:gd name="T2" fmla="*/ 12 w 29"/>
                <a:gd name="T3" fmla="*/ 6 h 6"/>
                <a:gd name="T4" fmla="*/ 6 w 29"/>
                <a:gd name="T5" fmla="*/ 6 h 6"/>
                <a:gd name="T6" fmla="*/ 0 w 29"/>
                <a:gd name="T7" fmla="*/ 6 h 6"/>
                <a:gd name="T8" fmla="*/ 6 w 29"/>
                <a:gd name="T9" fmla="*/ 0 h 6"/>
                <a:gd name="T10" fmla="*/ 18 w 29"/>
                <a:gd name="T11" fmla="*/ 0 h 6"/>
                <a:gd name="T12" fmla="*/ 24 w 29"/>
                <a:gd name="T13" fmla="*/ 0 h 6"/>
                <a:gd name="T14" fmla="*/ 29 w 2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">
                  <a:moveTo>
                    <a:pt x="29" y="0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79" name="Freeform 375">
              <a:extLst>
                <a:ext uri="{FF2B5EF4-FFF2-40B4-BE49-F238E27FC236}">
                  <a16:creationId xmlns:a16="http://schemas.microsoft.com/office/drawing/2014/main" id="{76090FB0-603F-4DC5-93BA-C343FEF4B6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61" y="154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0 h 12"/>
                <a:gd name="T4" fmla="*/ 0 w 6"/>
                <a:gd name="T5" fmla="*/ 12 h 12"/>
                <a:gd name="T6" fmla="*/ 0 w 6"/>
                <a:gd name="T7" fmla="*/ 6 h 12"/>
                <a:gd name="T8" fmla="*/ 6 w 6"/>
                <a:gd name="T9" fmla="*/ 0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0" name="Freeform 376">
              <a:extLst>
                <a:ext uri="{FF2B5EF4-FFF2-40B4-BE49-F238E27FC236}">
                  <a16:creationId xmlns:a16="http://schemas.microsoft.com/office/drawing/2014/main" id="{3FA6F0D0-26CF-4CDA-B089-E1A4BA7013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" y="1246"/>
              <a:ext cx="12" cy="12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12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0" y="6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1" name="Freeform 377">
              <a:extLst>
                <a:ext uri="{FF2B5EF4-FFF2-40B4-BE49-F238E27FC236}">
                  <a16:creationId xmlns:a16="http://schemas.microsoft.com/office/drawing/2014/main" id="{B8A0DCFE-F258-43BE-ABCE-108AC59EE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2" y="1258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0 h 6"/>
                <a:gd name="T4" fmla="*/ 0 w 18"/>
                <a:gd name="T5" fmla="*/ 0 h 6"/>
                <a:gd name="T6" fmla="*/ 6 w 18"/>
                <a:gd name="T7" fmla="*/ 6 h 6"/>
                <a:gd name="T8" fmla="*/ 18 w 1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2" name="Freeform 378">
              <a:extLst>
                <a:ext uri="{FF2B5EF4-FFF2-40B4-BE49-F238E27FC236}">
                  <a16:creationId xmlns:a16="http://schemas.microsoft.com/office/drawing/2014/main" id="{C4232AD3-0588-49B0-BEC9-824B46EA19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9" y="1389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3" name="Freeform 379">
              <a:extLst>
                <a:ext uri="{FF2B5EF4-FFF2-40B4-BE49-F238E27FC236}">
                  <a16:creationId xmlns:a16="http://schemas.microsoft.com/office/drawing/2014/main" id="{34374F2D-9D29-4750-94E9-507D8E31173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5" y="1377"/>
              <a:ext cx="12" cy="12"/>
            </a:xfrm>
            <a:custGeom>
              <a:avLst/>
              <a:gdLst>
                <a:gd name="T0" fmla="*/ 12 w 12"/>
                <a:gd name="T1" fmla="*/ 6 h 12"/>
                <a:gd name="T2" fmla="*/ 6 w 12"/>
                <a:gd name="T3" fmla="*/ 12 h 12"/>
                <a:gd name="T4" fmla="*/ 0 w 12"/>
                <a:gd name="T5" fmla="*/ 6 h 12"/>
                <a:gd name="T6" fmla="*/ 6 w 12"/>
                <a:gd name="T7" fmla="*/ 0 h 12"/>
                <a:gd name="T8" fmla="*/ 12 w 12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4" name="Freeform 380">
              <a:extLst>
                <a:ext uri="{FF2B5EF4-FFF2-40B4-BE49-F238E27FC236}">
                  <a16:creationId xmlns:a16="http://schemas.microsoft.com/office/drawing/2014/main" id="{94C6334A-3C35-4693-9AF5-10D53A229B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" y="1264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6 h 6"/>
                <a:gd name="T4" fmla="*/ 0 w 12"/>
                <a:gd name="T5" fmla="*/ 0 h 6"/>
                <a:gd name="T6" fmla="*/ 12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5" name="Freeform 381">
              <a:extLst>
                <a:ext uri="{FF2B5EF4-FFF2-40B4-BE49-F238E27FC236}">
                  <a16:creationId xmlns:a16="http://schemas.microsoft.com/office/drawing/2014/main" id="{8FE6979F-50CD-4ACE-8BD3-FDB7F612E33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8" y="1228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0 w 12"/>
                <a:gd name="T3" fmla="*/ 6 h 6"/>
                <a:gd name="T4" fmla="*/ 6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6" name="Freeform 382">
              <a:extLst>
                <a:ext uri="{FF2B5EF4-FFF2-40B4-BE49-F238E27FC236}">
                  <a16:creationId xmlns:a16="http://schemas.microsoft.com/office/drawing/2014/main" id="{29044C84-126B-4877-B619-35912C568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2" y="1162"/>
              <a:ext cx="18" cy="1"/>
            </a:xfrm>
            <a:custGeom>
              <a:avLst/>
              <a:gdLst>
                <a:gd name="T0" fmla="*/ 18 w 18"/>
                <a:gd name="T1" fmla="*/ 0 w 18"/>
                <a:gd name="T2" fmla="*/ 6 w 18"/>
                <a:gd name="T3" fmla="*/ 18 w 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8">
                  <a:moveTo>
                    <a:pt x="18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7" name="Freeform 383">
              <a:extLst>
                <a:ext uri="{FF2B5EF4-FFF2-40B4-BE49-F238E27FC236}">
                  <a16:creationId xmlns:a16="http://schemas.microsoft.com/office/drawing/2014/main" id="{A7197C03-3268-4611-B992-4C0DDB504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0" y="1156"/>
              <a:ext cx="18" cy="6"/>
            </a:xfrm>
            <a:custGeom>
              <a:avLst/>
              <a:gdLst>
                <a:gd name="T0" fmla="*/ 18 w 18"/>
                <a:gd name="T1" fmla="*/ 6 h 6"/>
                <a:gd name="T2" fmla="*/ 0 w 18"/>
                <a:gd name="T3" fmla="*/ 6 h 6"/>
                <a:gd name="T4" fmla="*/ 18 w 18"/>
                <a:gd name="T5" fmla="*/ 0 h 6"/>
                <a:gd name="T6" fmla="*/ 18 w 18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8" name="Freeform 384">
              <a:extLst>
                <a:ext uri="{FF2B5EF4-FFF2-40B4-BE49-F238E27FC236}">
                  <a16:creationId xmlns:a16="http://schemas.microsoft.com/office/drawing/2014/main" id="{D83183CC-C4BB-45FC-9439-6EF1C415FE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8" y="1216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0 w 18"/>
                <a:gd name="T3" fmla="*/ 6 h 6"/>
                <a:gd name="T4" fmla="*/ 18 w 18"/>
                <a:gd name="T5" fmla="*/ 6 h 6"/>
                <a:gd name="T6" fmla="*/ 18 w 18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0" y="6"/>
                  </a:lnTo>
                  <a:lnTo>
                    <a:pt x="18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89" name="Freeform 385">
              <a:extLst>
                <a:ext uri="{FF2B5EF4-FFF2-40B4-BE49-F238E27FC236}">
                  <a16:creationId xmlns:a16="http://schemas.microsoft.com/office/drawing/2014/main" id="{E127F5F8-397F-49B1-B525-9E03C65CC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5" y="1479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0" name="Freeform 386">
              <a:extLst>
                <a:ext uri="{FF2B5EF4-FFF2-40B4-BE49-F238E27FC236}">
                  <a16:creationId xmlns:a16="http://schemas.microsoft.com/office/drawing/2014/main" id="{C3102857-18AB-4E14-B5BF-506533718B4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9" y="1557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0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1" name="Freeform 387">
              <a:extLst>
                <a:ext uri="{FF2B5EF4-FFF2-40B4-BE49-F238E27FC236}">
                  <a16:creationId xmlns:a16="http://schemas.microsoft.com/office/drawing/2014/main" id="{855CC3CD-C084-40C8-9867-F3DEA885CC3A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3" y="1222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2" name="Rectangle 388">
              <a:extLst>
                <a:ext uri="{FF2B5EF4-FFF2-40B4-BE49-F238E27FC236}">
                  <a16:creationId xmlns:a16="http://schemas.microsoft.com/office/drawing/2014/main" id="{1B501E75-6D5C-4B6B-84D0-BBE13DA7DE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23" y="1162"/>
              <a:ext cx="18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3" name="Rectangle 389">
              <a:extLst>
                <a:ext uri="{FF2B5EF4-FFF2-40B4-BE49-F238E27FC236}">
                  <a16:creationId xmlns:a16="http://schemas.microsoft.com/office/drawing/2014/main" id="{5E6FCBDE-D47C-4CB0-A22C-FB69471795B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98" y="1240"/>
              <a:ext cx="12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4" name="Freeform 390">
              <a:extLst>
                <a:ext uri="{FF2B5EF4-FFF2-40B4-BE49-F238E27FC236}">
                  <a16:creationId xmlns:a16="http://schemas.microsoft.com/office/drawing/2014/main" id="{6C28AC81-5D6E-41A2-9E8F-05A24AD3B3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0" y="1168"/>
              <a:ext cx="12" cy="1"/>
            </a:xfrm>
            <a:custGeom>
              <a:avLst/>
              <a:gdLst>
                <a:gd name="T0" fmla="*/ 12 w 12"/>
                <a:gd name="T1" fmla="*/ 0 w 12"/>
                <a:gd name="T2" fmla="*/ 6 w 12"/>
                <a:gd name="T3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5" name="Freeform 391">
              <a:extLst>
                <a:ext uri="{FF2B5EF4-FFF2-40B4-BE49-F238E27FC236}">
                  <a16:creationId xmlns:a16="http://schemas.microsoft.com/office/drawing/2014/main" id="{2869BF29-DC41-4C70-ADA0-F2A5334C75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7" y="1425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0 h 6"/>
                <a:gd name="T4" fmla="*/ 12 w 12"/>
                <a:gd name="T5" fmla="*/ 6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6" name="Freeform 392">
              <a:extLst>
                <a:ext uri="{FF2B5EF4-FFF2-40B4-BE49-F238E27FC236}">
                  <a16:creationId xmlns:a16="http://schemas.microsoft.com/office/drawing/2014/main" id="{BC2C5281-591B-45F7-8529-4A9F2A25F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" y="1204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7" name="Rectangle 393">
              <a:extLst>
                <a:ext uri="{FF2B5EF4-FFF2-40B4-BE49-F238E27FC236}">
                  <a16:creationId xmlns:a16="http://schemas.microsoft.com/office/drawing/2014/main" id="{F4917658-5309-4E19-9475-B2BEA74E6B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09" y="1383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8" name="Freeform 394">
              <a:extLst>
                <a:ext uri="{FF2B5EF4-FFF2-40B4-BE49-F238E27FC236}">
                  <a16:creationId xmlns:a16="http://schemas.microsoft.com/office/drawing/2014/main" id="{52CC5AD6-6929-4521-B961-9D03D31C7B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1" y="1563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399" name="Freeform 395">
              <a:extLst>
                <a:ext uri="{FF2B5EF4-FFF2-40B4-BE49-F238E27FC236}">
                  <a16:creationId xmlns:a16="http://schemas.microsoft.com/office/drawing/2014/main" id="{82B6DCCF-B12E-4367-BD66-8F058EA3E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491"/>
              <a:ext cx="54" cy="24"/>
            </a:xfrm>
            <a:custGeom>
              <a:avLst/>
              <a:gdLst>
                <a:gd name="T0" fmla="*/ 18 w 54"/>
                <a:gd name="T1" fmla="*/ 0 h 24"/>
                <a:gd name="T2" fmla="*/ 18 w 54"/>
                <a:gd name="T3" fmla="*/ 6 h 24"/>
                <a:gd name="T4" fmla="*/ 12 w 54"/>
                <a:gd name="T5" fmla="*/ 6 h 24"/>
                <a:gd name="T6" fmla="*/ 12 w 54"/>
                <a:gd name="T7" fmla="*/ 6 h 24"/>
                <a:gd name="T8" fmla="*/ 12 w 54"/>
                <a:gd name="T9" fmla="*/ 6 h 24"/>
                <a:gd name="T10" fmla="*/ 6 w 54"/>
                <a:gd name="T11" fmla="*/ 12 h 24"/>
                <a:gd name="T12" fmla="*/ 6 w 54"/>
                <a:gd name="T13" fmla="*/ 12 h 24"/>
                <a:gd name="T14" fmla="*/ 0 w 54"/>
                <a:gd name="T15" fmla="*/ 12 h 24"/>
                <a:gd name="T16" fmla="*/ 0 w 54"/>
                <a:gd name="T17" fmla="*/ 12 h 24"/>
                <a:gd name="T18" fmla="*/ 6 w 54"/>
                <a:gd name="T19" fmla="*/ 24 h 24"/>
                <a:gd name="T20" fmla="*/ 6 w 54"/>
                <a:gd name="T21" fmla="*/ 24 h 24"/>
                <a:gd name="T22" fmla="*/ 18 w 54"/>
                <a:gd name="T23" fmla="*/ 24 h 24"/>
                <a:gd name="T24" fmla="*/ 36 w 54"/>
                <a:gd name="T25" fmla="*/ 18 h 24"/>
                <a:gd name="T26" fmla="*/ 48 w 54"/>
                <a:gd name="T27" fmla="*/ 18 h 24"/>
                <a:gd name="T28" fmla="*/ 54 w 54"/>
                <a:gd name="T29" fmla="*/ 6 h 24"/>
                <a:gd name="T30" fmla="*/ 42 w 54"/>
                <a:gd name="T31" fmla="*/ 6 h 24"/>
                <a:gd name="T32" fmla="*/ 30 w 54"/>
                <a:gd name="T33" fmla="*/ 6 h 24"/>
                <a:gd name="T34" fmla="*/ 30 w 54"/>
                <a:gd name="T35" fmla="*/ 0 h 24"/>
                <a:gd name="T36" fmla="*/ 18 w 54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24">
                  <a:moveTo>
                    <a:pt x="18" y="0"/>
                  </a:move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18" y="24"/>
                  </a:lnTo>
                  <a:lnTo>
                    <a:pt x="36" y="18"/>
                  </a:lnTo>
                  <a:lnTo>
                    <a:pt x="48" y="18"/>
                  </a:lnTo>
                  <a:lnTo>
                    <a:pt x="54" y="6"/>
                  </a:lnTo>
                  <a:lnTo>
                    <a:pt x="42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0" name="Freeform 396">
              <a:extLst>
                <a:ext uri="{FF2B5EF4-FFF2-40B4-BE49-F238E27FC236}">
                  <a16:creationId xmlns:a16="http://schemas.microsoft.com/office/drawing/2014/main" id="{AC8131EC-95F4-4E3B-BF44-D37641586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3" y="1527"/>
              <a:ext cx="30" cy="18"/>
            </a:xfrm>
            <a:custGeom>
              <a:avLst/>
              <a:gdLst>
                <a:gd name="T0" fmla="*/ 6 w 30"/>
                <a:gd name="T1" fmla="*/ 18 h 18"/>
                <a:gd name="T2" fmla="*/ 6 w 30"/>
                <a:gd name="T3" fmla="*/ 18 h 18"/>
                <a:gd name="T4" fmla="*/ 12 w 30"/>
                <a:gd name="T5" fmla="*/ 12 h 18"/>
                <a:gd name="T6" fmla="*/ 12 w 30"/>
                <a:gd name="T7" fmla="*/ 18 h 18"/>
                <a:gd name="T8" fmla="*/ 12 w 30"/>
                <a:gd name="T9" fmla="*/ 18 h 18"/>
                <a:gd name="T10" fmla="*/ 18 w 30"/>
                <a:gd name="T11" fmla="*/ 18 h 18"/>
                <a:gd name="T12" fmla="*/ 18 w 30"/>
                <a:gd name="T13" fmla="*/ 18 h 18"/>
                <a:gd name="T14" fmla="*/ 18 w 30"/>
                <a:gd name="T15" fmla="*/ 12 h 18"/>
                <a:gd name="T16" fmla="*/ 18 w 30"/>
                <a:gd name="T17" fmla="*/ 12 h 18"/>
                <a:gd name="T18" fmla="*/ 18 w 30"/>
                <a:gd name="T19" fmla="*/ 12 h 18"/>
                <a:gd name="T20" fmla="*/ 24 w 30"/>
                <a:gd name="T21" fmla="*/ 12 h 18"/>
                <a:gd name="T22" fmla="*/ 24 w 30"/>
                <a:gd name="T23" fmla="*/ 12 h 18"/>
                <a:gd name="T24" fmla="*/ 24 w 30"/>
                <a:gd name="T25" fmla="*/ 6 h 18"/>
                <a:gd name="T26" fmla="*/ 18 w 30"/>
                <a:gd name="T27" fmla="*/ 6 h 18"/>
                <a:gd name="T28" fmla="*/ 24 w 30"/>
                <a:gd name="T29" fmla="*/ 6 h 18"/>
                <a:gd name="T30" fmla="*/ 24 w 30"/>
                <a:gd name="T31" fmla="*/ 6 h 18"/>
                <a:gd name="T32" fmla="*/ 30 w 30"/>
                <a:gd name="T33" fmla="*/ 6 h 18"/>
                <a:gd name="T34" fmla="*/ 30 w 30"/>
                <a:gd name="T35" fmla="*/ 6 h 18"/>
                <a:gd name="T36" fmla="*/ 30 w 30"/>
                <a:gd name="T37" fmla="*/ 0 h 18"/>
                <a:gd name="T38" fmla="*/ 24 w 30"/>
                <a:gd name="T39" fmla="*/ 0 h 18"/>
                <a:gd name="T40" fmla="*/ 24 w 30"/>
                <a:gd name="T41" fmla="*/ 0 h 18"/>
                <a:gd name="T42" fmla="*/ 6 w 30"/>
                <a:gd name="T43" fmla="*/ 6 h 18"/>
                <a:gd name="T44" fmla="*/ 0 w 30"/>
                <a:gd name="T45" fmla="*/ 0 h 18"/>
                <a:gd name="T46" fmla="*/ 0 w 30"/>
                <a:gd name="T47" fmla="*/ 6 h 18"/>
                <a:gd name="T48" fmla="*/ 0 w 30"/>
                <a:gd name="T49" fmla="*/ 18 h 18"/>
                <a:gd name="T50" fmla="*/ 6 w 30"/>
                <a:gd name="T5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18">
                  <a:moveTo>
                    <a:pt x="6" y="18"/>
                  </a:moveTo>
                  <a:lnTo>
                    <a:pt x="6" y="18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1" name="Freeform 397">
              <a:extLst>
                <a:ext uri="{FF2B5EF4-FFF2-40B4-BE49-F238E27FC236}">
                  <a16:creationId xmlns:a16="http://schemas.microsoft.com/office/drawing/2014/main" id="{49426F86-C82C-4114-8A40-A0E81643BC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7" y="1270"/>
              <a:ext cx="102" cy="155"/>
            </a:xfrm>
            <a:custGeom>
              <a:avLst/>
              <a:gdLst>
                <a:gd name="T0" fmla="*/ 72 w 102"/>
                <a:gd name="T1" fmla="*/ 60 h 155"/>
                <a:gd name="T2" fmla="*/ 60 w 102"/>
                <a:gd name="T3" fmla="*/ 66 h 155"/>
                <a:gd name="T4" fmla="*/ 54 w 102"/>
                <a:gd name="T5" fmla="*/ 72 h 155"/>
                <a:gd name="T6" fmla="*/ 54 w 102"/>
                <a:gd name="T7" fmla="*/ 84 h 155"/>
                <a:gd name="T8" fmla="*/ 66 w 102"/>
                <a:gd name="T9" fmla="*/ 102 h 155"/>
                <a:gd name="T10" fmla="*/ 60 w 102"/>
                <a:gd name="T11" fmla="*/ 107 h 155"/>
                <a:gd name="T12" fmla="*/ 60 w 102"/>
                <a:gd name="T13" fmla="*/ 107 h 155"/>
                <a:gd name="T14" fmla="*/ 66 w 102"/>
                <a:gd name="T15" fmla="*/ 107 h 155"/>
                <a:gd name="T16" fmla="*/ 60 w 102"/>
                <a:gd name="T17" fmla="*/ 113 h 155"/>
                <a:gd name="T18" fmla="*/ 48 w 102"/>
                <a:gd name="T19" fmla="*/ 119 h 155"/>
                <a:gd name="T20" fmla="*/ 54 w 102"/>
                <a:gd name="T21" fmla="*/ 125 h 155"/>
                <a:gd name="T22" fmla="*/ 54 w 102"/>
                <a:gd name="T23" fmla="*/ 125 h 155"/>
                <a:gd name="T24" fmla="*/ 48 w 102"/>
                <a:gd name="T25" fmla="*/ 143 h 155"/>
                <a:gd name="T26" fmla="*/ 30 w 102"/>
                <a:gd name="T27" fmla="*/ 155 h 155"/>
                <a:gd name="T28" fmla="*/ 18 w 102"/>
                <a:gd name="T29" fmla="*/ 143 h 155"/>
                <a:gd name="T30" fmla="*/ 6 w 102"/>
                <a:gd name="T31" fmla="*/ 125 h 155"/>
                <a:gd name="T32" fmla="*/ 6 w 102"/>
                <a:gd name="T33" fmla="*/ 119 h 155"/>
                <a:gd name="T34" fmla="*/ 0 w 102"/>
                <a:gd name="T35" fmla="*/ 113 h 155"/>
                <a:gd name="T36" fmla="*/ 12 w 102"/>
                <a:gd name="T37" fmla="*/ 102 h 155"/>
                <a:gd name="T38" fmla="*/ 12 w 102"/>
                <a:gd name="T39" fmla="*/ 90 h 155"/>
                <a:gd name="T40" fmla="*/ 6 w 102"/>
                <a:gd name="T41" fmla="*/ 84 h 155"/>
                <a:gd name="T42" fmla="*/ 6 w 102"/>
                <a:gd name="T43" fmla="*/ 60 h 155"/>
                <a:gd name="T44" fmla="*/ 24 w 102"/>
                <a:gd name="T45" fmla="*/ 54 h 155"/>
                <a:gd name="T46" fmla="*/ 24 w 102"/>
                <a:gd name="T47" fmla="*/ 36 h 155"/>
                <a:gd name="T48" fmla="*/ 30 w 102"/>
                <a:gd name="T49" fmla="*/ 30 h 155"/>
                <a:gd name="T50" fmla="*/ 36 w 102"/>
                <a:gd name="T51" fmla="*/ 18 h 155"/>
                <a:gd name="T52" fmla="*/ 54 w 102"/>
                <a:gd name="T53" fmla="*/ 12 h 155"/>
                <a:gd name="T54" fmla="*/ 66 w 102"/>
                <a:gd name="T55" fmla="*/ 0 h 155"/>
                <a:gd name="T56" fmla="*/ 90 w 102"/>
                <a:gd name="T57" fmla="*/ 12 h 155"/>
                <a:gd name="T58" fmla="*/ 102 w 102"/>
                <a:gd name="T59" fmla="*/ 36 h 155"/>
                <a:gd name="T60" fmla="*/ 90 w 102"/>
                <a:gd name="T61" fmla="*/ 36 h 155"/>
                <a:gd name="T62" fmla="*/ 84 w 102"/>
                <a:gd name="T63" fmla="*/ 42 h 155"/>
                <a:gd name="T64" fmla="*/ 78 w 102"/>
                <a:gd name="T65" fmla="*/ 4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2" h="155">
                  <a:moveTo>
                    <a:pt x="84" y="54"/>
                  </a:moveTo>
                  <a:lnTo>
                    <a:pt x="72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8"/>
                  </a:lnTo>
                  <a:lnTo>
                    <a:pt x="54" y="84"/>
                  </a:lnTo>
                  <a:lnTo>
                    <a:pt x="54" y="96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48" y="107"/>
                  </a:lnTo>
                  <a:lnTo>
                    <a:pt x="66" y="107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54" y="119"/>
                  </a:lnTo>
                  <a:lnTo>
                    <a:pt x="48" y="119"/>
                  </a:lnTo>
                  <a:lnTo>
                    <a:pt x="54" y="119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37"/>
                  </a:lnTo>
                  <a:lnTo>
                    <a:pt x="48" y="143"/>
                  </a:lnTo>
                  <a:lnTo>
                    <a:pt x="36" y="149"/>
                  </a:lnTo>
                  <a:lnTo>
                    <a:pt x="30" y="155"/>
                  </a:lnTo>
                  <a:lnTo>
                    <a:pt x="24" y="155"/>
                  </a:lnTo>
                  <a:lnTo>
                    <a:pt x="18" y="143"/>
                  </a:lnTo>
                  <a:lnTo>
                    <a:pt x="18" y="137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0" y="113"/>
                  </a:lnTo>
                  <a:lnTo>
                    <a:pt x="6" y="113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90" y="12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8" y="48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2" name="Freeform 398">
              <a:extLst>
                <a:ext uri="{FF2B5EF4-FFF2-40B4-BE49-F238E27FC236}">
                  <a16:creationId xmlns:a16="http://schemas.microsoft.com/office/drawing/2014/main" id="{E2E62222-5289-4EF9-9C74-B1544A0C7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3" y="1395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6 w 6"/>
                <a:gd name="T3" fmla="*/ 6 h 12"/>
                <a:gd name="T4" fmla="*/ 6 w 6"/>
                <a:gd name="T5" fmla="*/ 12 h 12"/>
                <a:gd name="T6" fmla="*/ 6 w 6"/>
                <a:gd name="T7" fmla="*/ 12 h 12"/>
                <a:gd name="T8" fmla="*/ 0 w 6"/>
                <a:gd name="T9" fmla="*/ 6 h 12"/>
                <a:gd name="T10" fmla="*/ 6 w 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3" name="Freeform 399">
              <a:extLst>
                <a:ext uri="{FF2B5EF4-FFF2-40B4-BE49-F238E27FC236}">
                  <a16:creationId xmlns:a16="http://schemas.microsoft.com/office/drawing/2014/main" id="{F1A3CD5C-F588-4E08-8226-14EBD2E9F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1" y="1515"/>
              <a:ext cx="42" cy="24"/>
            </a:xfrm>
            <a:custGeom>
              <a:avLst/>
              <a:gdLst>
                <a:gd name="T0" fmla="*/ 42 w 42"/>
                <a:gd name="T1" fmla="*/ 12 h 24"/>
                <a:gd name="T2" fmla="*/ 36 w 42"/>
                <a:gd name="T3" fmla="*/ 18 h 24"/>
                <a:gd name="T4" fmla="*/ 30 w 42"/>
                <a:gd name="T5" fmla="*/ 18 h 24"/>
                <a:gd name="T6" fmla="*/ 30 w 42"/>
                <a:gd name="T7" fmla="*/ 24 h 24"/>
                <a:gd name="T8" fmla="*/ 18 w 42"/>
                <a:gd name="T9" fmla="*/ 18 h 24"/>
                <a:gd name="T10" fmla="*/ 18 w 42"/>
                <a:gd name="T11" fmla="*/ 24 h 24"/>
                <a:gd name="T12" fmla="*/ 6 w 42"/>
                <a:gd name="T13" fmla="*/ 24 h 24"/>
                <a:gd name="T14" fmla="*/ 6 w 42"/>
                <a:gd name="T15" fmla="*/ 18 h 24"/>
                <a:gd name="T16" fmla="*/ 0 w 42"/>
                <a:gd name="T17" fmla="*/ 18 h 24"/>
                <a:gd name="T18" fmla="*/ 6 w 42"/>
                <a:gd name="T19" fmla="*/ 6 h 24"/>
                <a:gd name="T20" fmla="*/ 12 w 42"/>
                <a:gd name="T21" fmla="*/ 6 h 24"/>
                <a:gd name="T22" fmla="*/ 12 w 42"/>
                <a:gd name="T23" fmla="*/ 0 h 24"/>
                <a:gd name="T24" fmla="*/ 24 w 42"/>
                <a:gd name="T25" fmla="*/ 0 h 24"/>
                <a:gd name="T26" fmla="*/ 30 w 42"/>
                <a:gd name="T27" fmla="*/ 6 h 24"/>
                <a:gd name="T28" fmla="*/ 30 w 42"/>
                <a:gd name="T29" fmla="*/ 6 h 24"/>
                <a:gd name="T30" fmla="*/ 30 w 42"/>
                <a:gd name="T31" fmla="*/ 6 h 24"/>
                <a:gd name="T32" fmla="*/ 30 w 42"/>
                <a:gd name="T33" fmla="*/ 6 h 24"/>
                <a:gd name="T34" fmla="*/ 36 w 42"/>
                <a:gd name="T35" fmla="*/ 6 h 24"/>
                <a:gd name="T36" fmla="*/ 42 w 42"/>
                <a:gd name="T37" fmla="*/ 12 h 24"/>
                <a:gd name="T38" fmla="*/ 42 w 42"/>
                <a:gd name="T39" fmla="*/ 12 h 24"/>
                <a:gd name="T40" fmla="*/ 42 w 42"/>
                <a:gd name="T4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24">
                  <a:moveTo>
                    <a:pt x="42" y="12"/>
                  </a:moveTo>
                  <a:lnTo>
                    <a:pt x="36" y="18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0"/>
                  </a:lnTo>
                  <a:lnTo>
                    <a:pt x="24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4" name="Freeform 400">
              <a:extLst>
                <a:ext uri="{FF2B5EF4-FFF2-40B4-BE49-F238E27FC236}">
                  <a16:creationId xmlns:a16="http://schemas.microsoft.com/office/drawing/2014/main" id="{30955D77-39A7-491E-9E6C-9CCA8201CCC0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1" y="1455"/>
              <a:ext cx="179" cy="102"/>
            </a:xfrm>
            <a:custGeom>
              <a:avLst/>
              <a:gdLst>
                <a:gd name="T0" fmla="*/ 96 w 179"/>
                <a:gd name="T1" fmla="*/ 0 h 102"/>
                <a:gd name="T2" fmla="*/ 90 w 179"/>
                <a:gd name="T3" fmla="*/ 6 h 102"/>
                <a:gd name="T4" fmla="*/ 78 w 179"/>
                <a:gd name="T5" fmla="*/ 12 h 102"/>
                <a:gd name="T6" fmla="*/ 78 w 179"/>
                <a:gd name="T7" fmla="*/ 18 h 102"/>
                <a:gd name="T8" fmla="*/ 60 w 179"/>
                <a:gd name="T9" fmla="*/ 12 h 102"/>
                <a:gd name="T10" fmla="*/ 42 w 179"/>
                <a:gd name="T11" fmla="*/ 12 h 102"/>
                <a:gd name="T12" fmla="*/ 30 w 179"/>
                <a:gd name="T13" fmla="*/ 12 h 102"/>
                <a:gd name="T14" fmla="*/ 12 w 179"/>
                <a:gd name="T15" fmla="*/ 12 h 102"/>
                <a:gd name="T16" fmla="*/ 18 w 179"/>
                <a:gd name="T17" fmla="*/ 24 h 102"/>
                <a:gd name="T18" fmla="*/ 18 w 179"/>
                <a:gd name="T19" fmla="*/ 30 h 102"/>
                <a:gd name="T20" fmla="*/ 6 w 179"/>
                <a:gd name="T21" fmla="*/ 42 h 102"/>
                <a:gd name="T22" fmla="*/ 6 w 179"/>
                <a:gd name="T23" fmla="*/ 42 h 102"/>
                <a:gd name="T24" fmla="*/ 0 w 179"/>
                <a:gd name="T25" fmla="*/ 54 h 102"/>
                <a:gd name="T26" fmla="*/ 12 w 179"/>
                <a:gd name="T27" fmla="*/ 60 h 102"/>
                <a:gd name="T28" fmla="*/ 12 w 179"/>
                <a:gd name="T29" fmla="*/ 60 h 102"/>
                <a:gd name="T30" fmla="*/ 30 w 179"/>
                <a:gd name="T31" fmla="*/ 60 h 102"/>
                <a:gd name="T32" fmla="*/ 48 w 179"/>
                <a:gd name="T33" fmla="*/ 54 h 102"/>
                <a:gd name="T34" fmla="*/ 54 w 179"/>
                <a:gd name="T35" fmla="*/ 48 h 102"/>
                <a:gd name="T36" fmla="*/ 60 w 179"/>
                <a:gd name="T37" fmla="*/ 48 h 102"/>
                <a:gd name="T38" fmla="*/ 66 w 179"/>
                <a:gd name="T39" fmla="*/ 54 h 102"/>
                <a:gd name="T40" fmla="*/ 72 w 179"/>
                <a:gd name="T41" fmla="*/ 66 h 102"/>
                <a:gd name="T42" fmla="*/ 78 w 179"/>
                <a:gd name="T43" fmla="*/ 72 h 102"/>
                <a:gd name="T44" fmla="*/ 90 w 179"/>
                <a:gd name="T45" fmla="*/ 78 h 102"/>
                <a:gd name="T46" fmla="*/ 96 w 179"/>
                <a:gd name="T47" fmla="*/ 72 h 102"/>
                <a:gd name="T48" fmla="*/ 102 w 179"/>
                <a:gd name="T49" fmla="*/ 72 h 102"/>
                <a:gd name="T50" fmla="*/ 96 w 179"/>
                <a:gd name="T51" fmla="*/ 66 h 102"/>
                <a:gd name="T52" fmla="*/ 102 w 179"/>
                <a:gd name="T53" fmla="*/ 72 h 102"/>
                <a:gd name="T54" fmla="*/ 108 w 179"/>
                <a:gd name="T55" fmla="*/ 72 h 102"/>
                <a:gd name="T56" fmla="*/ 96 w 179"/>
                <a:gd name="T57" fmla="*/ 72 h 102"/>
                <a:gd name="T58" fmla="*/ 102 w 179"/>
                <a:gd name="T59" fmla="*/ 78 h 102"/>
                <a:gd name="T60" fmla="*/ 108 w 179"/>
                <a:gd name="T61" fmla="*/ 78 h 102"/>
                <a:gd name="T62" fmla="*/ 120 w 179"/>
                <a:gd name="T63" fmla="*/ 78 h 102"/>
                <a:gd name="T64" fmla="*/ 108 w 179"/>
                <a:gd name="T65" fmla="*/ 90 h 102"/>
                <a:gd name="T66" fmla="*/ 114 w 179"/>
                <a:gd name="T67" fmla="*/ 90 h 102"/>
                <a:gd name="T68" fmla="*/ 120 w 179"/>
                <a:gd name="T69" fmla="*/ 96 h 102"/>
                <a:gd name="T70" fmla="*/ 120 w 179"/>
                <a:gd name="T71" fmla="*/ 102 h 102"/>
                <a:gd name="T72" fmla="*/ 137 w 179"/>
                <a:gd name="T73" fmla="*/ 96 h 102"/>
                <a:gd name="T74" fmla="*/ 143 w 179"/>
                <a:gd name="T75" fmla="*/ 96 h 102"/>
                <a:gd name="T76" fmla="*/ 149 w 179"/>
                <a:gd name="T77" fmla="*/ 90 h 102"/>
                <a:gd name="T78" fmla="*/ 137 w 179"/>
                <a:gd name="T79" fmla="*/ 90 h 102"/>
                <a:gd name="T80" fmla="*/ 132 w 179"/>
                <a:gd name="T81" fmla="*/ 84 h 102"/>
                <a:gd name="T82" fmla="*/ 132 w 179"/>
                <a:gd name="T83" fmla="*/ 78 h 102"/>
                <a:gd name="T84" fmla="*/ 132 w 179"/>
                <a:gd name="T85" fmla="*/ 78 h 102"/>
                <a:gd name="T86" fmla="*/ 132 w 179"/>
                <a:gd name="T87" fmla="*/ 78 h 102"/>
                <a:gd name="T88" fmla="*/ 149 w 179"/>
                <a:gd name="T89" fmla="*/ 72 h 102"/>
                <a:gd name="T90" fmla="*/ 161 w 179"/>
                <a:gd name="T91" fmla="*/ 66 h 102"/>
                <a:gd name="T92" fmla="*/ 167 w 179"/>
                <a:gd name="T93" fmla="*/ 66 h 102"/>
                <a:gd name="T94" fmla="*/ 173 w 179"/>
                <a:gd name="T95" fmla="*/ 60 h 102"/>
                <a:gd name="T96" fmla="*/ 179 w 179"/>
                <a:gd name="T97" fmla="*/ 54 h 102"/>
                <a:gd name="T98" fmla="*/ 173 w 179"/>
                <a:gd name="T99" fmla="*/ 36 h 102"/>
                <a:gd name="T100" fmla="*/ 161 w 179"/>
                <a:gd name="T101" fmla="*/ 36 h 102"/>
                <a:gd name="T102" fmla="*/ 143 w 179"/>
                <a:gd name="T103" fmla="*/ 30 h 102"/>
                <a:gd name="T104" fmla="*/ 137 w 179"/>
                <a:gd name="T105" fmla="*/ 30 h 102"/>
                <a:gd name="T106" fmla="*/ 126 w 179"/>
                <a:gd name="T107" fmla="*/ 18 h 102"/>
                <a:gd name="T108" fmla="*/ 114 w 179"/>
                <a:gd name="T109" fmla="*/ 12 h 102"/>
                <a:gd name="T110" fmla="*/ 114 w 179"/>
                <a:gd name="T111" fmla="*/ 6 h 102"/>
                <a:gd name="T112" fmla="*/ 96 w 179"/>
                <a:gd name="T1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9" h="102">
                  <a:moveTo>
                    <a:pt x="96" y="0"/>
                  </a:moveTo>
                  <a:lnTo>
                    <a:pt x="90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60" y="12"/>
                  </a:lnTo>
                  <a:lnTo>
                    <a:pt x="42" y="12"/>
                  </a:lnTo>
                  <a:lnTo>
                    <a:pt x="30" y="12"/>
                  </a:lnTo>
                  <a:lnTo>
                    <a:pt x="12" y="12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30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2" y="66"/>
                  </a:lnTo>
                  <a:lnTo>
                    <a:pt x="78" y="72"/>
                  </a:lnTo>
                  <a:lnTo>
                    <a:pt x="90" y="78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96" y="66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96" y="72"/>
                  </a:lnTo>
                  <a:lnTo>
                    <a:pt x="102" y="78"/>
                  </a:lnTo>
                  <a:lnTo>
                    <a:pt x="108" y="78"/>
                  </a:lnTo>
                  <a:lnTo>
                    <a:pt x="120" y="78"/>
                  </a:lnTo>
                  <a:lnTo>
                    <a:pt x="108" y="90"/>
                  </a:lnTo>
                  <a:lnTo>
                    <a:pt x="114" y="90"/>
                  </a:lnTo>
                  <a:lnTo>
                    <a:pt x="120" y="96"/>
                  </a:lnTo>
                  <a:lnTo>
                    <a:pt x="120" y="102"/>
                  </a:lnTo>
                  <a:lnTo>
                    <a:pt x="137" y="96"/>
                  </a:lnTo>
                  <a:lnTo>
                    <a:pt x="143" y="96"/>
                  </a:lnTo>
                  <a:lnTo>
                    <a:pt x="149" y="90"/>
                  </a:lnTo>
                  <a:lnTo>
                    <a:pt x="137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32" y="78"/>
                  </a:lnTo>
                  <a:lnTo>
                    <a:pt x="149" y="72"/>
                  </a:lnTo>
                  <a:lnTo>
                    <a:pt x="161" y="66"/>
                  </a:lnTo>
                  <a:lnTo>
                    <a:pt x="167" y="66"/>
                  </a:lnTo>
                  <a:lnTo>
                    <a:pt x="173" y="60"/>
                  </a:lnTo>
                  <a:lnTo>
                    <a:pt x="179" y="54"/>
                  </a:lnTo>
                  <a:lnTo>
                    <a:pt x="173" y="36"/>
                  </a:lnTo>
                  <a:lnTo>
                    <a:pt x="161" y="36"/>
                  </a:lnTo>
                  <a:lnTo>
                    <a:pt x="143" y="30"/>
                  </a:lnTo>
                  <a:lnTo>
                    <a:pt x="137" y="30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5" name="Freeform 401">
              <a:extLst>
                <a:ext uri="{FF2B5EF4-FFF2-40B4-BE49-F238E27FC236}">
                  <a16:creationId xmlns:a16="http://schemas.microsoft.com/office/drawing/2014/main" id="{405B6766-C4C3-4CF7-9B9B-EC24C1F212C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7" y="1533"/>
              <a:ext cx="42" cy="54"/>
            </a:xfrm>
            <a:custGeom>
              <a:avLst/>
              <a:gdLst>
                <a:gd name="T0" fmla="*/ 6 w 42"/>
                <a:gd name="T1" fmla="*/ 12 h 54"/>
                <a:gd name="T2" fmla="*/ 6 w 42"/>
                <a:gd name="T3" fmla="*/ 12 h 54"/>
                <a:gd name="T4" fmla="*/ 0 w 42"/>
                <a:gd name="T5" fmla="*/ 12 h 54"/>
                <a:gd name="T6" fmla="*/ 0 w 42"/>
                <a:gd name="T7" fmla="*/ 18 h 54"/>
                <a:gd name="T8" fmla="*/ 6 w 42"/>
                <a:gd name="T9" fmla="*/ 18 h 54"/>
                <a:gd name="T10" fmla="*/ 6 w 42"/>
                <a:gd name="T11" fmla="*/ 18 h 54"/>
                <a:gd name="T12" fmla="*/ 6 w 42"/>
                <a:gd name="T13" fmla="*/ 18 h 54"/>
                <a:gd name="T14" fmla="*/ 0 w 42"/>
                <a:gd name="T15" fmla="*/ 24 h 54"/>
                <a:gd name="T16" fmla="*/ 0 w 42"/>
                <a:gd name="T17" fmla="*/ 24 h 54"/>
                <a:gd name="T18" fmla="*/ 6 w 42"/>
                <a:gd name="T19" fmla="*/ 24 h 54"/>
                <a:gd name="T20" fmla="*/ 6 w 42"/>
                <a:gd name="T21" fmla="*/ 30 h 54"/>
                <a:gd name="T22" fmla="*/ 6 w 42"/>
                <a:gd name="T23" fmla="*/ 30 h 54"/>
                <a:gd name="T24" fmla="*/ 6 w 42"/>
                <a:gd name="T25" fmla="*/ 30 h 54"/>
                <a:gd name="T26" fmla="*/ 6 w 42"/>
                <a:gd name="T27" fmla="*/ 36 h 54"/>
                <a:gd name="T28" fmla="*/ 0 w 42"/>
                <a:gd name="T29" fmla="*/ 36 h 54"/>
                <a:gd name="T30" fmla="*/ 6 w 42"/>
                <a:gd name="T31" fmla="*/ 36 h 54"/>
                <a:gd name="T32" fmla="*/ 6 w 42"/>
                <a:gd name="T33" fmla="*/ 36 h 54"/>
                <a:gd name="T34" fmla="*/ 0 w 42"/>
                <a:gd name="T35" fmla="*/ 36 h 54"/>
                <a:gd name="T36" fmla="*/ 0 w 42"/>
                <a:gd name="T37" fmla="*/ 42 h 54"/>
                <a:gd name="T38" fmla="*/ 0 w 42"/>
                <a:gd name="T39" fmla="*/ 42 h 54"/>
                <a:gd name="T40" fmla="*/ 0 w 42"/>
                <a:gd name="T41" fmla="*/ 48 h 54"/>
                <a:gd name="T42" fmla="*/ 0 w 42"/>
                <a:gd name="T43" fmla="*/ 48 h 54"/>
                <a:gd name="T44" fmla="*/ 0 w 42"/>
                <a:gd name="T45" fmla="*/ 48 h 54"/>
                <a:gd name="T46" fmla="*/ 6 w 42"/>
                <a:gd name="T47" fmla="*/ 54 h 54"/>
                <a:gd name="T48" fmla="*/ 6 w 42"/>
                <a:gd name="T49" fmla="*/ 54 h 54"/>
                <a:gd name="T50" fmla="*/ 12 w 42"/>
                <a:gd name="T51" fmla="*/ 48 h 54"/>
                <a:gd name="T52" fmla="*/ 18 w 42"/>
                <a:gd name="T53" fmla="*/ 48 h 54"/>
                <a:gd name="T54" fmla="*/ 18 w 42"/>
                <a:gd name="T55" fmla="*/ 54 h 54"/>
                <a:gd name="T56" fmla="*/ 18 w 42"/>
                <a:gd name="T57" fmla="*/ 54 h 54"/>
                <a:gd name="T58" fmla="*/ 18 w 42"/>
                <a:gd name="T59" fmla="*/ 54 h 54"/>
                <a:gd name="T60" fmla="*/ 24 w 42"/>
                <a:gd name="T61" fmla="*/ 48 h 54"/>
                <a:gd name="T62" fmla="*/ 24 w 42"/>
                <a:gd name="T63" fmla="*/ 54 h 54"/>
                <a:gd name="T64" fmla="*/ 30 w 42"/>
                <a:gd name="T65" fmla="*/ 48 h 54"/>
                <a:gd name="T66" fmla="*/ 30 w 42"/>
                <a:gd name="T67" fmla="*/ 48 h 54"/>
                <a:gd name="T68" fmla="*/ 30 w 42"/>
                <a:gd name="T69" fmla="*/ 48 h 54"/>
                <a:gd name="T70" fmla="*/ 30 w 42"/>
                <a:gd name="T71" fmla="*/ 48 h 54"/>
                <a:gd name="T72" fmla="*/ 36 w 42"/>
                <a:gd name="T73" fmla="*/ 48 h 54"/>
                <a:gd name="T74" fmla="*/ 42 w 42"/>
                <a:gd name="T75" fmla="*/ 54 h 54"/>
                <a:gd name="T76" fmla="*/ 42 w 42"/>
                <a:gd name="T77" fmla="*/ 48 h 54"/>
                <a:gd name="T78" fmla="*/ 36 w 42"/>
                <a:gd name="T79" fmla="*/ 48 h 54"/>
                <a:gd name="T80" fmla="*/ 42 w 42"/>
                <a:gd name="T81" fmla="*/ 42 h 54"/>
                <a:gd name="T82" fmla="*/ 36 w 42"/>
                <a:gd name="T83" fmla="*/ 30 h 54"/>
                <a:gd name="T84" fmla="*/ 36 w 42"/>
                <a:gd name="T85" fmla="*/ 24 h 54"/>
                <a:gd name="T86" fmla="*/ 36 w 42"/>
                <a:gd name="T87" fmla="*/ 24 h 54"/>
                <a:gd name="T88" fmla="*/ 36 w 42"/>
                <a:gd name="T89" fmla="*/ 18 h 54"/>
                <a:gd name="T90" fmla="*/ 30 w 42"/>
                <a:gd name="T91" fmla="*/ 18 h 54"/>
                <a:gd name="T92" fmla="*/ 24 w 42"/>
                <a:gd name="T93" fmla="*/ 18 h 54"/>
                <a:gd name="T94" fmla="*/ 12 w 42"/>
                <a:gd name="T95" fmla="*/ 0 h 54"/>
                <a:gd name="T96" fmla="*/ 0 w 42"/>
                <a:gd name="T97" fmla="*/ 6 h 54"/>
                <a:gd name="T98" fmla="*/ 0 w 42"/>
                <a:gd name="T99" fmla="*/ 12 h 54"/>
                <a:gd name="T100" fmla="*/ 0 w 42"/>
                <a:gd name="T101" fmla="*/ 12 h 54"/>
                <a:gd name="T102" fmla="*/ 0 w 42"/>
                <a:gd name="T103" fmla="*/ 12 h 54"/>
                <a:gd name="T104" fmla="*/ 0 w 42"/>
                <a:gd name="T105" fmla="*/ 12 h 54"/>
                <a:gd name="T106" fmla="*/ 6 w 42"/>
                <a:gd name="T107" fmla="*/ 1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54">
                  <a:moveTo>
                    <a:pt x="6" y="12"/>
                  </a:move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2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6" name="Freeform 402">
              <a:extLst>
                <a:ext uri="{FF2B5EF4-FFF2-40B4-BE49-F238E27FC236}">
                  <a16:creationId xmlns:a16="http://schemas.microsoft.com/office/drawing/2014/main" id="{20331738-C34C-43B0-AA65-B248891F9A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3" y="1246"/>
              <a:ext cx="707" cy="341"/>
            </a:xfrm>
            <a:custGeom>
              <a:avLst/>
              <a:gdLst>
                <a:gd name="T0" fmla="*/ 545 w 707"/>
                <a:gd name="T1" fmla="*/ 54 h 341"/>
                <a:gd name="T2" fmla="*/ 581 w 707"/>
                <a:gd name="T3" fmla="*/ 18 h 341"/>
                <a:gd name="T4" fmla="*/ 521 w 707"/>
                <a:gd name="T5" fmla="*/ 36 h 341"/>
                <a:gd name="T6" fmla="*/ 497 w 707"/>
                <a:gd name="T7" fmla="*/ 18 h 341"/>
                <a:gd name="T8" fmla="*/ 497 w 707"/>
                <a:gd name="T9" fmla="*/ 0 h 341"/>
                <a:gd name="T10" fmla="*/ 485 w 707"/>
                <a:gd name="T11" fmla="*/ 24 h 341"/>
                <a:gd name="T12" fmla="*/ 449 w 707"/>
                <a:gd name="T13" fmla="*/ 48 h 341"/>
                <a:gd name="T14" fmla="*/ 455 w 707"/>
                <a:gd name="T15" fmla="*/ 36 h 341"/>
                <a:gd name="T16" fmla="*/ 431 w 707"/>
                <a:gd name="T17" fmla="*/ 42 h 341"/>
                <a:gd name="T18" fmla="*/ 371 w 707"/>
                <a:gd name="T19" fmla="*/ 36 h 341"/>
                <a:gd name="T20" fmla="*/ 347 w 707"/>
                <a:gd name="T21" fmla="*/ 42 h 341"/>
                <a:gd name="T22" fmla="*/ 299 w 707"/>
                <a:gd name="T23" fmla="*/ 30 h 341"/>
                <a:gd name="T24" fmla="*/ 234 w 707"/>
                <a:gd name="T25" fmla="*/ 24 h 341"/>
                <a:gd name="T26" fmla="*/ 198 w 707"/>
                <a:gd name="T27" fmla="*/ 18 h 341"/>
                <a:gd name="T28" fmla="*/ 84 w 707"/>
                <a:gd name="T29" fmla="*/ 48 h 341"/>
                <a:gd name="T30" fmla="*/ 12 w 707"/>
                <a:gd name="T31" fmla="*/ 126 h 341"/>
                <a:gd name="T32" fmla="*/ 48 w 707"/>
                <a:gd name="T33" fmla="*/ 173 h 341"/>
                <a:gd name="T34" fmla="*/ 30 w 707"/>
                <a:gd name="T35" fmla="*/ 191 h 341"/>
                <a:gd name="T36" fmla="*/ 42 w 707"/>
                <a:gd name="T37" fmla="*/ 203 h 341"/>
                <a:gd name="T38" fmla="*/ 42 w 707"/>
                <a:gd name="T39" fmla="*/ 221 h 341"/>
                <a:gd name="T40" fmla="*/ 24 w 707"/>
                <a:gd name="T41" fmla="*/ 227 h 341"/>
                <a:gd name="T42" fmla="*/ 42 w 707"/>
                <a:gd name="T43" fmla="*/ 233 h 341"/>
                <a:gd name="T44" fmla="*/ 48 w 707"/>
                <a:gd name="T45" fmla="*/ 245 h 341"/>
                <a:gd name="T46" fmla="*/ 48 w 707"/>
                <a:gd name="T47" fmla="*/ 251 h 341"/>
                <a:gd name="T48" fmla="*/ 186 w 707"/>
                <a:gd name="T49" fmla="*/ 251 h 341"/>
                <a:gd name="T50" fmla="*/ 323 w 707"/>
                <a:gd name="T51" fmla="*/ 251 h 341"/>
                <a:gd name="T52" fmla="*/ 401 w 707"/>
                <a:gd name="T53" fmla="*/ 281 h 341"/>
                <a:gd name="T54" fmla="*/ 395 w 707"/>
                <a:gd name="T55" fmla="*/ 341 h 341"/>
                <a:gd name="T56" fmla="*/ 479 w 707"/>
                <a:gd name="T57" fmla="*/ 311 h 341"/>
                <a:gd name="T58" fmla="*/ 563 w 707"/>
                <a:gd name="T59" fmla="*/ 275 h 341"/>
                <a:gd name="T60" fmla="*/ 599 w 707"/>
                <a:gd name="T61" fmla="*/ 293 h 341"/>
                <a:gd name="T62" fmla="*/ 581 w 707"/>
                <a:gd name="T63" fmla="*/ 305 h 341"/>
                <a:gd name="T64" fmla="*/ 629 w 707"/>
                <a:gd name="T65" fmla="*/ 299 h 341"/>
                <a:gd name="T66" fmla="*/ 593 w 707"/>
                <a:gd name="T67" fmla="*/ 275 h 341"/>
                <a:gd name="T68" fmla="*/ 611 w 707"/>
                <a:gd name="T69" fmla="*/ 257 h 341"/>
                <a:gd name="T70" fmla="*/ 557 w 707"/>
                <a:gd name="T71" fmla="*/ 263 h 341"/>
                <a:gd name="T72" fmla="*/ 671 w 707"/>
                <a:gd name="T73" fmla="*/ 227 h 341"/>
                <a:gd name="T74" fmla="*/ 707 w 707"/>
                <a:gd name="T75" fmla="*/ 203 h 341"/>
                <a:gd name="T76" fmla="*/ 671 w 707"/>
                <a:gd name="T77" fmla="*/ 203 h 341"/>
                <a:gd name="T78" fmla="*/ 677 w 707"/>
                <a:gd name="T79" fmla="*/ 185 h 341"/>
                <a:gd name="T80" fmla="*/ 677 w 707"/>
                <a:gd name="T81" fmla="*/ 173 h 341"/>
                <a:gd name="T82" fmla="*/ 665 w 707"/>
                <a:gd name="T83" fmla="*/ 161 h 341"/>
                <a:gd name="T84" fmla="*/ 665 w 707"/>
                <a:gd name="T85" fmla="*/ 149 h 341"/>
                <a:gd name="T86" fmla="*/ 665 w 707"/>
                <a:gd name="T87" fmla="*/ 126 h 341"/>
                <a:gd name="T88" fmla="*/ 647 w 707"/>
                <a:gd name="T89" fmla="*/ 137 h 341"/>
                <a:gd name="T90" fmla="*/ 617 w 707"/>
                <a:gd name="T91" fmla="*/ 149 h 341"/>
                <a:gd name="T92" fmla="*/ 617 w 707"/>
                <a:gd name="T93" fmla="*/ 131 h 341"/>
                <a:gd name="T94" fmla="*/ 611 w 707"/>
                <a:gd name="T95" fmla="*/ 108 h 341"/>
                <a:gd name="T96" fmla="*/ 557 w 707"/>
                <a:gd name="T97" fmla="*/ 108 h 341"/>
                <a:gd name="T98" fmla="*/ 533 w 707"/>
                <a:gd name="T99" fmla="*/ 173 h 341"/>
                <a:gd name="T100" fmla="*/ 485 w 707"/>
                <a:gd name="T101" fmla="*/ 221 h 341"/>
                <a:gd name="T102" fmla="*/ 467 w 707"/>
                <a:gd name="T103" fmla="*/ 191 h 341"/>
                <a:gd name="T104" fmla="*/ 413 w 707"/>
                <a:gd name="T105" fmla="*/ 155 h 341"/>
                <a:gd name="T106" fmla="*/ 389 w 707"/>
                <a:gd name="T107" fmla="*/ 137 h 341"/>
                <a:gd name="T108" fmla="*/ 443 w 707"/>
                <a:gd name="T109" fmla="*/ 96 h 341"/>
                <a:gd name="T110" fmla="*/ 473 w 707"/>
                <a:gd name="T111" fmla="*/ 84 h 341"/>
                <a:gd name="T112" fmla="*/ 497 w 707"/>
                <a:gd name="T113" fmla="*/ 6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7" h="341">
                  <a:moveTo>
                    <a:pt x="521" y="60"/>
                  </a:moveTo>
                  <a:lnTo>
                    <a:pt x="515" y="54"/>
                  </a:lnTo>
                  <a:lnTo>
                    <a:pt x="527" y="54"/>
                  </a:lnTo>
                  <a:lnTo>
                    <a:pt x="533" y="60"/>
                  </a:lnTo>
                  <a:lnTo>
                    <a:pt x="539" y="54"/>
                  </a:lnTo>
                  <a:lnTo>
                    <a:pt x="539" y="48"/>
                  </a:lnTo>
                  <a:lnTo>
                    <a:pt x="539" y="54"/>
                  </a:lnTo>
                  <a:lnTo>
                    <a:pt x="545" y="54"/>
                  </a:lnTo>
                  <a:lnTo>
                    <a:pt x="545" y="54"/>
                  </a:lnTo>
                  <a:lnTo>
                    <a:pt x="563" y="48"/>
                  </a:lnTo>
                  <a:lnTo>
                    <a:pt x="569" y="42"/>
                  </a:lnTo>
                  <a:lnTo>
                    <a:pt x="569" y="36"/>
                  </a:lnTo>
                  <a:lnTo>
                    <a:pt x="569" y="36"/>
                  </a:lnTo>
                  <a:lnTo>
                    <a:pt x="581" y="30"/>
                  </a:lnTo>
                  <a:lnTo>
                    <a:pt x="575" y="30"/>
                  </a:lnTo>
                  <a:lnTo>
                    <a:pt x="581" y="24"/>
                  </a:lnTo>
                  <a:lnTo>
                    <a:pt x="569" y="24"/>
                  </a:lnTo>
                  <a:lnTo>
                    <a:pt x="581" y="18"/>
                  </a:lnTo>
                  <a:lnTo>
                    <a:pt x="551" y="18"/>
                  </a:lnTo>
                  <a:lnTo>
                    <a:pt x="551" y="24"/>
                  </a:lnTo>
                  <a:lnTo>
                    <a:pt x="551" y="30"/>
                  </a:lnTo>
                  <a:lnTo>
                    <a:pt x="551" y="30"/>
                  </a:lnTo>
                  <a:lnTo>
                    <a:pt x="545" y="30"/>
                  </a:lnTo>
                  <a:lnTo>
                    <a:pt x="527" y="48"/>
                  </a:lnTo>
                  <a:lnTo>
                    <a:pt x="521" y="48"/>
                  </a:lnTo>
                  <a:lnTo>
                    <a:pt x="515" y="36"/>
                  </a:lnTo>
                  <a:lnTo>
                    <a:pt x="521" y="36"/>
                  </a:lnTo>
                  <a:lnTo>
                    <a:pt x="527" y="30"/>
                  </a:lnTo>
                  <a:lnTo>
                    <a:pt x="515" y="24"/>
                  </a:lnTo>
                  <a:lnTo>
                    <a:pt x="503" y="36"/>
                  </a:lnTo>
                  <a:lnTo>
                    <a:pt x="509" y="24"/>
                  </a:lnTo>
                  <a:lnTo>
                    <a:pt x="503" y="24"/>
                  </a:lnTo>
                  <a:lnTo>
                    <a:pt x="515" y="24"/>
                  </a:lnTo>
                  <a:lnTo>
                    <a:pt x="509" y="18"/>
                  </a:lnTo>
                  <a:lnTo>
                    <a:pt x="497" y="18"/>
                  </a:lnTo>
                  <a:lnTo>
                    <a:pt x="497" y="18"/>
                  </a:lnTo>
                  <a:lnTo>
                    <a:pt x="503" y="18"/>
                  </a:lnTo>
                  <a:lnTo>
                    <a:pt x="503" y="12"/>
                  </a:lnTo>
                  <a:lnTo>
                    <a:pt x="509" y="12"/>
                  </a:lnTo>
                  <a:lnTo>
                    <a:pt x="503" y="6"/>
                  </a:lnTo>
                  <a:lnTo>
                    <a:pt x="509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503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485" y="0"/>
                  </a:lnTo>
                  <a:lnTo>
                    <a:pt x="491" y="6"/>
                  </a:lnTo>
                  <a:lnTo>
                    <a:pt x="479" y="6"/>
                  </a:lnTo>
                  <a:lnTo>
                    <a:pt x="479" y="12"/>
                  </a:lnTo>
                  <a:lnTo>
                    <a:pt x="479" y="12"/>
                  </a:lnTo>
                  <a:lnTo>
                    <a:pt x="473" y="12"/>
                  </a:lnTo>
                  <a:lnTo>
                    <a:pt x="467" y="18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85" y="24"/>
                  </a:lnTo>
                  <a:lnTo>
                    <a:pt x="479" y="24"/>
                  </a:lnTo>
                  <a:lnTo>
                    <a:pt x="473" y="30"/>
                  </a:lnTo>
                  <a:lnTo>
                    <a:pt x="479" y="30"/>
                  </a:lnTo>
                  <a:lnTo>
                    <a:pt x="479" y="30"/>
                  </a:lnTo>
                  <a:lnTo>
                    <a:pt x="461" y="36"/>
                  </a:lnTo>
                  <a:lnTo>
                    <a:pt x="455" y="48"/>
                  </a:lnTo>
                  <a:lnTo>
                    <a:pt x="449" y="48"/>
                  </a:lnTo>
                  <a:lnTo>
                    <a:pt x="443" y="48"/>
                  </a:lnTo>
                  <a:lnTo>
                    <a:pt x="443" y="54"/>
                  </a:lnTo>
                  <a:lnTo>
                    <a:pt x="443" y="48"/>
                  </a:lnTo>
                  <a:lnTo>
                    <a:pt x="443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49" y="48"/>
                  </a:lnTo>
                  <a:lnTo>
                    <a:pt x="455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3" y="36"/>
                  </a:lnTo>
                  <a:lnTo>
                    <a:pt x="437" y="36"/>
                  </a:lnTo>
                  <a:lnTo>
                    <a:pt x="437" y="42"/>
                  </a:lnTo>
                  <a:lnTo>
                    <a:pt x="443" y="42"/>
                  </a:lnTo>
                  <a:lnTo>
                    <a:pt x="437" y="42"/>
                  </a:lnTo>
                  <a:lnTo>
                    <a:pt x="431" y="36"/>
                  </a:lnTo>
                  <a:lnTo>
                    <a:pt x="431" y="42"/>
                  </a:lnTo>
                  <a:lnTo>
                    <a:pt x="413" y="42"/>
                  </a:lnTo>
                  <a:lnTo>
                    <a:pt x="401" y="42"/>
                  </a:lnTo>
                  <a:lnTo>
                    <a:pt x="395" y="36"/>
                  </a:lnTo>
                  <a:lnTo>
                    <a:pt x="389" y="36"/>
                  </a:lnTo>
                  <a:lnTo>
                    <a:pt x="383" y="36"/>
                  </a:lnTo>
                  <a:lnTo>
                    <a:pt x="383" y="30"/>
                  </a:lnTo>
                  <a:lnTo>
                    <a:pt x="359" y="36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83" y="30"/>
                  </a:lnTo>
                  <a:lnTo>
                    <a:pt x="365" y="36"/>
                  </a:lnTo>
                  <a:lnTo>
                    <a:pt x="359" y="36"/>
                  </a:lnTo>
                  <a:lnTo>
                    <a:pt x="353" y="48"/>
                  </a:lnTo>
                  <a:lnTo>
                    <a:pt x="353" y="48"/>
                  </a:lnTo>
                  <a:lnTo>
                    <a:pt x="347" y="54"/>
                  </a:lnTo>
                  <a:lnTo>
                    <a:pt x="347" y="48"/>
                  </a:lnTo>
                  <a:lnTo>
                    <a:pt x="353" y="48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1" y="42"/>
                  </a:lnTo>
                  <a:lnTo>
                    <a:pt x="305" y="42"/>
                  </a:lnTo>
                  <a:lnTo>
                    <a:pt x="299" y="42"/>
                  </a:lnTo>
                  <a:lnTo>
                    <a:pt x="311" y="36"/>
                  </a:lnTo>
                  <a:lnTo>
                    <a:pt x="311" y="36"/>
                  </a:lnTo>
                  <a:lnTo>
                    <a:pt x="305" y="30"/>
                  </a:lnTo>
                  <a:lnTo>
                    <a:pt x="299" y="30"/>
                  </a:lnTo>
                  <a:lnTo>
                    <a:pt x="275" y="24"/>
                  </a:lnTo>
                  <a:lnTo>
                    <a:pt x="257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46" y="18"/>
                  </a:lnTo>
                  <a:lnTo>
                    <a:pt x="251" y="18"/>
                  </a:lnTo>
                  <a:lnTo>
                    <a:pt x="246" y="18"/>
                  </a:lnTo>
                  <a:lnTo>
                    <a:pt x="240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28" y="18"/>
                  </a:lnTo>
                  <a:lnTo>
                    <a:pt x="228" y="12"/>
                  </a:lnTo>
                  <a:lnTo>
                    <a:pt x="228" y="12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198" y="18"/>
                  </a:lnTo>
                  <a:lnTo>
                    <a:pt x="180" y="24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14" y="18"/>
                  </a:lnTo>
                  <a:lnTo>
                    <a:pt x="102" y="36"/>
                  </a:lnTo>
                  <a:lnTo>
                    <a:pt x="84" y="48"/>
                  </a:lnTo>
                  <a:lnTo>
                    <a:pt x="72" y="60"/>
                  </a:lnTo>
                  <a:lnTo>
                    <a:pt x="54" y="72"/>
                  </a:lnTo>
                  <a:lnTo>
                    <a:pt x="42" y="84"/>
                  </a:lnTo>
                  <a:lnTo>
                    <a:pt x="24" y="9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18" y="120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37"/>
                  </a:lnTo>
                  <a:lnTo>
                    <a:pt x="24" y="137"/>
                  </a:lnTo>
                  <a:lnTo>
                    <a:pt x="30" y="131"/>
                  </a:lnTo>
                  <a:lnTo>
                    <a:pt x="42" y="126"/>
                  </a:lnTo>
                  <a:lnTo>
                    <a:pt x="42" y="137"/>
                  </a:lnTo>
                  <a:lnTo>
                    <a:pt x="42" y="149"/>
                  </a:lnTo>
                  <a:lnTo>
                    <a:pt x="42" y="161"/>
                  </a:lnTo>
                  <a:lnTo>
                    <a:pt x="42" y="167"/>
                  </a:lnTo>
                  <a:lnTo>
                    <a:pt x="48" y="173"/>
                  </a:lnTo>
                  <a:lnTo>
                    <a:pt x="36" y="185"/>
                  </a:lnTo>
                  <a:lnTo>
                    <a:pt x="48" y="173"/>
                  </a:lnTo>
                  <a:lnTo>
                    <a:pt x="48" y="179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6" y="185"/>
                  </a:lnTo>
                  <a:lnTo>
                    <a:pt x="30" y="185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0" y="191"/>
                  </a:lnTo>
                  <a:lnTo>
                    <a:pt x="30" y="197"/>
                  </a:lnTo>
                  <a:lnTo>
                    <a:pt x="30" y="191"/>
                  </a:lnTo>
                  <a:lnTo>
                    <a:pt x="30" y="203"/>
                  </a:lnTo>
                  <a:lnTo>
                    <a:pt x="42" y="197"/>
                  </a:lnTo>
                  <a:lnTo>
                    <a:pt x="36" y="203"/>
                  </a:lnTo>
                  <a:lnTo>
                    <a:pt x="42" y="203"/>
                  </a:lnTo>
                  <a:lnTo>
                    <a:pt x="36" y="203"/>
                  </a:lnTo>
                  <a:lnTo>
                    <a:pt x="36" y="209"/>
                  </a:lnTo>
                  <a:lnTo>
                    <a:pt x="36" y="209"/>
                  </a:lnTo>
                  <a:lnTo>
                    <a:pt x="30" y="215"/>
                  </a:lnTo>
                  <a:lnTo>
                    <a:pt x="36" y="215"/>
                  </a:lnTo>
                  <a:lnTo>
                    <a:pt x="36" y="215"/>
                  </a:lnTo>
                  <a:lnTo>
                    <a:pt x="48" y="209"/>
                  </a:lnTo>
                  <a:lnTo>
                    <a:pt x="42" y="215"/>
                  </a:lnTo>
                  <a:lnTo>
                    <a:pt x="42" y="221"/>
                  </a:lnTo>
                  <a:lnTo>
                    <a:pt x="42" y="215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6" y="221"/>
                  </a:lnTo>
                  <a:lnTo>
                    <a:pt x="42" y="221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27"/>
                  </a:lnTo>
                  <a:lnTo>
                    <a:pt x="24" y="227"/>
                  </a:lnTo>
                  <a:lnTo>
                    <a:pt x="30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36" y="233"/>
                  </a:lnTo>
                  <a:lnTo>
                    <a:pt x="42" y="233"/>
                  </a:lnTo>
                  <a:lnTo>
                    <a:pt x="42" y="227"/>
                  </a:lnTo>
                  <a:lnTo>
                    <a:pt x="42" y="233"/>
                  </a:lnTo>
                  <a:lnTo>
                    <a:pt x="36" y="233"/>
                  </a:lnTo>
                  <a:lnTo>
                    <a:pt x="36" y="239"/>
                  </a:lnTo>
                  <a:lnTo>
                    <a:pt x="42" y="233"/>
                  </a:lnTo>
                  <a:lnTo>
                    <a:pt x="42" y="239"/>
                  </a:lnTo>
                  <a:lnTo>
                    <a:pt x="48" y="233"/>
                  </a:lnTo>
                  <a:lnTo>
                    <a:pt x="42" y="239"/>
                  </a:lnTo>
                  <a:lnTo>
                    <a:pt x="48" y="239"/>
                  </a:lnTo>
                  <a:lnTo>
                    <a:pt x="42" y="239"/>
                  </a:lnTo>
                  <a:lnTo>
                    <a:pt x="48" y="245"/>
                  </a:lnTo>
                  <a:lnTo>
                    <a:pt x="54" y="239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54" y="245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48" y="251"/>
                  </a:lnTo>
                  <a:lnTo>
                    <a:pt x="54" y="251"/>
                  </a:lnTo>
                  <a:lnTo>
                    <a:pt x="72" y="251"/>
                  </a:lnTo>
                  <a:lnTo>
                    <a:pt x="84" y="251"/>
                  </a:lnTo>
                  <a:lnTo>
                    <a:pt x="102" y="251"/>
                  </a:lnTo>
                  <a:lnTo>
                    <a:pt x="120" y="251"/>
                  </a:lnTo>
                  <a:lnTo>
                    <a:pt x="138" y="251"/>
                  </a:lnTo>
                  <a:lnTo>
                    <a:pt x="150" y="251"/>
                  </a:lnTo>
                  <a:lnTo>
                    <a:pt x="168" y="251"/>
                  </a:lnTo>
                  <a:lnTo>
                    <a:pt x="186" y="251"/>
                  </a:lnTo>
                  <a:lnTo>
                    <a:pt x="204" y="251"/>
                  </a:lnTo>
                  <a:lnTo>
                    <a:pt x="222" y="251"/>
                  </a:lnTo>
                  <a:lnTo>
                    <a:pt x="234" y="251"/>
                  </a:lnTo>
                  <a:lnTo>
                    <a:pt x="251" y="251"/>
                  </a:lnTo>
                  <a:lnTo>
                    <a:pt x="269" y="251"/>
                  </a:lnTo>
                  <a:lnTo>
                    <a:pt x="287" y="251"/>
                  </a:lnTo>
                  <a:lnTo>
                    <a:pt x="299" y="251"/>
                  </a:lnTo>
                  <a:lnTo>
                    <a:pt x="317" y="251"/>
                  </a:lnTo>
                  <a:lnTo>
                    <a:pt x="323" y="251"/>
                  </a:lnTo>
                  <a:lnTo>
                    <a:pt x="323" y="257"/>
                  </a:lnTo>
                  <a:lnTo>
                    <a:pt x="329" y="257"/>
                  </a:lnTo>
                  <a:lnTo>
                    <a:pt x="347" y="263"/>
                  </a:lnTo>
                  <a:lnTo>
                    <a:pt x="353" y="263"/>
                  </a:lnTo>
                  <a:lnTo>
                    <a:pt x="365" y="269"/>
                  </a:lnTo>
                  <a:lnTo>
                    <a:pt x="377" y="263"/>
                  </a:lnTo>
                  <a:lnTo>
                    <a:pt x="383" y="269"/>
                  </a:lnTo>
                  <a:lnTo>
                    <a:pt x="389" y="275"/>
                  </a:lnTo>
                  <a:lnTo>
                    <a:pt x="401" y="281"/>
                  </a:lnTo>
                  <a:lnTo>
                    <a:pt x="407" y="287"/>
                  </a:lnTo>
                  <a:lnTo>
                    <a:pt x="407" y="287"/>
                  </a:lnTo>
                  <a:lnTo>
                    <a:pt x="413" y="287"/>
                  </a:lnTo>
                  <a:lnTo>
                    <a:pt x="413" y="293"/>
                  </a:lnTo>
                  <a:lnTo>
                    <a:pt x="419" y="299"/>
                  </a:lnTo>
                  <a:lnTo>
                    <a:pt x="419" y="311"/>
                  </a:lnTo>
                  <a:lnTo>
                    <a:pt x="413" y="317"/>
                  </a:lnTo>
                  <a:lnTo>
                    <a:pt x="407" y="329"/>
                  </a:lnTo>
                  <a:lnTo>
                    <a:pt x="395" y="341"/>
                  </a:lnTo>
                  <a:lnTo>
                    <a:pt x="401" y="341"/>
                  </a:lnTo>
                  <a:lnTo>
                    <a:pt x="413" y="341"/>
                  </a:lnTo>
                  <a:lnTo>
                    <a:pt x="419" y="335"/>
                  </a:lnTo>
                  <a:lnTo>
                    <a:pt x="431" y="335"/>
                  </a:lnTo>
                  <a:lnTo>
                    <a:pt x="443" y="329"/>
                  </a:lnTo>
                  <a:lnTo>
                    <a:pt x="443" y="323"/>
                  </a:lnTo>
                  <a:lnTo>
                    <a:pt x="455" y="323"/>
                  </a:lnTo>
                  <a:lnTo>
                    <a:pt x="467" y="317"/>
                  </a:lnTo>
                  <a:lnTo>
                    <a:pt x="479" y="311"/>
                  </a:lnTo>
                  <a:lnTo>
                    <a:pt x="485" y="305"/>
                  </a:lnTo>
                  <a:lnTo>
                    <a:pt x="509" y="305"/>
                  </a:lnTo>
                  <a:lnTo>
                    <a:pt x="527" y="305"/>
                  </a:lnTo>
                  <a:lnTo>
                    <a:pt x="533" y="299"/>
                  </a:lnTo>
                  <a:lnTo>
                    <a:pt x="545" y="293"/>
                  </a:lnTo>
                  <a:lnTo>
                    <a:pt x="551" y="281"/>
                  </a:lnTo>
                  <a:lnTo>
                    <a:pt x="557" y="275"/>
                  </a:lnTo>
                  <a:lnTo>
                    <a:pt x="557" y="275"/>
                  </a:lnTo>
                  <a:lnTo>
                    <a:pt x="563" y="275"/>
                  </a:lnTo>
                  <a:lnTo>
                    <a:pt x="569" y="275"/>
                  </a:lnTo>
                  <a:lnTo>
                    <a:pt x="569" y="293"/>
                  </a:lnTo>
                  <a:lnTo>
                    <a:pt x="569" y="299"/>
                  </a:lnTo>
                  <a:lnTo>
                    <a:pt x="575" y="305"/>
                  </a:lnTo>
                  <a:lnTo>
                    <a:pt x="581" y="299"/>
                  </a:lnTo>
                  <a:lnTo>
                    <a:pt x="581" y="299"/>
                  </a:lnTo>
                  <a:lnTo>
                    <a:pt x="593" y="293"/>
                  </a:lnTo>
                  <a:lnTo>
                    <a:pt x="599" y="287"/>
                  </a:lnTo>
                  <a:lnTo>
                    <a:pt x="599" y="293"/>
                  </a:lnTo>
                  <a:lnTo>
                    <a:pt x="599" y="293"/>
                  </a:lnTo>
                  <a:lnTo>
                    <a:pt x="593" y="299"/>
                  </a:lnTo>
                  <a:lnTo>
                    <a:pt x="605" y="299"/>
                  </a:lnTo>
                  <a:lnTo>
                    <a:pt x="599" y="299"/>
                  </a:lnTo>
                  <a:lnTo>
                    <a:pt x="599" y="299"/>
                  </a:lnTo>
                  <a:lnTo>
                    <a:pt x="581" y="305"/>
                  </a:lnTo>
                  <a:lnTo>
                    <a:pt x="587" y="305"/>
                  </a:lnTo>
                  <a:lnTo>
                    <a:pt x="575" y="311"/>
                  </a:lnTo>
                  <a:lnTo>
                    <a:pt x="581" y="305"/>
                  </a:lnTo>
                  <a:lnTo>
                    <a:pt x="575" y="311"/>
                  </a:lnTo>
                  <a:lnTo>
                    <a:pt x="575" y="323"/>
                  </a:lnTo>
                  <a:lnTo>
                    <a:pt x="581" y="317"/>
                  </a:lnTo>
                  <a:lnTo>
                    <a:pt x="599" y="305"/>
                  </a:lnTo>
                  <a:lnTo>
                    <a:pt x="599" y="311"/>
                  </a:lnTo>
                  <a:lnTo>
                    <a:pt x="605" y="305"/>
                  </a:lnTo>
                  <a:lnTo>
                    <a:pt x="605" y="305"/>
                  </a:lnTo>
                  <a:lnTo>
                    <a:pt x="617" y="305"/>
                  </a:lnTo>
                  <a:lnTo>
                    <a:pt x="629" y="299"/>
                  </a:lnTo>
                  <a:lnTo>
                    <a:pt x="623" y="299"/>
                  </a:lnTo>
                  <a:lnTo>
                    <a:pt x="629" y="299"/>
                  </a:lnTo>
                  <a:lnTo>
                    <a:pt x="623" y="293"/>
                  </a:lnTo>
                  <a:lnTo>
                    <a:pt x="617" y="293"/>
                  </a:lnTo>
                  <a:lnTo>
                    <a:pt x="611" y="293"/>
                  </a:lnTo>
                  <a:lnTo>
                    <a:pt x="605" y="287"/>
                  </a:lnTo>
                  <a:lnTo>
                    <a:pt x="599" y="287"/>
                  </a:lnTo>
                  <a:lnTo>
                    <a:pt x="599" y="281"/>
                  </a:lnTo>
                  <a:lnTo>
                    <a:pt x="593" y="275"/>
                  </a:lnTo>
                  <a:lnTo>
                    <a:pt x="605" y="269"/>
                  </a:lnTo>
                  <a:lnTo>
                    <a:pt x="593" y="269"/>
                  </a:lnTo>
                  <a:lnTo>
                    <a:pt x="593" y="269"/>
                  </a:lnTo>
                  <a:lnTo>
                    <a:pt x="587" y="269"/>
                  </a:lnTo>
                  <a:lnTo>
                    <a:pt x="587" y="263"/>
                  </a:lnTo>
                  <a:lnTo>
                    <a:pt x="599" y="263"/>
                  </a:lnTo>
                  <a:lnTo>
                    <a:pt x="611" y="263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611" y="257"/>
                  </a:lnTo>
                  <a:lnTo>
                    <a:pt x="599" y="251"/>
                  </a:lnTo>
                  <a:lnTo>
                    <a:pt x="587" y="257"/>
                  </a:lnTo>
                  <a:lnTo>
                    <a:pt x="575" y="257"/>
                  </a:lnTo>
                  <a:lnTo>
                    <a:pt x="563" y="263"/>
                  </a:lnTo>
                  <a:lnTo>
                    <a:pt x="551" y="275"/>
                  </a:lnTo>
                  <a:lnTo>
                    <a:pt x="539" y="281"/>
                  </a:lnTo>
                  <a:lnTo>
                    <a:pt x="545" y="275"/>
                  </a:lnTo>
                  <a:lnTo>
                    <a:pt x="557" y="263"/>
                  </a:lnTo>
                  <a:lnTo>
                    <a:pt x="545" y="263"/>
                  </a:lnTo>
                  <a:lnTo>
                    <a:pt x="557" y="263"/>
                  </a:lnTo>
                  <a:lnTo>
                    <a:pt x="569" y="257"/>
                  </a:lnTo>
                  <a:lnTo>
                    <a:pt x="587" y="251"/>
                  </a:lnTo>
                  <a:lnTo>
                    <a:pt x="593" y="239"/>
                  </a:lnTo>
                  <a:lnTo>
                    <a:pt x="617" y="239"/>
                  </a:lnTo>
                  <a:lnTo>
                    <a:pt x="635" y="239"/>
                  </a:lnTo>
                  <a:lnTo>
                    <a:pt x="659" y="239"/>
                  </a:lnTo>
                  <a:lnTo>
                    <a:pt x="671" y="227"/>
                  </a:lnTo>
                  <a:lnTo>
                    <a:pt x="689" y="227"/>
                  </a:lnTo>
                  <a:lnTo>
                    <a:pt x="707" y="215"/>
                  </a:lnTo>
                  <a:lnTo>
                    <a:pt x="701" y="215"/>
                  </a:lnTo>
                  <a:lnTo>
                    <a:pt x="707" y="215"/>
                  </a:lnTo>
                  <a:lnTo>
                    <a:pt x="701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07" y="203"/>
                  </a:lnTo>
                  <a:lnTo>
                    <a:pt x="707" y="203"/>
                  </a:lnTo>
                  <a:lnTo>
                    <a:pt x="701" y="197"/>
                  </a:lnTo>
                  <a:lnTo>
                    <a:pt x="707" y="197"/>
                  </a:lnTo>
                  <a:lnTo>
                    <a:pt x="701" y="197"/>
                  </a:lnTo>
                  <a:lnTo>
                    <a:pt x="701" y="191"/>
                  </a:lnTo>
                  <a:lnTo>
                    <a:pt x="689" y="191"/>
                  </a:lnTo>
                  <a:lnTo>
                    <a:pt x="695" y="191"/>
                  </a:lnTo>
                  <a:lnTo>
                    <a:pt x="677" y="197"/>
                  </a:lnTo>
                  <a:lnTo>
                    <a:pt x="671" y="203"/>
                  </a:lnTo>
                  <a:lnTo>
                    <a:pt x="671" y="203"/>
                  </a:lnTo>
                  <a:lnTo>
                    <a:pt x="665" y="197"/>
                  </a:lnTo>
                  <a:lnTo>
                    <a:pt x="671" y="197"/>
                  </a:lnTo>
                  <a:lnTo>
                    <a:pt x="689" y="191"/>
                  </a:lnTo>
                  <a:lnTo>
                    <a:pt x="677" y="197"/>
                  </a:lnTo>
                  <a:lnTo>
                    <a:pt x="701" y="191"/>
                  </a:lnTo>
                  <a:lnTo>
                    <a:pt x="689" y="185"/>
                  </a:lnTo>
                  <a:lnTo>
                    <a:pt x="683" y="185"/>
                  </a:lnTo>
                  <a:lnTo>
                    <a:pt x="689" y="179"/>
                  </a:lnTo>
                  <a:lnTo>
                    <a:pt x="677" y="185"/>
                  </a:lnTo>
                  <a:lnTo>
                    <a:pt x="683" y="179"/>
                  </a:lnTo>
                  <a:lnTo>
                    <a:pt x="683" y="179"/>
                  </a:lnTo>
                  <a:lnTo>
                    <a:pt x="677" y="185"/>
                  </a:lnTo>
                  <a:lnTo>
                    <a:pt x="677" y="179"/>
                  </a:lnTo>
                  <a:lnTo>
                    <a:pt x="671" y="185"/>
                  </a:lnTo>
                  <a:lnTo>
                    <a:pt x="677" y="179"/>
                  </a:lnTo>
                  <a:lnTo>
                    <a:pt x="677" y="179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7" y="173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7"/>
                  </a:lnTo>
                  <a:lnTo>
                    <a:pt x="671" y="167"/>
                  </a:lnTo>
                  <a:lnTo>
                    <a:pt x="665" y="161"/>
                  </a:lnTo>
                  <a:lnTo>
                    <a:pt x="665" y="161"/>
                  </a:lnTo>
                  <a:lnTo>
                    <a:pt x="671" y="161"/>
                  </a:lnTo>
                  <a:lnTo>
                    <a:pt x="677" y="161"/>
                  </a:lnTo>
                  <a:lnTo>
                    <a:pt x="671" y="155"/>
                  </a:lnTo>
                  <a:lnTo>
                    <a:pt x="671" y="155"/>
                  </a:lnTo>
                  <a:lnTo>
                    <a:pt x="677" y="149"/>
                  </a:lnTo>
                  <a:lnTo>
                    <a:pt x="671" y="149"/>
                  </a:lnTo>
                  <a:lnTo>
                    <a:pt x="671" y="149"/>
                  </a:lnTo>
                  <a:lnTo>
                    <a:pt x="665" y="149"/>
                  </a:lnTo>
                  <a:lnTo>
                    <a:pt x="671" y="143"/>
                  </a:lnTo>
                  <a:lnTo>
                    <a:pt x="671" y="143"/>
                  </a:lnTo>
                  <a:lnTo>
                    <a:pt x="665" y="143"/>
                  </a:lnTo>
                  <a:lnTo>
                    <a:pt x="671" y="137"/>
                  </a:lnTo>
                  <a:lnTo>
                    <a:pt x="671" y="137"/>
                  </a:lnTo>
                  <a:lnTo>
                    <a:pt x="665" y="137"/>
                  </a:lnTo>
                  <a:lnTo>
                    <a:pt x="671" y="131"/>
                  </a:lnTo>
                  <a:lnTo>
                    <a:pt x="665" y="131"/>
                  </a:lnTo>
                  <a:lnTo>
                    <a:pt x="665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65" y="126"/>
                  </a:lnTo>
                  <a:lnTo>
                    <a:pt x="659" y="126"/>
                  </a:lnTo>
                  <a:lnTo>
                    <a:pt x="659" y="126"/>
                  </a:lnTo>
                  <a:lnTo>
                    <a:pt x="653" y="126"/>
                  </a:lnTo>
                  <a:lnTo>
                    <a:pt x="653" y="131"/>
                  </a:lnTo>
                  <a:lnTo>
                    <a:pt x="653" y="131"/>
                  </a:lnTo>
                  <a:lnTo>
                    <a:pt x="647" y="137"/>
                  </a:lnTo>
                  <a:lnTo>
                    <a:pt x="641" y="137"/>
                  </a:lnTo>
                  <a:lnTo>
                    <a:pt x="641" y="143"/>
                  </a:lnTo>
                  <a:lnTo>
                    <a:pt x="641" y="137"/>
                  </a:lnTo>
                  <a:lnTo>
                    <a:pt x="629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23" y="149"/>
                  </a:lnTo>
                  <a:lnTo>
                    <a:pt x="623" y="143"/>
                  </a:lnTo>
                  <a:lnTo>
                    <a:pt x="617" y="149"/>
                  </a:lnTo>
                  <a:lnTo>
                    <a:pt x="611" y="149"/>
                  </a:lnTo>
                  <a:lnTo>
                    <a:pt x="623" y="143"/>
                  </a:lnTo>
                  <a:lnTo>
                    <a:pt x="623" y="137"/>
                  </a:lnTo>
                  <a:lnTo>
                    <a:pt x="611" y="137"/>
                  </a:lnTo>
                  <a:lnTo>
                    <a:pt x="605" y="137"/>
                  </a:lnTo>
                  <a:lnTo>
                    <a:pt x="611" y="137"/>
                  </a:lnTo>
                  <a:lnTo>
                    <a:pt x="617" y="137"/>
                  </a:lnTo>
                  <a:lnTo>
                    <a:pt x="617" y="131"/>
                  </a:lnTo>
                  <a:lnTo>
                    <a:pt x="617" y="131"/>
                  </a:lnTo>
                  <a:lnTo>
                    <a:pt x="617" y="126"/>
                  </a:lnTo>
                  <a:lnTo>
                    <a:pt x="611" y="126"/>
                  </a:lnTo>
                  <a:lnTo>
                    <a:pt x="623" y="126"/>
                  </a:lnTo>
                  <a:lnTo>
                    <a:pt x="623" y="120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1" y="114"/>
                  </a:lnTo>
                  <a:lnTo>
                    <a:pt x="611" y="108"/>
                  </a:lnTo>
                  <a:lnTo>
                    <a:pt x="611" y="108"/>
                  </a:lnTo>
                  <a:lnTo>
                    <a:pt x="605" y="102"/>
                  </a:lnTo>
                  <a:lnTo>
                    <a:pt x="605" y="102"/>
                  </a:lnTo>
                  <a:lnTo>
                    <a:pt x="599" y="96"/>
                  </a:lnTo>
                  <a:lnTo>
                    <a:pt x="587" y="102"/>
                  </a:lnTo>
                  <a:lnTo>
                    <a:pt x="581" y="102"/>
                  </a:lnTo>
                  <a:lnTo>
                    <a:pt x="581" y="102"/>
                  </a:lnTo>
                  <a:lnTo>
                    <a:pt x="563" y="96"/>
                  </a:lnTo>
                  <a:lnTo>
                    <a:pt x="557" y="108"/>
                  </a:lnTo>
                  <a:lnTo>
                    <a:pt x="557" y="108"/>
                  </a:lnTo>
                  <a:lnTo>
                    <a:pt x="551" y="120"/>
                  </a:lnTo>
                  <a:lnTo>
                    <a:pt x="557" y="120"/>
                  </a:lnTo>
                  <a:lnTo>
                    <a:pt x="551" y="126"/>
                  </a:lnTo>
                  <a:lnTo>
                    <a:pt x="551" y="131"/>
                  </a:lnTo>
                  <a:lnTo>
                    <a:pt x="545" y="131"/>
                  </a:lnTo>
                  <a:lnTo>
                    <a:pt x="533" y="143"/>
                  </a:lnTo>
                  <a:lnTo>
                    <a:pt x="545" y="155"/>
                  </a:lnTo>
                  <a:lnTo>
                    <a:pt x="539" y="161"/>
                  </a:lnTo>
                  <a:lnTo>
                    <a:pt x="533" y="173"/>
                  </a:lnTo>
                  <a:lnTo>
                    <a:pt x="515" y="179"/>
                  </a:lnTo>
                  <a:lnTo>
                    <a:pt x="503" y="185"/>
                  </a:lnTo>
                  <a:lnTo>
                    <a:pt x="497" y="185"/>
                  </a:lnTo>
                  <a:lnTo>
                    <a:pt x="497" y="197"/>
                  </a:lnTo>
                  <a:lnTo>
                    <a:pt x="497" y="209"/>
                  </a:lnTo>
                  <a:lnTo>
                    <a:pt x="491" y="221"/>
                  </a:lnTo>
                  <a:lnTo>
                    <a:pt x="485" y="227"/>
                  </a:lnTo>
                  <a:lnTo>
                    <a:pt x="485" y="227"/>
                  </a:lnTo>
                  <a:lnTo>
                    <a:pt x="485" y="221"/>
                  </a:lnTo>
                  <a:lnTo>
                    <a:pt x="479" y="227"/>
                  </a:lnTo>
                  <a:lnTo>
                    <a:pt x="479" y="233"/>
                  </a:lnTo>
                  <a:lnTo>
                    <a:pt x="473" y="227"/>
                  </a:lnTo>
                  <a:lnTo>
                    <a:pt x="467" y="233"/>
                  </a:lnTo>
                  <a:lnTo>
                    <a:pt x="473" y="227"/>
                  </a:lnTo>
                  <a:lnTo>
                    <a:pt x="467" y="215"/>
                  </a:lnTo>
                  <a:lnTo>
                    <a:pt x="467" y="209"/>
                  </a:lnTo>
                  <a:lnTo>
                    <a:pt x="467" y="203"/>
                  </a:lnTo>
                  <a:lnTo>
                    <a:pt x="467" y="191"/>
                  </a:lnTo>
                  <a:lnTo>
                    <a:pt x="473" y="179"/>
                  </a:lnTo>
                  <a:lnTo>
                    <a:pt x="461" y="179"/>
                  </a:lnTo>
                  <a:lnTo>
                    <a:pt x="449" y="179"/>
                  </a:lnTo>
                  <a:lnTo>
                    <a:pt x="449" y="185"/>
                  </a:lnTo>
                  <a:lnTo>
                    <a:pt x="449" y="179"/>
                  </a:lnTo>
                  <a:lnTo>
                    <a:pt x="443" y="173"/>
                  </a:lnTo>
                  <a:lnTo>
                    <a:pt x="437" y="173"/>
                  </a:lnTo>
                  <a:lnTo>
                    <a:pt x="425" y="161"/>
                  </a:lnTo>
                  <a:lnTo>
                    <a:pt x="413" y="155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395" y="161"/>
                  </a:lnTo>
                  <a:lnTo>
                    <a:pt x="401" y="149"/>
                  </a:lnTo>
                  <a:lnTo>
                    <a:pt x="401" y="137"/>
                  </a:lnTo>
                  <a:lnTo>
                    <a:pt x="395" y="143"/>
                  </a:lnTo>
                  <a:lnTo>
                    <a:pt x="389" y="149"/>
                  </a:lnTo>
                  <a:lnTo>
                    <a:pt x="395" y="137"/>
                  </a:lnTo>
                  <a:lnTo>
                    <a:pt x="389" y="137"/>
                  </a:lnTo>
                  <a:lnTo>
                    <a:pt x="407" y="120"/>
                  </a:lnTo>
                  <a:lnTo>
                    <a:pt x="425" y="108"/>
                  </a:lnTo>
                  <a:lnTo>
                    <a:pt x="425" y="102"/>
                  </a:lnTo>
                  <a:lnTo>
                    <a:pt x="431" y="102"/>
                  </a:lnTo>
                  <a:lnTo>
                    <a:pt x="431" y="102"/>
                  </a:lnTo>
                  <a:lnTo>
                    <a:pt x="437" y="102"/>
                  </a:lnTo>
                  <a:lnTo>
                    <a:pt x="437" y="96"/>
                  </a:lnTo>
                  <a:lnTo>
                    <a:pt x="443" y="96"/>
                  </a:lnTo>
                  <a:lnTo>
                    <a:pt x="443" y="96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49" y="84"/>
                  </a:lnTo>
                  <a:lnTo>
                    <a:pt x="449" y="84"/>
                  </a:lnTo>
                  <a:lnTo>
                    <a:pt x="443" y="84"/>
                  </a:lnTo>
                  <a:lnTo>
                    <a:pt x="443" y="78"/>
                  </a:lnTo>
                  <a:lnTo>
                    <a:pt x="455" y="84"/>
                  </a:lnTo>
                  <a:lnTo>
                    <a:pt x="467" y="84"/>
                  </a:lnTo>
                  <a:lnTo>
                    <a:pt x="473" y="84"/>
                  </a:lnTo>
                  <a:lnTo>
                    <a:pt x="473" y="78"/>
                  </a:lnTo>
                  <a:lnTo>
                    <a:pt x="479" y="84"/>
                  </a:lnTo>
                  <a:lnTo>
                    <a:pt x="479" y="78"/>
                  </a:lnTo>
                  <a:lnTo>
                    <a:pt x="485" y="84"/>
                  </a:lnTo>
                  <a:lnTo>
                    <a:pt x="503" y="72"/>
                  </a:lnTo>
                  <a:lnTo>
                    <a:pt x="503" y="66"/>
                  </a:lnTo>
                  <a:lnTo>
                    <a:pt x="485" y="66"/>
                  </a:lnTo>
                  <a:lnTo>
                    <a:pt x="479" y="60"/>
                  </a:lnTo>
                  <a:lnTo>
                    <a:pt x="497" y="66"/>
                  </a:lnTo>
                  <a:lnTo>
                    <a:pt x="503" y="66"/>
                  </a:lnTo>
                  <a:lnTo>
                    <a:pt x="521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7" name="Freeform 403">
              <a:extLst>
                <a:ext uri="{FF2B5EF4-FFF2-40B4-BE49-F238E27FC236}">
                  <a16:creationId xmlns:a16="http://schemas.microsoft.com/office/drawing/2014/main" id="{11C82959-75CC-4D55-BFA4-4A41E3F4A0E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222"/>
              <a:ext cx="192" cy="132"/>
            </a:xfrm>
            <a:custGeom>
              <a:avLst/>
              <a:gdLst>
                <a:gd name="T0" fmla="*/ 144 w 192"/>
                <a:gd name="T1" fmla="*/ 30 h 132"/>
                <a:gd name="T2" fmla="*/ 132 w 192"/>
                <a:gd name="T3" fmla="*/ 24 h 132"/>
                <a:gd name="T4" fmla="*/ 126 w 192"/>
                <a:gd name="T5" fmla="*/ 24 h 132"/>
                <a:gd name="T6" fmla="*/ 114 w 192"/>
                <a:gd name="T7" fmla="*/ 30 h 132"/>
                <a:gd name="T8" fmla="*/ 114 w 192"/>
                <a:gd name="T9" fmla="*/ 24 h 132"/>
                <a:gd name="T10" fmla="*/ 120 w 192"/>
                <a:gd name="T11" fmla="*/ 18 h 132"/>
                <a:gd name="T12" fmla="*/ 90 w 192"/>
                <a:gd name="T13" fmla="*/ 18 h 132"/>
                <a:gd name="T14" fmla="*/ 90 w 192"/>
                <a:gd name="T15" fmla="*/ 18 h 132"/>
                <a:gd name="T16" fmla="*/ 84 w 192"/>
                <a:gd name="T17" fmla="*/ 18 h 132"/>
                <a:gd name="T18" fmla="*/ 78 w 192"/>
                <a:gd name="T19" fmla="*/ 18 h 132"/>
                <a:gd name="T20" fmla="*/ 66 w 192"/>
                <a:gd name="T21" fmla="*/ 6 h 132"/>
                <a:gd name="T22" fmla="*/ 48 w 192"/>
                <a:gd name="T23" fmla="*/ 12 h 132"/>
                <a:gd name="T24" fmla="*/ 48 w 192"/>
                <a:gd name="T25" fmla="*/ 18 h 132"/>
                <a:gd name="T26" fmla="*/ 42 w 192"/>
                <a:gd name="T27" fmla="*/ 24 h 132"/>
                <a:gd name="T28" fmla="*/ 30 w 192"/>
                <a:gd name="T29" fmla="*/ 24 h 132"/>
                <a:gd name="T30" fmla="*/ 18 w 192"/>
                <a:gd name="T31" fmla="*/ 12 h 132"/>
                <a:gd name="T32" fmla="*/ 6 w 192"/>
                <a:gd name="T33" fmla="*/ 36 h 132"/>
                <a:gd name="T34" fmla="*/ 24 w 192"/>
                <a:gd name="T35" fmla="*/ 42 h 132"/>
                <a:gd name="T36" fmla="*/ 54 w 192"/>
                <a:gd name="T37" fmla="*/ 42 h 132"/>
                <a:gd name="T38" fmla="*/ 78 w 192"/>
                <a:gd name="T39" fmla="*/ 36 h 132"/>
                <a:gd name="T40" fmla="*/ 90 w 192"/>
                <a:gd name="T41" fmla="*/ 48 h 132"/>
                <a:gd name="T42" fmla="*/ 84 w 192"/>
                <a:gd name="T43" fmla="*/ 54 h 132"/>
                <a:gd name="T44" fmla="*/ 102 w 192"/>
                <a:gd name="T45" fmla="*/ 54 h 132"/>
                <a:gd name="T46" fmla="*/ 102 w 192"/>
                <a:gd name="T47" fmla="*/ 78 h 132"/>
                <a:gd name="T48" fmla="*/ 120 w 192"/>
                <a:gd name="T49" fmla="*/ 84 h 132"/>
                <a:gd name="T50" fmla="*/ 96 w 192"/>
                <a:gd name="T51" fmla="*/ 78 h 132"/>
                <a:gd name="T52" fmla="*/ 66 w 192"/>
                <a:gd name="T53" fmla="*/ 96 h 132"/>
                <a:gd name="T54" fmla="*/ 42 w 192"/>
                <a:gd name="T55" fmla="*/ 102 h 132"/>
                <a:gd name="T56" fmla="*/ 72 w 192"/>
                <a:gd name="T57" fmla="*/ 102 h 132"/>
                <a:gd name="T58" fmla="*/ 78 w 192"/>
                <a:gd name="T59" fmla="*/ 102 h 132"/>
                <a:gd name="T60" fmla="*/ 90 w 192"/>
                <a:gd name="T61" fmla="*/ 108 h 132"/>
                <a:gd name="T62" fmla="*/ 102 w 192"/>
                <a:gd name="T63" fmla="*/ 120 h 132"/>
                <a:gd name="T64" fmla="*/ 120 w 192"/>
                <a:gd name="T65" fmla="*/ 114 h 132"/>
                <a:gd name="T66" fmla="*/ 132 w 192"/>
                <a:gd name="T67" fmla="*/ 114 h 132"/>
                <a:gd name="T68" fmla="*/ 144 w 192"/>
                <a:gd name="T69" fmla="*/ 120 h 132"/>
                <a:gd name="T70" fmla="*/ 150 w 192"/>
                <a:gd name="T71" fmla="*/ 114 h 132"/>
                <a:gd name="T72" fmla="*/ 150 w 192"/>
                <a:gd name="T73" fmla="*/ 102 h 132"/>
                <a:gd name="T74" fmla="*/ 144 w 192"/>
                <a:gd name="T75" fmla="*/ 96 h 132"/>
                <a:gd name="T76" fmla="*/ 138 w 192"/>
                <a:gd name="T77" fmla="*/ 96 h 132"/>
                <a:gd name="T78" fmla="*/ 132 w 192"/>
                <a:gd name="T79" fmla="*/ 84 h 132"/>
                <a:gd name="T80" fmla="*/ 144 w 192"/>
                <a:gd name="T81" fmla="*/ 84 h 132"/>
                <a:gd name="T82" fmla="*/ 150 w 192"/>
                <a:gd name="T83" fmla="*/ 78 h 132"/>
                <a:gd name="T84" fmla="*/ 168 w 192"/>
                <a:gd name="T85" fmla="*/ 78 h 132"/>
                <a:gd name="T86" fmla="*/ 156 w 192"/>
                <a:gd name="T87" fmla="*/ 90 h 132"/>
                <a:gd name="T88" fmla="*/ 162 w 192"/>
                <a:gd name="T89" fmla="*/ 96 h 132"/>
                <a:gd name="T90" fmla="*/ 174 w 192"/>
                <a:gd name="T91" fmla="*/ 90 h 132"/>
                <a:gd name="T92" fmla="*/ 186 w 192"/>
                <a:gd name="T93" fmla="*/ 84 h 132"/>
                <a:gd name="T94" fmla="*/ 192 w 192"/>
                <a:gd name="T95" fmla="*/ 78 h 132"/>
                <a:gd name="T96" fmla="*/ 186 w 192"/>
                <a:gd name="T97" fmla="*/ 78 h 132"/>
                <a:gd name="T98" fmla="*/ 174 w 192"/>
                <a:gd name="T99" fmla="*/ 72 h 132"/>
                <a:gd name="T100" fmla="*/ 174 w 192"/>
                <a:gd name="T101" fmla="*/ 72 h 132"/>
                <a:gd name="T102" fmla="*/ 174 w 192"/>
                <a:gd name="T103" fmla="*/ 66 h 132"/>
                <a:gd name="T104" fmla="*/ 174 w 192"/>
                <a:gd name="T105" fmla="*/ 60 h 132"/>
                <a:gd name="T106" fmla="*/ 162 w 192"/>
                <a:gd name="T107" fmla="*/ 60 h 132"/>
                <a:gd name="T108" fmla="*/ 156 w 192"/>
                <a:gd name="T109" fmla="*/ 60 h 132"/>
                <a:gd name="T110" fmla="*/ 150 w 192"/>
                <a:gd name="T111" fmla="*/ 54 h 132"/>
                <a:gd name="T112" fmla="*/ 156 w 192"/>
                <a:gd name="T113" fmla="*/ 54 h 132"/>
                <a:gd name="T114" fmla="*/ 156 w 192"/>
                <a:gd name="T115" fmla="*/ 48 h 132"/>
                <a:gd name="T116" fmla="*/ 144 w 192"/>
                <a:gd name="T117" fmla="*/ 48 h 132"/>
                <a:gd name="T118" fmla="*/ 144 w 192"/>
                <a:gd name="T119" fmla="*/ 42 h 132"/>
                <a:gd name="T120" fmla="*/ 150 w 192"/>
                <a:gd name="T121" fmla="*/ 36 h 132"/>
                <a:gd name="T122" fmla="*/ 132 w 192"/>
                <a:gd name="T123" fmla="*/ 4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32">
                  <a:moveTo>
                    <a:pt x="138" y="36"/>
                  </a:moveTo>
                  <a:lnTo>
                    <a:pt x="132" y="36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32" y="36"/>
                  </a:lnTo>
                  <a:lnTo>
                    <a:pt x="138" y="30"/>
                  </a:lnTo>
                  <a:lnTo>
                    <a:pt x="144" y="30"/>
                  </a:lnTo>
                  <a:lnTo>
                    <a:pt x="132" y="24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4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26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90" y="18"/>
                  </a:lnTo>
                  <a:lnTo>
                    <a:pt x="96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48" y="12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42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48" y="6"/>
                  </a:lnTo>
                  <a:lnTo>
                    <a:pt x="60" y="0"/>
                  </a:lnTo>
                  <a:lnTo>
                    <a:pt x="30" y="6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18" y="30"/>
                  </a:lnTo>
                  <a:lnTo>
                    <a:pt x="0" y="30"/>
                  </a:lnTo>
                  <a:lnTo>
                    <a:pt x="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24" y="42"/>
                  </a:lnTo>
                  <a:lnTo>
                    <a:pt x="54" y="42"/>
                  </a:lnTo>
                  <a:lnTo>
                    <a:pt x="42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78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02" y="78"/>
                  </a:lnTo>
                  <a:lnTo>
                    <a:pt x="114" y="78"/>
                  </a:lnTo>
                  <a:lnTo>
                    <a:pt x="120" y="72"/>
                  </a:lnTo>
                  <a:lnTo>
                    <a:pt x="126" y="78"/>
                  </a:lnTo>
                  <a:lnTo>
                    <a:pt x="120" y="84"/>
                  </a:lnTo>
                  <a:lnTo>
                    <a:pt x="114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96" y="78"/>
                  </a:lnTo>
                  <a:lnTo>
                    <a:pt x="84" y="84"/>
                  </a:lnTo>
                  <a:lnTo>
                    <a:pt x="84" y="90"/>
                  </a:lnTo>
                  <a:lnTo>
                    <a:pt x="66" y="90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0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6" y="108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102" y="120"/>
                  </a:lnTo>
                  <a:lnTo>
                    <a:pt x="114" y="126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20" y="114"/>
                  </a:lnTo>
                  <a:lnTo>
                    <a:pt x="114" y="108"/>
                  </a:lnTo>
                  <a:lnTo>
                    <a:pt x="120" y="114"/>
                  </a:lnTo>
                  <a:lnTo>
                    <a:pt x="126" y="108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14"/>
                  </a:lnTo>
                  <a:lnTo>
                    <a:pt x="144" y="108"/>
                  </a:lnTo>
                  <a:lnTo>
                    <a:pt x="150" y="114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38" y="84"/>
                  </a:lnTo>
                  <a:lnTo>
                    <a:pt x="132" y="90"/>
                  </a:lnTo>
                  <a:lnTo>
                    <a:pt x="132" y="84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38" y="78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50" y="78"/>
                  </a:lnTo>
                  <a:lnTo>
                    <a:pt x="156" y="84"/>
                  </a:lnTo>
                  <a:lnTo>
                    <a:pt x="156" y="78"/>
                  </a:lnTo>
                  <a:lnTo>
                    <a:pt x="150" y="84"/>
                  </a:lnTo>
                  <a:lnTo>
                    <a:pt x="168" y="78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56" y="96"/>
                  </a:lnTo>
                  <a:lnTo>
                    <a:pt x="162" y="9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86" y="72"/>
                  </a:lnTo>
                  <a:lnTo>
                    <a:pt x="186" y="78"/>
                  </a:lnTo>
                  <a:lnTo>
                    <a:pt x="180" y="78"/>
                  </a:lnTo>
                  <a:lnTo>
                    <a:pt x="180" y="72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68" y="72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68" y="66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0" y="60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68" y="42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44" y="42"/>
                  </a:lnTo>
                  <a:lnTo>
                    <a:pt x="156" y="36"/>
                  </a:lnTo>
                  <a:lnTo>
                    <a:pt x="144" y="42"/>
                  </a:lnTo>
                  <a:lnTo>
                    <a:pt x="162" y="36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50" y="30"/>
                  </a:lnTo>
                  <a:lnTo>
                    <a:pt x="138" y="36"/>
                  </a:lnTo>
                  <a:lnTo>
                    <a:pt x="132" y="42"/>
                  </a:lnTo>
                  <a:lnTo>
                    <a:pt x="138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8" name="Freeform 404">
              <a:extLst>
                <a:ext uri="{FF2B5EF4-FFF2-40B4-BE49-F238E27FC236}">
                  <a16:creationId xmlns:a16="http://schemas.microsoft.com/office/drawing/2014/main" id="{00544BFC-7BAE-4A7D-A404-5FB800EEB0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6" y="1144"/>
              <a:ext cx="234" cy="54"/>
            </a:xfrm>
            <a:custGeom>
              <a:avLst/>
              <a:gdLst>
                <a:gd name="T0" fmla="*/ 54 w 234"/>
                <a:gd name="T1" fmla="*/ 42 h 54"/>
                <a:gd name="T2" fmla="*/ 42 w 234"/>
                <a:gd name="T3" fmla="*/ 48 h 54"/>
                <a:gd name="T4" fmla="*/ 30 w 234"/>
                <a:gd name="T5" fmla="*/ 42 h 54"/>
                <a:gd name="T6" fmla="*/ 42 w 234"/>
                <a:gd name="T7" fmla="*/ 42 h 54"/>
                <a:gd name="T8" fmla="*/ 24 w 234"/>
                <a:gd name="T9" fmla="*/ 36 h 54"/>
                <a:gd name="T10" fmla="*/ 60 w 234"/>
                <a:gd name="T11" fmla="*/ 36 h 54"/>
                <a:gd name="T12" fmla="*/ 48 w 234"/>
                <a:gd name="T13" fmla="*/ 24 h 54"/>
                <a:gd name="T14" fmla="*/ 66 w 234"/>
                <a:gd name="T15" fmla="*/ 24 h 54"/>
                <a:gd name="T16" fmla="*/ 78 w 234"/>
                <a:gd name="T17" fmla="*/ 24 h 54"/>
                <a:gd name="T18" fmla="*/ 72 w 234"/>
                <a:gd name="T19" fmla="*/ 24 h 54"/>
                <a:gd name="T20" fmla="*/ 108 w 234"/>
                <a:gd name="T21" fmla="*/ 18 h 54"/>
                <a:gd name="T22" fmla="*/ 120 w 234"/>
                <a:gd name="T23" fmla="*/ 12 h 54"/>
                <a:gd name="T24" fmla="*/ 90 w 234"/>
                <a:gd name="T25" fmla="*/ 18 h 54"/>
                <a:gd name="T26" fmla="*/ 48 w 234"/>
                <a:gd name="T27" fmla="*/ 18 h 54"/>
                <a:gd name="T28" fmla="*/ 84 w 234"/>
                <a:gd name="T29" fmla="*/ 12 h 54"/>
                <a:gd name="T30" fmla="*/ 48 w 234"/>
                <a:gd name="T31" fmla="*/ 18 h 54"/>
                <a:gd name="T32" fmla="*/ 36 w 234"/>
                <a:gd name="T33" fmla="*/ 18 h 54"/>
                <a:gd name="T34" fmla="*/ 66 w 234"/>
                <a:gd name="T35" fmla="*/ 12 h 54"/>
                <a:gd name="T36" fmla="*/ 30 w 234"/>
                <a:gd name="T37" fmla="*/ 12 h 54"/>
                <a:gd name="T38" fmla="*/ 54 w 234"/>
                <a:gd name="T39" fmla="*/ 12 h 54"/>
                <a:gd name="T40" fmla="*/ 30 w 234"/>
                <a:gd name="T41" fmla="*/ 12 h 54"/>
                <a:gd name="T42" fmla="*/ 66 w 234"/>
                <a:gd name="T43" fmla="*/ 6 h 54"/>
                <a:gd name="T44" fmla="*/ 108 w 234"/>
                <a:gd name="T45" fmla="*/ 12 h 54"/>
                <a:gd name="T46" fmla="*/ 108 w 234"/>
                <a:gd name="T47" fmla="*/ 0 h 54"/>
                <a:gd name="T48" fmla="*/ 144 w 234"/>
                <a:gd name="T49" fmla="*/ 6 h 54"/>
                <a:gd name="T50" fmla="*/ 132 w 234"/>
                <a:gd name="T51" fmla="*/ 0 h 54"/>
                <a:gd name="T52" fmla="*/ 186 w 234"/>
                <a:gd name="T53" fmla="*/ 6 h 54"/>
                <a:gd name="T54" fmla="*/ 234 w 234"/>
                <a:gd name="T55" fmla="*/ 6 h 54"/>
                <a:gd name="T56" fmla="*/ 204 w 234"/>
                <a:gd name="T57" fmla="*/ 12 h 54"/>
                <a:gd name="T58" fmla="*/ 168 w 234"/>
                <a:gd name="T59" fmla="*/ 12 h 54"/>
                <a:gd name="T60" fmla="*/ 210 w 234"/>
                <a:gd name="T61" fmla="*/ 12 h 54"/>
                <a:gd name="T62" fmla="*/ 168 w 234"/>
                <a:gd name="T63" fmla="*/ 18 h 54"/>
                <a:gd name="T64" fmla="*/ 132 w 234"/>
                <a:gd name="T65" fmla="*/ 24 h 54"/>
                <a:gd name="T66" fmla="*/ 102 w 234"/>
                <a:gd name="T67" fmla="*/ 30 h 54"/>
                <a:gd name="T68" fmla="*/ 120 w 234"/>
                <a:gd name="T69" fmla="*/ 30 h 54"/>
                <a:gd name="T70" fmla="*/ 90 w 234"/>
                <a:gd name="T71" fmla="*/ 36 h 54"/>
                <a:gd name="T72" fmla="*/ 114 w 234"/>
                <a:gd name="T73" fmla="*/ 36 h 54"/>
                <a:gd name="T74" fmla="*/ 84 w 234"/>
                <a:gd name="T75" fmla="*/ 42 h 54"/>
                <a:gd name="T76" fmla="*/ 84 w 234"/>
                <a:gd name="T77" fmla="*/ 48 h 54"/>
                <a:gd name="T78" fmla="*/ 60 w 234"/>
                <a:gd name="T79" fmla="*/ 48 h 54"/>
                <a:gd name="T80" fmla="*/ 78 w 234"/>
                <a:gd name="T81" fmla="*/ 54 h 54"/>
                <a:gd name="T82" fmla="*/ 54 w 234"/>
                <a:gd name="T83" fmla="*/ 54 h 54"/>
                <a:gd name="T84" fmla="*/ 24 w 234"/>
                <a:gd name="T85" fmla="*/ 54 h 54"/>
                <a:gd name="T86" fmla="*/ 0 w 234"/>
                <a:gd name="T87" fmla="*/ 54 h 54"/>
                <a:gd name="T88" fmla="*/ 18 w 234"/>
                <a:gd name="T89" fmla="*/ 48 h 54"/>
                <a:gd name="T90" fmla="*/ 12 w 234"/>
                <a:gd name="T91" fmla="*/ 42 h 54"/>
                <a:gd name="T92" fmla="*/ 42 w 234"/>
                <a:gd name="T93" fmla="*/ 48 h 54"/>
                <a:gd name="T94" fmla="*/ 54 w 234"/>
                <a:gd name="T95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4" h="54">
                  <a:moveTo>
                    <a:pt x="54" y="42"/>
                  </a:moveTo>
                  <a:lnTo>
                    <a:pt x="42" y="48"/>
                  </a:lnTo>
                  <a:lnTo>
                    <a:pt x="30" y="42"/>
                  </a:lnTo>
                  <a:lnTo>
                    <a:pt x="42" y="42"/>
                  </a:lnTo>
                  <a:lnTo>
                    <a:pt x="24" y="36"/>
                  </a:lnTo>
                  <a:lnTo>
                    <a:pt x="60" y="36"/>
                  </a:lnTo>
                  <a:lnTo>
                    <a:pt x="48" y="24"/>
                  </a:lnTo>
                  <a:lnTo>
                    <a:pt x="66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108" y="18"/>
                  </a:lnTo>
                  <a:lnTo>
                    <a:pt x="120" y="12"/>
                  </a:lnTo>
                  <a:lnTo>
                    <a:pt x="90" y="18"/>
                  </a:lnTo>
                  <a:lnTo>
                    <a:pt x="48" y="18"/>
                  </a:lnTo>
                  <a:lnTo>
                    <a:pt x="84" y="12"/>
                  </a:lnTo>
                  <a:lnTo>
                    <a:pt x="48" y="18"/>
                  </a:lnTo>
                  <a:lnTo>
                    <a:pt x="36" y="18"/>
                  </a:lnTo>
                  <a:lnTo>
                    <a:pt x="66" y="12"/>
                  </a:lnTo>
                  <a:lnTo>
                    <a:pt x="30" y="12"/>
                  </a:lnTo>
                  <a:lnTo>
                    <a:pt x="54" y="12"/>
                  </a:lnTo>
                  <a:lnTo>
                    <a:pt x="30" y="12"/>
                  </a:lnTo>
                  <a:lnTo>
                    <a:pt x="66" y="6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44" y="6"/>
                  </a:lnTo>
                  <a:lnTo>
                    <a:pt x="132" y="0"/>
                  </a:lnTo>
                  <a:lnTo>
                    <a:pt x="186" y="6"/>
                  </a:lnTo>
                  <a:lnTo>
                    <a:pt x="234" y="6"/>
                  </a:lnTo>
                  <a:lnTo>
                    <a:pt x="204" y="12"/>
                  </a:lnTo>
                  <a:lnTo>
                    <a:pt x="168" y="12"/>
                  </a:lnTo>
                  <a:lnTo>
                    <a:pt x="210" y="12"/>
                  </a:lnTo>
                  <a:lnTo>
                    <a:pt x="168" y="18"/>
                  </a:lnTo>
                  <a:lnTo>
                    <a:pt x="132" y="24"/>
                  </a:lnTo>
                  <a:lnTo>
                    <a:pt x="102" y="30"/>
                  </a:lnTo>
                  <a:lnTo>
                    <a:pt x="120" y="30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60" y="48"/>
                  </a:lnTo>
                  <a:lnTo>
                    <a:pt x="78" y="54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0" y="54"/>
                  </a:lnTo>
                  <a:lnTo>
                    <a:pt x="18" y="48"/>
                  </a:lnTo>
                  <a:lnTo>
                    <a:pt x="12" y="42"/>
                  </a:lnTo>
                  <a:lnTo>
                    <a:pt x="42" y="48"/>
                  </a:lnTo>
                  <a:lnTo>
                    <a:pt x="5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09" name="Freeform 405">
              <a:extLst>
                <a:ext uri="{FF2B5EF4-FFF2-40B4-BE49-F238E27FC236}">
                  <a16:creationId xmlns:a16="http://schemas.microsoft.com/office/drawing/2014/main" id="{D9FE051E-D0FD-4987-AAA8-00BA129616E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" y="1228"/>
              <a:ext cx="132" cy="54"/>
            </a:xfrm>
            <a:custGeom>
              <a:avLst/>
              <a:gdLst>
                <a:gd name="T0" fmla="*/ 84 w 132"/>
                <a:gd name="T1" fmla="*/ 48 h 54"/>
                <a:gd name="T2" fmla="*/ 78 w 132"/>
                <a:gd name="T3" fmla="*/ 42 h 54"/>
                <a:gd name="T4" fmla="*/ 78 w 132"/>
                <a:gd name="T5" fmla="*/ 42 h 54"/>
                <a:gd name="T6" fmla="*/ 60 w 132"/>
                <a:gd name="T7" fmla="*/ 48 h 54"/>
                <a:gd name="T8" fmla="*/ 42 w 132"/>
                <a:gd name="T9" fmla="*/ 48 h 54"/>
                <a:gd name="T10" fmla="*/ 18 w 132"/>
                <a:gd name="T11" fmla="*/ 54 h 54"/>
                <a:gd name="T12" fmla="*/ 18 w 132"/>
                <a:gd name="T13" fmla="*/ 42 h 54"/>
                <a:gd name="T14" fmla="*/ 0 w 132"/>
                <a:gd name="T15" fmla="*/ 42 h 54"/>
                <a:gd name="T16" fmla="*/ 0 w 132"/>
                <a:gd name="T17" fmla="*/ 36 h 54"/>
                <a:gd name="T18" fmla="*/ 24 w 132"/>
                <a:gd name="T19" fmla="*/ 30 h 54"/>
                <a:gd name="T20" fmla="*/ 48 w 132"/>
                <a:gd name="T21" fmla="*/ 30 h 54"/>
                <a:gd name="T22" fmla="*/ 30 w 132"/>
                <a:gd name="T23" fmla="*/ 30 h 54"/>
                <a:gd name="T24" fmla="*/ 6 w 132"/>
                <a:gd name="T25" fmla="*/ 30 h 54"/>
                <a:gd name="T26" fmla="*/ 0 w 132"/>
                <a:gd name="T27" fmla="*/ 24 h 54"/>
                <a:gd name="T28" fmla="*/ 30 w 132"/>
                <a:gd name="T29" fmla="*/ 18 h 54"/>
                <a:gd name="T30" fmla="*/ 6 w 132"/>
                <a:gd name="T31" fmla="*/ 18 h 54"/>
                <a:gd name="T32" fmla="*/ 18 w 132"/>
                <a:gd name="T33" fmla="*/ 18 h 54"/>
                <a:gd name="T34" fmla="*/ 6 w 132"/>
                <a:gd name="T35" fmla="*/ 18 h 54"/>
                <a:gd name="T36" fmla="*/ 18 w 132"/>
                <a:gd name="T37" fmla="*/ 12 h 54"/>
                <a:gd name="T38" fmla="*/ 18 w 132"/>
                <a:gd name="T39" fmla="*/ 12 h 54"/>
                <a:gd name="T40" fmla="*/ 42 w 132"/>
                <a:gd name="T41" fmla="*/ 6 h 54"/>
                <a:gd name="T42" fmla="*/ 60 w 132"/>
                <a:gd name="T43" fmla="*/ 0 h 54"/>
                <a:gd name="T44" fmla="*/ 60 w 132"/>
                <a:gd name="T45" fmla="*/ 6 h 54"/>
                <a:gd name="T46" fmla="*/ 54 w 132"/>
                <a:gd name="T47" fmla="*/ 12 h 54"/>
                <a:gd name="T48" fmla="*/ 60 w 132"/>
                <a:gd name="T49" fmla="*/ 6 h 54"/>
                <a:gd name="T50" fmla="*/ 66 w 132"/>
                <a:gd name="T51" fmla="*/ 6 h 54"/>
                <a:gd name="T52" fmla="*/ 72 w 132"/>
                <a:gd name="T53" fmla="*/ 12 h 54"/>
                <a:gd name="T54" fmla="*/ 72 w 132"/>
                <a:gd name="T55" fmla="*/ 12 h 54"/>
                <a:gd name="T56" fmla="*/ 72 w 132"/>
                <a:gd name="T57" fmla="*/ 12 h 54"/>
                <a:gd name="T58" fmla="*/ 84 w 132"/>
                <a:gd name="T59" fmla="*/ 12 h 54"/>
                <a:gd name="T60" fmla="*/ 84 w 132"/>
                <a:gd name="T61" fmla="*/ 6 h 54"/>
                <a:gd name="T62" fmla="*/ 90 w 132"/>
                <a:gd name="T63" fmla="*/ 6 h 54"/>
                <a:gd name="T64" fmla="*/ 96 w 132"/>
                <a:gd name="T65" fmla="*/ 12 h 54"/>
                <a:gd name="T66" fmla="*/ 90 w 132"/>
                <a:gd name="T67" fmla="*/ 18 h 54"/>
                <a:gd name="T68" fmla="*/ 96 w 132"/>
                <a:gd name="T69" fmla="*/ 18 h 54"/>
                <a:gd name="T70" fmla="*/ 108 w 132"/>
                <a:gd name="T71" fmla="*/ 0 h 54"/>
                <a:gd name="T72" fmla="*/ 120 w 132"/>
                <a:gd name="T73" fmla="*/ 0 h 54"/>
                <a:gd name="T74" fmla="*/ 120 w 132"/>
                <a:gd name="T75" fmla="*/ 12 h 54"/>
                <a:gd name="T76" fmla="*/ 114 w 132"/>
                <a:gd name="T77" fmla="*/ 24 h 54"/>
                <a:gd name="T78" fmla="*/ 114 w 132"/>
                <a:gd name="T79" fmla="*/ 30 h 54"/>
                <a:gd name="T80" fmla="*/ 114 w 132"/>
                <a:gd name="T81" fmla="*/ 30 h 54"/>
                <a:gd name="T82" fmla="*/ 132 w 132"/>
                <a:gd name="T83" fmla="*/ 36 h 54"/>
                <a:gd name="T84" fmla="*/ 126 w 132"/>
                <a:gd name="T85" fmla="*/ 36 h 54"/>
                <a:gd name="T86" fmla="*/ 120 w 132"/>
                <a:gd name="T87" fmla="*/ 36 h 54"/>
                <a:gd name="T88" fmla="*/ 126 w 132"/>
                <a:gd name="T89" fmla="*/ 36 h 54"/>
                <a:gd name="T90" fmla="*/ 120 w 132"/>
                <a:gd name="T91" fmla="*/ 36 h 54"/>
                <a:gd name="T92" fmla="*/ 114 w 132"/>
                <a:gd name="T93" fmla="*/ 36 h 54"/>
                <a:gd name="T94" fmla="*/ 108 w 132"/>
                <a:gd name="T95" fmla="*/ 42 h 54"/>
                <a:gd name="T96" fmla="*/ 108 w 132"/>
                <a:gd name="T97" fmla="*/ 42 h 54"/>
                <a:gd name="T98" fmla="*/ 102 w 132"/>
                <a:gd name="T99" fmla="*/ 42 h 54"/>
                <a:gd name="T100" fmla="*/ 114 w 132"/>
                <a:gd name="T101" fmla="*/ 42 h 54"/>
                <a:gd name="T102" fmla="*/ 114 w 132"/>
                <a:gd name="T103" fmla="*/ 42 h 54"/>
                <a:gd name="T104" fmla="*/ 108 w 132"/>
                <a:gd name="T105" fmla="*/ 48 h 54"/>
                <a:gd name="T106" fmla="*/ 84 w 132"/>
                <a:gd name="T107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54">
                  <a:moveTo>
                    <a:pt x="84" y="48"/>
                  </a:moveTo>
                  <a:lnTo>
                    <a:pt x="78" y="42"/>
                  </a:lnTo>
                  <a:lnTo>
                    <a:pt x="78" y="42"/>
                  </a:lnTo>
                  <a:lnTo>
                    <a:pt x="60" y="48"/>
                  </a:lnTo>
                  <a:lnTo>
                    <a:pt x="42" y="48"/>
                  </a:lnTo>
                  <a:lnTo>
                    <a:pt x="18" y="54"/>
                  </a:lnTo>
                  <a:lnTo>
                    <a:pt x="18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24" y="30"/>
                  </a:lnTo>
                  <a:lnTo>
                    <a:pt x="48" y="30"/>
                  </a:lnTo>
                  <a:lnTo>
                    <a:pt x="30" y="30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30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42" y="6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32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14" y="36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08" y="48"/>
                  </a:lnTo>
                  <a:lnTo>
                    <a:pt x="84" y="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0" name="Freeform 406">
              <a:extLst>
                <a:ext uri="{FF2B5EF4-FFF2-40B4-BE49-F238E27FC236}">
                  <a16:creationId xmlns:a16="http://schemas.microsoft.com/office/drawing/2014/main" id="{DC17BC01-3BD8-4A34-A7BE-A2ABBE162C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6" y="1216"/>
              <a:ext cx="96" cy="36"/>
            </a:xfrm>
            <a:custGeom>
              <a:avLst/>
              <a:gdLst>
                <a:gd name="T0" fmla="*/ 42 w 96"/>
                <a:gd name="T1" fmla="*/ 24 h 36"/>
                <a:gd name="T2" fmla="*/ 30 w 96"/>
                <a:gd name="T3" fmla="*/ 30 h 36"/>
                <a:gd name="T4" fmla="*/ 6 w 96"/>
                <a:gd name="T5" fmla="*/ 36 h 36"/>
                <a:gd name="T6" fmla="*/ 6 w 96"/>
                <a:gd name="T7" fmla="*/ 30 h 36"/>
                <a:gd name="T8" fmla="*/ 0 w 96"/>
                <a:gd name="T9" fmla="*/ 24 h 36"/>
                <a:gd name="T10" fmla="*/ 12 w 96"/>
                <a:gd name="T11" fmla="*/ 18 h 36"/>
                <a:gd name="T12" fmla="*/ 18 w 96"/>
                <a:gd name="T13" fmla="*/ 18 h 36"/>
                <a:gd name="T14" fmla="*/ 36 w 96"/>
                <a:gd name="T15" fmla="*/ 6 h 36"/>
                <a:gd name="T16" fmla="*/ 36 w 96"/>
                <a:gd name="T17" fmla="*/ 6 h 36"/>
                <a:gd name="T18" fmla="*/ 66 w 96"/>
                <a:gd name="T19" fmla="*/ 0 h 36"/>
                <a:gd name="T20" fmla="*/ 72 w 96"/>
                <a:gd name="T21" fmla="*/ 6 h 36"/>
                <a:gd name="T22" fmla="*/ 72 w 96"/>
                <a:gd name="T23" fmla="*/ 6 h 36"/>
                <a:gd name="T24" fmla="*/ 90 w 96"/>
                <a:gd name="T25" fmla="*/ 6 h 36"/>
                <a:gd name="T26" fmla="*/ 96 w 96"/>
                <a:gd name="T27" fmla="*/ 12 h 36"/>
                <a:gd name="T28" fmla="*/ 78 w 96"/>
                <a:gd name="T29" fmla="*/ 18 h 36"/>
                <a:gd name="T30" fmla="*/ 54 w 96"/>
                <a:gd name="T31" fmla="*/ 24 h 36"/>
                <a:gd name="T32" fmla="*/ 42 w 96"/>
                <a:gd name="T33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36">
                  <a:moveTo>
                    <a:pt x="42" y="24"/>
                  </a:moveTo>
                  <a:lnTo>
                    <a:pt x="30" y="30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66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78" y="18"/>
                  </a:lnTo>
                  <a:lnTo>
                    <a:pt x="54" y="24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1" name="Freeform 407">
              <a:extLst>
                <a:ext uri="{FF2B5EF4-FFF2-40B4-BE49-F238E27FC236}">
                  <a16:creationId xmlns:a16="http://schemas.microsoft.com/office/drawing/2014/main" id="{42717FFB-DE76-48DC-A8F9-4AB33D6D67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2" y="1473"/>
              <a:ext cx="60" cy="54"/>
            </a:xfrm>
            <a:custGeom>
              <a:avLst/>
              <a:gdLst>
                <a:gd name="T0" fmla="*/ 30 w 60"/>
                <a:gd name="T1" fmla="*/ 42 h 54"/>
                <a:gd name="T2" fmla="*/ 30 w 60"/>
                <a:gd name="T3" fmla="*/ 42 h 54"/>
                <a:gd name="T4" fmla="*/ 12 w 60"/>
                <a:gd name="T5" fmla="*/ 42 h 54"/>
                <a:gd name="T6" fmla="*/ 0 w 60"/>
                <a:gd name="T7" fmla="*/ 42 h 54"/>
                <a:gd name="T8" fmla="*/ 0 w 60"/>
                <a:gd name="T9" fmla="*/ 36 h 54"/>
                <a:gd name="T10" fmla="*/ 6 w 60"/>
                <a:gd name="T11" fmla="*/ 36 h 54"/>
                <a:gd name="T12" fmla="*/ 0 w 60"/>
                <a:gd name="T13" fmla="*/ 36 h 54"/>
                <a:gd name="T14" fmla="*/ 6 w 60"/>
                <a:gd name="T15" fmla="*/ 30 h 54"/>
                <a:gd name="T16" fmla="*/ 12 w 60"/>
                <a:gd name="T17" fmla="*/ 24 h 54"/>
                <a:gd name="T18" fmla="*/ 12 w 60"/>
                <a:gd name="T19" fmla="*/ 24 h 54"/>
                <a:gd name="T20" fmla="*/ 18 w 60"/>
                <a:gd name="T21" fmla="*/ 24 h 54"/>
                <a:gd name="T22" fmla="*/ 12 w 60"/>
                <a:gd name="T23" fmla="*/ 24 h 54"/>
                <a:gd name="T24" fmla="*/ 18 w 60"/>
                <a:gd name="T25" fmla="*/ 18 h 54"/>
                <a:gd name="T26" fmla="*/ 30 w 60"/>
                <a:gd name="T27" fmla="*/ 6 h 54"/>
                <a:gd name="T28" fmla="*/ 36 w 60"/>
                <a:gd name="T29" fmla="*/ 0 h 54"/>
                <a:gd name="T30" fmla="*/ 42 w 60"/>
                <a:gd name="T31" fmla="*/ 0 h 54"/>
                <a:gd name="T32" fmla="*/ 48 w 60"/>
                <a:gd name="T33" fmla="*/ 0 h 54"/>
                <a:gd name="T34" fmla="*/ 42 w 60"/>
                <a:gd name="T35" fmla="*/ 0 h 54"/>
                <a:gd name="T36" fmla="*/ 42 w 60"/>
                <a:gd name="T37" fmla="*/ 0 h 54"/>
                <a:gd name="T38" fmla="*/ 36 w 60"/>
                <a:gd name="T39" fmla="*/ 6 h 54"/>
                <a:gd name="T40" fmla="*/ 30 w 60"/>
                <a:gd name="T41" fmla="*/ 18 h 54"/>
                <a:gd name="T42" fmla="*/ 36 w 60"/>
                <a:gd name="T43" fmla="*/ 12 h 54"/>
                <a:gd name="T44" fmla="*/ 36 w 60"/>
                <a:gd name="T45" fmla="*/ 18 h 54"/>
                <a:gd name="T46" fmla="*/ 42 w 60"/>
                <a:gd name="T47" fmla="*/ 18 h 54"/>
                <a:gd name="T48" fmla="*/ 36 w 60"/>
                <a:gd name="T49" fmla="*/ 18 h 54"/>
                <a:gd name="T50" fmla="*/ 36 w 60"/>
                <a:gd name="T51" fmla="*/ 18 h 54"/>
                <a:gd name="T52" fmla="*/ 42 w 60"/>
                <a:gd name="T53" fmla="*/ 24 h 54"/>
                <a:gd name="T54" fmla="*/ 42 w 60"/>
                <a:gd name="T55" fmla="*/ 24 h 54"/>
                <a:gd name="T56" fmla="*/ 48 w 60"/>
                <a:gd name="T57" fmla="*/ 24 h 54"/>
                <a:gd name="T58" fmla="*/ 48 w 60"/>
                <a:gd name="T59" fmla="*/ 24 h 54"/>
                <a:gd name="T60" fmla="*/ 60 w 60"/>
                <a:gd name="T61" fmla="*/ 24 h 54"/>
                <a:gd name="T62" fmla="*/ 54 w 60"/>
                <a:gd name="T63" fmla="*/ 30 h 54"/>
                <a:gd name="T64" fmla="*/ 54 w 60"/>
                <a:gd name="T65" fmla="*/ 30 h 54"/>
                <a:gd name="T66" fmla="*/ 48 w 60"/>
                <a:gd name="T67" fmla="*/ 36 h 54"/>
                <a:gd name="T68" fmla="*/ 60 w 60"/>
                <a:gd name="T69" fmla="*/ 30 h 54"/>
                <a:gd name="T70" fmla="*/ 48 w 60"/>
                <a:gd name="T71" fmla="*/ 36 h 54"/>
                <a:gd name="T72" fmla="*/ 54 w 60"/>
                <a:gd name="T73" fmla="*/ 42 h 54"/>
                <a:gd name="T74" fmla="*/ 48 w 60"/>
                <a:gd name="T75" fmla="*/ 42 h 54"/>
                <a:gd name="T76" fmla="*/ 48 w 60"/>
                <a:gd name="T77" fmla="*/ 42 h 54"/>
                <a:gd name="T78" fmla="*/ 60 w 60"/>
                <a:gd name="T79" fmla="*/ 36 h 54"/>
                <a:gd name="T80" fmla="*/ 54 w 60"/>
                <a:gd name="T81" fmla="*/ 42 h 54"/>
                <a:gd name="T82" fmla="*/ 60 w 60"/>
                <a:gd name="T83" fmla="*/ 42 h 54"/>
                <a:gd name="T84" fmla="*/ 60 w 60"/>
                <a:gd name="T85" fmla="*/ 48 h 54"/>
                <a:gd name="T86" fmla="*/ 54 w 60"/>
                <a:gd name="T87" fmla="*/ 54 h 54"/>
                <a:gd name="T88" fmla="*/ 48 w 60"/>
                <a:gd name="T89" fmla="*/ 54 h 54"/>
                <a:gd name="T90" fmla="*/ 48 w 60"/>
                <a:gd name="T91" fmla="*/ 48 h 54"/>
                <a:gd name="T92" fmla="*/ 42 w 60"/>
                <a:gd name="T93" fmla="*/ 54 h 54"/>
                <a:gd name="T94" fmla="*/ 48 w 60"/>
                <a:gd name="T95" fmla="*/ 42 h 54"/>
                <a:gd name="T96" fmla="*/ 48 w 60"/>
                <a:gd name="T97" fmla="*/ 42 h 54"/>
                <a:gd name="T98" fmla="*/ 42 w 60"/>
                <a:gd name="T99" fmla="*/ 48 h 54"/>
                <a:gd name="T100" fmla="*/ 42 w 60"/>
                <a:gd name="T101" fmla="*/ 42 h 54"/>
                <a:gd name="T102" fmla="*/ 30 w 60"/>
                <a:gd name="T103" fmla="*/ 54 h 54"/>
                <a:gd name="T104" fmla="*/ 30 w 60"/>
                <a:gd name="T105" fmla="*/ 48 h 54"/>
                <a:gd name="T106" fmla="*/ 42 w 60"/>
                <a:gd name="T107" fmla="*/ 42 h 54"/>
                <a:gd name="T108" fmla="*/ 36 w 60"/>
                <a:gd name="T109" fmla="*/ 42 h 54"/>
                <a:gd name="T110" fmla="*/ 42 w 60"/>
                <a:gd name="T111" fmla="*/ 42 h 54"/>
                <a:gd name="T112" fmla="*/ 36 w 60"/>
                <a:gd name="T113" fmla="*/ 42 h 54"/>
                <a:gd name="T114" fmla="*/ 30 w 60"/>
                <a:gd name="T115" fmla="*/ 48 h 54"/>
                <a:gd name="T116" fmla="*/ 24 w 60"/>
                <a:gd name="T117" fmla="*/ 48 h 54"/>
                <a:gd name="T118" fmla="*/ 30 w 60"/>
                <a:gd name="T11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" h="54">
                  <a:moveTo>
                    <a:pt x="30" y="42"/>
                  </a:moveTo>
                  <a:lnTo>
                    <a:pt x="30" y="42"/>
                  </a:lnTo>
                  <a:lnTo>
                    <a:pt x="12" y="42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6" y="3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30" y="6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6" y="6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2" name="Freeform 408">
              <a:extLst>
                <a:ext uri="{FF2B5EF4-FFF2-40B4-BE49-F238E27FC236}">
                  <a16:creationId xmlns:a16="http://schemas.microsoft.com/office/drawing/2014/main" id="{4066075C-A5E5-4E23-AADC-EEF9EF17A1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6" y="1198"/>
              <a:ext cx="114" cy="18"/>
            </a:xfrm>
            <a:custGeom>
              <a:avLst/>
              <a:gdLst>
                <a:gd name="T0" fmla="*/ 48 w 114"/>
                <a:gd name="T1" fmla="*/ 6 h 18"/>
                <a:gd name="T2" fmla="*/ 30 w 114"/>
                <a:gd name="T3" fmla="*/ 6 h 18"/>
                <a:gd name="T4" fmla="*/ 48 w 114"/>
                <a:gd name="T5" fmla="*/ 6 h 18"/>
                <a:gd name="T6" fmla="*/ 18 w 114"/>
                <a:gd name="T7" fmla="*/ 0 h 18"/>
                <a:gd name="T8" fmla="*/ 24 w 114"/>
                <a:gd name="T9" fmla="*/ 0 h 18"/>
                <a:gd name="T10" fmla="*/ 0 w 114"/>
                <a:gd name="T11" fmla="*/ 0 h 18"/>
                <a:gd name="T12" fmla="*/ 24 w 114"/>
                <a:gd name="T13" fmla="*/ 6 h 18"/>
                <a:gd name="T14" fmla="*/ 18 w 114"/>
                <a:gd name="T15" fmla="*/ 12 h 18"/>
                <a:gd name="T16" fmla="*/ 18 w 114"/>
                <a:gd name="T17" fmla="*/ 18 h 18"/>
                <a:gd name="T18" fmla="*/ 42 w 114"/>
                <a:gd name="T19" fmla="*/ 18 h 18"/>
                <a:gd name="T20" fmla="*/ 60 w 114"/>
                <a:gd name="T21" fmla="*/ 18 h 18"/>
                <a:gd name="T22" fmla="*/ 84 w 114"/>
                <a:gd name="T23" fmla="*/ 18 h 18"/>
                <a:gd name="T24" fmla="*/ 108 w 114"/>
                <a:gd name="T25" fmla="*/ 18 h 18"/>
                <a:gd name="T26" fmla="*/ 114 w 114"/>
                <a:gd name="T27" fmla="*/ 12 h 18"/>
                <a:gd name="T28" fmla="*/ 96 w 114"/>
                <a:gd name="T29" fmla="*/ 6 h 18"/>
                <a:gd name="T30" fmla="*/ 72 w 114"/>
                <a:gd name="T31" fmla="*/ 6 h 18"/>
                <a:gd name="T32" fmla="*/ 48 w 114"/>
                <a:gd name="T3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8">
                  <a:moveTo>
                    <a:pt x="48" y="6"/>
                  </a:moveTo>
                  <a:lnTo>
                    <a:pt x="30" y="6"/>
                  </a:lnTo>
                  <a:lnTo>
                    <a:pt x="4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42" y="18"/>
                  </a:lnTo>
                  <a:lnTo>
                    <a:pt x="60" y="18"/>
                  </a:lnTo>
                  <a:lnTo>
                    <a:pt x="84" y="18"/>
                  </a:lnTo>
                  <a:lnTo>
                    <a:pt x="108" y="18"/>
                  </a:lnTo>
                  <a:lnTo>
                    <a:pt x="114" y="12"/>
                  </a:lnTo>
                  <a:lnTo>
                    <a:pt x="96" y="6"/>
                  </a:lnTo>
                  <a:lnTo>
                    <a:pt x="72" y="6"/>
                  </a:lnTo>
                  <a:lnTo>
                    <a:pt x="4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3" name="Freeform 409">
              <a:extLst>
                <a:ext uri="{FF2B5EF4-FFF2-40B4-BE49-F238E27FC236}">
                  <a16:creationId xmlns:a16="http://schemas.microsoft.com/office/drawing/2014/main" id="{12D91687-3CA0-4FC4-ABCD-CB0E76772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52" y="1156"/>
              <a:ext cx="72" cy="30"/>
            </a:xfrm>
            <a:custGeom>
              <a:avLst/>
              <a:gdLst>
                <a:gd name="T0" fmla="*/ 18 w 72"/>
                <a:gd name="T1" fmla="*/ 12 h 30"/>
                <a:gd name="T2" fmla="*/ 12 w 72"/>
                <a:gd name="T3" fmla="*/ 6 h 30"/>
                <a:gd name="T4" fmla="*/ 36 w 72"/>
                <a:gd name="T5" fmla="*/ 0 h 30"/>
                <a:gd name="T6" fmla="*/ 66 w 72"/>
                <a:gd name="T7" fmla="*/ 6 h 30"/>
                <a:gd name="T8" fmla="*/ 60 w 72"/>
                <a:gd name="T9" fmla="*/ 18 h 30"/>
                <a:gd name="T10" fmla="*/ 72 w 72"/>
                <a:gd name="T11" fmla="*/ 18 h 30"/>
                <a:gd name="T12" fmla="*/ 48 w 72"/>
                <a:gd name="T13" fmla="*/ 24 h 30"/>
                <a:gd name="T14" fmla="*/ 36 w 72"/>
                <a:gd name="T15" fmla="*/ 30 h 30"/>
                <a:gd name="T16" fmla="*/ 30 w 72"/>
                <a:gd name="T17" fmla="*/ 24 h 30"/>
                <a:gd name="T18" fmla="*/ 30 w 72"/>
                <a:gd name="T19" fmla="*/ 30 h 30"/>
                <a:gd name="T20" fmla="*/ 6 w 72"/>
                <a:gd name="T21" fmla="*/ 18 h 30"/>
                <a:gd name="T22" fmla="*/ 36 w 72"/>
                <a:gd name="T23" fmla="*/ 18 h 30"/>
                <a:gd name="T24" fmla="*/ 0 w 72"/>
                <a:gd name="T25" fmla="*/ 12 h 30"/>
                <a:gd name="T26" fmla="*/ 18 w 72"/>
                <a:gd name="T2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0">
                  <a:moveTo>
                    <a:pt x="18" y="12"/>
                  </a:moveTo>
                  <a:lnTo>
                    <a:pt x="12" y="6"/>
                  </a:lnTo>
                  <a:lnTo>
                    <a:pt x="36" y="0"/>
                  </a:lnTo>
                  <a:lnTo>
                    <a:pt x="66" y="6"/>
                  </a:lnTo>
                  <a:lnTo>
                    <a:pt x="60" y="18"/>
                  </a:lnTo>
                  <a:lnTo>
                    <a:pt x="72" y="18"/>
                  </a:lnTo>
                  <a:lnTo>
                    <a:pt x="48" y="24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6" y="18"/>
                  </a:lnTo>
                  <a:lnTo>
                    <a:pt x="36" y="18"/>
                  </a:lnTo>
                  <a:lnTo>
                    <a:pt x="0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4" name="Freeform 410">
              <a:extLst>
                <a:ext uri="{FF2B5EF4-FFF2-40B4-BE49-F238E27FC236}">
                  <a16:creationId xmlns:a16="http://schemas.microsoft.com/office/drawing/2014/main" id="{770EEA37-4D64-4459-A257-76666D1B89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8" y="1198"/>
              <a:ext cx="96" cy="18"/>
            </a:xfrm>
            <a:custGeom>
              <a:avLst/>
              <a:gdLst>
                <a:gd name="T0" fmla="*/ 24 w 96"/>
                <a:gd name="T1" fmla="*/ 18 h 18"/>
                <a:gd name="T2" fmla="*/ 18 w 96"/>
                <a:gd name="T3" fmla="*/ 18 h 18"/>
                <a:gd name="T4" fmla="*/ 48 w 96"/>
                <a:gd name="T5" fmla="*/ 12 h 18"/>
                <a:gd name="T6" fmla="*/ 24 w 96"/>
                <a:gd name="T7" fmla="*/ 12 h 18"/>
                <a:gd name="T8" fmla="*/ 0 w 96"/>
                <a:gd name="T9" fmla="*/ 12 h 18"/>
                <a:gd name="T10" fmla="*/ 24 w 96"/>
                <a:gd name="T11" fmla="*/ 12 h 18"/>
                <a:gd name="T12" fmla="*/ 12 w 96"/>
                <a:gd name="T13" fmla="*/ 6 h 18"/>
                <a:gd name="T14" fmla="*/ 30 w 96"/>
                <a:gd name="T15" fmla="*/ 6 h 18"/>
                <a:gd name="T16" fmla="*/ 18 w 96"/>
                <a:gd name="T17" fmla="*/ 6 h 18"/>
                <a:gd name="T18" fmla="*/ 48 w 96"/>
                <a:gd name="T19" fmla="*/ 6 h 18"/>
                <a:gd name="T20" fmla="*/ 66 w 96"/>
                <a:gd name="T21" fmla="*/ 12 h 18"/>
                <a:gd name="T22" fmla="*/ 66 w 96"/>
                <a:gd name="T23" fmla="*/ 0 h 18"/>
                <a:gd name="T24" fmla="*/ 84 w 96"/>
                <a:gd name="T25" fmla="*/ 0 h 18"/>
                <a:gd name="T26" fmla="*/ 78 w 96"/>
                <a:gd name="T27" fmla="*/ 6 h 18"/>
                <a:gd name="T28" fmla="*/ 96 w 96"/>
                <a:gd name="T29" fmla="*/ 6 h 18"/>
                <a:gd name="T30" fmla="*/ 78 w 96"/>
                <a:gd name="T31" fmla="*/ 12 h 18"/>
                <a:gd name="T32" fmla="*/ 72 w 96"/>
                <a:gd name="T33" fmla="*/ 12 h 18"/>
                <a:gd name="T34" fmla="*/ 48 w 96"/>
                <a:gd name="T35" fmla="*/ 18 h 18"/>
                <a:gd name="T36" fmla="*/ 24 w 96"/>
                <a:gd name="T3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18">
                  <a:moveTo>
                    <a:pt x="24" y="18"/>
                  </a:moveTo>
                  <a:lnTo>
                    <a:pt x="18" y="18"/>
                  </a:lnTo>
                  <a:lnTo>
                    <a:pt x="48" y="12"/>
                  </a:lnTo>
                  <a:lnTo>
                    <a:pt x="24" y="12"/>
                  </a:lnTo>
                  <a:lnTo>
                    <a:pt x="0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48" y="6"/>
                  </a:lnTo>
                  <a:lnTo>
                    <a:pt x="66" y="12"/>
                  </a:lnTo>
                  <a:lnTo>
                    <a:pt x="66" y="0"/>
                  </a:lnTo>
                  <a:lnTo>
                    <a:pt x="84" y="0"/>
                  </a:lnTo>
                  <a:lnTo>
                    <a:pt x="78" y="6"/>
                  </a:lnTo>
                  <a:lnTo>
                    <a:pt x="96" y="6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48" y="18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5" name="Freeform 411">
              <a:extLst>
                <a:ext uri="{FF2B5EF4-FFF2-40B4-BE49-F238E27FC236}">
                  <a16:creationId xmlns:a16="http://schemas.microsoft.com/office/drawing/2014/main" id="{5DAFDEBE-A952-42A1-A97C-779DCCD77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" y="1306"/>
              <a:ext cx="60" cy="30"/>
            </a:xfrm>
            <a:custGeom>
              <a:avLst/>
              <a:gdLst>
                <a:gd name="T0" fmla="*/ 42 w 60"/>
                <a:gd name="T1" fmla="*/ 24 h 30"/>
                <a:gd name="T2" fmla="*/ 36 w 60"/>
                <a:gd name="T3" fmla="*/ 24 h 30"/>
                <a:gd name="T4" fmla="*/ 36 w 60"/>
                <a:gd name="T5" fmla="*/ 18 h 30"/>
                <a:gd name="T6" fmla="*/ 36 w 60"/>
                <a:gd name="T7" fmla="*/ 24 h 30"/>
                <a:gd name="T8" fmla="*/ 12 w 60"/>
                <a:gd name="T9" fmla="*/ 30 h 30"/>
                <a:gd name="T10" fmla="*/ 12 w 60"/>
                <a:gd name="T11" fmla="*/ 24 h 30"/>
                <a:gd name="T12" fmla="*/ 0 w 60"/>
                <a:gd name="T13" fmla="*/ 24 h 30"/>
                <a:gd name="T14" fmla="*/ 12 w 60"/>
                <a:gd name="T15" fmla="*/ 18 h 30"/>
                <a:gd name="T16" fmla="*/ 24 w 60"/>
                <a:gd name="T17" fmla="*/ 12 h 30"/>
                <a:gd name="T18" fmla="*/ 30 w 60"/>
                <a:gd name="T19" fmla="*/ 0 h 30"/>
                <a:gd name="T20" fmla="*/ 36 w 60"/>
                <a:gd name="T21" fmla="*/ 6 h 30"/>
                <a:gd name="T22" fmla="*/ 30 w 60"/>
                <a:gd name="T23" fmla="*/ 6 h 30"/>
                <a:gd name="T24" fmla="*/ 36 w 60"/>
                <a:gd name="T25" fmla="*/ 6 h 30"/>
                <a:gd name="T26" fmla="*/ 54 w 60"/>
                <a:gd name="T27" fmla="*/ 18 h 30"/>
                <a:gd name="T28" fmla="*/ 48 w 60"/>
                <a:gd name="T29" fmla="*/ 24 h 30"/>
                <a:gd name="T30" fmla="*/ 60 w 60"/>
                <a:gd name="T31" fmla="*/ 24 h 30"/>
                <a:gd name="T32" fmla="*/ 60 w 60"/>
                <a:gd name="T33" fmla="*/ 24 h 30"/>
                <a:gd name="T34" fmla="*/ 54 w 60"/>
                <a:gd name="T35" fmla="*/ 30 h 30"/>
                <a:gd name="T36" fmla="*/ 42 w 60"/>
                <a:gd name="T3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30">
                  <a:moveTo>
                    <a:pt x="42" y="24"/>
                  </a:move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0" y="24"/>
                  </a:lnTo>
                  <a:lnTo>
                    <a:pt x="12" y="18"/>
                  </a:lnTo>
                  <a:lnTo>
                    <a:pt x="24" y="12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2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6" name="Freeform 412">
              <a:extLst>
                <a:ext uri="{FF2B5EF4-FFF2-40B4-BE49-F238E27FC236}">
                  <a16:creationId xmlns:a16="http://schemas.microsoft.com/office/drawing/2014/main" id="{2E8D8612-0775-4F52-B9D8-D086168E4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32" y="1228"/>
              <a:ext cx="54" cy="18"/>
            </a:xfrm>
            <a:custGeom>
              <a:avLst/>
              <a:gdLst>
                <a:gd name="T0" fmla="*/ 54 w 54"/>
                <a:gd name="T1" fmla="*/ 0 h 18"/>
                <a:gd name="T2" fmla="*/ 18 w 54"/>
                <a:gd name="T3" fmla="*/ 0 h 18"/>
                <a:gd name="T4" fmla="*/ 24 w 54"/>
                <a:gd name="T5" fmla="*/ 0 h 18"/>
                <a:gd name="T6" fmla="*/ 18 w 54"/>
                <a:gd name="T7" fmla="*/ 6 h 18"/>
                <a:gd name="T8" fmla="*/ 0 w 54"/>
                <a:gd name="T9" fmla="*/ 6 h 18"/>
                <a:gd name="T10" fmla="*/ 12 w 54"/>
                <a:gd name="T11" fmla="*/ 12 h 18"/>
                <a:gd name="T12" fmla="*/ 24 w 54"/>
                <a:gd name="T13" fmla="*/ 18 h 18"/>
                <a:gd name="T14" fmla="*/ 24 w 54"/>
                <a:gd name="T15" fmla="*/ 18 h 18"/>
                <a:gd name="T16" fmla="*/ 36 w 54"/>
                <a:gd name="T17" fmla="*/ 18 h 18"/>
                <a:gd name="T18" fmla="*/ 42 w 54"/>
                <a:gd name="T19" fmla="*/ 6 h 18"/>
                <a:gd name="T20" fmla="*/ 54 w 54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8">
                  <a:moveTo>
                    <a:pt x="54" y="0"/>
                  </a:moveTo>
                  <a:lnTo>
                    <a:pt x="18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0" y="6"/>
                  </a:lnTo>
                  <a:lnTo>
                    <a:pt x="12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36" y="18"/>
                  </a:lnTo>
                  <a:lnTo>
                    <a:pt x="42" y="6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7" name="Freeform 413">
              <a:extLst>
                <a:ext uri="{FF2B5EF4-FFF2-40B4-BE49-F238E27FC236}">
                  <a16:creationId xmlns:a16="http://schemas.microsoft.com/office/drawing/2014/main" id="{3C664396-52C4-47DC-8FD7-E056AF181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222"/>
              <a:ext cx="54" cy="24"/>
            </a:xfrm>
            <a:custGeom>
              <a:avLst/>
              <a:gdLst>
                <a:gd name="T0" fmla="*/ 36 w 54"/>
                <a:gd name="T1" fmla="*/ 12 h 24"/>
                <a:gd name="T2" fmla="*/ 18 w 54"/>
                <a:gd name="T3" fmla="*/ 12 h 24"/>
                <a:gd name="T4" fmla="*/ 18 w 54"/>
                <a:gd name="T5" fmla="*/ 18 h 24"/>
                <a:gd name="T6" fmla="*/ 12 w 54"/>
                <a:gd name="T7" fmla="*/ 18 h 24"/>
                <a:gd name="T8" fmla="*/ 0 w 54"/>
                <a:gd name="T9" fmla="*/ 24 h 24"/>
                <a:gd name="T10" fmla="*/ 0 w 54"/>
                <a:gd name="T11" fmla="*/ 18 h 24"/>
                <a:gd name="T12" fmla="*/ 12 w 54"/>
                <a:gd name="T13" fmla="*/ 6 h 24"/>
                <a:gd name="T14" fmla="*/ 18 w 54"/>
                <a:gd name="T15" fmla="*/ 6 h 24"/>
                <a:gd name="T16" fmla="*/ 18 w 54"/>
                <a:gd name="T17" fmla="*/ 0 h 24"/>
                <a:gd name="T18" fmla="*/ 24 w 54"/>
                <a:gd name="T19" fmla="*/ 0 h 24"/>
                <a:gd name="T20" fmla="*/ 54 w 54"/>
                <a:gd name="T21" fmla="*/ 0 h 24"/>
                <a:gd name="T22" fmla="*/ 48 w 54"/>
                <a:gd name="T23" fmla="*/ 6 h 24"/>
                <a:gd name="T24" fmla="*/ 36 w 54"/>
                <a:gd name="T2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24">
                  <a:moveTo>
                    <a:pt x="36" y="12"/>
                  </a:moveTo>
                  <a:lnTo>
                    <a:pt x="18" y="12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8" name="Freeform 414">
              <a:extLst>
                <a:ext uri="{FF2B5EF4-FFF2-40B4-BE49-F238E27FC236}">
                  <a16:creationId xmlns:a16="http://schemas.microsoft.com/office/drawing/2014/main" id="{591711C7-8E2D-40A7-B316-D838BF45AE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79"/>
              <a:ext cx="30" cy="30"/>
            </a:xfrm>
            <a:custGeom>
              <a:avLst/>
              <a:gdLst>
                <a:gd name="T0" fmla="*/ 24 w 30"/>
                <a:gd name="T1" fmla="*/ 18 h 30"/>
                <a:gd name="T2" fmla="*/ 24 w 30"/>
                <a:gd name="T3" fmla="*/ 18 h 30"/>
                <a:gd name="T4" fmla="*/ 12 w 30"/>
                <a:gd name="T5" fmla="*/ 18 h 30"/>
                <a:gd name="T6" fmla="*/ 18 w 30"/>
                <a:gd name="T7" fmla="*/ 18 h 30"/>
                <a:gd name="T8" fmla="*/ 12 w 30"/>
                <a:gd name="T9" fmla="*/ 18 h 30"/>
                <a:gd name="T10" fmla="*/ 6 w 30"/>
                <a:gd name="T11" fmla="*/ 18 h 30"/>
                <a:gd name="T12" fmla="*/ 18 w 30"/>
                <a:gd name="T13" fmla="*/ 12 h 30"/>
                <a:gd name="T14" fmla="*/ 6 w 30"/>
                <a:gd name="T15" fmla="*/ 12 h 30"/>
                <a:gd name="T16" fmla="*/ 6 w 30"/>
                <a:gd name="T17" fmla="*/ 6 h 30"/>
                <a:gd name="T18" fmla="*/ 6 w 30"/>
                <a:gd name="T19" fmla="*/ 6 h 30"/>
                <a:gd name="T20" fmla="*/ 6 w 30"/>
                <a:gd name="T21" fmla="*/ 6 h 30"/>
                <a:gd name="T22" fmla="*/ 6 w 30"/>
                <a:gd name="T23" fmla="*/ 0 h 30"/>
                <a:gd name="T24" fmla="*/ 6 w 30"/>
                <a:gd name="T25" fmla="*/ 6 h 30"/>
                <a:gd name="T26" fmla="*/ 0 w 30"/>
                <a:gd name="T27" fmla="*/ 0 h 30"/>
                <a:gd name="T28" fmla="*/ 12 w 30"/>
                <a:gd name="T29" fmla="*/ 0 h 30"/>
                <a:gd name="T30" fmla="*/ 24 w 30"/>
                <a:gd name="T31" fmla="*/ 6 h 30"/>
                <a:gd name="T32" fmla="*/ 24 w 30"/>
                <a:gd name="T33" fmla="*/ 12 h 30"/>
                <a:gd name="T34" fmla="*/ 30 w 30"/>
                <a:gd name="T35" fmla="*/ 18 h 30"/>
                <a:gd name="T36" fmla="*/ 30 w 30"/>
                <a:gd name="T37" fmla="*/ 24 h 30"/>
                <a:gd name="T38" fmla="*/ 30 w 30"/>
                <a:gd name="T39" fmla="*/ 30 h 30"/>
                <a:gd name="T40" fmla="*/ 18 w 30"/>
                <a:gd name="T41" fmla="*/ 24 h 30"/>
                <a:gd name="T42" fmla="*/ 24 w 30"/>
                <a:gd name="T4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30">
                  <a:moveTo>
                    <a:pt x="24" y="18"/>
                  </a:moveTo>
                  <a:lnTo>
                    <a:pt x="24" y="18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30" y="30"/>
                  </a:lnTo>
                  <a:lnTo>
                    <a:pt x="18" y="24"/>
                  </a:lnTo>
                  <a:lnTo>
                    <a:pt x="24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19" name="Freeform 415">
              <a:extLst>
                <a:ext uri="{FF2B5EF4-FFF2-40B4-BE49-F238E27FC236}">
                  <a16:creationId xmlns:a16="http://schemas.microsoft.com/office/drawing/2014/main" id="{9CD13629-1498-4C2B-B21C-3F1827AB1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8" y="1192"/>
              <a:ext cx="72" cy="12"/>
            </a:xfrm>
            <a:custGeom>
              <a:avLst/>
              <a:gdLst>
                <a:gd name="T0" fmla="*/ 42 w 72"/>
                <a:gd name="T1" fmla="*/ 6 h 12"/>
                <a:gd name="T2" fmla="*/ 48 w 72"/>
                <a:gd name="T3" fmla="*/ 6 h 12"/>
                <a:gd name="T4" fmla="*/ 36 w 72"/>
                <a:gd name="T5" fmla="*/ 6 h 12"/>
                <a:gd name="T6" fmla="*/ 30 w 72"/>
                <a:gd name="T7" fmla="*/ 12 h 12"/>
                <a:gd name="T8" fmla="*/ 30 w 72"/>
                <a:gd name="T9" fmla="*/ 12 h 12"/>
                <a:gd name="T10" fmla="*/ 24 w 72"/>
                <a:gd name="T11" fmla="*/ 12 h 12"/>
                <a:gd name="T12" fmla="*/ 18 w 72"/>
                <a:gd name="T13" fmla="*/ 12 h 12"/>
                <a:gd name="T14" fmla="*/ 18 w 72"/>
                <a:gd name="T15" fmla="*/ 12 h 12"/>
                <a:gd name="T16" fmla="*/ 12 w 72"/>
                <a:gd name="T17" fmla="*/ 12 h 12"/>
                <a:gd name="T18" fmla="*/ 0 w 72"/>
                <a:gd name="T19" fmla="*/ 12 h 12"/>
                <a:gd name="T20" fmla="*/ 6 w 72"/>
                <a:gd name="T21" fmla="*/ 12 h 12"/>
                <a:gd name="T22" fmla="*/ 30 w 72"/>
                <a:gd name="T23" fmla="*/ 6 h 12"/>
                <a:gd name="T24" fmla="*/ 48 w 72"/>
                <a:gd name="T25" fmla="*/ 0 h 12"/>
                <a:gd name="T26" fmla="*/ 60 w 72"/>
                <a:gd name="T27" fmla="*/ 0 h 12"/>
                <a:gd name="T28" fmla="*/ 72 w 72"/>
                <a:gd name="T29" fmla="*/ 0 h 12"/>
                <a:gd name="T30" fmla="*/ 60 w 72"/>
                <a:gd name="T31" fmla="*/ 0 h 12"/>
                <a:gd name="T32" fmla="*/ 66 w 72"/>
                <a:gd name="T33" fmla="*/ 6 h 12"/>
                <a:gd name="T34" fmla="*/ 60 w 72"/>
                <a:gd name="T35" fmla="*/ 6 h 12"/>
                <a:gd name="T36" fmla="*/ 48 w 72"/>
                <a:gd name="T37" fmla="*/ 6 h 12"/>
                <a:gd name="T38" fmla="*/ 42 w 72"/>
                <a:gd name="T39" fmla="*/ 12 h 12"/>
                <a:gd name="T40" fmla="*/ 42 w 72"/>
                <a:gd name="T4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12">
                  <a:moveTo>
                    <a:pt x="42" y="6"/>
                  </a:moveTo>
                  <a:lnTo>
                    <a:pt x="48" y="6"/>
                  </a:lnTo>
                  <a:lnTo>
                    <a:pt x="36" y="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30" y="6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4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0" name="Freeform 416">
              <a:extLst>
                <a:ext uri="{FF2B5EF4-FFF2-40B4-BE49-F238E27FC236}">
                  <a16:creationId xmlns:a16="http://schemas.microsoft.com/office/drawing/2014/main" id="{F4D8B75B-739C-4FDF-8A20-85C333F205E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2" y="1198"/>
              <a:ext cx="42" cy="12"/>
            </a:xfrm>
            <a:custGeom>
              <a:avLst/>
              <a:gdLst>
                <a:gd name="T0" fmla="*/ 18 w 42"/>
                <a:gd name="T1" fmla="*/ 6 h 12"/>
                <a:gd name="T2" fmla="*/ 12 w 42"/>
                <a:gd name="T3" fmla="*/ 6 h 12"/>
                <a:gd name="T4" fmla="*/ 18 w 42"/>
                <a:gd name="T5" fmla="*/ 6 h 12"/>
                <a:gd name="T6" fmla="*/ 12 w 42"/>
                <a:gd name="T7" fmla="*/ 6 h 12"/>
                <a:gd name="T8" fmla="*/ 12 w 42"/>
                <a:gd name="T9" fmla="*/ 6 h 12"/>
                <a:gd name="T10" fmla="*/ 12 w 42"/>
                <a:gd name="T11" fmla="*/ 6 h 12"/>
                <a:gd name="T12" fmla="*/ 0 w 42"/>
                <a:gd name="T13" fmla="*/ 12 h 12"/>
                <a:gd name="T14" fmla="*/ 30 w 42"/>
                <a:gd name="T15" fmla="*/ 6 h 12"/>
                <a:gd name="T16" fmla="*/ 12 w 42"/>
                <a:gd name="T17" fmla="*/ 12 h 12"/>
                <a:gd name="T18" fmla="*/ 12 w 42"/>
                <a:gd name="T19" fmla="*/ 12 h 12"/>
                <a:gd name="T20" fmla="*/ 24 w 42"/>
                <a:gd name="T21" fmla="*/ 12 h 12"/>
                <a:gd name="T22" fmla="*/ 30 w 42"/>
                <a:gd name="T23" fmla="*/ 12 h 12"/>
                <a:gd name="T24" fmla="*/ 30 w 42"/>
                <a:gd name="T25" fmla="*/ 12 h 12"/>
                <a:gd name="T26" fmla="*/ 36 w 42"/>
                <a:gd name="T27" fmla="*/ 12 h 12"/>
                <a:gd name="T28" fmla="*/ 36 w 42"/>
                <a:gd name="T29" fmla="*/ 12 h 12"/>
                <a:gd name="T30" fmla="*/ 36 w 42"/>
                <a:gd name="T31" fmla="*/ 6 h 12"/>
                <a:gd name="T32" fmla="*/ 42 w 42"/>
                <a:gd name="T33" fmla="*/ 6 h 12"/>
                <a:gd name="T34" fmla="*/ 42 w 42"/>
                <a:gd name="T35" fmla="*/ 0 h 12"/>
                <a:gd name="T36" fmla="*/ 36 w 42"/>
                <a:gd name="T37" fmla="*/ 0 h 12"/>
                <a:gd name="T38" fmla="*/ 24 w 42"/>
                <a:gd name="T39" fmla="*/ 0 h 12"/>
                <a:gd name="T40" fmla="*/ 24 w 42"/>
                <a:gd name="T41" fmla="*/ 6 h 12"/>
                <a:gd name="T42" fmla="*/ 24 w 42"/>
                <a:gd name="T43" fmla="*/ 6 h 12"/>
                <a:gd name="T44" fmla="*/ 18 w 42"/>
                <a:gd name="T4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12">
                  <a:moveTo>
                    <a:pt x="18" y="6"/>
                  </a:moveTo>
                  <a:lnTo>
                    <a:pt x="12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30" y="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1" name="Freeform 417">
              <a:extLst>
                <a:ext uri="{FF2B5EF4-FFF2-40B4-BE49-F238E27FC236}">
                  <a16:creationId xmlns:a16="http://schemas.microsoft.com/office/drawing/2014/main" id="{4E0622AD-8513-4391-A1E0-7A0720DD9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80" y="1174"/>
              <a:ext cx="36" cy="12"/>
            </a:xfrm>
            <a:custGeom>
              <a:avLst/>
              <a:gdLst>
                <a:gd name="T0" fmla="*/ 24 w 36"/>
                <a:gd name="T1" fmla="*/ 6 h 12"/>
                <a:gd name="T2" fmla="*/ 24 w 36"/>
                <a:gd name="T3" fmla="*/ 0 h 12"/>
                <a:gd name="T4" fmla="*/ 30 w 36"/>
                <a:gd name="T5" fmla="*/ 6 h 12"/>
                <a:gd name="T6" fmla="*/ 36 w 36"/>
                <a:gd name="T7" fmla="*/ 6 h 12"/>
                <a:gd name="T8" fmla="*/ 36 w 36"/>
                <a:gd name="T9" fmla="*/ 6 h 12"/>
                <a:gd name="T10" fmla="*/ 36 w 36"/>
                <a:gd name="T11" fmla="*/ 12 h 12"/>
                <a:gd name="T12" fmla="*/ 24 w 36"/>
                <a:gd name="T13" fmla="*/ 12 h 12"/>
                <a:gd name="T14" fmla="*/ 18 w 36"/>
                <a:gd name="T15" fmla="*/ 6 h 12"/>
                <a:gd name="T16" fmla="*/ 0 w 36"/>
                <a:gd name="T17" fmla="*/ 6 h 12"/>
                <a:gd name="T18" fmla="*/ 0 w 36"/>
                <a:gd name="T19" fmla="*/ 6 h 12"/>
                <a:gd name="T20" fmla="*/ 12 w 36"/>
                <a:gd name="T21" fmla="*/ 6 h 12"/>
                <a:gd name="T22" fmla="*/ 12 w 36"/>
                <a:gd name="T23" fmla="*/ 6 h 12"/>
                <a:gd name="T24" fmla="*/ 6 w 36"/>
                <a:gd name="T25" fmla="*/ 6 h 12"/>
                <a:gd name="T26" fmla="*/ 0 w 36"/>
                <a:gd name="T27" fmla="*/ 0 h 12"/>
                <a:gd name="T28" fmla="*/ 24 w 36"/>
                <a:gd name="T29" fmla="*/ 0 h 12"/>
                <a:gd name="T30" fmla="*/ 24 w 36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12">
                  <a:moveTo>
                    <a:pt x="24" y="6"/>
                  </a:moveTo>
                  <a:lnTo>
                    <a:pt x="24" y="0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8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2" name="Freeform 418">
              <a:extLst>
                <a:ext uri="{FF2B5EF4-FFF2-40B4-BE49-F238E27FC236}">
                  <a16:creationId xmlns:a16="http://schemas.microsoft.com/office/drawing/2014/main" id="{7DCA620D-FA6F-4A79-9F9D-CD87CE5D3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20" y="1264"/>
              <a:ext cx="30" cy="18"/>
            </a:xfrm>
            <a:custGeom>
              <a:avLst/>
              <a:gdLst>
                <a:gd name="T0" fmla="*/ 30 w 30"/>
                <a:gd name="T1" fmla="*/ 6 h 18"/>
                <a:gd name="T2" fmla="*/ 30 w 30"/>
                <a:gd name="T3" fmla="*/ 6 h 18"/>
                <a:gd name="T4" fmla="*/ 18 w 30"/>
                <a:gd name="T5" fmla="*/ 0 h 18"/>
                <a:gd name="T6" fmla="*/ 12 w 30"/>
                <a:gd name="T7" fmla="*/ 6 h 18"/>
                <a:gd name="T8" fmla="*/ 12 w 30"/>
                <a:gd name="T9" fmla="*/ 6 h 18"/>
                <a:gd name="T10" fmla="*/ 12 w 30"/>
                <a:gd name="T11" fmla="*/ 6 h 18"/>
                <a:gd name="T12" fmla="*/ 0 w 30"/>
                <a:gd name="T13" fmla="*/ 12 h 18"/>
                <a:gd name="T14" fmla="*/ 18 w 30"/>
                <a:gd name="T15" fmla="*/ 18 h 18"/>
                <a:gd name="T16" fmla="*/ 30 w 30"/>
                <a:gd name="T17" fmla="*/ 12 h 18"/>
                <a:gd name="T18" fmla="*/ 30 w 30"/>
                <a:gd name="T19" fmla="*/ 12 h 18"/>
                <a:gd name="T20" fmla="*/ 30 w 30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8">
                  <a:moveTo>
                    <a:pt x="30" y="6"/>
                  </a:moveTo>
                  <a:lnTo>
                    <a:pt x="30" y="6"/>
                  </a:lnTo>
                  <a:lnTo>
                    <a:pt x="18" y="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0" y="12"/>
                  </a:lnTo>
                  <a:lnTo>
                    <a:pt x="18" y="1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3" name="Freeform 419">
              <a:extLst>
                <a:ext uri="{FF2B5EF4-FFF2-40B4-BE49-F238E27FC236}">
                  <a16:creationId xmlns:a16="http://schemas.microsoft.com/office/drawing/2014/main" id="{E7E70F21-BBE9-400F-B3B2-C40BBA0F0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0" y="1228"/>
              <a:ext cx="36" cy="6"/>
            </a:xfrm>
            <a:custGeom>
              <a:avLst/>
              <a:gdLst>
                <a:gd name="T0" fmla="*/ 24 w 36"/>
                <a:gd name="T1" fmla="*/ 0 h 6"/>
                <a:gd name="T2" fmla="*/ 6 w 36"/>
                <a:gd name="T3" fmla="*/ 0 h 6"/>
                <a:gd name="T4" fmla="*/ 0 w 36"/>
                <a:gd name="T5" fmla="*/ 0 h 6"/>
                <a:gd name="T6" fmla="*/ 6 w 36"/>
                <a:gd name="T7" fmla="*/ 6 h 6"/>
                <a:gd name="T8" fmla="*/ 6 w 36"/>
                <a:gd name="T9" fmla="*/ 6 h 6"/>
                <a:gd name="T10" fmla="*/ 36 w 36"/>
                <a:gd name="T11" fmla="*/ 6 h 6"/>
                <a:gd name="T12" fmla="*/ 24 w 3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">
                  <a:moveTo>
                    <a:pt x="24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36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4" name="Freeform 420">
              <a:extLst>
                <a:ext uri="{FF2B5EF4-FFF2-40B4-BE49-F238E27FC236}">
                  <a16:creationId xmlns:a16="http://schemas.microsoft.com/office/drawing/2014/main" id="{D401F031-02A8-4527-B721-45C2DADD75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8" y="1282"/>
              <a:ext cx="18" cy="12"/>
            </a:xfrm>
            <a:custGeom>
              <a:avLst/>
              <a:gdLst>
                <a:gd name="T0" fmla="*/ 18 w 18"/>
                <a:gd name="T1" fmla="*/ 6 h 12"/>
                <a:gd name="T2" fmla="*/ 0 w 18"/>
                <a:gd name="T3" fmla="*/ 12 h 12"/>
                <a:gd name="T4" fmla="*/ 0 w 18"/>
                <a:gd name="T5" fmla="*/ 6 h 12"/>
                <a:gd name="T6" fmla="*/ 12 w 18"/>
                <a:gd name="T7" fmla="*/ 0 h 12"/>
                <a:gd name="T8" fmla="*/ 18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5" name="Freeform 421">
              <a:extLst>
                <a:ext uri="{FF2B5EF4-FFF2-40B4-BE49-F238E27FC236}">
                  <a16:creationId xmlns:a16="http://schemas.microsoft.com/office/drawing/2014/main" id="{0DAD37A4-0CEB-489B-8BCD-752580A23B4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2" y="1180"/>
              <a:ext cx="24" cy="6"/>
            </a:xfrm>
            <a:custGeom>
              <a:avLst/>
              <a:gdLst>
                <a:gd name="T0" fmla="*/ 0 w 24"/>
                <a:gd name="T1" fmla="*/ 0 h 6"/>
                <a:gd name="T2" fmla="*/ 6 w 24"/>
                <a:gd name="T3" fmla="*/ 0 h 6"/>
                <a:gd name="T4" fmla="*/ 24 w 24"/>
                <a:gd name="T5" fmla="*/ 0 h 6"/>
                <a:gd name="T6" fmla="*/ 24 w 24"/>
                <a:gd name="T7" fmla="*/ 6 h 6"/>
                <a:gd name="T8" fmla="*/ 6 w 24"/>
                <a:gd name="T9" fmla="*/ 6 h 6"/>
                <a:gd name="T10" fmla="*/ 6 w 24"/>
                <a:gd name="T11" fmla="*/ 6 h 6"/>
                <a:gd name="T12" fmla="*/ 0 w 2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6">
                  <a:moveTo>
                    <a:pt x="0" y="0"/>
                  </a:moveTo>
                  <a:lnTo>
                    <a:pt x="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6" name="Freeform 422">
              <a:extLst>
                <a:ext uri="{FF2B5EF4-FFF2-40B4-BE49-F238E27FC236}">
                  <a16:creationId xmlns:a16="http://schemas.microsoft.com/office/drawing/2014/main" id="{43D067B7-CC17-4375-9D2D-5671755BA0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8" y="1210"/>
              <a:ext cx="24" cy="6"/>
            </a:xfrm>
            <a:custGeom>
              <a:avLst/>
              <a:gdLst>
                <a:gd name="T0" fmla="*/ 6 w 24"/>
                <a:gd name="T1" fmla="*/ 6 h 6"/>
                <a:gd name="T2" fmla="*/ 0 w 24"/>
                <a:gd name="T3" fmla="*/ 6 h 6"/>
                <a:gd name="T4" fmla="*/ 18 w 24"/>
                <a:gd name="T5" fmla="*/ 0 h 6"/>
                <a:gd name="T6" fmla="*/ 24 w 24"/>
                <a:gd name="T7" fmla="*/ 0 h 6"/>
                <a:gd name="T8" fmla="*/ 24 w 24"/>
                <a:gd name="T9" fmla="*/ 6 h 6"/>
                <a:gd name="T10" fmla="*/ 6 w 2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6" y="6"/>
                  </a:moveTo>
                  <a:lnTo>
                    <a:pt x="0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7" name="Freeform 423">
              <a:extLst>
                <a:ext uri="{FF2B5EF4-FFF2-40B4-BE49-F238E27FC236}">
                  <a16:creationId xmlns:a16="http://schemas.microsoft.com/office/drawing/2014/main" id="{F5E33309-CF71-417E-9112-3F05AA3319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" y="1228"/>
              <a:ext cx="24" cy="6"/>
            </a:xfrm>
            <a:custGeom>
              <a:avLst/>
              <a:gdLst>
                <a:gd name="T0" fmla="*/ 12 w 24"/>
                <a:gd name="T1" fmla="*/ 6 h 6"/>
                <a:gd name="T2" fmla="*/ 0 w 24"/>
                <a:gd name="T3" fmla="*/ 0 h 6"/>
                <a:gd name="T4" fmla="*/ 18 w 24"/>
                <a:gd name="T5" fmla="*/ 0 h 6"/>
                <a:gd name="T6" fmla="*/ 24 w 24"/>
                <a:gd name="T7" fmla="*/ 0 h 6"/>
                <a:gd name="T8" fmla="*/ 12 w 2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">
                  <a:moveTo>
                    <a:pt x="12" y="6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8" name="Freeform 424">
              <a:extLst>
                <a:ext uri="{FF2B5EF4-FFF2-40B4-BE49-F238E27FC236}">
                  <a16:creationId xmlns:a16="http://schemas.microsoft.com/office/drawing/2014/main" id="{839418E0-CD80-4A40-BA7F-D74DFC6A7B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2" y="1144"/>
              <a:ext cx="425" cy="228"/>
            </a:xfrm>
            <a:custGeom>
              <a:avLst/>
              <a:gdLst>
                <a:gd name="T0" fmla="*/ 72 w 425"/>
                <a:gd name="T1" fmla="*/ 180 h 228"/>
                <a:gd name="T2" fmla="*/ 90 w 425"/>
                <a:gd name="T3" fmla="*/ 174 h 228"/>
                <a:gd name="T4" fmla="*/ 78 w 425"/>
                <a:gd name="T5" fmla="*/ 186 h 228"/>
                <a:gd name="T6" fmla="*/ 84 w 425"/>
                <a:gd name="T7" fmla="*/ 198 h 228"/>
                <a:gd name="T8" fmla="*/ 84 w 425"/>
                <a:gd name="T9" fmla="*/ 210 h 228"/>
                <a:gd name="T10" fmla="*/ 90 w 425"/>
                <a:gd name="T11" fmla="*/ 216 h 228"/>
                <a:gd name="T12" fmla="*/ 102 w 425"/>
                <a:gd name="T13" fmla="*/ 216 h 228"/>
                <a:gd name="T14" fmla="*/ 114 w 425"/>
                <a:gd name="T15" fmla="*/ 222 h 228"/>
                <a:gd name="T16" fmla="*/ 126 w 425"/>
                <a:gd name="T17" fmla="*/ 222 h 228"/>
                <a:gd name="T18" fmla="*/ 132 w 425"/>
                <a:gd name="T19" fmla="*/ 222 h 228"/>
                <a:gd name="T20" fmla="*/ 138 w 425"/>
                <a:gd name="T21" fmla="*/ 216 h 228"/>
                <a:gd name="T22" fmla="*/ 144 w 425"/>
                <a:gd name="T23" fmla="*/ 198 h 228"/>
                <a:gd name="T24" fmla="*/ 156 w 425"/>
                <a:gd name="T25" fmla="*/ 192 h 228"/>
                <a:gd name="T26" fmla="*/ 168 w 425"/>
                <a:gd name="T27" fmla="*/ 186 h 228"/>
                <a:gd name="T28" fmla="*/ 186 w 425"/>
                <a:gd name="T29" fmla="*/ 168 h 228"/>
                <a:gd name="T30" fmla="*/ 203 w 425"/>
                <a:gd name="T31" fmla="*/ 162 h 228"/>
                <a:gd name="T32" fmla="*/ 245 w 425"/>
                <a:gd name="T33" fmla="*/ 144 h 228"/>
                <a:gd name="T34" fmla="*/ 287 w 425"/>
                <a:gd name="T35" fmla="*/ 132 h 228"/>
                <a:gd name="T36" fmla="*/ 305 w 425"/>
                <a:gd name="T37" fmla="*/ 114 h 228"/>
                <a:gd name="T38" fmla="*/ 293 w 425"/>
                <a:gd name="T39" fmla="*/ 108 h 228"/>
                <a:gd name="T40" fmla="*/ 305 w 425"/>
                <a:gd name="T41" fmla="*/ 102 h 228"/>
                <a:gd name="T42" fmla="*/ 341 w 425"/>
                <a:gd name="T43" fmla="*/ 108 h 228"/>
                <a:gd name="T44" fmla="*/ 317 w 425"/>
                <a:gd name="T45" fmla="*/ 96 h 228"/>
                <a:gd name="T46" fmla="*/ 317 w 425"/>
                <a:gd name="T47" fmla="*/ 90 h 228"/>
                <a:gd name="T48" fmla="*/ 317 w 425"/>
                <a:gd name="T49" fmla="*/ 84 h 228"/>
                <a:gd name="T50" fmla="*/ 353 w 425"/>
                <a:gd name="T51" fmla="*/ 84 h 228"/>
                <a:gd name="T52" fmla="*/ 365 w 425"/>
                <a:gd name="T53" fmla="*/ 72 h 228"/>
                <a:gd name="T54" fmla="*/ 365 w 425"/>
                <a:gd name="T55" fmla="*/ 66 h 228"/>
                <a:gd name="T56" fmla="*/ 347 w 425"/>
                <a:gd name="T57" fmla="*/ 54 h 228"/>
                <a:gd name="T58" fmla="*/ 359 w 425"/>
                <a:gd name="T59" fmla="*/ 42 h 228"/>
                <a:gd name="T60" fmla="*/ 377 w 425"/>
                <a:gd name="T61" fmla="*/ 24 h 228"/>
                <a:gd name="T62" fmla="*/ 371 w 425"/>
                <a:gd name="T63" fmla="*/ 18 h 228"/>
                <a:gd name="T64" fmla="*/ 377 w 425"/>
                <a:gd name="T65" fmla="*/ 12 h 228"/>
                <a:gd name="T66" fmla="*/ 341 w 425"/>
                <a:gd name="T67" fmla="*/ 12 h 228"/>
                <a:gd name="T68" fmla="*/ 347 w 425"/>
                <a:gd name="T69" fmla="*/ 0 h 228"/>
                <a:gd name="T70" fmla="*/ 257 w 425"/>
                <a:gd name="T71" fmla="*/ 0 h 228"/>
                <a:gd name="T72" fmla="*/ 251 w 425"/>
                <a:gd name="T73" fmla="*/ 6 h 228"/>
                <a:gd name="T74" fmla="*/ 215 w 425"/>
                <a:gd name="T75" fmla="*/ 12 h 228"/>
                <a:gd name="T76" fmla="*/ 156 w 425"/>
                <a:gd name="T77" fmla="*/ 6 h 228"/>
                <a:gd name="T78" fmla="*/ 90 w 425"/>
                <a:gd name="T79" fmla="*/ 12 h 228"/>
                <a:gd name="T80" fmla="*/ 60 w 425"/>
                <a:gd name="T81" fmla="*/ 30 h 228"/>
                <a:gd name="T82" fmla="*/ 12 w 425"/>
                <a:gd name="T83" fmla="*/ 48 h 228"/>
                <a:gd name="T84" fmla="*/ 0 w 425"/>
                <a:gd name="T85" fmla="*/ 48 h 228"/>
                <a:gd name="T86" fmla="*/ 30 w 425"/>
                <a:gd name="T87" fmla="*/ 60 h 228"/>
                <a:gd name="T88" fmla="*/ 90 w 425"/>
                <a:gd name="T89" fmla="*/ 72 h 228"/>
                <a:gd name="T90" fmla="*/ 90 w 425"/>
                <a:gd name="T91" fmla="*/ 96 h 228"/>
                <a:gd name="T92" fmla="*/ 96 w 425"/>
                <a:gd name="T93" fmla="*/ 96 h 228"/>
                <a:gd name="T94" fmla="*/ 102 w 425"/>
                <a:gd name="T95" fmla="*/ 108 h 228"/>
                <a:gd name="T96" fmla="*/ 114 w 425"/>
                <a:gd name="T97" fmla="*/ 114 h 228"/>
                <a:gd name="T98" fmla="*/ 108 w 425"/>
                <a:gd name="T99" fmla="*/ 126 h 228"/>
                <a:gd name="T100" fmla="*/ 84 w 425"/>
                <a:gd name="T101" fmla="*/ 138 h 228"/>
                <a:gd name="T102" fmla="*/ 84 w 425"/>
                <a:gd name="T103" fmla="*/ 138 h 228"/>
                <a:gd name="T104" fmla="*/ 96 w 425"/>
                <a:gd name="T105" fmla="*/ 144 h 228"/>
                <a:gd name="T106" fmla="*/ 72 w 425"/>
                <a:gd name="T107" fmla="*/ 150 h 228"/>
                <a:gd name="T108" fmla="*/ 78 w 425"/>
                <a:gd name="T109" fmla="*/ 150 h 228"/>
                <a:gd name="T110" fmla="*/ 102 w 425"/>
                <a:gd name="T111" fmla="*/ 150 h 228"/>
                <a:gd name="T112" fmla="*/ 72 w 425"/>
                <a:gd name="T113" fmla="*/ 16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5" h="228">
                  <a:moveTo>
                    <a:pt x="90" y="162"/>
                  </a:moveTo>
                  <a:lnTo>
                    <a:pt x="78" y="168"/>
                  </a:lnTo>
                  <a:lnTo>
                    <a:pt x="78" y="168"/>
                  </a:lnTo>
                  <a:lnTo>
                    <a:pt x="72" y="174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78" y="180"/>
                  </a:lnTo>
                  <a:lnTo>
                    <a:pt x="84" y="180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84" y="210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84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0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102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08" y="216"/>
                  </a:lnTo>
                  <a:lnTo>
                    <a:pt x="114" y="216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2"/>
                  </a:lnTo>
                  <a:lnTo>
                    <a:pt x="114" y="228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32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22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38" y="210"/>
                  </a:lnTo>
                  <a:lnTo>
                    <a:pt x="144" y="210"/>
                  </a:lnTo>
                  <a:lnTo>
                    <a:pt x="144" y="210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8" y="186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80" y="168"/>
                  </a:lnTo>
                  <a:lnTo>
                    <a:pt x="174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97" y="162"/>
                  </a:lnTo>
                  <a:lnTo>
                    <a:pt x="191" y="162"/>
                  </a:lnTo>
                  <a:lnTo>
                    <a:pt x="197" y="156"/>
                  </a:lnTo>
                  <a:lnTo>
                    <a:pt x="203" y="156"/>
                  </a:lnTo>
                  <a:lnTo>
                    <a:pt x="197" y="162"/>
                  </a:lnTo>
                  <a:lnTo>
                    <a:pt x="203" y="162"/>
                  </a:lnTo>
                  <a:lnTo>
                    <a:pt x="215" y="162"/>
                  </a:lnTo>
                  <a:lnTo>
                    <a:pt x="215" y="156"/>
                  </a:lnTo>
                  <a:lnTo>
                    <a:pt x="221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39" y="150"/>
                  </a:lnTo>
                  <a:lnTo>
                    <a:pt x="245" y="144"/>
                  </a:lnTo>
                  <a:lnTo>
                    <a:pt x="251" y="138"/>
                  </a:lnTo>
                  <a:lnTo>
                    <a:pt x="251" y="138"/>
                  </a:lnTo>
                  <a:lnTo>
                    <a:pt x="257" y="138"/>
                  </a:lnTo>
                  <a:lnTo>
                    <a:pt x="263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87" y="132"/>
                  </a:lnTo>
                  <a:lnTo>
                    <a:pt x="305" y="132"/>
                  </a:lnTo>
                  <a:lnTo>
                    <a:pt x="311" y="126"/>
                  </a:lnTo>
                  <a:lnTo>
                    <a:pt x="317" y="126"/>
                  </a:lnTo>
                  <a:lnTo>
                    <a:pt x="323" y="120"/>
                  </a:lnTo>
                  <a:lnTo>
                    <a:pt x="329" y="120"/>
                  </a:lnTo>
                  <a:lnTo>
                    <a:pt x="335" y="120"/>
                  </a:lnTo>
                  <a:lnTo>
                    <a:pt x="305" y="114"/>
                  </a:lnTo>
                  <a:lnTo>
                    <a:pt x="287" y="120"/>
                  </a:lnTo>
                  <a:lnTo>
                    <a:pt x="287" y="120"/>
                  </a:lnTo>
                  <a:lnTo>
                    <a:pt x="299" y="114"/>
                  </a:lnTo>
                  <a:lnTo>
                    <a:pt x="281" y="114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293" y="108"/>
                  </a:lnTo>
                  <a:lnTo>
                    <a:pt x="311" y="108"/>
                  </a:lnTo>
                  <a:lnTo>
                    <a:pt x="311" y="102"/>
                  </a:lnTo>
                  <a:lnTo>
                    <a:pt x="311" y="102"/>
                  </a:lnTo>
                  <a:lnTo>
                    <a:pt x="293" y="102"/>
                  </a:lnTo>
                  <a:lnTo>
                    <a:pt x="299" y="102"/>
                  </a:lnTo>
                  <a:lnTo>
                    <a:pt x="293" y="96"/>
                  </a:lnTo>
                  <a:lnTo>
                    <a:pt x="305" y="102"/>
                  </a:lnTo>
                  <a:lnTo>
                    <a:pt x="317" y="108"/>
                  </a:lnTo>
                  <a:lnTo>
                    <a:pt x="323" y="114"/>
                  </a:lnTo>
                  <a:lnTo>
                    <a:pt x="335" y="114"/>
                  </a:lnTo>
                  <a:lnTo>
                    <a:pt x="335" y="108"/>
                  </a:lnTo>
                  <a:lnTo>
                    <a:pt x="335" y="114"/>
                  </a:lnTo>
                  <a:lnTo>
                    <a:pt x="341" y="114"/>
                  </a:lnTo>
                  <a:lnTo>
                    <a:pt x="341" y="108"/>
                  </a:lnTo>
                  <a:lnTo>
                    <a:pt x="341" y="102"/>
                  </a:lnTo>
                  <a:lnTo>
                    <a:pt x="335" y="108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35" y="102"/>
                  </a:lnTo>
                  <a:lnTo>
                    <a:pt x="317" y="96"/>
                  </a:lnTo>
                  <a:lnTo>
                    <a:pt x="311" y="96"/>
                  </a:lnTo>
                  <a:lnTo>
                    <a:pt x="317" y="96"/>
                  </a:lnTo>
                  <a:lnTo>
                    <a:pt x="323" y="90"/>
                  </a:lnTo>
                  <a:lnTo>
                    <a:pt x="311" y="90"/>
                  </a:lnTo>
                  <a:lnTo>
                    <a:pt x="305" y="90"/>
                  </a:lnTo>
                  <a:lnTo>
                    <a:pt x="305" y="90"/>
                  </a:lnTo>
                  <a:lnTo>
                    <a:pt x="317" y="90"/>
                  </a:lnTo>
                  <a:lnTo>
                    <a:pt x="305" y="90"/>
                  </a:lnTo>
                  <a:lnTo>
                    <a:pt x="299" y="90"/>
                  </a:lnTo>
                  <a:lnTo>
                    <a:pt x="299" y="90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17" y="84"/>
                  </a:lnTo>
                  <a:lnTo>
                    <a:pt x="317" y="84"/>
                  </a:lnTo>
                  <a:lnTo>
                    <a:pt x="317" y="78"/>
                  </a:lnTo>
                  <a:lnTo>
                    <a:pt x="323" y="84"/>
                  </a:lnTo>
                  <a:lnTo>
                    <a:pt x="335" y="84"/>
                  </a:lnTo>
                  <a:lnTo>
                    <a:pt x="341" y="84"/>
                  </a:lnTo>
                  <a:lnTo>
                    <a:pt x="329" y="84"/>
                  </a:lnTo>
                  <a:lnTo>
                    <a:pt x="341" y="84"/>
                  </a:lnTo>
                  <a:lnTo>
                    <a:pt x="353" y="84"/>
                  </a:lnTo>
                  <a:lnTo>
                    <a:pt x="353" y="78"/>
                  </a:lnTo>
                  <a:lnTo>
                    <a:pt x="347" y="78"/>
                  </a:lnTo>
                  <a:lnTo>
                    <a:pt x="347" y="84"/>
                  </a:lnTo>
                  <a:lnTo>
                    <a:pt x="341" y="78"/>
                  </a:lnTo>
                  <a:lnTo>
                    <a:pt x="347" y="72"/>
                  </a:lnTo>
                  <a:lnTo>
                    <a:pt x="365" y="78"/>
                  </a:lnTo>
                  <a:lnTo>
                    <a:pt x="365" y="72"/>
                  </a:lnTo>
                  <a:lnTo>
                    <a:pt x="353" y="72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53" y="66"/>
                  </a:lnTo>
                  <a:lnTo>
                    <a:pt x="347" y="66"/>
                  </a:lnTo>
                  <a:lnTo>
                    <a:pt x="347" y="66"/>
                  </a:lnTo>
                  <a:lnTo>
                    <a:pt x="365" y="66"/>
                  </a:lnTo>
                  <a:lnTo>
                    <a:pt x="365" y="60"/>
                  </a:lnTo>
                  <a:lnTo>
                    <a:pt x="353" y="60"/>
                  </a:lnTo>
                  <a:lnTo>
                    <a:pt x="365" y="60"/>
                  </a:lnTo>
                  <a:lnTo>
                    <a:pt x="359" y="60"/>
                  </a:lnTo>
                  <a:lnTo>
                    <a:pt x="353" y="54"/>
                  </a:lnTo>
                  <a:lnTo>
                    <a:pt x="353" y="54"/>
                  </a:lnTo>
                  <a:lnTo>
                    <a:pt x="347" y="54"/>
                  </a:lnTo>
                  <a:lnTo>
                    <a:pt x="359" y="54"/>
                  </a:lnTo>
                  <a:lnTo>
                    <a:pt x="377" y="54"/>
                  </a:lnTo>
                  <a:lnTo>
                    <a:pt x="377" y="48"/>
                  </a:lnTo>
                  <a:lnTo>
                    <a:pt x="365" y="48"/>
                  </a:lnTo>
                  <a:lnTo>
                    <a:pt x="359" y="42"/>
                  </a:lnTo>
                  <a:lnTo>
                    <a:pt x="377" y="42"/>
                  </a:lnTo>
                  <a:lnTo>
                    <a:pt x="359" y="42"/>
                  </a:lnTo>
                  <a:lnTo>
                    <a:pt x="359" y="42"/>
                  </a:lnTo>
                  <a:lnTo>
                    <a:pt x="353" y="42"/>
                  </a:lnTo>
                  <a:lnTo>
                    <a:pt x="359" y="36"/>
                  </a:lnTo>
                  <a:lnTo>
                    <a:pt x="371" y="36"/>
                  </a:lnTo>
                  <a:lnTo>
                    <a:pt x="377" y="30"/>
                  </a:lnTo>
                  <a:lnTo>
                    <a:pt x="371" y="30"/>
                  </a:lnTo>
                  <a:lnTo>
                    <a:pt x="377" y="24"/>
                  </a:lnTo>
                  <a:lnTo>
                    <a:pt x="383" y="24"/>
                  </a:lnTo>
                  <a:lnTo>
                    <a:pt x="389" y="24"/>
                  </a:lnTo>
                  <a:lnTo>
                    <a:pt x="371" y="24"/>
                  </a:lnTo>
                  <a:lnTo>
                    <a:pt x="371" y="24"/>
                  </a:lnTo>
                  <a:lnTo>
                    <a:pt x="383" y="24"/>
                  </a:lnTo>
                  <a:lnTo>
                    <a:pt x="401" y="18"/>
                  </a:lnTo>
                  <a:lnTo>
                    <a:pt x="371" y="18"/>
                  </a:lnTo>
                  <a:lnTo>
                    <a:pt x="413" y="18"/>
                  </a:lnTo>
                  <a:lnTo>
                    <a:pt x="407" y="12"/>
                  </a:lnTo>
                  <a:lnTo>
                    <a:pt x="425" y="12"/>
                  </a:lnTo>
                  <a:lnTo>
                    <a:pt x="401" y="6"/>
                  </a:lnTo>
                  <a:lnTo>
                    <a:pt x="389" y="12"/>
                  </a:lnTo>
                  <a:lnTo>
                    <a:pt x="377" y="12"/>
                  </a:lnTo>
                  <a:lnTo>
                    <a:pt x="377" y="12"/>
                  </a:lnTo>
                  <a:lnTo>
                    <a:pt x="347" y="18"/>
                  </a:lnTo>
                  <a:lnTo>
                    <a:pt x="359" y="12"/>
                  </a:lnTo>
                  <a:lnTo>
                    <a:pt x="365" y="6"/>
                  </a:lnTo>
                  <a:lnTo>
                    <a:pt x="353" y="6"/>
                  </a:lnTo>
                  <a:lnTo>
                    <a:pt x="347" y="12"/>
                  </a:lnTo>
                  <a:lnTo>
                    <a:pt x="329" y="12"/>
                  </a:lnTo>
                  <a:lnTo>
                    <a:pt x="341" y="12"/>
                  </a:lnTo>
                  <a:lnTo>
                    <a:pt x="341" y="6"/>
                  </a:lnTo>
                  <a:lnTo>
                    <a:pt x="293" y="12"/>
                  </a:lnTo>
                  <a:lnTo>
                    <a:pt x="311" y="6"/>
                  </a:lnTo>
                  <a:lnTo>
                    <a:pt x="335" y="6"/>
                  </a:lnTo>
                  <a:lnTo>
                    <a:pt x="371" y="6"/>
                  </a:lnTo>
                  <a:lnTo>
                    <a:pt x="347" y="0"/>
                  </a:lnTo>
                  <a:lnTo>
                    <a:pt x="347" y="0"/>
                  </a:lnTo>
                  <a:lnTo>
                    <a:pt x="281" y="0"/>
                  </a:lnTo>
                  <a:lnTo>
                    <a:pt x="293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257" y="0"/>
                  </a:lnTo>
                  <a:lnTo>
                    <a:pt x="263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39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09" y="0"/>
                  </a:lnTo>
                  <a:lnTo>
                    <a:pt x="233" y="0"/>
                  </a:lnTo>
                  <a:lnTo>
                    <a:pt x="251" y="6"/>
                  </a:lnTo>
                  <a:lnTo>
                    <a:pt x="233" y="0"/>
                  </a:lnTo>
                  <a:lnTo>
                    <a:pt x="233" y="6"/>
                  </a:lnTo>
                  <a:lnTo>
                    <a:pt x="215" y="0"/>
                  </a:lnTo>
                  <a:lnTo>
                    <a:pt x="227" y="6"/>
                  </a:lnTo>
                  <a:lnTo>
                    <a:pt x="215" y="6"/>
                  </a:lnTo>
                  <a:lnTo>
                    <a:pt x="215" y="6"/>
                  </a:lnTo>
                  <a:lnTo>
                    <a:pt x="215" y="12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62" y="6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6" y="6"/>
                  </a:lnTo>
                  <a:lnTo>
                    <a:pt x="120" y="6"/>
                  </a:lnTo>
                  <a:lnTo>
                    <a:pt x="132" y="12"/>
                  </a:lnTo>
                  <a:lnTo>
                    <a:pt x="120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90" y="12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54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0" y="30"/>
                  </a:lnTo>
                  <a:lnTo>
                    <a:pt x="30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24" y="48"/>
                  </a:lnTo>
                  <a:lnTo>
                    <a:pt x="36" y="42"/>
                  </a:lnTo>
                  <a:lnTo>
                    <a:pt x="36" y="48"/>
                  </a:lnTo>
                  <a:lnTo>
                    <a:pt x="18" y="48"/>
                  </a:lnTo>
                  <a:lnTo>
                    <a:pt x="30" y="48"/>
                  </a:lnTo>
                  <a:lnTo>
                    <a:pt x="24" y="48"/>
                  </a:lnTo>
                  <a:lnTo>
                    <a:pt x="0" y="48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6" y="5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84" y="60"/>
                  </a:lnTo>
                  <a:lnTo>
                    <a:pt x="84" y="66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4" y="96"/>
                  </a:lnTo>
                  <a:lnTo>
                    <a:pt x="90" y="96"/>
                  </a:lnTo>
                  <a:lnTo>
                    <a:pt x="78" y="102"/>
                  </a:lnTo>
                  <a:lnTo>
                    <a:pt x="84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2"/>
                  </a:lnTo>
                  <a:lnTo>
                    <a:pt x="108" y="102"/>
                  </a:lnTo>
                  <a:lnTo>
                    <a:pt x="102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14" y="108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32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96" y="138"/>
                  </a:lnTo>
                  <a:lnTo>
                    <a:pt x="102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0" y="144"/>
                  </a:lnTo>
                  <a:lnTo>
                    <a:pt x="78" y="138"/>
                  </a:lnTo>
                  <a:lnTo>
                    <a:pt x="7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102" y="144"/>
                  </a:lnTo>
                  <a:lnTo>
                    <a:pt x="84" y="144"/>
                  </a:lnTo>
                  <a:lnTo>
                    <a:pt x="72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8" y="156"/>
                  </a:lnTo>
                  <a:lnTo>
                    <a:pt x="72" y="156"/>
                  </a:lnTo>
                  <a:lnTo>
                    <a:pt x="72" y="156"/>
                  </a:lnTo>
                  <a:lnTo>
                    <a:pt x="84" y="156"/>
                  </a:lnTo>
                  <a:lnTo>
                    <a:pt x="102" y="150"/>
                  </a:lnTo>
                  <a:lnTo>
                    <a:pt x="96" y="150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84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90" y="1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29" name="Freeform 425">
              <a:extLst>
                <a:ext uri="{FF2B5EF4-FFF2-40B4-BE49-F238E27FC236}">
                  <a16:creationId xmlns:a16="http://schemas.microsoft.com/office/drawing/2014/main" id="{887B6D40-D52B-4EC2-89ED-90DA92F2A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0" y="1258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6 w 24"/>
                <a:gd name="T3" fmla="*/ 0 h 12"/>
                <a:gd name="T4" fmla="*/ 0 w 24"/>
                <a:gd name="T5" fmla="*/ 6 h 12"/>
                <a:gd name="T6" fmla="*/ 0 w 24"/>
                <a:gd name="T7" fmla="*/ 6 h 12"/>
                <a:gd name="T8" fmla="*/ 0 w 24"/>
                <a:gd name="T9" fmla="*/ 6 h 12"/>
                <a:gd name="T10" fmla="*/ 0 w 24"/>
                <a:gd name="T11" fmla="*/ 12 h 12"/>
                <a:gd name="T12" fmla="*/ 6 w 24"/>
                <a:gd name="T13" fmla="*/ 12 h 12"/>
                <a:gd name="T14" fmla="*/ 6 w 24"/>
                <a:gd name="T15" fmla="*/ 12 h 12"/>
                <a:gd name="T16" fmla="*/ 24 w 24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0" name="Freeform 426">
              <a:extLst>
                <a:ext uri="{FF2B5EF4-FFF2-40B4-BE49-F238E27FC236}">
                  <a16:creationId xmlns:a16="http://schemas.microsoft.com/office/drawing/2014/main" id="{5D476C23-4A9E-4517-95B6-13F92B34FB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7" y="1300"/>
              <a:ext cx="90" cy="36"/>
            </a:xfrm>
            <a:custGeom>
              <a:avLst/>
              <a:gdLst>
                <a:gd name="T0" fmla="*/ 72 w 90"/>
                <a:gd name="T1" fmla="*/ 0 h 36"/>
                <a:gd name="T2" fmla="*/ 72 w 90"/>
                <a:gd name="T3" fmla="*/ 0 h 36"/>
                <a:gd name="T4" fmla="*/ 60 w 90"/>
                <a:gd name="T5" fmla="*/ 6 h 36"/>
                <a:gd name="T6" fmla="*/ 54 w 90"/>
                <a:gd name="T7" fmla="*/ 6 h 36"/>
                <a:gd name="T8" fmla="*/ 54 w 90"/>
                <a:gd name="T9" fmla="*/ 6 h 36"/>
                <a:gd name="T10" fmla="*/ 54 w 90"/>
                <a:gd name="T11" fmla="*/ 6 h 36"/>
                <a:gd name="T12" fmla="*/ 48 w 90"/>
                <a:gd name="T13" fmla="*/ 6 h 36"/>
                <a:gd name="T14" fmla="*/ 42 w 90"/>
                <a:gd name="T15" fmla="*/ 6 h 36"/>
                <a:gd name="T16" fmla="*/ 36 w 90"/>
                <a:gd name="T17" fmla="*/ 6 h 36"/>
                <a:gd name="T18" fmla="*/ 36 w 90"/>
                <a:gd name="T19" fmla="*/ 12 h 36"/>
                <a:gd name="T20" fmla="*/ 30 w 90"/>
                <a:gd name="T21" fmla="*/ 12 h 36"/>
                <a:gd name="T22" fmla="*/ 24 w 90"/>
                <a:gd name="T23" fmla="*/ 12 h 36"/>
                <a:gd name="T24" fmla="*/ 30 w 90"/>
                <a:gd name="T25" fmla="*/ 6 h 36"/>
                <a:gd name="T26" fmla="*/ 18 w 90"/>
                <a:gd name="T27" fmla="*/ 0 h 36"/>
                <a:gd name="T28" fmla="*/ 18 w 90"/>
                <a:gd name="T29" fmla="*/ 6 h 36"/>
                <a:gd name="T30" fmla="*/ 18 w 90"/>
                <a:gd name="T31" fmla="*/ 6 h 36"/>
                <a:gd name="T32" fmla="*/ 12 w 90"/>
                <a:gd name="T33" fmla="*/ 6 h 36"/>
                <a:gd name="T34" fmla="*/ 12 w 90"/>
                <a:gd name="T35" fmla="*/ 6 h 36"/>
                <a:gd name="T36" fmla="*/ 12 w 90"/>
                <a:gd name="T37" fmla="*/ 6 h 36"/>
                <a:gd name="T38" fmla="*/ 12 w 90"/>
                <a:gd name="T39" fmla="*/ 6 h 36"/>
                <a:gd name="T40" fmla="*/ 12 w 90"/>
                <a:gd name="T41" fmla="*/ 6 h 36"/>
                <a:gd name="T42" fmla="*/ 6 w 90"/>
                <a:gd name="T43" fmla="*/ 6 h 36"/>
                <a:gd name="T44" fmla="*/ 6 w 90"/>
                <a:gd name="T45" fmla="*/ 12 h 36"/>
                <a:gd name="T46" fmla="*/ 0 w 90"/>
                <a:gd name="T47" fmla="*/ 12 h 36"/>
                <a:gd name="T48" fmla="*/ 18 w 90"/>
                <a:gd name="T49" fmla="*/ 12 h 36"/>
                <a:gd name="T50" fmla="*/ 18 w 90"/>
                <a:gd name="T51" fmla="*/ 12 h 36"/>
                <a:gd name="T52" fmla="*/ 18 w 90"/>
                <a:gd name="T53" fmla="*/ 18 h 36"/>
                <a:gd name="T54" fmla="*/ 6 w 90"/>
                <a:gd name="T55" fmla="*/ 18 h 36"/>
                <a:gd name="T56" fmla="*/ 18 w 90"/>
                <a:gd name="T57" fmla="*/ 18 h 36"/>
                <a:gd name="T58" fmla="*/ 18 w 90"/>
                <a:gd name="T59" fmla="*/ 24 h 36"/>
                <a:gd name="T60" fmla="*/ 18 w 90"/>
                <a:gd name="T61" fmla="*/ 24 h 36"/>
                <a:gd name="T62" fmla="*/ 24 w 90"/>
                <a:gd name="T63" fmla="*/ 24 h 36"/>
                <a:gd name="T64" fmla="*/ 18 w 90"/>
                <a:gd name="T65" fmla="*/ 24 h 36"/>
                <a:gd name="T66" fmla="*/ 12 w 90"/>
                <a:gd name="T67" fmla="*/ 30 h 36"/>
                <a:gd name="T68" fmla="*/ 18 w 90"/>
                <a:gd name="T69" fmla="*/ 30 h 36"/>
                <a:gd name="T70" fmla="*/ 30 w 90"/>
                <a:gd name="T71" fmla="*/ 30 h 36"/>
                <a:gd name="T72" fmla="*/ 48 w 90"/>
                <a:gd name="T73" fmla="*/ 36 h 36"/>
                <a:gd name="T74" fmla="*/ 66 w 90"/>
                <a:gd name="T75" fmla="*/ 30 h 36"/>
                <a:gd name="T76" fmla="*/ 78 w 90"/>
                <a:gd name="T77" fmla="*/ 24 h 36"/>
                <a:gd name="T78" fmla="*/ 84 w 90"/>
                <a:gd name="T79" fmla="*/ 18 h 36"/>
                <a:gd name="T80" fmla="*/ 90 w 90"/>
                <a:gd name="T81" fmla="*/ 18 h 36"/>
                <a:gd name="T82" fmla="*/ 90 w 90"/>
                <a:gd name="T83" fmla="*/ 18 h 36"/>
                <a:gd name="T84" fmla="*/ 84 w 90"/>
                <a:gd name="T85" fmla="*/ 12 h 36"/>
                <a:gd name="T86" fmla="*/ 90 w 90"/>
                <a:gd name="T87" fmla="*/ 12 h 36"/>
                <a:gd name="T88" fmla="*/ 90 w 90"/>
                <a:gd name="T89" fmla="*/ 12 h 36"/>
                <a:gd name="T90" fmla="*/ 84 w 90"/>
                <a:gd name="T91" fmla="*/ 12 h 36"/>
                <a:gd name="T92" fmla="*/ 84 w 90"/>
                <a:gd name="T93" fmla="*/ 12 h 36"/>
                <a:gd name="T94" fmla="*/ 84 w 90"/>
                <a:gd name="T95" fmla="*/ 6 h 36"/>
                <a:gd name="T96" fmla="*/ 78 w 90"/>
                <a:gd name="T97" fmla="*/ 6 h 36"/>
                <a:gd name="T98" fmla="*/ 84 w 90"/>
                <a:gd name="T99" fmla="*/ 0 h 36"/>
                <a:gd name="T100" fmla="*/ 78 w 90"/>
                <a:gd name="T101" fmla="*/ 0 h 36"/>
                <a:gd name="T102" fmla="*/ 72 w 90"/>
                <a:gd name="T10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" h="36">
                  <a:moveTo>
                    <a:pt x="72" y="0"/>
                  </a:moveTo>
                  <a:lnTo>
                    <a:pt x="72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8"/>
                  </a:lnTo>
                  <a:lnTo>
                    <a:pt x="6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30" y="30"/>
                  </a:lnTo>
                  <a:lnTo>
                    <a:pt x="48" y="36"/>
                  </a:lnTo>
                  <a:lnTo>
                    <a:pt x="66" y="30"/>
                  </a:lnTo>
                  <a:lnTo>
                    <a:pt x="78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6"/>
                  </a:lnTo>
                  <a:lnTo>
                    <a:pt x="78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1" name="Freeform 427">
              <a:extLst>
                <a:ext uri="{FF2B5EF4-FFF2-40B4-BE49-F238E27FC236}">
                  <a16:creationId xmlns:a16="http://schemas.microsoft.com/office/drawing/2014/main" id="{296AA19C-C517-4FB4-A9C4-A0C517B5DF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425"/>
              <a:ext cx="36" cy="48"/>
            </a:xfrm>
            <a:custGeom>
              <a:avLst/>
              <a:gdLst>
                <a:gd name="T0" fmla="*/ 36 w 36"/>
                <a:gd name="T1" fmla="*/ 30 h 48"/>
                <a:gd name="T2" fmla="*/ 36 w 36"/>
                <a:gd name="T3" fmla="*/ 24 h 48"/>
                <a:gd name="T4" fmla="*/ 36 w 36"/>
                <a:gd name="T5" fmla="*/ 12 h 48"/>
                <a:gd name="T6" fmla="*/ 30 w 36"/>
                <a:gd name="T7" fmla="*/ 12 h 48"/>
                <a:gd name="T8" fmla="*/ 30 w 36"/>
                <a:gd name="T9" fmla="*/ 12 h 48"/>
                <a:gd name="T10" fmla="*/ 24 w 36"/>
                <a:gd name="T11" fmla="*/ 12 h 48"/>
                <a:gd name="T12" fmla="*/ 30 w 36"/>
                <a:gd name="T13" fmla="*/ 6 h 48"/>
                <a:gd name="T14" fmla="*/ 30 w 36"/>
                <a:gd name="T15" fmla="*/ 0 h 48"/>
                <a:gd name="T16" fmla="*/ 30 w 36"/>
                <a:gd name="T17" fmla="*/ 0 h 48"/>
                <a:gd name="T18" fmla="*/ 24 w 36"/>
                <a:gd name="T19" fmla="*/ 0 h 48"/>
                <a:gd name="T20" fmla="*/ 18 w 36"/>
                <a:gd name="T21" fmla="*/ 6 h 48"/>
                <a:gd name="T22" fmla="*/ 18 w 36"/>
                <a:gd name="T23" fmla="*/ 6 h 48"/>
                <a:gd name="T24" fmla="*/ 18 w 36"/>
                <a:gd name="T25" fmla="*/ 12 h 48"/>
                <a:gd name="T26" fmla="*/ 6 w 36"/>
                <a:gd name="T27" fmla="*/ 12 h 48"/>
                <a:gd name="T28" fmla="*/ 6 w 36"/>
                <a:gd name="T29" fmla="*/ 18 h 48"/>
                <a:gd name="T30" fmla="*/ 0 w 36"/>
                <a:gd name="T31" fmla="*/ 18 h 48"/>
                <a:gd name="T32" fmla="*/ 12 w 36"/>
                <a:gd name="T33" fmla="*/ 24 h 48"/>
                <a:gd name="T34" fmla="*/ 6 w 36"/>
                <a:gd name="T35" fmla="*/ 30 h 48"/>
                <a:gd name="T36" fmla="*/ 12 w 36"/>
                <a:gd name="T37" fmla="*/ 30 h 48"/>
                <a:gd name="T38" fmla="*/ 6 w 36"/>
                <a:gd name="T39" fmla="*/ 36 h 48"/>
                <a:gd name="T40" fmla="*/ 0 w 36"/>
                <a:gd name="T41" fmla="*/ 36 h 48"/>
                <a:gd name="T42" fmla="*/ 0 w 36"/>
                <a:gd name="T43" fmla="*/ 36 h 48"/>
                <a:gd name="T44" fmla="*/ 0 w 36"/>
                <a:gd name="T45" fmla="*/ 42 h 48"/>
                <a:gd name="T46" fmla="*/ 6 w 36"/>
                <a:gd name="T47" fmla="*/ 42 h 48"/>
                <a:gd name="T48" fmla="*/ 0 w 36"/>
                <a:gd name="T49" fmla="*/ 42 h 48"/>
                <a:gd name="T50" fmla="*/ 6 w 36"/>
                <a:gd name="T51" fmla="*/ 42 h 48"/>
                <a:gd name="T52" fmla="*/ 6 w 36"/>
                <a:gd name="T53" fmla="*/ 48 h 48"/>
                <a:gd name="T54" fmla="*/ 18 w 36"/>
                <a:gd name="T55" fmla="*/ 42 h 48"/>
                <a:gd name="T56" fmla="*/ 24 w 36"/>
                <a:gd name="T57" fmla="*/ 42 h 48"/>
                <a:gd name="T58" fmla="*/ 36 w 36"/>
                <a:gd name="T59" fmla="*/ 36 h 48"/>
                <a:gd name="T60" fmla="*/ 36 w 36"/>
                <a:gd name="T61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48">
                  <a:moveTo>
                    <a:pt x="36" y="30"/>
                  </a:moveTo>
                  <a:lnTo>
                    <a:pt x="36" y="24"/>
                  </a:lnTo>
                  <a:lnTo>
                    <a:pt x="36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12" y="24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36" y="36"/>
                  </a:lnTo>
                  <a:lnTo>
                    <a:pt x="36" y="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2" name="Freeform 428">
              <a:extLst>
                <a:ext uri="{FF2B5EF4-FFF2-40B4-BE49-F238E27FC236}">
                  <a16:creationId xmlns:a16="http://schemas.microsoft.com/office/drawing/2014/main" id="{57257EF3-94C1-4738-9B6B-5A7D0C0DD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7" y="1389"/>
              <a:ext cx="72" cy="96"/>
            </a:xfrm>
            <a:custGeom>
              <a:avLst/>
              <a:gdLst>
                <a:gd name="T0" fmla="*/ 6 w 72"/>
                <a:gd name="T1" fmla="*/ 30 h 96"/>
                <a:gd name="T2" fmla="*/ 12 w 72"/>
                <a:gd name="T3" fmla="*/ 30 h 96"/>
                <a:gd name="T4" fmla="*/ 6 w 72"/>
                <a:gd name="T5" fmla="*/ 36 h 96"/>
                <a:gd name="T6" fmla="*/ 12 w 72"/>
                <a:gd name="T7" fmla="*/ 42 h 96"/>
                <a:gd name="T8" fmla="*/ 24 w 72"/>
                <a:gd name="T9" fmla="*/ 42 h 96"/>
                <a:gd name="T10" fmla="*/ 24 w 72"/>
                <a:gd name="T11" fmla="*/ 60 h 96"/>
                <a:gd name="T12" fmla="*/ 12 w 72"/>
                <a:gd name="T13" fmla="*/ 66 h 96"/>
                <a:gd name="T14" fmla="*/ 18 w 72"/>
                <a:gd name="T15" fmla="*/ 66 h 96"/>
                <a:gd name="T16" fmla="*/ 6 w 72"/>
                <a:gd name="T17" fmla="*/ 78 h 96"/>
                <a:gd name="T18" fmla="*/ 18 w 72"/>
                <a:gd name="T19" fmla="*/ 84 h 96"/>
                <a:gd name="T20" fmla="*/ 24 w 72"/>
                <a:gd name="T21" fmla="*/ 84 h 96"/>
                <a:gd name="T22" fmla="*/ 6 w 72"/>
                <a:gd name="T23" fmla="*/ 90 h 96"/>
                <a:gd name="T24" fmla="*/ 6 w 72"/>
                <a:gd name="T25" fmla="*/ 96 h 96"/>
                <a:gd name="T26" fmla="*/ 18 w 72"/>
                <a:gd name="T27" fmla="*/ 96 h 96"/>
                <a:gd name="T28" fmla="*/ 30 w 72"/>
                <a:gd name="T29" fmla="*/ 90 h 96"/>
                <a:gd name="T30" fmla="*/ 54 w 72"/>
                <a:gd name="T31" fmla="*/ 90 h 96"/>
                <a:gd name="T32" fmla="*/ 60 w 72"/>
                <a:gd name="T33" fmla="*/ 84 h 96"/>
                <a:gd name="T34" fmla="*/ 72 w 72"/>
                <a:gd name="T35" fmla="*/ 72 h 96"/>
                <a:gd name="T36" fmla="*/ 54 w 72"/>
                <a:gd name="T37" fmla="*/ 66 h 96"/>
                <a:gd name="T38" fmla="*/ 48 w 72"/>
                <a:gd name="T39" fmla="*/ 54 h 96"/>
                <a:gd name="T40" fmla="*/ 54 w 72"/>
                <a:gd name="T41" fmla="*/ 54 h 96"/>
                <a:gd name="T42" fmla="*/ 36 w 72"/>
                <a:gd name="T43" fmla="*/ 30 h 96"/>
                <a:gd name="T44" fmla="*/ 30 w 72"/>
                <a:gd name="T45" fmla="*/ 24 h 96"/>
                <a:gd name="T46" fmla="*/ 30 w 72"/>
                <a:gd name="T47" fmla="*/ 24 h 96"/>
                <a:gd name="T48" fmla="*/ 18 w 72"/>
                <a:gd name="T49" fmla="*/ 12 h 96"/>
                <a:gd name="T50" fmla="*/ 18 w 72"/>
                <a:gd name="T51" fmla="*/ 6 h 96"/>
                <a:gd name="T52" fmla="*/ 12 w 72"/>
                <a:gd name="T53" fmla="*/ 0 h 96"/>
                <a:gd name="T54" fmla="*/ 6 w 72"/>
                <a:gd name="T55" fmla="*/ 6 h 96"/>
                <a:gd name="T56" fmla="*/ 6 w 72"/>
                <a:gd name="T57" fmla="*/ 12 h 96"/>
                <a:gd name="T58" fmla="*/ 6 w 72"/>
                <a:gd name="T59" fmla="*/ 12 h 96"/>
                <a:gd name="T60" fmla="*/ 0 w 72"/>
                <a:gd name="T61" fmla="*/ 18 h 96"/>
                <a:gd name="T62" fmla="*/ 6 w 72"/>
                <a:gd name="T63" fmla="*/ 18 h 96"/>
                <a:gd name="T64" fmla="*/ 0 w 72"/>
                <a:gd name="T65" fmla="*/ 3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96">
                  <a:moveTo>
                    <a:pt x="0" y="36"/>
                  </a:moveTo>
                  <a:lnTo>
                    <a:pt x="6" y="30"/>
                  </a:lnTo>
                  <a:lnTo>
                    <a:pt x="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30" y="78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6" y="90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0"/>
                  </a:lnTo>
                  <a:lnTo>
                    <a:pt x="54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60" y="60"/>
                  </a:lnTo>
                  <a:lnTo>
                    <a:pt x="48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2" y="48"/>
                  </a:lnTo>
                  <a:lnTo>
                    <a:pt x="36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3" name="Freeform 429">
              <a:extLst>
                <a:ext uri="{FF2B5EF4-FFF2-40B4-BE49-F238E27FC236}">
                  <a16:creationId xmlns:a16="http://schemas.microsoft.com/office/drawing/2014/main" id="{B5AB0864-F451-411A-84E7-7346DAB7A4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9" y="1425"/>
              <a:ext cx="18" cy="12"/>
            </a:xfrm>
            <a:custGeom>
              <a:avLst/>
              <a:gdLst>
                <a:gd name="T0" fmla="*/ 18 w 18"/>
                <a:gd name="T1" fmla="*/ 12 h 12"/>
                <a:gd name="T2" fmla="*/ 18 w 18"/>
                <a:gd name="T3" fmla="*/ 6 h 12"/>
                <a:gd name="T4" fmla="*/ 12 w 18"/>
                <a:gd name="T5" fmla="*/ 0 h 12"/>
                <a:gd name="T6" fmla="*/ 6 w 18"/>
                <a:gd name="T7" fmla="*/ 6 h 12"/>
                <a:gd name="T8" fmla="*/ 0 w 18"/>
                <a:gd name="T9" fmla="*/ 12 h 12"/>
                <a:gd name="T10" fmla="*/ 6 w 18"/>
                <a:gd name="T11" fmla="*/ 12 h 12"/>
                <a:gd name="T12" fmla="*/ 6 w 18"/>
                <a:gd name="T13" fmla="*/ 12 h 12"/>
                <a:gd name="T14" fmla="*/ 12 w 18"/>
                <a:gd name="T15" fmla="*/ 12 h 12"/>
                <a:gd name="T16" fmla="*/ 18 w 18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8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4" name="Freeform 430">
              <a:extLst>
                <a:ext uri="{FF2B5EF4-FFF2-40B4-BE49-F238E27FC236}">
                  <a16:creationId xmlns:a16="http://schemas.microsoft.com/office/drawing/2014/main" id="{C9B70721-9C09-4693-8F36-75A9128C07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401"/>
              <a:ext cx="12" cy="6"/>
            </a:xfrm>
            <a:custGeom>
              <a:avLst/>
              <a:gdLst>
                <a:gd name="T0" fmla="*/ 6 w 12"/>
                <a:gd name="T1" fmla="*/ 0 h 6"/>
                <a:gd name="T2" fmla="*/ 0 w 12"/>
                <a:gd name="T3" fmla="*/ 0 h 6"/>
                <a:gd name="T4" fmla="*/ 0 w 12"/>
                <a:gd name="T5" fmla="*/ 0 h 6"/>
                <a:gd name="T6" fmla="*/ 6 w 12"/>
                <a:gd name="T7" fmla="*/ 6 h 6"/>
                <a:gd name="T8" fmla="*/ 12 w 12"/>
                <a:gd name="T9" fmla="*/ 0 h 6"/>
                <a:gd name="T10" fmla="*/ 6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5" name="Freeform 431">
              <a:extLst>
                <a:ext uri="{FF2B5EF4-FFF2-40B4-BE49-F238E27FC236}">
                  <a16:creationId xmlns:a16="http://schemas.microsoft.com/office/drawing/2014/main" id="{B4EB4E3C-13F1-40E0-8DD6-6A66B6B07C1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" y="1389"/>
              <a:ext cx="6" cy="6"/>
            </a:xfrm>
            <a:custGeom>
              <a:avLst/>
              <a:gdLst>
                <a:gd name="T0" fmla="*/ 6 w 6"/>
                <a:gd name="T1" fmla="*/ 6 h 6"/>
                <a:gd name="T2" fmla="*/ 6 w 6"/>
                <a:gd name="T3" fmla="*/ 0 h 6"/>
                <a:gd name="T4" fmla="*/ 0 w 6"/>
                <a:gd name="T5" fmla="*/ 6 h 6"/>
                <a:gd name="T6" fmla="*/ 0 w 6"/>
                <a:gd name="T7" fmla="*/ 6 h 6"/>
                <a:gd name="T8" fmla="*/ 6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6" name="Freeform 432">
              <a:extLst>
                <a:ext uri="{FF2B5EF4-FFF2-40B4-BE49-F238E27FC236}">
                  <a16:creationId xmlns:a16="http://schemas.microsoft.com/office/drawing/2014/main" id="{089EE5F1-B930-4CD0-9907-3A601B3E9D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9" y="1366"/>
              <a:ext cx="1" cy="6"/>
            </a:xfrm>
            <a:custGeom>
              <a:avLst/>
              <a:gdLst>
                <a:gd name="T0" fmla="*/ 0 h 6"/>
                <a:gd name="T1" fmla="*/ 0 h 6"/>
                <a:gd name="T2" fmla="*/ 6 h 6"/>
                <a:gd name="T3" fmla="*/ 6 h 6"/>
                <a:gd name="T4" fmla="*/ 0 h 6"/>
                <a:gd name="T5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7" name="Rectangle 433">
              <a:extLst>
                <a:ext uri="{FF2B5EF4-FFF2-40B4-BE49-F238E27FC236}">
                  <a16:creationId xmlns:a16="http://schemas.microsoft.com/office/drawing/2014/main" id="{84D67BA4-A5FC-4C1C-AF29-856E18607B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57" y="1413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8" name="Rectangle 434">
              <a:extLst>
                <a:ext uri="{FF2B5EF4-FFF2-40B4-BE49-F238E27FC236}">
                  <a16:creationId xmlns:a16="http://schemas.microsoft.com/office/drawing/2014/main" id="{696F5DA6-AA14-4E21-B2C8-E6BCC0EEA9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69" y="1449"/>
              <a:ext cx="6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39" name="Freeform 435">
              <a:extLst>
                <a:ext uri="{FF2B5EF4-FFF2-40B4-BE49-F238E27FC236}">
                  <a16:creationId xmlns:a16="http://schemas.microsoft.com/office/drawing/2014/main" id="{EF923B2D-8011-4618-BE6F-D5CB46D3D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3" y="1581"/>
              <a:ext cx="6" cy="1"/>
            </a:xfrm>
            <a:custGeom>
              <a:avLst/>
              <a:gdLst>
                <a:gd name="T0" fmla="*/ 6 w 6"/>
                <a:gd name="T1" fmla="*/ 0 w 6"/>
                <a:gd name="T2" fmla="*/ 6 w 6"/>
                <a:gd name="T3" fmla="*/ 6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0" name="Freeform 436">
              <a:extLst>
                <a:ext uri="{FF2B5EF4-FFF2-40B4-BE49-F238E27FC236}">
                  <a16:creationId xmlns:a16="http://schemas.microsoft.com/office/drawing/2014/main" id="{5A49D1EE-3B79-4B0D-8CC1-CCDD6823F051}"/>
                </a:ext>
              </a:extLst>
            </p:cNvPr>
            <p:cNvSpPr>
              <a:spLocks/>
            </p:cNvSpPr>
            <p:nvPr/>
          </p:nvSpPr>
          <p:spPr bwMode="gray">
            <a:xfrm>
              <a:off x="2547" y="1635"/>
              <a:ext cx="6" cy="1"/>
            </a:xfrm>
            <a:custGeom>
              <a:avLst/>
              <a:gdLst>
                <a:gd name="T0" fmla="*/ 0 w 6"/>
                <a:gd name="T1" fmla="*/ 0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1" name="Rectangle 437">
              <a:extLst>
                <a:ext uri="{FF2B5EF4-FFF2-40B4-BE49-F238E27FC236}">
                  <a16:creationId xmlns:a16="http://schemas.microsoft.com/office/drawing/2014/main" id="{9CB05B82-2C01-4526-80C4-38FBFDA649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23" y="1629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2" name="Freeform 438">
              <a:extLst>
                <a:ext uri="{FF2B5EF4-FFF2-40B4-BE49-F238E27FC236}">
                  <a16:creationId xmlns:a16="http://schemas.microsoft.com/office/drawing/2014/main" id="{CD4A82FF-1C64-4577-8CCA-C343F1F1CD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5" y="1623"/>
              <a:ext cx="1" cy="6"/>
            </a:xfrm>
            <a:custGeom>
              <a:avLst/>
              <a:gdLst>
                <a:gd name="T0" fmla="*/ 6 h 6"/>
                <a:gd name="T1" fmla="*/ 6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3" name="Rectangle 439">
              <a:extLst>
                <a:ext uri="{FF2B5EF4-FFF2-40B4-BE49-F238E27FC236}">
                  <a16:creationId xmlns:a16="http://schemas.microsoft.com/office/drawing/2014/main" id="{F947C254-540E-41EC-AD25-8E81E0B279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34" y="1707"/>
              <a:ext cx="1" cy="1"/>
            </a:xfrm>
            <a:prstGeom prst="rect">
              <a:avLst/>
            </a:prstGeom>
            <a:grpFill/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4" name="Freeform 440">
              <a:extLst>
                <a:ext uri="{FF2B5EF4-FFF2-40B4-BE49-F238E27FC236}">
                  <a16:creationId xmlns:a16="http://schemas.microsoft.com/office/drawing/2014/main" id="{84EB3F1B-E442-4D03-9D85-6E1D57231E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15" y="1587"/>
              <a:ext cx="30" cy="60"/>
            </a:xfrm>
            <a:custGeom>
              <a:avLst/>
              <a:gdLst>
                <a:gd name="T0" fmla="*/ 12 w 30"/>
                <a:gd name="T1" fmla="*/ 0 h 60"/>
                <a:gd name="T2" fmla="*/ 6 w 30"/>
                <a:gd name="T3" fmla="*/ 0 h 60"/>
                <a:gd name="T4" fmla="*/ 6 w 30"/>
                <a:gd name="T5" fmla="*/ 12 h 60"/>
                <a:gd name="T6" fmla="*/ 6 w 30"/>
                <a:gd name="T7" fmla="*/ 24 h 60"/>
                <a:gd name="T8" fmla="*/ 0 w 30"/>
                <a:gd name="T9" fmla="*/ 30 h 60"/>
                <a:gd name="T10" fmla="*/ 0 w 30"/>
                <a:gd name="T11" fmla="*/ 42 h 60"/>
                <a:gd name="T12" fmla="*/ 6 w 30"/>
                <a:gd name="T13" fmla="*/ 42 h 60"/>
                <a:gd name="T14" fmla="*/ 6 w 30"/>
                <a:gd name="T15" fmla="*/ 42 h 60"/>
                <a:gd name="T16" fmla="*/ 6 w 30"/>
                <a:gd name="T17" fmla="*/ 60 h 60"/>
                <a:gd name="T18" fmla="*/ 18 w 30"/>
                <a:gd name="T19" fmla="*/ 60 h 60"/>
                <a:gd name="T20" fmla="*/ 18 w 30"/>
                <a:gd name="T21" fmla="*/ 54 h 60"/>
                <a:gd name="T22" fmla="*/ 24 w 30"/>
                <a:gd name="T23" fmla="*/ 48 h 60"/>
                <a:gd name="T24" fmla="*/ 24 w 30"/>
                <a:gd name="T25" fmla="*/ 42 h 60"/>
                <a:gd name="T26" fmla="*/ 24 w 30"/>
                <a:gd name="T27" fmla="*/ 36 h 60"/>
                <a:gd name="T28" fmla="*/ 18 w 30"/>
                <a:gd name="T29" fmla="*/ 30 h 60"/>
                <a:gd name="T30" fmla="*/ 24 w 30"/>
                <a:gd name="T31" fmla="*/ 24 h 60"/>
                <a:gd name="T32" fmla="*/ 30 w 30"/>
                <a:gd name="T33" fmla="*/ 12 h 60"/>
                <a:gd name="T34" fmla="*/ 30 w 30"/>
                <a:gd name="T35" fmla="*/ 6 h 60"/>
                <a:gd name="T36" fmla="*/ 30 w 30"/>
                <a:gd name="T37" fmla="*/ 0 h 60"/>
                <a:gd name="T38" fmla="*/ 18 w 30"/>
                <a:gd name="T39" fmla="*/ 0 h 60"/>
                <a:gd name="T40" fmla="*/ 12 w 30"/>
                <a:gd name="T4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60">
                  <a:moveTo>
                    <a:pt x="12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6" y="24"/>
                  </a:lnTo>
                  <a:lnTo>
                    <a:pt x="0" y="30"/>
                  </a:lnTo>
                  <a:lnTo>
                    <a:pt x="0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0"/>
                  </a:lnTo>
                  <a:lnTo>
                    <a:pt x="24" y="24"/>
                  </a:lnTo>
                  <a:lnTo>
                    <a:pt x="30" y="12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5" name="Freeform 441">
              <a:extLst>
                <a:ext uri="{FF2B5EF4-FFF2-40B4-BE49-F238E27FC236}">
                  <a16:creationId xmlns:a16="http://schemas.microsoft.com/office/drawing/2014/main" id="{4E2172D8-46EF-4E06-BDDE-611CA717D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1" y="1563"/>
              <a:ext cx="120" cy="96"/>
            </a:xfrm>
            <a:custGeom>
              <a:avLst/>
              <a:gdLst>
                <a:gd name="T0" fmla="*/ 24 w 120"/>
                <a:gd name="T1" fmla="*/ 24 h 96"/>
                <a:gd name="T2" fmla="*/ 12 w 120"/>
                <a:gd name="T3" fmla="*/ 24 h 96"/>
                <a:gd name="T4" fmla="*/ 6 w 120"/>
                <a:gd name="T5" fmla="*/ 24 h 96"/>
                <a:gd name="T6" fmla="*/ 0 w 120"/>
                <a:gd name="T7" fmla="*/ 24 h 96"/>
                <a:gd name="T8" fmla="*/ 0 w 120"/>
                <a:gd name="T9" fmla="*/ 18 h 96"/>
                <a:gd name="T10" fmla="*/ 0 w 120"/>
                <a:gd name="T11" fmla="*/ 18 h 96"/>
                <a:gd name="T12" fmla="*/ 0 w 120"/>
                <a:gd name="T13" fmla="*/ 18 h 96"/>
                <a:gd name="T14" fmla="*/ 0 w 120"/>
                <a:gd name="T15" fmla="*/ 12 h 96"/>
                <a:gd name="T16" fmla="*/ 0 w 120"/>
                <a:gd name="T17" fmla="*/ 6 h 96"/>
                <a:gd name="T18" fmla="*/ 12 w 120"/>
                <a:gd name="T19" fmla="*/ 0 h 96"/>
                <a:gd name="T20" fmla="*/ 30 w 120"/>
                <a:gd name="T21" fmla="*/ 0 h 96"/>
                <a:gd name="T22" fmla="*/ 36 w 120"/>
                <a:gd name="T23" fmla="*/ 6 h 96"/>
                <a:gd name="T24" fmla="*/ 48 w 120"/>
                <a:gd name="T25" fmla="*/ 6 h 96"/>
                <a:gd name="T26" fmla="*/ 60 w 120"/>
                <a:gd name="T27" fmla="*/ 6 h 96"/>
                <a:gd name="T28" fmla="*/ 72 w 120"/>
                <a:gd name="T29" fmla="*/ 6 h 96"/>
                <a:gd name="T30" fmla="*/ 78 w 120"/>
                <a:gd name="T31" fmla="*/ 6 h 96"/>
                <a:gd name="T32" fmla="*/ 102 w 120"/>
                <a:gd name="T33" fmla="*/ 18 h 96"/>
                <a:gd name="T34" fmla="*/ 108 w 120"/>
                <a:gd name="T35" fmla="*/ 18 h 96"/>
                <a:gd name="T36" fmla="*/ 108 w 120"/>
                <a:gd name="T37" fmla="*/ 18 h 96"/>
                <a:gd name="T38" fmla="*/ 120 w 120"/>
                <a:gd name="T39" fmla="*/ 18 h 96"/>
                <a:gd name="T40" fmla="*/ 120 w 120"/>
                <a:gd name="T41" fmla="*/ 24 h 96"/>
                <a:gd name="T42" fmla="*/ 108 w 120"/>
                <a:gd name="T43" fmla="*/ 30 h 96"/>
                <a:gd name="T44" fmla="*/ 96 w 120"/>
                <a:gd name="T45" fmla="*/ 36 h 96"/>
                <a:gd name="T46" fmla="*/ 90 w 120"/>
                <a:gd name="T47" fmla="*/ 48 h 96"/>
                <a:gd name="T48" fmla="*/ 84 w 120"/>
                <a:gd name="T49" fmla="*/ 54 h 96"/>
                <a:gd name="T50" fmla="*/ 90 w 120"/>
                <a:gd name="T51" fmla="*/ 66 h 96"/>
                <a:gd name="T52" fmla="*/ 84 w 120"/>
                <a:gd name="T53" fmla="*/ 72 h 96"/>
                <a:gd name="T54" fmla="*/ 78 w 120"/>
                <a:gd name="T55" fmla="*/ 78 h 96"/>
                <a:gd name="T56" fmla="*/ 72 w 120"/>
                <a:gd name="T57" fmla="*/ 84 h 96"/>
                <a:gd name="T58" fmla="*/ 66 w 120"/>
                <a:gd name="T59" fmla="*/ 84 h 96"/>
                <a:gd name="T60" fmla="*/ 54 w 120"/>
                <a:gd name="T61" fmla="*/ 90 h 96"/>
                <a:gd name="T62" fmla="*/ 42 w 120"/>
                <a:gd name="T63" fmla="*/ 90 h 96"/>
                <a:gd name="T64" fmla="*/ 36 w 120"/>
                <a:gd name="T65" fmla="*/ 96 h 96"/>
                <a:gd name="T66" fmla="*/ 30 w 120"/>
                <a:gd name="T67" fmla="*/ 96 h 96"/>
                <a:gd name="T68" fmla="*/ 24 w 120"/>
                <a:gd name="T69" fmla="*/ 84 h 96"/>
                <a:gd name="T70" fmla="*/ 18 w 120"/>
                <a:gd name="T71" fmla="*/ 84 h 96"/>
                <a:gd name="T72" fmla="*/ 12 w 120"/>
                <a:gd name="T73" fmla="*/ 84 h 96"/>
                <a:gd name="T74" fmla="*/ 12 w 120"/>
                <a:gd name="T75" fmla="*/ 78 h 96"/>
                <a:gd name="T76" fmla="*/ 18 w 120"/>
                <a:gd name="T77" fmla="*/ 72 h 96"/>
                <a:gd name="T78" fmla="*/ 18 w 120"/>
                <a:gd name="T79" fmla="*/ 66 h 96"/>
                <a:gd name="T80" fmla="*/ 18 w 120"/>
                <a:gd name="T81" fmla="*/ 60 h 96"/>
                <a:gd name="T82" fmla="*/ 12 w 120"/>
                <a:gd name="T83" fmla="*/ 54 h 96"/>
                <a:gd name="T84" fmla="*/ 18 w 120"/>
                <a:gd name="T85" fmla="*/ 48 h 96"/>
                <a:gd name="T86" fmla="*/ 24 w 120"/>
                <a:gd name="T87" fmla="*/ 36 h 96"/>
                <a:gd name="T88" fmla="*/ 24 w 120"/>
                <a:gd name="T89" fmla="*/ 30 h 96"/>
                <a:gd name="T90" fmla="*/ 24 w 120"/>
                <a:gd name="T9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" h="96">
                  <a:moveTo>
                    <a:pt x="24" y="24"/>
                  </a:moveTo>
                  <a:lnTo>
                    <a:pt x="12" y="24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48" y="6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48"/>
                  </a:lnTo>
                  <a:lnTo>
                    <a:pt x="84" y="54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78" y="78"/>
                  </a:lnTo>
                  <a:lnTo>
                    <a:pt x="72" y="84"/>
                  </a:lnTo>
                  <a:lnTo>
                    <a:pt x="66" y="84"/>
                  </a:lnTo>
                  <a:lnTo>
                    <a:pt x="54" y="90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6" name="Freeform 442">
              <a:extLst>
                <a:ext uri="{FF2B5EF4-FFF2-40B4-BE49-F238E27FC236}">
                  <a16:creationId xmlns:a16="http://schemas.microsoft.com/office/drawing/2014/main" id="{75EE1F67-D95E-4208-A2F5-7E27321B6E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5" y="1611"/>
              <a:ext cx="12" cy="6"/>
            </a:xfrm>
            <a:custGeom>
              <a:avLst/>
              <a:gdLst>
                <a:gd name="T0" fmla="*/ 12 w 12"/>
                <a:gd name="T1" fmla="*/ 0 h 6"/>
                <a:gd name="T2" fmla="*/ 6 w 12"/>
                <a:gd name="T3" fmla="*/ 6 h 6"/>
                <a:gd name="T4" fmla="*/ 0 w 12"/>
                <a:gd name="T5" fmla="*/ 0 h 6"/>
                <a:gd name="T6" fmla="*/ 6 w 12"/>
                <a:gd name="T7" fmla="*/ 0 h 6"/>
                <a:gd name="T8" fmla="*/ 12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7" name="Freeform 443">
              <a:extLst>
                <a:ext uri="{FF2B5EF4-FFF2-40B4-BE49-F238E27FC236}">
                  <a16:creationId xmlns:a16="http://schemas.microsoft.com/office/drawing/2014/main" id="{092FFB7F-1435-4088-89F4-E979273F147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9" y="1497"/>
              <a:ext cx="593" cy="294"/>
            </a:xfrm>
            <a:custGeom>
              <a:avLst/>
              <a:gdLst>
                <a:gd name="T0" fmla="*/ 587 w 593"/>
                <a:gd name="T1" fmla="*/ 24 h 294"/>
                <a:gd name="T2" fmla="*/ 557 w 593"/>
                <a:gd name="T3" fmla="*/ 48 h 294"/>
                <a:gd name="T4" fmla="*/ 491 w 593"/>
                <a:gd name="T5" fmla="*/ 66 h 294"/>
                <a:gd name="T6" fmla="*/ 443 w 593"/>
                <a:gd name="T7" fmla="*/ 84 h 294"/>
                <a:gd name="T8" fmla="*/ 437 w 593"/>
                <a:gd name="T9" fmla="*/ 66 h 294"/>
                <a:gd name="T10" fmla="*/ 431 w 593"/>
                <a:gd name="T11" fmla="*/ 36 h 294"/>
                <a:gd name="T12" fmla="*/ 401 w 593"/>
                <a:gd name="T13" fmla="*/ 12 h 294"/>
                <a:gd name="T14" fmla="*/ 347 w 593"/>
                <a:gd name="T15" fmla="*/ 6 h 294"/>
                <a:gd name="T16" fmla="*/ 293 w 593"/>
                <a:gd name="T17" fmla="*/ 0 h 294"/>
                <a:gd name="T18" fmla="*/ 210 w 593"/>
                <a:gd name="T19" fmla="*/ 0 h 294"/>
                <a:gd name="T20" fmla="*/ 126 w 593"/>
                <a:gd name="T21" fmla="*/ 0 h 294"/>
                <a:gd name="T22" fmla="*/ 72 w 593"/>
                <a:gd name="T23" fmla="*/ 24 h 294"/>
                <a:gd name="T24" fmla="*/ 60 w 593"/>
                <a:gd name="T25" fmla="*/ 24 h 294"/>
                <a:gd name="T26" fmla="*/ 48 w 593"/>
                <a:gd name="T27" fmla="*/ 24 h 294"/>
                <a:gd name="T28" fmla="*/ 42 w 593"/>
                <a:gd name="T29" fmla="*/ 36 h 294"/>
                <a:gd name="T30" fmla="*/ 18 w 593"/>
                <a:gd name="T31" fmla="*/ 78 h 294"/>
                <a:gd name="T32" fmla="*/ 0 w 593"/>
                <a:gd name="T33" fmla="*/ 120 h 294"/>
                <a:gd name="T34" fmla="*/ 6 w 593"/>
                <a:gd name="T35" fmla="*/ 138 h 294"/>
                <a:gd name="T36" fmla="*/ 6 w 593"/>
                <a:gd name="T37" fmla="*/ 150 h 294"/>
                <a:gd name="T38" fmla="*/ 12 w 593"/>
                <a:gd name="T39" fmla="*/ 180 h 294"/>
                <a:gd name="T40" fmla="*/ 60 w 593"/>
                <a:gd name="T41" fmla="*/ 204 h 294"/>
                <a:gd name="T42" fmla="*/ 102 w 593"/>
                <a:gd name="T43" fmla="*/ 222 h 294"/>
                <a:gd name="T44" fmla="*/ 150 w 593"/>
                <a:gd name="T45" fmla="*/ 240 h 294"/>
                <a:gd name="T46" fmla="*/ 192 w 593"/>
                <a:gd name="T47" fmla="*/ 252 h 294"/>
                <a:gd name="T48" fmla="*/ 216 w 593"/>
                <a:gd name="T49" fmla="*/ 276 h 294"/>
                <a:gd name="T50" fmla="*/ 222 w 593"/>
                <a:gd name="T51" fmla="*/ 264 h 294"/>
                <a:gd name="T52" fmla="*/ 234 w 593"/>
                <a:gd name="T53" fmla="*/ 258 h 294"/>
                <a:gd name="T54" fmla="*/ 258 w 593"/>
                <a:gd name="T55" fmla="*/ 240 h 294"/>
                <a:gd name="T56" fmla="*/ 281 w 593"/>
                <a:gd name="T57" fmla="*/ 240 h 294"/>
                <a:gd name="T58" fmla="*/ 299 w 593"/>
                <a:gd name="T59" fmla="*/ 240 h 294"/>
                <a:gd name="T60" fmla="*/ 311 w 593"/>
                <a:gd name="T61" fmla="*/ 240 h 294"/>
                <a:gd name="T62" fmla="*/ 323 w 593"/>
                <a:gd name="T63" fmla="*/ 234 h 294"/>
                <a:gd name="T64" fmla="*/ 335 w 593"/>
                <a:gd name="T65" fmla="*/ 234 h 294"/>
                <a:gd name="T66" fmla="*/ 353 w 593"/>
                <a:gd name="T67" fmla="*/ 234 h 294"/>
                <a:gd name="T68" fmla="*/ 377 w 593"/>
                <a:gd name="T69" fmla="*/ 252 h 294"/>
                <a:gd name="T70" fmla="*/ 377 w 593"/>
                <a:gd name="T71" fmla="*/ 270 h 294"/>
                <a:gd name="T72" fmla="*/ 383 w 593"/>
                <a:gd name="T73" fmla="*/ 282 h 294"/>
                <a:gd name="T74" fmla="*/ 401 w 593"/>
                <a:gd name="T75" fmla="*/ 276 h 294"/>
                <a:gd name="T76" fmla="*/ 401 w 593"/>
                <a:gd name="T77" fmla="*/ 246 h 294"/>
                <a:gd name="T78" fmla="*/ 407 w 593"/>
                <a:gd name="T79" fmla="*/ 216 h 294"/>
                <a:gd name="T80" fmla="*/ 431 w 593"/>
                <a:gd name="T81" fmla="*/ 198 h 294"/>
                <a:gd name="T82" fmla="*/ 455 w 593"/>
                <a:gd name="T83" fmla="*/ 174 h 294"/>
                <a:gd name="T84" fmla="*/ 473 w 593"/>
                <a:gd name="T85" fmla="*/ 162 h 294"/>
                <a:gd name="T86" fmla="*/ 467 w 593"/>
                <a:gd name="T87" fmla="*/ 162 h 294"/>
                <a:gd name="T88" fmla="*/ 473 w 593"/>
                <a:gd name="T89" fmla="*/ 150 h 294"/>
                <a:gd name="T90" fmla="*/ 473 w 593"/>
                <a:gd name="T91" fmla="*/ 144 h 294"/>
                <a:gd name="T92" fmla="*/ 467 w 593"/>
                <a:gd name="T93" fmla="*/ 126 h 294"/>
                <a:gd name="T94" fmla="*/ 479 w 593"/>
                <a:gd name="T95" fmla="*/ 120 h 294"/>
                <a:gd name="T96" fmla="*/ 479 w 593"/>
                <a:gd name="T97" fmla="*/ 132 h 294"/>
                <a:gd name="T98" fmla="*/ 491 w 593"/>
                <a:gd name="T99" fmla="*/ 132 h 294"/>
                <a:gd name="T100" fmla="*/ 491 w 593"/>
                <a:gd name="T101" fmla="*/ 126 h 294"/>
                <a:gd name="T102" fmla="*/ 509 w 593"/>
                <a:gd name="T103" fmla="*/ 102 h 294"/>
                <a:gd name="T104" fmla="*/ 539 w 593"/>
                <a:gd name="T105" fmla="*/ 90 h 294"/>
                <a:gd name="T106" fmla="*/ 551 w 593"/>
                <a:gd name="T107" fmla="*/ 90 h 294"/>
                <a:gd name="T108" fmla="*/ 563 w 593"/>
                <a:gd name="T109" fmla="*/ 66 h 294"/>
                <a:gd name="T110" fmla="*/ 575 w 593"/>
                <a:gd name="T111" fmla="*/ 6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3" h="294">
                  <a:moveTo>
                    <a:pt x="593" y="54"/>
                  </a:moveTo>
                  <a:lnTo>
                    <a:pt x="593" y="48"/>
                  </a:lnTo>
                  <a:lnTo>
                    <a:pt x="593" y="42"/>
                  </a:lnTo>
                  <a:lnTo>
                    <a:pt x="593" y="24"/>
                  </a:lnTo>
                  <a:lnTo>
                    <a:pt x="587" y="24"/>
                  </a:lnTo>
                  <a:lnTo>
                    <a:pt x="581" y="24"/>
                  </a:lnTo>
                  <a:lnTo>
                    <a:pt x="581" y="24"/>
                  </a:lnTo>
                  <a:lnTo>
                    <a:pt x="575" y="30"/>
                  </a:lnTo>
                  <a:lnTo>
                    <a:pt x="569" y="42"/>
                  </a:lnTo>
                  <a:lnTo>
                    <a:pt x="557" y="48"/>
                  </a:lnTo>
                  <a:lnTo>
                    <a:pt x="551" y="54"/>
                  </a:lnTo>
                  <a:lnTo>
                    <a:pt x="533" y="54"/>
                  </a:lnTo>
                  <a:lnTo>
                    <a:pt x="509" y="54"/>
                  </a:lnTo>
                  <a:lnTo>
                    <a:pt x="503" y="60"/>
                  </a:lnTo>
                  <a:lnTo>
                    <a:pt x="491" y="66"/>
                  </a:lnTo>
                  <a:lnTo>
                    <a:pt x="479" y="72"/>
                  </a:lnTo>
                  <a:lnTo>
                    <a:pt x="467" y="72"/>
                  </a:lnTo>
                  <a:lnTo>
                    <a:pt x="467" y="78"/>
                  </a:lnTo>
                  <a:lnTo>
                    <a:pt x="455" y="84"/>
                  </a:lnTo>
                  <a:lnTo>
                    <a:pt x="443" y="84"/>
                  </a:lnTo>
                  <a:lnTo>
                    <a:pt x="437" y="90"/>
                  </a:lnTo>
                  <a:lnTo>
                    <a:pt x="425" y="90"/>
                  </a:lnTo>
                  <a:lnTo>
                    <a:pt x="419" y="90"/>
                  </a:lnTo>
                  <a:lnTo>
                    <a:pt x="431" y="78"/>
                  </a:lnTo>
                  <a:lnTo>
                    <a:pt x="437" y="66"/>
                  </a:lnTo>
                  <a:lnTo>
                    <a:pt x="443" y="60"/>
                  </a:lnTo>
                  <a:lnTo>
                    <a:pt x="443" y="48"/>
                  </a:lnTo>
                  <a:lnTo>
                    <a:pt x="437" y="42"/>
                  </a:lnTo>
                  <a:lnTo>
                    <a:pt x="437" y="36"/>
                  </a:lnTo>
                  <a:lnTo>
                    <a:pt x="431" y="36"/>
                  </a:lnTo>
                  <a:lnTo>
                    <a:pt x="431" y="36"/>
                  </a:lnTo>
                  <a:lnTo>
                    <a:pt x="425" y="30"/>
                  </a:lnTo>
                  <a:lnTo>
                    <a:pt x="413" y="24"/>
                  </a:lnTo>
                  <a:lnTo>
                    <a:pt x="407" y="18"/>
                  </a:lnTo>
                  <a:lnTo>
                    <a:pt x="401" y="12"/>
                  </a:lnTo>
                  <a:lnTo>
                    <a:pt x="389" y="18"/>
                  </a:lnTo>
                  <a:lnTo>
                    <a:pt x="377" y="12"/>
                  </a:lnTo>
                  <a:lnTo>
                    <a:pt x="371" y="12"/>
                  </a:lnTo>
                  <a:lnTo>
                    <a:pt x="353" y="6"/>
                  </a:lnTo>
                  <a:lnTo>
                    <a:pt x="347" y="6"/>
                  </a:lnTo>
                  <a:lnTo>
                    <a:pt x="347" y="0"/>
                  </a:lnTo>
                  <a:lnTo>
                    <a:pt x="341" y="0"/>
                  </a:lnTo>
                  <a:lnTo>
                    <a:pt x="323" y="0"/>
                  </a:lnTo>
                  <a:lnTo>
                    <a:pt x="311" y="0"/>
                  </a:lnTo>
                  <a:lnTo>
                    <a:pt x="293" y="0"/>
                  </a:lnTo>
                  <a:lnTo>
                    <a:pt x="275" y="0"/>
                  </a:lnTo>
                  <a:lnTo>
                    <a:pt x="258" y="0"/>
                  </a:lnTo>
                  <a:lnTo>
                    <a:pt x="246" y="0"/>
                  </a:lnTo>
                  <a:lnTo>
                    <a:pt x="228" y="0"/>
                  </a:lnTo>
                  <a:lnTo>
                    <a:pt x="210" y="0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44" y="0"/>
                  </a:lnTo>
                  <a:lnTo>
                    <a:pt x="126" y="0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0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72" y="1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2"/>
                  </a:lnTo>
                  <a:lnTo>
                    <a:pt x="54" y="12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42" y="42"/>
                  </a:lnTo>
                  <a:lnTo>
                    <a:pt x="30" y="60"/>
                  </a:lnTo>
                  <a:lnTo>
                    <a:pt x="18" y="78"/>
                  </a:lnTo>
                  <a:lnTo>
                    <a:pt x="12" y="84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0" y="138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6" y="150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24" y="186"/>
                  </a:lnTo>
                  <a:lnTo>
                    <a:pt x="30" y="198"/>
                  </a:lnTo>
                  <a:lnTo>
                    <a:pt x="30" y="204"/>
                  </a:lnTo>
                  <a:lnTo>
                    <a:pt x="42" y="204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84" y="216"/>
                  </a:lnTo>
                  <a:lnTo>
                    <a:pt x="90" y="222"/>
                  </a:lnTo>
                  <a:lnTo>
                    <a:pt x="102" y="222"/>
                  </a:lnTo>
                  <a:lnTo>
                    <a:pt x="120" y="222"/>
                  </a:lnTo>
                  <a:lnTo>
                    <a:pt x="120" y="216"/>
                  </a:lnTo>
                  <a:lnTo>
                    <a:pt x="138" y="216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56" y="246"/>
                  </a:lnTo>
                  <a:lnTo>
                    <a:pt x="162" y="252"/>
                  </a:lnTo>
                  <a:lnTo>
                    <a:pt x="174" y="240"/>
                  </a:lnTo>
                  <a:lnTo>
                    <a:pt x="186" y="240"/>
                  </a:lnTo>
                  <a:lnTo>
                    <a:pt x="192" y="252"/>
                  </a:lnTo>
                  <a:lnTo>
                    <a:pt x="198" y="264"/>
                  </a:lnTo>
                  <a:lnTo>
                    <a:pt x="198" y="282"/>
                  </a:lnTo>
                  <a:lnTo>
                    <a:pt x="210" y="282"/>
                  </a:lnTo>
                  <a:lnTo>
                    <a:pt x="222" y="288"/>
                  </a:lnTo>
                  <a:lnTo>
                    <a:pt x="216" y="276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34" y="258"/>
                  </a:lnTo>
                  <a:lnTo>
                    <a:pt x="234" y="258"/>
                  </a:lnTo>
                  <a:lnTo>
                    <a:pt x="234" y="252"/>
                  </a:lnTo>
                  <a:lnTo>
                    <a:pt x="240" y="252"/>
                  </a:lnTo>
                  <a:lnTo>
                    <a:pt x="234" y="258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52" y="246"/>
                  </a:lnTo>
                  <a:lnTo>
                    <a:pt x="252" y="24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75" y="240"/>
                  </a:lnTo>
                  <a:lnTo>
                    <a:pt x="281" y="240"/>
                  </a:lnTo>
                  <a:lnTo>
                    <a:pt x="287" y="240"/>
                  </a:lnTo>
                  <a:lnTo>
                    <a:pt x="293" y="246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299" y="240"/>
                  </a:lnTo>
                  <a:lnTo>
                    <a:pt x="311" y="246"/>
                  </a:lnTo>
                  <a:lnTo>
                    <a:pt x="311" y="252"/>
                  </a:lnTo>
                  <a:lnTo>
                    <a:pt x="311" y="246"/>
                  </a:lnTo>
                  <a:lnTo>
                    <a:pt x="305" y="240"/>
                  </a:lnTo>
                  <a:lnTo>
                    <a:pt x="311" y="240"/>
                  </a:lnTo>
                  <a:lnTo>
                    <a:pt x="311" y="240"/>
                  </a:lnTo>
                  <a:lnTo>
                    <a:pt x="311" y="234"/>
                  </a:lnTo>
                  <a:lnTo>
                    <a:pt x="299" y="234"/>
                  </a:lnTo>
                  <a:lnTo>
                    <a:pt x="311" y="234"/>
                  </a:lnTo>
                  <a:lnTo>
                    <a:pt x="323" y="234"/>
                  </a:lnTo>
                  <a:lnTo>
                    <a:pt x="329" y="228"/>
                  </a:lnTo>
                  <a:lnTo>
                    <a:pt x="329" y="234"/>
                  </a:lnTo>
                  <a:lnTo>
                    <a:pt x="335" y="234"/>
                  </a:lnTo>
                  <a:lnTo>
                    <a:pt x="335" y="228"/>
                  </a:lnTo>
                  <a:lnTo>
                    <a:pt x="335" y="234"/>
                  </a:lnTo>
                  <a:lnTo>
                    <a:pt x="347" y="234"/>
                  </a:lnTo>
                  <a:lnTo>
                    <a:pt x="341" y="234"/>
                  </a:lnTo>
                  <a:lnTo>
                    <a:pt x="347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34"/>
                  </a:lnTo>
                  <a:lnTo>
                    <a:pt x="353" y="240"/>
                  </a:lnTo>
                  <a:lnTo>
                    <a:pt x="371" y="234"/>
                  </a:lnTo>
                  <a:lnTo>
                    <a:pt x="371" y="246"/>
                  </a:lnTo>
                  <a:lnTo>
                    <a:pt x="377" y="252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64"/>
                  </a:lnTo>
                  <a:lnTo>
                    <a:pt x="377" y="270"/>
                  </a:lnTo>
                  <a:lnTo>
                    <a:pt x="383" y="276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76"/>
                  </a:lnTo>
                  <a:lnTo>
                    <a:pt x="383" y="282"/>
                  </a:lnTo>
                  <a:lnTo>
                    <a:pt x="383" y="288"/>
                  </a:lnTo>
                  <a:lnTo>
                    <a:pt x="389" y="294"/>
                  </a:lnTo>
                  <a:lnTo>
                    <a:pt x="395" y="294"/>
                  </a:lnTo>
                  <a:lnTo>
                    <a:pt x="401" y="282"/>
                  </a:lnTo>
                  <a:lnTo>
                    <a:pt x="401" y="276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64"/>
                  </a:lnTo>
                  <a:lnTo>
                    <a:pt x="401" y="252"/>
                  </a:lnTo>
                  <a:lnTo>
                    <a:pt x="401" y="246"/>
                  </a:lnTo>
                  <a:lnTo>
                    <a:pt x="401" y="234"/>
                  </a:lnTo>
                  <a:lnTo>
                    <a:pt x="395" y="222"/>
                  </a:lnTo>
                  <a:lnTo>
                    <a:pt x="401" y="222"/>
                  </a:lnTo>
                  <a:lnTo>
                    <a:pt x="401" y="222"/>
                  </a:lnTo>
                  <a:lnTo>
                    <a:pt x="407" y="216"/>
                  </a:lnTo>
                  <a:lnTo>
                    <a:pt x="407" y="210"/>
                  </a:lnTo>
                  <a:lnTo>
                    <a:pt x="407" y="210"/>
                  </a:lnTo>
                  <a:lnTo>
                    <a:pt x="413" y="204"/>
                  </a:lnTo>
                  <a:lnTo>
                    <a:pt x="425" y="198"/>
                  </a:lnTo>
                  <a:lnTo>
                    <a:pt x="431" y="198"/>
                  </a:lnTo>
                  <a:lnTo>
                    <a:pt x="437" y="186"/>
                  </a:lnTo>
                  <a:lnTo>
                    <a:pt x="443" y="186"/>
                  </a:lnTo>
                  <a:lnTo>
                    <a:pt x="449" y="180"/>
                  </a:lnTo>
                  <a:lnTo>
                    <a:pt x="467" y="174"/>
                  </a:lnTo>
                  <a:lnTo>
                    <a:pt x="455" y="174"/>
                  </a:lnTo>
                  <a:lnTo>
                    <a:pt x="461" y="174"/>
                  </a:lnTo>
                  <a:lnTo>
                    <a:pt x="461" y="174"/>
                  </a:lnTo>
                  <a:lnTo>
                    <a:pt x="461" y="168"/>
                  </a:lnTo>
                  <a:lnTo>
                    <a:pt x="467" y="168"/>
                  </a:lnTo>
                  <a:lnTo>
                    <a:pt x="473" y="162"/>
                  </a:lnTo>
                  <a:lnTo>
                    <a:pt x="467" y="168"/>
                  </a:lnTo>
                  <a:lnTo>
                    <a:pt x="467" y="162"/>
                  </a:lnTo>
                  <a:lnTo>
                    <a:pt x="461" y="162"/>
                  </a:lnTo>
                  <a:lnTo>
                    <a:pt x="461" y="162"/>
                  </a:lnTo>
                  <a:lnTo>
                    <a:pt x="467" y="162"/>
                  </a:lnTo>
                  <a:lnTo>
                    <a:pt x="473" y="162"/>
                  </a:lnTo>
                  <a:lnTo>
                    <a:pt x="473" y="162"/>
                  </a:lnTo>
                  <a:lnTo>
                    <a:pt x="473" y="156"/>
                  </a:lnTo>
                  <a:lnTo>
                    <a:pt x="473" y="168"/>
                  </a:lnTo>
                  <a:lnTo>
                    <a:pt x="473" y="150"/>
                  </a:lnTo>
                  <a:lnTo>
                    <a:pt x="467" y="150"/>
                  </a:lnTo>
                  <a:lnTo>
                    <a:pt x="467" y="144"/>
                  </a:lnTo>
                  <a:lnTo>
                    <a:pt x="473" y="150"/>
                  </a:lnTo>
                  <a:lnTo>
                    <a:pt x="467" y="144"/>
                  </a:lnTo>
                  <a:lnTo>
                    <a:pt x="473" y="144"/>
                  </a:lnTo>
                  <a:lnTo>
                    <a:pt x="467" y="138"/>
                  </a:lnTo>
                  <a:lnTo>
                    <a:pt x="473" y="138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7" y="126"/>
                  </a:lnTo>
                  <a:lnTo>
                    <a:pt x="467" y="132"/>
                  </a:lnTo>
                  <a:lnTo>
                    <a:pt x="473" y="138"/>
                  </a:lnTo>
                  <a:lnTo>
                    <a:pt x="473" y="132"/>
                  </a:lnTo>
                  <a:lnTo>
                    <a:pt x="473" y="132"/>
                  </a:lnTo>
                  <a:lnTo>
                    <a:pt x="479" y="120"/>
                  </a:lnTo>
                  <a:lnTo>
                    <a:pt x="485" y="120"/>
                  </a:lnTo>
                  <a:lnTo>
                    <a:pt x="479" y="126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2"/>
                  </a:lnTo>
                  <a:lnTo>
                    <a:pt x="479" y="138"/>
                  </a:lnTo>
                  <a:lnTo>
                    <a:pt x="479" y="138"/>
                  </a:lnTo>
                  <a:lnTo>
                    <a:pt x="479" y="144"/>
                  </a:lnTo>
                  <a:lnTo>
                    <a:pt x="473" y="144"/>
                  </a:lnTo>
                  <a:lnTo>
                    <a:pt x="491" y="132"/>
                  </a:lnTo>
                  <a:lnTo>
                    <a:pt x="485" y="120"/>
                  </a:lnTo>
                  <a:lnTo>
                    <a:pt x="491" y="114"/>
                  </a:lnTo>
                  <a:lnTo>
                    <a:pt x="491" y="120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503" y="114"/>
                  </a:lnTo>
                  <a:lnTo>
                    <a:pt x="503" y="114"/>
                  </a:lnTo>
                  <a:lnTo>
                    <a:pt x="503" y="108"/>
                  </a:lnTo>
                  <a:lnTo>
                    <a:pt x="509" y="96"/>
                  </a:lnTo>
                  <a:lnTo>
                    <a:pt x="509" y="102"/>
                  </a:lnTo>
                  <a:lnTo>
                    <a:pt x="515" y="102"/>
                  </a:lnTo>
                  <a:lnTo>
                    <a:pt x="527" y="96"/>
                  </a:lnTo>
                  <a:lnTo>
                    <a:pt x="533" y="96"/>
                  </a:lnTo>
                  <a:lnTo>
                    <a:pt x="539" y="90"/>
                  </a:lnTo>
                  <a:lnTo>
                    <a:pt x="539" y="90"/>
                  </a:lnTo>
                  <a:lnTo>
                    <a:pt x="539" y="96"/>
                  </a:lnTo>
                  <a:lnTo>
                    <a:pt x="545" y="96"/>
                  </a:lnTo>
                  <a:lnTo>
                    <a:pt x="545" y="96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51" y="90"/>
                  </a:lnTo>
                  <a:lnTo>
                    <a:pt x="545" y="90"/>
                  </a:lnTo>
                  <a:lnTo>
                    <a:pt x="545" y="84"/>
                  </a:lnTo>
                  <a:lnTo>
                    <a:pt x="545" y="78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63" y="66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75" y="60"/>
                  </a:lnTo>
                  <a:lnTo>
                    <a:pt x="581" y="60"/>
                  </a:lnTo>
                  <a:lnTo>
                    <a:pt x="593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8" name="Freeform 444">
              <a:extLst>
                <a:ext uri="{FF2B5EF4-FFF2-40B4-BE49-F238E27FC236}">
                  <a16:creationId xmlns:a16="http://schemas.microsoft.com/office/drawing/2014/main" id="{E314BAFE-B86E-49FE-B89F-FF9C4138F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9" y="1252"/>
              <a:ext cx="378" cy="179"/>
            </a:xfrm>
            <a:custGeom>
              <a:avLst/>
              <a:gdLst>
                <a:gd name="T0" fmla="*/ 306 w 378"/>
                <a:gd name="T1" fmla="*/ 155 h 179"/>
                <a:gd name="T2" fmla="*/ 294 w 378"/>
                <a:gd name="T3" fmla="*/ 125 h 179"/>
                <a:gd name="T4" fmla="*/ 276 w 378"/>
                <a:gd name="T5" fmla="*/ 120 h 179"/>
                <a:gd name="T6" fmla="*/ 288 w 378"/>
                <a:gd name="T7" fmla="*/ 90 h 179"/>
                <a:gd name="T8" fmla="*/ 348 w 378"/>
                <a:gd name="T9" fmla="*/ 42 h 179"/>
                <a:gd name="T10" fmla="*/ 342 w 378"/>
                <a:gd name="T11" fmla="*/ 6 h 179"/>
                <a:gd name="T12" fmla="*/ 294 w 378"/>
                <a:gd name="T13" fmla="*/ 0 h 179"/>
                <a:gd name="T14" fmla="*/ 282 w 378"/>
                <a:gd name="T15" fmla="*/ 0 h 179"/>
                <a:gd name="T16" fmla="*/ 240 w 378"/>
                <a:gd name="T17" fmla="*/ 6 h 179"/>
                <a:gd name="T18" fmla="*/ 222 w 378"/>
                <a:gd name="T19" fmla="*/ 6 h 179"/>
                <a:gd name="T20" fmla="*/ 156 w 378"/>
                <a:gd name="T21" fmla="*/ 30 h 179"/>
                <a:gd name="T22" fmla="*/ 168 w 378"/>
                <a:gd name="T23" fmla="*/ 48 h 179"/>
                <a:gd name="T24" fmla="*/ 162 w 378"/>
                <a:gd name="T25" fmla="*/ 48 h 179"/>
                <a:gd name="T26" fmla="*/ 150 w 378"/>
                <a:gd name="T27" fmla="*/ 48 h 179"/>
                <a:gd name="T28" fmla="*/ 108 w 378"/>
                <a:gd name="T29" fmla="*/ 60 h 179"/>
                <a:gd name="T30" fmla="*/ 150 w 378"/>
                <a:gd name="T31" fmla="*/ 66 h 179"/>
                <a:gd name="T32" fmla="*/ 120 w 378"/>
                <a:gd name="T33" fmla="*/ 84 h 179"/>
                <a:gd name="T34" fmla="*/ 84 w 378"/>
                <a:gd name="T35" fmla="*/ 90 h 179"/>
                <a:gd name="T36" fmla="*/ 66 w 378"/>
                <a:gd name="T37" fmla="*/ 102 h 179"/>
                <a:gd name="T38" fmla="*/ 72 w 378"/>
                <a:gd name="T39" fmla="*/ 102 h 179"/>
                <a:gd name="T40" fmla="*/ 72 w 378"/>
                <a:gd name="T41" fmla="*/ 108 h 179"/>
                <a:gd name="T42" fmla="*/ 54 w 378"/>
                <a:gd name="T43" fmla="*/ 114 h 179"/>
                <a:gd name="T44" fmla="*/ 72 w 378"/>
                <a:gd name="T45" fmla="*/ 120 h 179"/>
                <a:gd name="T46" fmla="*/ 78 w 378"/>
                <a:gd name="T47" fmla="*/ 131 h 179"/>
                <a:gd name="T48" fmla="*/ 96 w 378"/>
                <a:gd name="T49" fmla="*/ 131 h 179"/>
                <a:gd name="T50" fmla="*/ 90 w 378"/>
                <a:gd name="T51" fmla="*/ 143 h 179"/>
                <a:gd name="T52" fmla="*/ 78 w 378"/>
                <a:gd name="T53" fmla="*/ 149 h 179"/>
                <a:gd name="T54" fmla="*/ 36 w 378"/>
                <a:gd name="T55" fmla="*/ 167 h 179"/>
                <a:gd name="T56" fmla="*/ 0 w 378"/>
                <a:gd name="T57" fmla="*/ 179 h 179"/>
                <a:gd name="T58" fmla="*/ 6 w 378"/>
                <a:gd name="T59" fmla="*/ 179 h 179"/>
                <a:gd name="T60" fmla="*/ 36 w 378"/>
                <a:gd name="T61" fmla="*/ 167 h 179"/>
                <a:gd name="T62" fmla="*/ 54 w 378"/>
                <a:gd name="T63" fmla="*/ 167 h 179"/>
                <a:gd name="T64" fmla="*/ 138 w 378"/>
                <a:gd name="T65" fmla="*/ 131 h 179"/>
                <a:gd name="T66" fmla="*/ 156 w 378"/>
                <a:gd name="T67" fmla="*/ 120 h 179"/>
                <a:gd name="T68" fmla="*/ 198 w 378"/>
                <a:gd name="T69" fmla="*/ 108 h 179"/>
                <a:gd name="T70" fmla="*/ 162 w 378"/>
                <a:gd name="T71" fmla="*/ 125 h 179"/>
                <a:gd name="T72" fmla="*/ 174 w 378"/>
                <a:gd name="T73" fmla="*/ 125 h 179"/>
                <a:gd name="T74" fmla="*/ 180 w 378"/>
                <a:gd name="T75" fmla="*/ 120 h 179"/>
                <a:gd name="T76" fmla="*/ 204 w 378"/>
                <a:gd name="T77" fmla="*/ 114 h 179"/>
                <a:gd name="T78" fmla="*/ 204 w 378"/>
                <a:gd name="T79" fmla="*/ 108 h 179"/>
                <a:gd name="T80" fmla="*/ 210 w 378"/>
                <a:gd name="T81" fmla="*/ 108 h 179"/>
                <a:gd name="T82" fmla="*/ 222 w 378"/>
                <a:gd name="T83" fmla="*/ 114 h 179"/>
                <a:gd name="T84" fmla="*/ 222 w 378"/>
                <a:gd name="T85" fmla="*/ 114 h 179"/>
                <a:gd name="T86" fmla="*/ 246 w 378"/>
                <a:gd name="T87" fmla="*/ 120 h 179"/>
                <a:gd name="T88" fmla="*/ 276 w 378"/>
                <a:gd name="T89" fmla="*/ 120 h 179"/>
                <a:gd name="T90" fmla="*/ 270 w 378"/>
                <a:gd name="T91" fmla="*/ 131 h 179"/>
                <a:gd name="T92" fmla="*/ 288 w 378"/>
                <a:gd name="T93" fmla="*/ 131 h 179"/>
                <a:gd name="T94" fmla="*/ 288 w 378"/>
                <a:gd name="T95" fmla="*/ 137 h 179"/>
                <a:gd name="T96" fmla="*/ 300 w 378"/>
                <a:gd name="T97" fmla="*/ 143 h 179"/>
                <a:gd name="T98" fmla="*/ 306 w 378"/>
                <a:gd name="T99" fmla="*/ 143 h 179"/>
                <a:gd name="T100" fmla="*/ 300 w 378"/>
                <a:gd name="T101" fmla="*/ 149 h 179"/>
                <a:gd name="T102" fmla="*/ 300 w 378"/>
                <a:gd name="T103" fmla="*/ 161 h 179"/>
                <a:gd name="T104" fmla="*/ 306 w 378"/>
                <a:gd name="T105" fmla="*/ 161 h 179"/>
                <a:gd name="T106" fmla="*/ 300 w 378"/>
                <a:gd name="T107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8" h="179">
                  <a:moveTo>
                    <a:pt x="306" y="173"/>
                  </a:moveTo>
                  <a:lnTo>
                    <a:pt x="312" y="167"/>
                  </a:lnTo>
                  <a:lnTo>
                    <a:pt x="306" y="161"/>
                  </a:lnTo>
                  <a:lnTo>
                    <a:pt x="306" y="155"/>
                  </a:lnTo>
                  <a:lnTo>
                    <a:pt x="306" y="143"/>
                  </a:lnTo>
                  <a:lnTo>
                    <a:pt x="306" y="131"/>
                  </a:lnTo>
                  <a:lnTo>
                    <a:pt x="306" y="120"/>
                  </a:lnTo>
                  <a:lnTo>
                    <a:pt x="294" y="125"/>
                  </a:lnTo>
                  <a:lnTo>
                    <a:pt x="288" y="131"/>
                  </a:lnTo>
                  <a:lnTo>
                    <a:pt x="276" y="131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82" y="114"/>
                  </a:lnTo>
                  <a:lnTo>
                    <a:pt x="264" y="114"/>
                  </a:lnTo>
                  <a:lnTo>
                    <a:pt x="276" y="102"/>
                  </a:lnTo>
                  <a:lnTo>
                    <a:pt x="288" y="90"/>
                  </a:lnTo>
                  <a:lnTo>
                    <a:pt x="306" y="78"/>
                  </a:lnTo>
                  <a:lnTo>
                    <a:pt x="318" y="66"/>
                  </a:lnTo>
                  <a:lnTo>
                    <a:pt x="336" y="54"/>
                  </a:lnTo>
                  <a:lnTo>
                    <a:pt x="348" y="42"/>
                  </a:lnTo>
                  <a:lnTo>
                    <a:pt x="366" y="30"/>
                  </a:lnTo>
                  <a:lnTo>
                    <a:pt x="378" y="12"/>
                  </a:lnTo>
                  <a:lnTo>
                    <a:pt x="360" y="12"/>
                  </a:lnTo>
                  <a:lnTo>
                    <a:pt x="342" y="6"/>
                  </a:lnTo>
                  <a:lnTo>
                    <a:pt x="324" y="6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76" y="0"/>
                  </a:lnTo>
                  <a:lnTo>
                    <a:pt x="282" y="0"/>
                  </a:lnTo>
                  <a:lnTo>
                    <a:pt x="276" y="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22" y="6"/>
                  </a:lnTo>
                  <a:lnTo>
                    <a:pt x="204" y="18"/>
                  </a:lnTo>
                  <a:lnTo>
                    <a:pt x="186" y="24"/>
                  </a:lnTo>
                  <a:lnTo>
                    <a:pt x="168" y="24"/>
                  </a:lnTo>
                  <a:lnTo>
                    <a:pt x="156" y="30"/>
                  </a:lnTo>
                  <a:lnTo>
                    <a:pt x="162" y="42"/>
                  </a:lnTo>
                  <a:lnTo>
                    <a:pt x="162" y="42"/>
                  </a:lnTo>
                  <a:lnTo>
                    <a:pt x="174" y="42"/>
                  </a:lnTo>
                  <a:lnTo>
                    <a:pt x="168" y="48"/>
                  </a:lnTo>
                  <a:lnTo>
                    <a:pt x="180" y="48"/>
                  </a:lnTo>
                  <a:lnTo>
                    <a:pt x="168" y="48"/>
                  </a:lnTo>
                  <a:lnTo>
                    <a:pt x="168" y="42"/>
                  </a:lnTo>
                  <a:lnTo>
                    <a:pt x="162" y="48"/>
                  </a:lnTo>
                  <a:lnTo>
                    <a:pt x="168" y="54"/>
                  </a:lnTo>
                  <a:lnTo>
                    <a:pt x="162" y="54"/>
                  </a:lnTo>
                  <a:lnTo>
                    <a:pt x="144" y="54"/>
                  </a:lnTo>
                  <a:lnTo>
                    <a:pt x="150" y="48"/>
                  </a:lnTo>
                  <a:lnTo>
                    <a:pt x="132" y="54"/>
                  </a:lnTo>
                  <a:lnTo>
                    <a:pt x="102" y="60"/>
                  </a:lnTo>
                  <a:lnTo>
                    <a:pt x="114" y="60"/>
                  </a:lnTo>
                  <a:lnTo>
                    <a:pt x="108" y="60"/>
                  </a:lnTo>
                  <a:lnTo>
                    <a:pt x="102" y="72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38" y="78"/>
                  </a:lnTo>
                  <a:lnTo>
                    <a:pt x="120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96" y="84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84" y="90"/>
                  </a:lnTo>
                  <a:lnTo>
                    <a:pt x="72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108"/>
                  </a:lnTo>
                  <a:lnTo>
                    <a:pt x="72" y="102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0" y="108"/>
                  </a:lnTo>
                  <a:lnTo>
                    <a:pt x="54" y="114"/>
                  </a:lnTo>
                  <a:lnTo>
                    <a:pt x="60" y="120"/>
                  </a:lnTo>
                  <a:lnTo>
                    <a:pt x="72" y="120"/>
                  </a:lnTo>
                  <a:lnTo>
                    <a:pt x="84" y="114"/>
                  </a:lnTo>
                  <a:lnTo>
                    <a:pt x="72" y="120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0" y="137"/>
                  </a:lnTo>
                  <a:lnTo>
                    <a:pt x="78" y="131"/>
                  </a:lnTo>
                  <a:lnTo>
                    <a:pt x="84" y="131"/>
                  </a:lnTo>
                  <a:lnTo>
                    <a:pt x="84" y="137"/>
                  </a:lnTo>
                  <a:lnTo>
                    <a:pt x="90" y="131"/>
                  </a:lnTo>
                  <a:lnTo>
                    <a:pt x="96" y="131"/>
                  </a:lnTo>
                  <a:lnTo>
                    <a:pt x="90" y="131"/>
                  </a:lnTo>
                  <a:lnTo>
                    <a:pt x="90" y="137"/>
                  </a:lnTo>
                  <a:lnTo>
                    <a:pt x="108" y="131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90" y="143"/>
                  </a:lnTo>
                  <a:lnTo>
                    <a:pt x="84" y="149"/>
                  </a:lnTo>
                  <a:lnTo>
                    <a:pt x="78" y="149"/>
                  </a:lnTo>
                  <a:lnTo>
                    <a:pt x="60" y="155"/>
                  </a:lnTo>
                  <a:lnTo>
                    <a:pt x="42" y="161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24" y="16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6" y="173"/>
                  </a:lnTo>
                  <a:lnTo>
                    <a:pt x="6" y="179"/>
                  </a:lnTo>
                  <a:lnTo>
                    <a:pt x="18" y="173"/>
                  </a:lnTo>
                  <a:lnTo>
                    <a:pt x="24" y="173"/>
                  </a:lnTo>
                  <a:lnTo>
                    <a:pt x="18" y="173"/>
                  </a:lnTo>
                  <a:lnTo>
                    <a:pt x="36" y="167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60" y="161"/>
                  </a:lnTo>
                  <a:lnTo>
                    <a:pt x="90" y="149"/>
                  </a:lnTo>
                  <a:lnTo>
                    <a:pt x="114" y="143"/>
                  </a:lnTo>
                  <a:lnTo>
                    <a:pt x="138" y="131"/>
                  </a:lnTo>
                  <a:lnTo>
                    <a:pt x="132" y="131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74" y="108"/>
                  </a:lnTo>
                  <a:lnTo>
                    <a:pt x="192" y="108"/>
                  </a:lnTo>
                  <a:lnTo>
                    <a:pt x="204" y="102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2" y="108"/>
                  </a:lnTo>
                  <a:lnTo>
                    <a:pt x="174" y="114"/>
                  </a:lnTo>
                  <a:lnTo>
                    <a:pt x="162" y="125"/>
                  </a:lnTo>
                  <a:lnTo>
                    <a:pt x="168" y="120"/>
                  </a:lnTo>
                  <a:lnTo>
                    <a:pt x="156" y="125"/>
                  </a:lnTo>
                  <a:lnTo>
                    <a:pt x="162" y="125"/>
                  </a:lnTo>
                  <a:lnTo>
                    <a:pt x="174" y="125"/>
                  </a:lnTo>
                  <a:lnTo>
                    <a:pt x="168" y="125"/>
                  </a:lnTo>
                  <a:lnTo>
                    <a:pt x="174" y="125"/>
                  </a:lnTo>
                  <a:lnTo>
                    <a:pt x="180" y="125"/>
                  </a:lnTo>
                  <a:lnTo>
                    <a:pt x="180" y="120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204" y="114"/>
                  </a:lnTo>
                  <a:lnTo>
                    <a:pt x="198" y="114"/>
                  </a:lnTo>
                  <a:lnTo>
                    <a:pt x="204" y="114"/>
                  </a:lnTo>
                  <a:lnTo>
                    <a:pt x="204" y="114"/>
                  </a:lnTo>
                  <a:lnTo>
                    <a:pt x="204" y="108"/>
                  </a:lnTo>
                  <a:lnTo>
                    <a:pt x="216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10" y="108"/>
                  </a:lnTo>
                  <a:lnTo>
                    <a:pt x="228" y="108"/>
                  </a:lnTo>
                  <a:lnTo>
                    <a:pt x="222" y="108"/>
                  </a:lnTo>
                  <a:lnTo>
                    <a:pt x="222" y="108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46" y="120"/>
                  </a:lnTo>
                  <a:lnTo>
                    <a:pt x="258" y="120"/>
                  </a:lnTo>
                  <a:lnTo>
                    <a:pt x="258" y="120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0" y="125"/>
                  </a:lnTo>
                  <a:lnTo>
                    <a:pt x="270" y="120"/>
                  </a:lnTo>
                  <a:lnTo>
                    <a:pt x="264" y="125"/>
                  </a:lnTo>
                  <a:lnTo>
                    <a:pt x="270" y="131"/>
                  </a:lnTo>
                  <a:lnTo>
                    <a:pt x="276" y="137"/>
                  </a:lnTo>
                  <a:lnTo>
                    <a:pt x="282" y="137"/>
                  </a:lnTo>
                  <a:lnTo>
                    <a:pt x="282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94" y="131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300" y="125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37"/>
                  </a:lnTo>
                  <a:lnTo>
                    <a:pt x="300" y="143"/>
                  </a:lnTo>
                  <a:lnTo>
                    <a:pt x="300" y="143"/>
                  </a:lnTo>
                  <a:lnTo>
                    <a:pt x="306" y="143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300" y="143"/>
                  </a:lnTo>
                  <a:lnTo>
                    <a:pt x="300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300" y="155"/>
                  </a:lnTo>
                  <a:lnTo>
                    <a:pt x="300" y="161"/>
                  </a:lnTo>
                  <a:lnTo>
                    <a:pt x="300" y="161"/>
                  </a:lnTo>
                  <a:lnTo>
                    <a:pt x="288" y="167"/>
                  </a:lnTo>
                  <a:lnTo>
                    <a:pt x="294" y="167"/>
                  </a:lnTo>
                  <a:lnTo>
                    <a:pt x="306" y="161"/>
                  </a:lnTo>
                  <a:lnTo>
                    <a:pt x="300" y="173"/>
                  </a:lnTo>
                  <a:lnTo>
                    <a:pt x="294" y="173"/>
                  </a:lnTo>
                  <a:lnTo>
                    <a:pt x="300" y="173"/>
                  </a:lnTo>
                  <a:lnTo>
                    <a:pt x="300" y="179"/>
                  </a:lnTo>
                  <a:lnTo>
                    <a:pt x="294" y="179"/>
                  </a:lnTo>
                  <a:lnTo>
                    <a:pt x="306" y="173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49" name="Freeform 445">
              <a:extLst>
                <a:ext uri="{FF2B5EF4-FFF2-40B4-BE49-F238E27FC236}">
                  <a16:creationId xmlns:a16="http://schemas.microsoft.com/office/drawing/2014/main" id="{E7874BA3-A985-4333-8DF6-C2AEABB281B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27" y="1395"/>
              <a:ext cx="24" cy="12"/>
            </a:xfrm>
            <a:custGeom>
              <a:avLst/>
              <a:gdLst>
                <a:gd name="T0" fmla="*/ 24 w 24"/>
                <a:gd name="T1" fmla="*/ 6 h 12"/>
                <a:gd name="T2" fmla="*/ 24 w 24"/>
                <a:gd name="T3" fmla="*/ 0 h 12"/>
                <a:gd name="T4" fmla="*/ 24 w 24"/>
                <a:gd name="T5" fmla="*/ 0 h 12"/>
                <a:gd name="T6" fmla="*/ 24 w 24"/>
                <a:gd name="T7" fmla="*/ 0 h 12"/>
                <a:gd name="T8" fmla="*/ 18 w 24"/>
                <a:gd name="T9" fmla="*/ 0 h 12"/>
                <a:gd name="T10" fmla="*/ 18 w 24"/>
                <a:gd name="T11" fmla="*/ 0 h 12"/>
                <a:gd name="T12" fmla="*/ 12 w 24"/>
                <a:gd name="T13" fmla="*/ 0 h 12"/>
                <a:gd name="T14" fmla="*/ 12 w 24"/>
                <a:gd name="T15" fmla="*/ 0 h 12"/>
                <a:gd name="T16" fmla="*/ 6 w 24"/>
                <a:gd name="T17" fmla="*/ 6 h 12"/>
                <a:gd name="T18" fmla="*/ 6 w 24"/>
                <a:gd name="T19" fmla="*/ 6 h 12"/>
                <a:gd name="T20" fmla="*/ 0 w 24"/>
                <a:gd name="T21" fmla="*/ 6 h 12"/>
                <a:gd name="T22" fmla="*/ 0 w 24"/>
                <a:gd name="T23" fmla="*/ 12 h 12"/>
                <a:gd name="T24" fmla="*/ 0 w 24"/>
                <a:gd name="T25" fmla="*/ 12 h 12"/>
                <a:gd name="T26" fmla="*/ 0 w 24"/>
                <a:gd name="T27" fmla="*/ 12 h 12"/>
                <a:gd name="T28" fmla="*/ 0 w 24"/>
                <a:gd name="T29" fmla="*/ 12 h 12"/>
                <a:gd name="T30" fmla="*/ 0 w 24"/>
                <a:gd name="T31" fmla="*/ 12 h 12"/>
                <a:gd name="T32" fmla="*/ 12 w 24"/>
                <a:gd name="T33" fmla="*/ 6 h 12"/>
                <a:gd name="T34" fmla="*/ 18 w 24"/>
                <a:gd name="T35" fmla="*/ 6 h 12"/>
                <a:gd name="T36" fmla="*/ 24 w 24"/>
                <a:gd name="T3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2">
                  <a:moveTo>
                    <a:pt x="24" y="6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2" y="6"/>
                  </a:lnTo>
                  <a:lnTo>
                    <a:pt x="18" y="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0" name="Freeform 446">
              <a:extLst>
                <a:ext uri="{FF2B5EF4-FFF2-40B4-BE49-F238E27FC236}">
                  <a16:creationId xmlns:a16="http://schemas.microsoft.com/office/drawing/2014/main" id="{ED33FCC2-7BF7-4581-A860-B5EF39361FA6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1" y="1330"/>
              <a:ext cx="24" cy="6"/>
            </a:xfrm>
            <a:custGeom>
              <a:avLst/>
              <a:gdLst>
                <a:gd name="T0" fmla="*/ 24 w 24"/>
                <a:gd name="T1" fmla="*/ 6 h 6"/>
                <a:gd name="T2" fmla="*/ 12 w 24"/>
                <a:gd name="T3" fmla="*/ 6 h 6"/>
                <a:gd name="T4" fmla="*/ 6 w 24"/>
                <a:gd name="T5" fmla="*/ 6 h 6"/>
                <a:gd name="T6" fmla="*/ 6 w 24"/>
                <a:gd name="T7" fmla="*/ 6 h 6"/>
                <a:gd name="T8" fmla="*/ 0 w 24"/>
                <a:gd name="T9" fmla="*/ 6 h 6"/>
                <a:gd name="T10" fmla="*/ 0 w 24"/>
                <a:gd name="T11" fmla="*/ 0 h 6"/>
                <a:gd name="T12" fmla="*/ 12 w 24"/>
                <a:gd name="T13" fmla="*/ 0 h 6"/>
                <a:gd name="T14" fmla="*/ 24 w 2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">
                  <a:moveTo>
                    <a:pt x="24" y="6"/>
                  </a:moveTo>
                  <a:lnTo>
                    <a:pt x="1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1" name="Freeform 447">
              <a:extLst>
                <a:ext uri="{FF2B5EF4-FFF2-40B4-BE49-F238E27FC236}">
                  <a16:creationId xmlns:a16="http://schemas.microsoft.com/office/drawing/2014/main" id="{7EBA344B-3F40-435E-AAC8-4BE9F0E4F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13"/>
              <a:ext cx="12" cy="18"/>
            </a:xfrm>
            <a:custGeom>
              <a:avLst/>
              <a:gdLst>
                <a:gd name="T0" fmla="*/ 6 w 12"/>
                <a:gd name="T1" fmla="*/ 18 h 18"/>
                <a:gd name="T2" fmla="*/ 6 w 12"/>
                <a:gd name="T3" fmla="*/ 18 h 18"/>
                <a:gd name="T4" fmla="*/ 6 w 12"/>
                <a:gd name="T5" fmla="*/ 18 h 18"/>
                <a:gd name="T6" fmla="*/ 0 w 12"/>
                <a:gd name="T7" fmla="*/ 12 h 18"/>
                <a:gd name="T8" fmla="*/ 6 w 12"/>
                <a:gd name="T9" fmla="*/ 12 h 18"/>
                <a:gd name="T10" fmla="*/ 6 w 12"/>
                <a:gd name="T11" fmla="*/ 6 h 18"/>
                <a:gd name="T12" fmla="*/ 6 w 12"/>
                <a:gd name="T13" fmla="*/ 6 h 18"/>
                <a:gd name="T14" fmla="*/ 6 w 12"/>
                <a:gd name="T15" fmla="*/ 6 h 18"/>
                <a:gd name="T16" fmla="*/ 6 w 12"/>
                <a:gd name="T17" fmla="*/ 0 h 18"/>
                <a:gd name="T18" fmla="*/ 12 w 12"/>
                <a:gd name="T19" fmla="*/ 0 h 18"/>
                <a:gd name="T20" fmla="*/ 12 w 12"/>
                <a:gd name="T21" fmla="*/ 12 h 18"/>
                <a:gd name="T22" fmla="*/ 12 w 12"/>
                <a:gd name="T23" fmla="*/ 6 h 18"/>
                <a:gd name="T24" fmla="*/ 12 w 12"/>
                <a:gd name="T25" fmla="*/ 12 h 18"/>
                <a:gd name="T26" fmla="*/ 6 w 1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8">
                  <a:moveTo>
                    <a:pt x="6" y="18"/>
                  </a:moveTo>
                  <a:lnTo>
                    <a:pt x="6" y="18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2" y="12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2" name="Freeform 448">
              <a:extLst>
                <a:ext uri="{FF2B5EF4-FFF2-40B4-BE49-F238E27FC236}">
                  <a16:creationId xmlns:a16="http://schemas.microsoft.com/office/drawing/2014/main" id="{2C7E45C5-3249-4FB7-B8D6-6978E77F167D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1" y="1389"/>
              <a:ext cx="12" cy="18"/>
            </a:xfrm>
            <a:custGeom>
              <a:avLst/>
              <a:gdLst>
                <a:gd name="T0" fmla="*/ 12 w 12"/>
                <a:gd name="T1" fmla="*/ 12 h 18"/>
                <a:gd name="T2" fmla="*/ 12 w 12"/>
                <a:gd name="T3" fmla="*/ 12 h 18"/>
                <a:gd name="T4" fmla="*/ 0 w 12"/>
                <a:gd name="T5" fmla="*/ 18 h 18"/>
                <a:gd name="T6" fmla="*/ 6 w 12"/>
                <a:gd name="T7" fmla="*/ 12 h 18"/>
                <a:gd name="T8" fmla="*/ 12 w 12"/>
                <a:gd name="T9" fmla="*/ 0 h 18"/>
                <a:gd name="T10" fmla="*/ 12 w 12"/>
                <a:gd name="T11" fmla="*/ 6 h 18"/>
                <a:gd name="T12" fmla="*/ 12 w 12"/>
                <a:gd name="T1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12"/>
                  </a:moveTo>
                  <a:lnTo>
                    <a:pt x="12" y="12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0"/>
                  </a:lnTo>
                  <a:lnTo>
                    <a:pt x="12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3" name="Freeform 449">
              <a:extLst>
                <a:ext uri="{FF2B5EF4-FFF2-40B4-BE49-F238E27FC236}">
                  <a16:creationId xmlns:a16="http://schemas.microsoft.com/office/drawing/2014/main" id="{1B74ABFF-23E0-4FCD-BFB8-16F642E1C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5" y="1431"/>
              <a:ext cx="18" cy="6"/>
            </a:xfrm>
            <a:custGeom>
              <a:avLst/>
              <a:gdLst>
                <a:gd name="T0" fmla="*/ 18 w 18"/>
                <a:gd name="T1" fmla="*/ 0 h 6"/>
                <a:gd name="T2" fmla="*/ 18 w 18"/>
                <a:gd name="T3" fmla="*/ 0 h 6"/>
                <a:gd name="T4" fmla="*/ 0 w 18"/>
                <a:gd name="T5" fmla="*/ 6 h 6"/>
                <a:gd name="T6" fmla="*/ 6 w 18"/>
                <a:gd name="T7" fmla="*/ 6 h 6"/>
                <a:gd name="T8" fmla="*/ 18 w 1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">
                  <a:moveTo>
                    <a:pt x="18" y="0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4" name="Freeform 450">
              <a:extLst>
                <a:ext uri="{FF2B5EF4-FFF2-40B4-BE49-F238E27FC236}">
                  <a16:creationId xmlns:a16="http://schemas.microsoft.com/office/drawing/2014/main" id="{BB55DF67-B8FD-47FB-B8B4-72A291FEDF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" y="1366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6 w 12"/>
                <a:gd name="T3" fmla="*/ 6 h 6"/>
                <a:gd name="T4" fmla="*/ 0 w 12"/>
                <a:gd name="T5" fmla="*/ 6 h 6"/>
                <a:gd name="T6" fmla="*/ 1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1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5" name="Freeform 451">
              <a:extLst>
                <a:ext uri="{FF2B5EF4-FFF2-40B4-BE49-F238E27FC236}">
                  <a16:creationId xmlns:a16="http://schemas.microsoft.com/office/drawing/2014/main" id="{DBEDE543-8B4C-4673-9671-CCFBE77D2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389"/>
              <a:ext cx="12" cy="12"/>
            </a:xfrm>
            <a:custGeom>
              <a:avLst/>
              <a:gdLst>
                <a:gd name="T0" fmla="*/ 12 w 12"/>
                <a:gd name="T1" fmla="*/ 12 h 12"/>
                <a:gd name="T2" fmla="*/ 6 w 12"/>
                <a:gd name="T3" fmla="*/ 6 h 12"/>
                <a:gd name="T4" fmla="*/ 6 w 12"/>
                <a:gd name="T5" fmla="*/ 6 h 12"/>
                <a:gd name="T6" fmla="*/ 12 w 12"/>
                <a:gd name="T7" fmla="*/ 6 h 12"/>
                <a:gd name="T8" fmla="*/ 12 w 12"/>
                <a:gd name="T9" fmla="*/ 6 h 12"/>
                <a:gd name="T10" fmla="*/ 6 w 12"/>
                <a:gd name="T11" fmla="*/ 6 h 12"/>
                <a:gd name="T12" fmla="*/ 12 w 12"/>
                <a:gd name="T13" fmla="*/ 0 h 12"/>
                <a:gd name="T14" fmla="*/ 6 w 12"/>
                <a:gd name="T15" fmla="*/ 6 h 12"/>
                <a:gd name="T16" fmla="*/ 0 w 12"/>
                <a:gd name="T17" fmla="*/ 6 h 12"/>
                <a:gd name="T18" fmla="*/ 0 w 12"/>
                <a:gd name="T19" fmla="*/ 6 h 12"/>
                <a:gd name="T20" fmla="*/ 0 w 12"/>
                <a:gd name="T21" fmla="*/ 12 h 12"/>
                <a:gd name="T22" fmla="*/ 6 w 12"/>
                <a:gd name="T23" fmla="*/ 6 h 12"/>
                <a:gd name="T24" fmla="*/ 12 w 12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6" y="6"/>
                  </a:lnTo>
                  <a:lnTo>
                    <a:pt x="12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6" name="Freeform 452">
              <a:extLst>
                <a:ext uri="{FF2B5EF4-FFF2-40B4-BE49-F238E27FC236}">
                  <a16:creationId xmlns:a16="http://schemas.microsoft.com/office/drawing/2014/main" id="{404DD1C4-F903-4C0A-B329-4728919FCF7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1"/>
              <a:ext cx="6" cy="12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0 w 6"/>
                <a:gd name="T5" fmla="*/ 0 h 12"/>
                <a:gd name="T6" fmla="*/ 0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7" name="Freeform 453">
              <a:extLst>
                <a:ext uri="{FF2B5EF4-FFF2-40B4-BE49-F238E27FC236}">
                  <a16:creationId xmlns:a16="http://schemas.microsoft.com/office/drawing/2014/main" id="{94459327-B270-4B6E-BEF8-D6002AE3A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7" y="1407"/>
              <a:ext cx="6" cy="6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0 w 6"/>
                <a:gd name="T5" fmla="*/ 0 h 6"/>
                <a:gd name="T6" fmla="*/ 0 w 6"/>
                <a:gd name="T7" fmla="*/ 6 h 6"/>
                <a:gd name="T8" fmla="*/ 0 w 6"/>
                <a:gd name="T9" fmla="*/ 6 h 6"/>
                <a:gd name="T10" fmla="*/ 6 w 6"/>
                <a:gd name="T11" fmla="*/ 0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8" name="Freeform 454">
              <a:extLst>
                <a:ext uri="{FF2B5EF4-FFF2-40B4-BE49-F238E27FC236}">
                  <a16:creationId xmlns:a16="http://schemas.microsoft.com/office/drawing/2014/main" id="{0EE4FA76-1317-4B19-B64E-9C4F4272F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" y="1407"/>
              <a:ext cx="12" cy="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6 h 6"/>
                <a:gd name="T4" fmla="*/ 6 w 12"/>
                <a:gd name="T5" fmla="*/ 0 h 6"/>
                <a:gd name="T6" fmla="*/ 12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59" name="Freeform 455">
              <a:extLst>
                <a:ext uri="{FF2B5EF4-FFF2-40B4-BE49-F238E27FC236}">
                  <a16:creationId xmlns:a16="http://schemas.microsoft.com/office/drawing/2014/main" id="{893D6302-4FD0-4EDB-A2D5-1CA8F519C975}"/>
                </a:ext>
              </a:extLst>
            </p:cNvPr>
            <p:cNvSpPr>
              <a:spLocks/>
            </p:cNvSpPr>
            <p:nvPr/>
          </p:nvSpPr>
          <p:spPr bwMode="gray">
            <a:xfrm>
              <a:off x="2068" y="1599"/>
              <a:ext cx="24" cy="6"/>
            </a:xfrm>
            <a:custGeom>
              <a:avLst/>
              <a:gdLst>
                <a:gd name="T0" fmla="*/ 24 w 24"/>
                <a:gd name="T1" fmla="*/ 0 h 6"/>
                <a:gd name="T2" fmla="*/ 18 w 24"/>
                <a:gd name="T3" fmla="*/ 0 h 6"/>
                <a:gd name="T4" fmla="*/ 18 w 24"/>
                <a:gd name="T5" fmla="*/ 0 h 6"/>
                <a:gd name="T6" fmla="*/ 0 w 24"/>
                <a:gd name="T7" fmla="*/ 6 h 6"/>
                <a:gd name="T8" fmla="*/ 12 w 24"/>
                <a:gd name="T9" fmla="*/ 0 h 6"/>
                <a:gd name="T10" fmla="*/ 24 w 2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">
                  <a:moveTo>
                    <a:pt x="24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  <p:sp>
          <p:nvSpPr>
            <p:cNvPr id="460" name="Freeform 456">
              <a:extLst>
                <a:ext uri="{FF2B5EF4-FFF2-40B4-BE49-F238E27FC236}">
                  <a16:creationId xmlns:a16="http://schemas.microsoft.com/office/drawing/2014/main" id="{B4778E7C-0F7A-44CB-A5A4-A73A2965C0A7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5" y="1761"/>
              <a:ext cx="96" cy="90"/>
            </a:xfrm>
            <a:custGeom>
              <a:avLst/>
              <a:gdLst>
                <a:gd name="T0" fmla="*/ 6 w 96"/>
                <a:gd name="T1" fmla="*/ 78 h 90"/>
                <a:gd name="T2" fmla="*/ 0 w 96"/>
                <a:gd name="T3" fmla="*/ 90 h 90"/>
                <a:gd name="T4" fmla="*/ 0 w 96"/>
                <a:gd name="T5" fmla="*/ 78 h 90"/>
                <a:gd name="T6" fmla="*/ 12 w 96"/>
                <a:gd name="T7" fmla="*/ 66 h 90"/>
                <a:gd name="T8" fmla="*/ 18 w 96"/>
                <a:gd name="T9" fmla="*/ 48 h 90"/>
                <a:gd name="T10" fmla="*/ 18 w 96"/>
                <a:gd name="T11" fmla="*/ 54 h 90"/>
                <a:gd name="T12" fmla="*/ 24 w 96"/>
                <a:gd name="T13" fmla="*/ 42 h 90"/>
                <a:gd name="T14" fmla="*/ 30 w 96"/>
                <a:gd name="T15" fmla="*/ 30 h 90"/>
                <a:gd name="T16" fmla="*/ 30 w 96"/>
                <a:gd name="T17" fmla="*/ 24 h 90"/>
                <a:gd name="T18" fmla="*/ 42 w 96"/>
                <a:gd name="T19" fmla="*/ 12 h 90"/>
                <a:gd name="T20" fmla="*/ 48 w 96"/>
                <a:gd name="T21" fmla="*/ 0 h 90"/>
                <a:gd name="T22" fmla="*/ 60 w 96"/>
                <a:gd name="T23" fmla="*/ 0 h 90"/>
                <a:gd name="T24" fmla="*/ 72 w 96"/>
                <a:gd name="T25" fmla="*/ 0 h 90"/>
                <a:gd name="T26" fmla="*/ 84 w 96"/>
                <a:gd name="T27" fmla="*/ 0 h 90"/>
                <a:gd name="T28" fmla="*/ 96 w 96"/>
                <a:gd name="T29" fmla="*/ 0 h 90"/>
                <a:gd name="T30" fmla="*/ 96 w 96"/>
                <a:gd name="T31" fmla="*/ 6 h 90"/>
                <a:gd name="T32" fmla="*/ 96 w 96"/>
                <a:gd name="T33" fmla="*/ 24 h 90"/>
                <a:gd name="T34" fmla="*/ 84 w 96"/>
                <a:gd name="T35" fmla="*/ 24 h 90"/>
                <a:gd name="T36" fmla="*/ 78 w 96"/>
                <a:gd name="T37" fmla="*/ 24 h 90"/>
                <a:gd name="T38" fmla="*/ 66 w 96"/>
                <a:gd name="T39" fmla="*/ 24 h 90"/>
                <a:gd name="T40" fmla="*/ 60 w 96"/>
                <a:gd name="T41" fmla="*/ 24 h 90"/>
                <a:gd name="T42" fmla="*/ 60 w 96"/>
                <a:gd name="T43" fmla="*/ 36 h 90"/>
                <a:gd name="T44" fmla="*/ 60 w 96"/>
                <a:gd name="T45" fmla="*/ 54 h 90"/>
                <a:gd name="T46" fmla="*/ 48 w 96"/>
                <a:gd name="T47" fmla="*/ 60 h 90"/>
                <a:gd name="T48" fmla="*/ 48 w 96"/>
                <a:gd name="T49" fmla="*/ 72 h 90"/>
                <a:gd name="T50" fmla="*/ 48 w 96"/>
                <a:gd name="T51" fmla="*/ 78 h 90"/>
                <a:gd name="T52" fmla="*/ 36 w 96"/>
                <a:gd name="T53" fmla="*/ 78 h 90"/>
                <a:gd name="T54" fmla="*/ 24 w 96"/>
                <a:gd name="T55" fmla="*/ 78 h 90"/>
                <a:gd name="T56" fmla="*/ 12 w 96"/>
                <a:gd name="T57" fmla="*/ 78 h 90"/>
                <a:gd name="T58" fmla="*/ 6 w 96"/>
                <a:gd name="T59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0">
                  <a:moveTo>
                    <a:pt x="6" y="78"/>
                  </a:moveTo>
                  <a:lnTo>
                    <a:pt x="0" y="90"/>
                  </a:lnTo>
                  <a:lnTo>
                    <a:pt x="0" y="78"/>
                  </a:lnTo>
                  <a:lnTo>
                    <a:pt x="12" y="66"/>
                  </a:lnTo>
                  <a:lnTo>
                    <a:pt x="18" y="48"/>
                  </a:lnTo>
                  <a:lnTo>
                    <a:pt x="18" y="54"/>
                  </a:lnTo>
                  <a:lnTo>
                    <a:pt x="24" y="42"/>
                  </a:lnTo>
                  <a:lnTo>
                    <a:pt x="30" y="30"/>
                  </a:lnTo>
                  <a:lnTo>
                    <a:pt x="30" y="24"/>
                  </a:lnTo>
                  <a:lnTo>
                    <a:pt x="42" y="12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96" y="6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60" y="36"/>
                  </a:lnTo>
                  <a:lnTo>
                    <a:pt x="60" y="54"/>
                  </a:lnTo>
                  <a:lnTo>
                    <a:pt x="48" y="60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36" y="78"/>
                  </a:lnTo>
                  <a:lnTo>
                    <a:pt x="24" y="78"/>
                  </a:lnTo>
                  <a:lnTo>
                    <a:pt x="12" y="78"/>
                  </a:lnTo>
                  <a:lnTo>
                    <a:pt x="6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0000"/>
                </a:solidFill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AE3489B-331D-42AD-86C7-9DEB1C5FC99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910168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" name="Objekt 541" hidden="1">
            <a:extLst>
              <a:ext uri="{FF2B5EF4-FFF2-40B4-BE49-F238E27FC236}">
                <a16:creationId xmlns:a16="http://schemas.microsoft.com/office/drawing/2014/main" id="{328271C5-5190-4C67-9869-B67A835C1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175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42" name="Objekt 541" hidden="1">
                        <a:extLst>
                          <a:ext uri="{FF2B5EF4-FFF2-40B4-BE49-F238E27FC236}">
                            <a16:creationId xmlns:a16="http://schemas.microsoft.com/office/drawing/2014/main" id="{328271C5-5190-4C67-9869-B67A835C1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1C8653C-4D48-4DDD-BD68-D6078E11FD0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Europ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9AB15C5-7333-4A41-BC3B-0A3DDF0A55BB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43D9216-D0A9-4551-B693-76D8CC0C8AA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87B9A0-8B2B-4582-8A2C-443BE0BA10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7</a:t>
            </a:fld>
            <a:endParaRPr lang="de-DE" dirty="0"/>
          </a:p>
        </p:txBody>
      </p:sp>
      <p:grpSp>
        <p:nvGrpSpPr>
          <p:cNvPr id="543" name="Group 5">
            <a:extLst>
              <a:ext uri="{FF2B5EF4-FFF2-40B4-BE49-F238E27FC236}">
                <a16:creationId xmlns:a16="http://schemas.microsoft.com/office/drawing/2014/main" id="{9C099F59-D1BD-4E55-BE04-A4117249D9E8}"/>
              </a:ext>
            </a:extLst>
          </p:cNvPr>
          <p:cNvGrpSpPr>
            <a:grpSpLocks/>
          </p:cNvGrpSpPr>
          <p:nvPr/>
        </p:nvGrpSpPr>
        <p:grpSpPr bwMode="gray">
          <a:xfrm>
            <a:off x="3444552" y="1733550"/>
            <a:ext cx="5194946" cy="4495800"/>
            <a:chOff x="1310" y="800"/>
            <a:chExt cx="3138" cy="2716"/>
          </a:xfrm>
          <a:solidFill>
            <a:schemeClr val="bg2"/>
          </a:solidFill>
        </p:grpSpPr>
        <p:sp>
          <p:nvSpPr>
            <p:cNvPr id="544" name="Freeform 6">
              <a:extLst>
                <a:ext uri="{FF2B5EF4-FFF2-40B4-BE49-F238E27FC236}">
                  <a16:creationId xmlns:a16="http://schemas.microsoft.com/office/drawing/2014/main" id="{441998D9-934E-4D16-A6FE-A85B82B99E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" y="2770"/>
              <a:ext cx="293" cy="230"/>
            </a:xfrm>
            <a:custGeom>
              <a:avLst/>
              <a:gdLst>
                <a:gd name="T0" fmla="*/ 997 w 157"/>
                <a:gd name="T1" fmla="*/ 234 h 123"/>
                <a:gd name="T2" fmla="*/ 1006 w 157"/>
                <a:gd name="T3" fmla="*/ 280 h 123"/>
                <a:gd name="T4" fmla="*/ 937 w 157"/>
                <a:gd name="T5" fmla="*/ 269 h 123"/>
                <a:gd name="T6" fmla="*/ 872 w 157"/>
                <a:gd name="T7" fmla="*/ 333 h 123"/>
                <a:gd name="T8" fmla="*/ 877 w 157"/>
                <a:gd name="T9" fmla="*/ 479 h 123"/>
                <a:gd name="T10" fmla="*/ 909 w 157"/>
                <a:gd name="T11" fmla="*/ 608 h 123"/>
                <a:gd name="T12" fmla="*/ 849 w 157"/>
                <a:gd name="T13" fmla="*/ 608 h 123"/>
                <a:gd name="T14" fmla="*/ 885 w 157"/>
                <a:gd name="T15" fmla="*/ 783 h 123"/>
                <a:gd name="T16" fmla="*/ 845 w 157"/>
                <a:gd name="T17" fmla="*/ 804 h 123"/>
                <a:gd name="T18" fmla="*/ 704 w 157"/>
                <a:gd name="T19" fmla="*/ 739 h 123"/>
                <a:gd name="T20" fmla="*/ 748 w 157"/>
                <a:gd name="T21" fmla="*/ 692 h 123"/>
                <a:gd name="T22" fmla="*/ 696 w 157"/>
                <a:gd name="T23" fmla="*/ 630 h 123"/>
                <a:gd name="T24" fmla="*/ 728 w 157"/>
                <a:gd name="T25" fmla="*/ 587 h 123"/>
                <a:gd name="T26" fmla="*/ 638 w 157"/>
                <a:gd name="T27" fmla="*/ 550 h 123"/>
                <a:gd name="T28" fmla="*/ 467 w 157"/>
                <a:gd name="T29" fmla="*/ 804 h 123"/>
                <a:gd name="T30" fmla="*/ 442 w 157"/>
                <a:gd name="T31" fmla="*/ 731 h 123"/>
                <a:gd name="T32" fmla="*/ 370 w 157"/>
                <a:gd name="T33" fmla="*/ 654 h 123"/>
                <a:gd name="T34" fmla="*/ 261 w 157"/>
                <a:gd name="T35" fmla="*/ 608 h 123"/>
                <a:gd name="T36" fmla="*/ 261 w 157"/>
                <a:gd name="T37" fmla="*/ 535 h 123"/>
                <a:gd name="T38" fmla="*/ 136 w 157"/>
                <a:gd name="T39" fmla="*/ 482 h 123"/>
                <a:gd name="T40" fmla="*/ 105 w 157"/>
                <a:gd name="T41" fmla="*/ 406 h 123"/>
                <a:gd name="T42" fmla="*/ 0 w 157"/>
                <a:gd name="T43" fmla="*/ 391 h 123"/>
                <a:gd name="T44" fmla="*/ 39 w 157"/>
                <a:gd name="T45" fmla="*/ 314 h 123"/>
                <a:gd name="T46" fmla="*/ 136 w 157"/>
                <a:gd name="T47" fmla="*/ 309 h 123"/>
                <a:gd name="T48" fmla="*/ 272 w 157"/>
                <a:gd name="T49" fmla="*/ 314 h 123"/>
                <a:gd name="T50" fmla="*/ 293 w 157"/>
                <a:gd name="T51" fmla="*/ 241 h 123"/>
                <a:gd name="T52" fmla="*/ 188 w 157"/>
                <a:gd name="T53" fmla="*/ 181 h 123"/>
                <a:gd name="T54" fmla="*/ 220 w 157"/>
                <a:gd name="T55" fmla="*/ 144 h 123"/>
                <a:gd name="T56" fmla="*/ 272 w 157"/>
                <a:gd name="T57" fmla="*/ 112 h 123"/>
                <a:gd name="T58" fmla="*/ 429 w 157"/>
                <a:gd name="T59" fmla="*/ 196 h 123"/>
                <a:gd name="T60" fmla="*/ 495 w 157"/>
                <a:gd name="T61" fmla="*/ 196 h 123"/>
                <a:gd name="T62" fmla="*/ 539 w 157"/>
                <a:gd name="T63" fmla="*/ 77 h 123"/>
                <a:gd name="T64" fmla="*/ 547 w 157"/>
                <a:gd name="T65" fmla="*/ 0 h 123"/>
                <a:gd name="T66" fmla="*/ 571 w 157"/>
                <a:gd name="T67" fmla="*/ 21 h 123"/>
                <a:gd name="T68" fmla="*/ 696 w 157"/>
                <a:gd name="T69" fmla="*/ 92 h 123"/>
                <a:gd name="T70" fmla="*/ 801 w 157"/>
                <a:gd name="T71" fmla="*/ 196 h 123"/>
                <a:gd name="T72" fmla="*/ 872 w 157"/>
                <a:gd name="T73" fmla="*/ 217 h 123"/>
                <a:gd name="T74" fmla="*/ 937 w 157"/>
                <a:gd name="T75" fmla="*/ 196 h 123"/>
                <a:gd name="T76" fmla="*/ 997 w 157"/>
                <a:gd name="T77" fmla="*/ 234 h 12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57" h="123">
                  <a:moveTo>
                    <a:pt x="153" y="36"/>
                  </a:moveTo>
                  <a:cubicBezTo>
                    <a:pt x="155" y="39"/>
                    <a:pt x="157" y="42"/>
                    <a:pt x="155" y="43"/>
                  </a:cubicBezTo>
                  <a:cubicBezTo>
                    <a:pt x="153" y="45"/>
                    <a:pt x="148" y="39"/>
                    <a:pt x="144" y="41"/>
                  </a:cubicBezTo>
                  <a:cubicBezTo>
                    <a:pt x="140" y="44"/>
                    <a:pt x="135" y="47"/>
                    <a:pt x="134" y="51"/>
                  </a:cubicBezTo>
                  <a:cubicBezTo>
                    <a:pt x="134" y="55"/>
                    <a:pt x="135" y="69"/>
                    <a:pt x="135" y="73"/>
                  </a:cubicBezTo>
                  <a:cubicBezTo>
                    <a:pt x="136" y="76"/>
                    <a:pt x="140" y="90"/>
                    <a:pt x="140" y="93"/>
                  </a:cubicBezTo>
                  <a:cubicBezTo>
                    <a:pt x="140" y="96"/>
                    <a:pt x="132" y="90"/>
                    <a:pt x="131" y="93"/>
                  </a:cubicBezTo>
                  <a:cubicBezTo>
                    <a:pt x="130" y="97"/>
                    <a:pt x="136" y="117"/>
                    <a:pt x="136" y="120"/>
                  </a:cubicBezTo>
                  <a:cubicBezTo>
                    <a:pt x="137" y="122"/>
                    <a:pt x="133" y="123"/>
                    <a:pt x="130" y="123"/>
                  </a:cubicBezTo>
                  <a:cubicBezTo>
                    <a:pt x="127" y="123"/>
                    <a:pt x="108" y="118"/>
                    <a:pt x="108" y="113"/>
                  </a:cubicBezTo>
                  <a:cubicBezTo>
                    <a:pt x="108" y="108"/>
                    <a:pt x="114" y="111"/>
                    <a:pt x="115" y="106"/>
                  </a:cubicBezTo>
                  <a:cubicBezTo>
                    <a:pt x="116" y="101"/>
                    <a:pt x="107" y="96"/>
                    <a:pt x="107" y="9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80" y="111"/>
                    <a:pt x="72" y="123"/>
                  </a:cubicBezTo>
                  <a:cubicBezTo>
                    <a:pt x="71" y="119"/>
                    <a:pt x="69" y="114"/>
                    <a:pt x="68" y="112"/>
                  </a:cubicBezTo>
                  <a:cubicBezTo>
                    <a:pt x="64" y="105"/>
                    <a:pt x="61" y="100"/>
                    <a:pt x="57" y="100"/>
                  </a:cubicBezTo>
                  <a:cubicBezTo>
                    <a:pt x="52" y="99"/>
                    <a:pt x="41" y="96"/>
                    <a:pt x="40" y="93"/>
                  </a:cubicBezTo>
                  <a:cubicBezTo>
                    <a:pt x="39" y="91"/>
                    <a:pt x="45" y="84"/>
                    <a:pt x="40" y="82"/>
                  </a:cubicBezTo>
                  <a:cubicBezTo>
                    <a:pt x="34" y="80"/>
                    <a:pt x="24" y="79"/>
                    <a:pt x="21" y="74"/>
                  </a:cubicBezTo>
                  <a:cubicBezTo>
                    <a:pt x="18" y="69"/>
                    <a:pt x="20" y="65"/>
                    <a:pt x="16" y="62"/>
                  </a:cubicBezTo>
                  <a:cubicBezTo>
                    <a:pt x="13" y="60"/>
                    <a:pt x="7" y="60"/>
                    <a:pt x="0" y="60"/>
                  </a:cubicBezTo>
                  <a:cubicBezTo>
                    <a:pt x="1" y="60"/>
                    <a:pt x="3" y="52"/>
                    <a:pt x="6" y="48"/>
                  </a:cubicBezTo>
                  <a:cubicBezTo>
                    <a:pt x="9" y="43"/>
                    <a:pt x="18" y="47"/>
                    <a:pt x="21" y="47"/>
                  </a:cubicBezTo>
                  <a:cubicBezTo>
                    <a:pt x="24" y="47"/>
                    <a:pt x="39" y="52"/>
                    <a:pt x="42" y="48"/>
                  </a:cubicBezTo>
                  <a:cubicBezTo>
                    <a:pt x="45" y="45"/>
                    <a:pt x="43" y="41"/>
                    <a:pt x="45" y="37"/>
                  </a:cubicBezTo>
                  <a:cubicBezTo>
                    <a:pt x="46" y="33"/>
                    <a:pt x="27" y="34"/>
                    <a:pt x="29" y="28"/>
                  </a:cubicBezTo>
                  <a:cubicBezTo>
                    <a:pt x="30" y="26"/>
                    <a:pt x="32" y="24"/>
                    <a:pt x="34" y="22"/>
                  </a:cubicBezTo>
                  <a:cubicBezTo>
                    <a:pt x="37" y="19"/>
                    <a:pt x="40" y="17"/>
                    <a:pt x="42" y="17"/>
                  </a:cubicBezTo>
                  <a:cubicBezTo>
                    <a:pt x="45" y="18"/>
                    <a:pt x="62" y="30"/>
                    <a:pt x="66" y="30"/>
                  </a:cubicBezTo>
                  <a:cubicBezTo>
                    <a:pt x="69" y="30"/>
                    <a:pt x="74" y="34"/>
                    <a:pt x="76" y="30"/>
                  </a:cubicBezTo>
                  <a:cubicBezTo>
                    <a:pt x="78" y="26"/>
                    <a:pt x="83" y="12"/>
                    <a:pt x="83" y="1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1"/>
                    <a:pt x="87" y="2"/>
                    <a:pt x="88" y="3"/>
                  </a:cubicBezTo>
                  <a:cubicBezTo>
                    <a:pt x="93" y="5"/>
                    <a:pt x="104" y="10"/>
                    <a:pt x="107" y="14"/>
                  </a:cubicBezTo>
                  <a:cubicBezTo>
                    <a:pt x="110" y="18"/>
                    <a:pt x="120" y="28"/>
                    <a:pt x="123" y="30"/>
                  </a:cubicBezTo>
                  <a:cubicBezTo>
                    <a:pt x="126" y="32"/>
                    <a:pt x="131" y="34"/>
                    <a:pt x="134" y="33"/>
                  </a:cubicBezTo>
                  <a:cubicBezTo>
                    <a:pt x="136" y="33"/>
                    <a:pt x="140" y="30"/>
                    <a:pt x="144" y="30"/>
                  </a:cubicBezTo>
                  <a:cubicBezTo>
                    <a:pt x="147" y="30"/>
                    <a:pt x="152" y="33"/>
                    <a:pt x="153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5" name="Freeform 7">
              <a:extLst>
                <a:ext uri="{FF2B5EF4-FFF2-40B4-BE49-F238E27FC236}">
                  <a16:creationId xmlns:a16="http://schemas.microsoft.com/office/drawing/2014/main" id="{B0221D8A-537D-48FE-8626-03CAF2FAF3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5" y="2070"/>
              <a:ext cx="267" cy="405"/>
            </a:xfrm>
            <a:custGeom>
              <a:avLst/>
              <a:gdLst>
                <a:gd name="T0" fmla="*/ 932 w 143"/>
                <a:gd name="T1" fmla="*/ 1097 h 217"/>
                <a:gd name="T2" fmla="*/ 909 w 143"/>
                <a:gd name="T3" fmla="*/ 1110 h 217"/>
                <a:gd name="T4" fmla="*/ 795 w 143"/>
                <a:gd name="T5" fmla="*/ 1237 h 217"/>
                <a:gd name="T6" fmla="*/ 728 w 143"/>
                <a:gd name="T7" fmla="*/ 1366 h 217"/>
                <a:gd name="T8" fmla="*/ 652 w 143"/>
                <a:gd name="T9" fmla="*/ 1379 h 217"/>
                <a:gd name="T10" fmla="*/ 644 w 143"/>
                <a:gd name="T11" fmla="*/ 1411 h 217"/>
                <a:gd name="T12" fmla="*/ 571 w 143"/>
                <a:gd name="T13" fmla="*/ 1387 h 217"/>
                <a:gd name="T14" fmla="*/ 547 w 143"/>
                <a:gd name="T15" fmla="*/ 1267 h 217"/>
                <a:gd name="T16" fmla="*/ 377 w 143"/>
                <a:gd name="T17" fmla="*/ 1150 h 217"/>
                <a:gd name="T18" fmla="*/ 248 w 143"/>
                <a:gd name="T19" fmla="*/ 1209 h 217"/>
                <a:gd name="T20" fmla="*/ 174 w 143"/>
                <a:gd name="T21" fmla="*/ 1097 h 217"/>
                <a:gd name="T22" fmla="*/ 60 w 143"/>
                <a:gd name="T23" fmla="*/ 1073 h 217"/>
                <a:gd name="T24" fmla="*/ 32 w 143"/>
                <a:gd name="T25" fmla="*/ 849 h 217"/>
                <a:gd name="T26" fmla="*/ 7 w 143"/>
                <a:gd name="T27" fmla="*/ 728 h 217"/>
                <a:gd name="T28" fmla="*/ 32 w 143"/>
                <a:gd name="T29" fmla="*/ 571 h 217"/>
                <a:gd name="T30" fmla="*/ 202 w 143"/>
                <a:gd name="T31" fmla="*/ 651 h 217"/>
                <a:gd name="T32" fmla="*/ 278 w 143"/>
                <a:gd name="T33" fmla="*/ 579 h 217"/>
                <a:gd name="T34" fmla="*/ 202 w 143"/>
                <a:gd name="T35" fmla="*/ 450 h 217"/>
                <a:gd name="T36" fmla="*/ 306 w 143"/>
                <a:gd name="T37" fmla="*/ 261 h 217"/>
                <a:gd name="T38" fmla="*/ 370 w 143"/>
                <a:gd name="T39" fmla="*/ 97 h 217"/>
                <a:gd name="T40" fmla="*/ 562 w 143"/>
                <a:gd name="T41" fmla="*/ 7 h 217"/>
                <a:gd name="T42" fmla="*/ 704 w 143"/>
                <a:gd name="T43" fmla="*/ 0 h 217"/>
                <a:gd name="T44" fmla="*/ 579 w 143"/>
                <a:gd name="T45" fmla="*/ 121 h 217"/>
                <a:gd name="T46" fmla="*/ 398 w 143"/>
                <a:gd name="T47" fmla="*/ 226 h 217"/>
                <a:gd name="T48" fmla="*/ 422 w 143"/>
                <a:gd name="T49" fmla="*/ 442 h 217"/>
                <a:gd name="T50" fmla="*/ 663 w 143"/>
                <a:gd name="T51" fmla="*/ 623 h 217"/>
                <a:gd name="T52" fmla="*/ 736 w 143"/>
                <a:gd name="T53" fmla="*/ 804 h 217"/>
                <a:gd name="T54" fmla="*/ 932 w 143"/>
                <a:gd name="T55" fmla="*/ 1097 h 21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43" h="217">
                  <a:moveTo>
                    <a:pt x="143" y="169"/>
                  </a:moveTo>
                  <a:cubicBezTo>
                    <a:pt x="142" y="170"/>
                    <a:pt x="141" y="170"/>
                    <a:pt x="140" y="171"/>
                  </a:cubicBezTo>
                  <a:cubicBezTo>
                    <a:pt x="134" y="176"/>
                    <a:pt x="125" y="184"/>
                    <a:pt x="122" y="190"/>
                  </a:cubicBezTo>
                  <a:cubicBezTo>
                    <a:pt x="118" y="198"/>
                    <a:pt x="116" y="207"/>
                    <a:pt x="112" y="210"/>
                  </a:cubicBezTo>
                  <a:cubicBezTo>
                    <a:pt x="106" y="212"/>
                    <a:pt x="102" y="205"/>
                    <a:pt x="100" y="212"/>
                  </a:cubicBezTo>
                  <a:cubicBezTo>
                    <a:pt x="99" y="213"/>
                    <a:pt x="99" y="215"/>
                    <a:pt x="99" y="217"/>
                  </a:cubicBezTo>
                  <a:cubicBezTo>
                    <a:pt x="95" y="215"/>
                    <a:pt x="91" y="214"/>
                    <a:pt x="88" y="213"/>
                  </a:cubicBezTo>
                  <a:cubicBezTo>
                    <a:pt x="82" y="210"/>
                    <a:pt x="93" y="202"/>
                    <a:pt x="84" y="195"/>
                  </a:cubicBezTo>
                  <a:cubicBezTo>
                    <a:pt x="75" y="188"/>
                    <a:pt x="66" y="176"/>
                    <a:pt x="58" y="177"/>
                  </a:cubicBezTo>
                  <a:cubicBezTo>
                    <a:pt x="50" y="179"/>
                    <a:pt x="44" y="189"/>
                    <a:pt x="38" y="186"/>
                  </a:cubicBezTo>
                  <a:cubicBezTo>
                    <a:pt x="33" y="183"/>
                    <a:pt x="31" y="174"/>
                    <a:pt x="27" y="169"/>
                  </a:cubicBezTo>
                  <a:cubicBezTo>
                    <a:pt x="23" y="164"/>
                    <a:pt x="9" y="165"/>
                    <a:pt x="9" y="165"/>
                  </a:cubicBezTo>
                  <a:cubicBezTo>
                    <a:pt x="9" y="165"/>
                    <a:pt x="8" y="142"/>
                    <a:pt x="5" y="131"/>
                  </a:cubicBezTo>
                  <a:cubicBezTo>
                    <a:pt x="2" y="121"/>
                    <a:pt x="2" y="117"/>
                    <a:pt x="1" y="112"/>
                  </a:cubicBezTo>
                  <a:cubicBezTo>
                    <a:pt x="0" y="107"/>
                    <a:pt x="0" y="89"/>
                    <a:pt x="5" y="88"/>
                  </a:cubicBezTo>
                  <a:cubicBezTo>
                    <a:pt x="10" y="86"/>
                    <a:pt x="25" y="104"/>
                    <a:pt x="31" y="100"/>
                  </a:cubicBezTo>
                  <a:cubicBezTo>
                    <a:pt x="37" y="97"/>
                    <a:pt x="45" y="96"/>
                    <a:pt x="43" y="89"/>
                  </a:cubicBezTo>
                  <a:cubicBezTo>
                    <a:pt x="41" y="82"/>
                    <a:pt x="30" y="76"/>
                    <a:pt x="31" y="69"/>
                  </a:cubicBezTo>
                  <a:cubicBezTo>
                    <a:pt x="33" y="62"/>
                    <a:pt x="43" y="44"/>
                    <a:pt x="47" y="40"/>
                  </a:cubicBezTo>
                  <a:cubicBezTo>
                    <a:pt x="51" y="35"/>
                    <a:pt x="52" y="17"/>
                    <a:pt x="57" y="15"/>
                  </a:cubicBezTo>
                  <a:cubicBezTo>
                    <a:pt x="62" y="12"/>
                    <a:pt x="86" y="1"/>
                    <a:pt x="86" y="1"/>
                  </a:cubicBezTo>
                  <a:cubicBezTo>
                    <a:pt x="95" y="0"/>
                    <a:pt x="102" y="0"/>
                    <a:pt x="108" y="0"/>
                  </a:cubicBezTo>
                  <a:cubicBezTo>
                    <a:pt x="100" y="7"/>
                    <a:pt x="95" y="16"/>
                    <a:pt x="89" y="19"/>
                  </a:cubicBezTo>
                  <a:cubicBezTo>
                    <a:pt x="81" y="23"/>
                    <a:pt x="67" y="26"/>
                    <a:pt x="61" y="35"/>
                  </a:cubicBezTo>
                  <a:cubicBezTo>
                    <a:pt x="55" y="44"/>
                    <a:pt x="63" y="60"/>
                    <a:pt x="65" y="68"/>
                  </a:cubicBezTo>
                  <a:cubicBezTo>
                    <a:pt x="67" y="76"/>
                    <a:pt x="91" y="89"/>
                    <a:pt x="102" y="96"/>
                  </a:cubicBezTo>
                  <a:cubicBezTo>
                    <a:pt x="113" y="103"/>
                    <a:pt x="111" y="110"/>
                    <a:pt x="113" y="124"/>
                  </a:cubicBezTo>
                  <a:cubicBezTo>
                    <a:pt x="114" y="136"/>
                    <a:pt x="129" y="154"/>
                    <a:pt x="143" y="16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6" name="Freeform 8">
              <a:extLst>
                <a:ext uri="{FF2B5EF4-FFF2-40B4-BE49-F238E27FC236}">
                  <a16:creationId xmlns:a16="http://schemas.microsoft.com/office/drawing/2014/main" id="{2CF3792E-C317-4ECE-8A6E-EC1081EC7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3" y="2778"/>
              <a:ext cx="368" cy="138"/>
            </a:xfrm>
            <a:custGeom>
              <a:avLst/>
              <a:gdLst>
                <a:gd name="T0" fmla="*/ 1173 w 197"/>
                <a:gd name="T1" fmla="*/ 157 h 74"/>
                <a:gd name="T2" fmla="*/ 1278 w 197"/>
                <a:gd name="T3" fmla="*/ 216 h 74"/>
                <a:gd name="T4" fmla="*/ 1259 w 197"/>
                <a:gd name="T5" fmla="*/ 285 h 74"/>
                <a:gd name="T6" fmla="*/ 1121 w 197"/>
                <a:gd name="T7" fmla="*/ 278 h 74"/>
                <a:gd name="T8" fmla="*/ 1022 w 197"/>
                <a:gd name="T9" fmla="*/ 285 h 74"/>
                <a:gd name="T10" fmla="*/ 984 w 197"/>
                <a:gd name="T11" fmla="*/ 362 h 74"/>
                <a:gd name="T12" fmla="*/ 964 w 197"/>
                <a:gd name="T13" fmla="*/ 369 h 74"/>
                <a:gd name="T14" fmla="*/ 828 w 197"/>
                <a:gd name="T15" fmla="*/ 421 h 74"/>
                <a:gd name="T16" fmla="*/ 764 w 197"/>
                <a:gd name="T17" fmla="*/ 479 h 74"/>
                <a:gd name="T18" fmla="*/ 764 w 197"/>
                <a:gd name="T19" fmla="*/ 479 h 74"/>
                <a:gd name="T20" fmla="*/ 729 w 197"/>
                <a:gd name="T21" fmla="*/ 455 h 74"/>
                <a:gd name="T22" fmla="*/ 572 w 197"/>
                <a:gd name="T23" fmla="*/ 397 h 74"/>
                <a:gd name="T24" fmla="*/ 405 w 197"/>
                <a:gd name="T25" fmla="*/ 459 h 74"/>
                <a:gd name="T26" fmla="*/ 383 w 197"/>
                <a:gd name="T27" fmla="*/ 466 h 74"/>
                <a:gd name="T28" fmla="*/ 390 w 197"/>
                <a:gd name="T29" fmla="*/ 375 h 74"/>
                <a:gd name="T30" fmla="*/ 269 w 197"/>
                <a:gd name="T31" fmla="*/ 194 h 74"/>
                <a:gd name="T32" fmla="*/ 136 w 197"/>
                <a:gd name="T33" fmla="*/ 149 h 74"/>
                <a:gd name="T34" fmla="*/ 52 w 197"/>
                <a:gd name="T35" fmla="*/ 142 h 74"/>
                <a:gd name="T36" fmla="*/ 0 w 197"/>
                <a:gd name="T37" fmla="*/ 112 h 74"/>
                <a:gd name="T38" fmla="*/ 60 w 197"/>
                <a:gd name="T39" fmla="*/ 32 h 74"/>
                <a:gd name="T40" fmla="*/ 306 w 197"/>
                <a:gd name="T41" fmla="*/ 52 h 74"/>
                <a:gd name="T42" fmla="*/ 495 w 197"/>
                <a:gd name="T43" fmla="*/ 32 h 74"/>
                <a:gd name="T44" fmla="*/ 704 w 197"/>
                <a:gd name="T45" fmla="*/ 97 h 74"/>
                <a:gd name="T46" fmla="*/ 820 w 197"/>
                <a:gd name="T47" fmla="*/ 7 h 74"/>
                <a:gd name="T48" fmla="*/ 998 w 197"/>
                <a:gd name="T49" fmla="*/ 0 h 74"/>
                <a:gd name="T50" fmla="*/ 1012 w 197"/>
                <a:gd name="T51" fmla="*/ 73 h 74"/>
                <a:gd name="T52" fmla="*/ 1089 w 197"/>
                <a:gd name="T53" fmla="*/ 90 h 74"/>
                <a:gd name="T54" fmla="*/ 1207 w 197"/>
                <a:gd name="T55" fmla="*/ 117 h 74"/>
                <a:gd name="T56" fmla="*/ 1173 w 197"/>
                <a:gd name="T57" fmla="*/ 157 h 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97" h="74">
                  <a:moveTo>
                    <a:pt x="180" y="24"/>
                  </a:moveTo>
                  <a:cubicBezTo>
                    <a:pt x="178" y="30"/>
                    <a:pt x="197" y="29"/>
                    <a:pt x="196" y="33"/>
                  </a:cubicBezTo>
                  <a:cubicBezTo>
                    <a:pt x="194" y="37"/>
                    <a:pt x="196" y="41"/>
                    <a:pt x="193" y="44"/>
                  </a:cubicBezTo>
                  <a:cubicBezTo>
                    <a:pt x="190" y="48"/>
                    <a:pt x="175" y="43"/>
                    <a:pt x="172" y="43"/>
                  </a:cubicBezTo>
                  <a:cubicBezTo>
                    <a:pt x="169" y="43"/>
                    <a:pt x="160" y="39"/>
                    <a:pt x="157" y="44"/>
                  </a:cubicBezTo>
                  <a:cubicBezTo>
                    <a:pt x="154" y="48"/>
                    <a:pt x="152" y="56"/>
                    <a:pt x="151" y="56"/>
                  </a:cubicBezTo>
                  <a:cubicBezTo>
                    <a:pt x="150" y="57"/>
                    <a:pt x="149" y="57"/>
                    <a:pt x="148" y="57"/>
                  </a:cubicBezTo>
                  <a:cubicBezTo>
                    <a:pt x="140" y="58"/>
                    <a:pt x="130" y="61"/>
                    <a:pt x="127" y="65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2"/>
                    <a:pt x="114" y="70"/>
                    <a:pt x="112" y="70"/>
                  </a:cubicBezTo>
                  <a:cubicBezTo>
                    <a:pt x="109" y="67"/>
                    <a:pt x="92" y="60"/>
                    <a:pt x="88" y="61"/>
                  </a:cubicBezTo>
                  <a:cubicBezTo>
                    <a:pt x="84" y="63"/>
                    <a:pt x="68" y="70"/>
                    <a:pt x="62" y="71"/>
                  </a:cubicBezTo>
                  <a:cubicBezTo>
                    <a:pt x="61" y="71"/>
                    <a:pt x="60" y="72"/>
                    <a:pt x="59" y="72"/>
                  </a:cubicBezTo>
                  <a:cubicBezTo>
                    <a:pt x="61" y="67"/>
                    <a:pt x="62" y="62"/>
                    <a:pt x="60" y="58"/>
                  </a:cubicBezTo>
                  <a:cubicBezTo>
                    <a:pt x="57" y="52"/>
                    <a:pt x="47" y="33"/>
                    <a:pt x="41" y="30"/>
                  </a:cubicBezTo>
                  <a:cubicBezTo>
                    <a:pt x="36" y="26"/>
                    <a:pt x="26" y="23"/>
                    <a:pt x="21" y="23"/>
                  </a:cubicBezTo>
                  <a:cubicBezTo>
                    <a:pt x="16" y="23"/>
                    <a:pt x="12" y="26"/>
                    <a:pt x="8" y="22"/>
                  </a:cubicBezTo>
                  <a:cubicBezTo>
                    <a:pt x="7" y="22"/>
                    <a:pt x="4" y="20"/>
                    <a:pt x="0" y="17"/>
                  </a:cubicBezTo>
                  <a:cubicBezTo>
                    <a:pt x="3" y="11"/>
                    <a:pt x="6" y="5"/>
                    <a:pt x="9" y="5"/>
                  </a:cubicBezTo>
                  <a:cubicBezTo>
                    <a:pt x="14" y="5"/>
                    <a:pt x="41" y="8"/>
                    <a:pt x="47" y="8"/>
                  </a:cubicBezTo>
                  <a:cubicBezTo>
                    <a:pt x="53" y="8"/>
                    <a:pt x="66" y="5"/>
                    <a:pt x="76" y="5"/>
                  </a:cubicBezTo>
                  <a:cubicBezTo>
                    <a:pt x="86" y="5"/>
                    <a:pt x="103" y="14"/>
                    <a:pt x="108" y="15"/>
                  </a:cubicBezTo>
                  <a:cubicBezTo>
                    <a:pt x="113" y="16"/>
                    <a:pt x="121" y="2"/>
                    <a:pt x="126" y="1"/>
                  </a:cubicBezTo>
                  <a:cubicBezTo>
                    <a:pt x="132" y="0"/>
                    <a:pt x="148" y="0"/>
                    <a:pt x="153" y="0"/>
                  </a:cubicBezTo>
                  <a:cubicBezTo>
                    <a:pt x="159" y="1"/>
                    <a:pt x="153" y="10"/>
                    <a:pt x="155" y="11"/>
                  </a:cubicBezTo>
                  <a:cubicBezTo>
                    <a:pt x="158" y="12"/>
                    <a:pt x="163" y="13"/>
                    <a:pt x="167" y="14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183" y="20"/>
                    <a:pt x="181" y="22"/>
                    <a:pt x="180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7" name="Freeform 9">
              <a:extLst>
                <a:ext uri="{FF2B5EF4-FFF2-40B4-BE49-F238E27FC236}">
                  <a16:creationId xmlns:a16="http://schemas.microsoft.com/office/drawing/2014/main" id="{7E86F144-03EC-402A-95C6-13C1D32B2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1" y="2889"/>
              <a:ext cx="1037" cy="517"/>
            </a:xfrm>
            <a:custGeom>
              <a:avLst/>
              <a:gdLst>
                <a:gd name="T0" fmla="*/ 3607 w 556"/>
                <a:gd name="T1" fmla="*/ 916 h 277"/>
                <a:gd name="T2" fmla="*/ 3329 w 556"/>
                <a:gd name="T3" fmla="*/ 961 h 277"/>
                <a:gd name="T4" fmla="*/ 3133 w 556"/>
                <a:gd name="T5" fmla="*/ 1045 h 277"/>
                <a:gd name="T6" fmla="*/ 2811 w 556"/>
                <a:gd name="T7" fmla="*/ 1223 h 277"/>
                <a:gd name="T8" fmla="*/ 2428 w 556"/>
                <a:gd name="T9" fmla="*/ 1320 h 277"/>
                <a:gd name="T10" fmla="*/ 2139 w 556"/>
                <a:gd name="T11" fmla="*/ 1411 h 277"/>
                <a:gd name="T12" fmla="*/ 2154 w 556"/>
                <a:gd name="T13" fmla="*/ 1553 h 277"/>
                <a:gd name="T14" fmla="*/ 2070 w 556"/>
                <a:gd name="T15" fmla="*/ 1672 h 277"/>
                <a:gd name="T16" fmla="*/ 2011 w 556"/>
                <a:gd name="T17" fmla="*/ 1620 h 277"/>
                <a:gd name="T18" fmla="*/ 2031 w 556"/>
                <a:gd name="T19" fmla="*/ 1476 h 277"/>
                <a:gd name="T20" fmla="*/ 1906 w 556"/>
                <a:gd name="T21" fmla="*/ 1501 h 277"/>
                <a:gd name="T22" fmla="*/ 1628 w 556"/>
                <a:gd name="T23" fmla="*/ 1605 h 277"/>
                <a:gd name="T24" fmla="*/ 1395 w 556"/>
                <a:gd name="T25" fmla="*/ 1728 h 277"/>
                <a:gd name="T26" fmla="*/ 985 w 556"/>
                <a:gd name="T27" fmla="*/ 1585 h 277"/>
                <a:gd name="T28" fmla="*/ 837 w 556"/>
                <a:gd name="T29" fmla="*/ 1781 h 277"/>
                <a:gd name="T30" fmla="*/ 630 w 556"/>
                <a:gd name="T31" fmla="*/ 1680 h 277"/>
                <a:gd name="T32" fmla="*/ 466 w 556"/>
                <a:gd name="T33" fmla="*/ 1725 h 277"/>
                <a:gd name="T34" fmla="*/ 313 w 556"/>
                <a:gd name="T35" fmla="*/ 1629 h 277"/>
                <a:gd name="T36" fmla="*/ 97 w 556"/>
                <a:gd name="T37" fmla="*/ 1359 h 277"/>
                <a:gd name="T38" fmla="*/ 24 w 556"/>
                <a:gd name="T39" fmla="*/ 1282 h 277"/>
                <a:gd name="T40" fmla="*/ 194 w 556"/>
                <a:gd name="T41" fmla="*/ 1157 h 277"/>
                <a:gd name="T42" fmla="*/ 45 w 556"/>
                <a:gd name="T43" fmla="*/ 1081 h 277"/>
                <a:gd name="T44" fmla="*/ 164 w 556"/>
                <a:gd name="T45" fmla="*/ 857 h 277"/>
                <a:gd name="T46" fmla="*/ 390 w 556"/>
                <a:gd name="T47" fmla="*/ 804 h 277"/>
                <a:gd name="T48" fmla="*/ 556 w 556"/>
                <a:gd name="T49" fmla="*/ 748 h 277"/>
                <a:gd name="T50" fmla="*/ 578 w 556"/>
                <a:gd name="T51" fmla="*/ 644 h 277"/>
                <a:gd name="T52" fmla="*/ 946 w 556"/>
                <a:gd name="T53" fmla="*/ 579 h 277"/>
                <a:gd name="T54" fmla="*/ 1186 w 556"/>
                <a:gd name="T55" fmla="*/ 353 h 277"/>
                <a:gd name="T56" fmla="*/ 1516 w 556"/>
                <a:gd name="T57" fmla="*/ 269 h 277"/>
                <a:gd name="T58" fmla="*/ 1628 w 556"/>
                <a:gd name="T59" fmla="*/ 226 h 277"/>
                <a:gd name="T60" fmla="*/ 1708 w 556"/>
                <a:gd name="T61" fmla="*/ 314 h 277"/>
                <a:gd name="T62" fmla="*/ 1817 w 556"/>
                <a:gd name="T63" fmla="*/ 300 h 277"/>
                <a:gd name="T64" fmla="*/ 1895 w 556"/>
                <a:gd name="T65" fmla="*/ 370 h 277"/>
                <a:gd name="T66" fmla="*/ 1979 w 556"/>
                <a:gd name="T67" fmla="*/ 338 h 277"/>
                <a:gd name="T68" fmla="*/ 2199 w 556"/>
                <a:gd name="T69" fmla="*/ 383 h 277"/>
                <a:gd name="T70" fmla="*/ 2550 w 556"/>
                <a:gd name="T71" fmla="*/ 293 h 277"/>
                <a:gd name="T72" fmla="*/ 2758 w 556"/>
                <a:gd name="T73" fmla="*/ 77 h 277"/>
                <a:gd name="T74" fmla="*/ 2947 w 556"/>
                <a:gd name="T75" fmla="*/ 7 h 277"/>
                <a:gd name="T76" fmla="*/ 3133 w 556"/>
                <a:gd name="T77" fmla="*/ 91 h 277"/>
                <a:gd name="T78" fmla="*/ 3180 w 556"/>
                <a:gd name="T79" fmla="*/ 157 h 277"/>
                <a:gd name="T80" fmla="*/ 3337 w 556"/>
                <a:gd name="T81" fmla="*/ 278 h 277"/>
                <a:gd name="T82" fmla="*/ 3381 w 556"/>
                <a:gd name="T83" fmla="*/ 422 h 277"/>
                <a:gd name="T84" fmla="*/ 3465 w 556"/>
                <a:gd name="T85" fmla="*/ 644 h 277"/>
                <a:gd name="T86" fmla="*/ 3542 w 556"/>
                <a:gd name="T87" fmla="*/ 819 h 2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56" h="277">
                  <a:moveTo>
                    <a:pt x="546" y="126"/>
                  </a:moveTo>
                  <a:cubicBezTo>
                    <a:pt x="551" y="130"/>
                    <a:pt x="556" y="141"/>
                    <a:pt x="556" y="141"/>
                  </a:cubicBezTo>
                  <a:cubicBezTo>
                    <a:pt x="556" y="141"/>
                    <a:pt x="548" y="153"/>
                    <a:pt x="543" y="151"/>
                  </a:cubicBezTo>
                  <a:cubicBezTo>
                    <a:pt x="539" y="150"/>
                    <a:pt x="523" y="147"/>
                    <a:pt x="513" y="148"/>
                  </a:cubicBezTo>
                  <a:cubicBezTo>
                    <a:pt x="503" y="149"/>
                    <a:pt x="497" y="153"/>
                    <a:pt x="495" y="159"/>
                  </a:cubicBezTo>
                  <a:cubicBezTo>
                    <a:pt x="492" y="164"/>
                    <a:pt x="485" y="158"/>
                    <a:pt x="483" y="161"/>
                  </a:cubicBezTo>
                  <a:cubicBezTo>
                    <a:pt x="480" y="164"/>
                    <a:pt x="464" y="174"/>
                    <a:pt x="458" y="174"/>
                  </a:cubicBezTo>
                  <a:cubicBezTo>
                    <a:pt x="452" y="174"/>
                    <a:pt x="444" y="174"/>
                    <a:pt x="433" y="188"/>
                  </a:cubicBezTo>
                  <a:cubicBezTo>
                    <a:pt x="421" y="201"/>
                    <a:pt x="408" y="203"/>
                    <a:pt x="402" y="205"/>
                  </a:cubicBezTo>
                  <a:cubicBezTo>
                    <a:pt x="395" y="207"/>
                    <a:pt x="380" y="199"/>
                    <a:pt x="374" y="203"/>
                  </a:cubicBezTo>
                  <a:cubicBezTo>
                    <a:pt x="368" y="206"/>
                    <a:pt x="356" y="218"/>
                    <a:pt x="351" y="218"/>
                  </a:cubicBezTo>
                  <a:cubicBezTo>
                    <a:pt x="345" y="218"/>
                    <a:pt x="333" y="215"/>
                    <a:pt x="330" y="217"/>
                  </a:cubicBezTo>
                  <a:cubicBezTo>
                    <a:pt x="327" y="219"/>
                    <a:pt x="326" y="225"/>
                    <a:pt x="327" y="227"/>
                  </a:cubicBezTo>
                  <a:cubicBezTo>
                    <a:pt x="327" y="228"/>
                    <a:pt x="334" y="236"/>
                    <a:pt x="332" y="239"/>
                  </a:cubicBezTo>
                  <a:cubicBezTo>
                    <a:pt x="329" y="242"/>
                    <a:pt x="325" y="245"/>
                    <a:pt x="323" y="251"/>
                  </a:cubicBezTo>
                  <a:cubicBezTo>
                    <a:pt x="321" y="258"/>
                    <a:pt x="319" y="254"/>
                    <a:pt x="319" y="257"/>
                  </a:cubicBezTo>
                  <a:cubicBezTo>
                    <a:pt x="319" y="260"/>
                    <a:pt x="312" y="260"/>
                    <a:pt x="309" y="258"/>
                  </a:cubicBezTo>
                  <a:cubicBezTo>
                    <a:pt x="306" y="256"/>
                    <a:pt x="312" y="251"/>
                    <a:pt x="310" y="249"/>
                  </a:cubicBezTo>
                  <a:cubicBezTo>
                    <a:pt x="307" y="246"/>
                    <a:pt x="303" y="242"/>
                    <a:pt x="305" y="240"/>
                  </a:cubicBezTo>
                  <a:cubicBezTo>
                    <a:pt x="308" y="238"/>
                    <a:pt x="312" y="231"/>
                    <a:pt x="313" y="227"/>
                  </a:cubicBezTo>
                  <a:cubicBezTo>
                    <a:pt x="314" y="222"/>
                    <a:pt x="314" y="217"/>
                    <a:pt x="310" y="216"/>
                  </a:cubicBezTo>
                  <a:cubicBezTo>
                    <a:pt x="306" y="214"/>
                    <a:pt x="299" y="230"/>
                    <a:pt x="294" y="231"/>
                  </a:cubicBezTo>
                  <a:cubicBezTo>
                    <a:pt x="290" y="232"/>
                    <a:pt x="273" y="225"/>
                    <a:pt x="269" y="228"/>
                  </a:cubicBezTo>
                  <a:cubicBezTo>
                    <a:pt x="264" y="231"/>
                    <a:pt x="253" y="244"/>
                    <a:pt x="251" y="247"/>
                  </a:cubicBezTo>
                  <a:cubicBezTo>
                    <a:pt x="250" y="250"/>
                    <a:pt x="246" y="252"/>
                    <a:pt x="241" y="256"/>
                  </a:cubicBezTo>
                  <a:cubicBezTo>
                    <a:pt x="236" y="260"/>
                    <a:pt x="221" y="268"/>
                    <a:pt x="215" y="266"/>
                  </a:cubicBezTo>
                  <a:cubicBezTo>
                    <a:pt x="208" y="264"/>
                    <a:pt x="197" y="252"/>
                    <a:pt x="193" y="250"/>
                  </a:cubicBezTo>
                  <a:cubicBezTo>
                    <a:pt x="189" y="249"/>
                    <a:pt x="159" y="241"/>
                    <a:pt x="152" y="244"/>
                  </a:cubicBezTo>
                  <a:cubicBezTo>
                    <a:pt x="146" y="247"/>
                    <a:pt x="150" y="266"/>
                    <a:pt x="147" y="270"/>
                  </a:cubicBezTo>
                  <a:cubicBezTo>
                    <a:pt x="144" y="274"/>
                    <a:pt x="137" y="272"/>
                    <a:pt x="129" y="274"/>
                  </a:cubicBezTo>
                  <a:cubicBezTo>
                    <a:pt x="121" y="277"/>
                    <a:pt x="107" y="272"/>
                    <a:pt x="106" y="266"/>
                  </a:cubicBezTo>
                  <a:cubicBezTo>
                    <a:pt x="105" y="260"/>
                    <a:pt x="101" y="260"/>
                    <a:pt x="97" y="258"/>
                  </a:cubicBezTo>
                  <a:cubicBezTo>
                    <a:pt x="93" y="257"/>
                    <a:pt x="86" y="254"/>
                    <a:pt x="83" y="258"/>
                  </a:cubicBezTo>
                  <a:cubicBezTo>
                    <a:pt x="81" y="261"/>
                    <a:pt x="76" y="270"/>
                    <a:pt x="72" y="265"/>
                  </a:cubicBezTo>
                  <a:cubicBezTo>
                    <a:pt x="68" y="260"/>
                    <a:pt x="70" y="251"/>
                    <a:pt x="66" y="251"/>
                  </a:cubicBezTo>
                  <a:cubicBezTo>
                    <a:pt x="62" y="251"/>
                    <a:pt x="53" y="256"/>
                    <a:pt x="48" y="251"/>
                  </a:cubicBezTo>
                  <a:cubicBezTo>
                    <a:pt x="44" y="247"/>
                    <a:pt x="49" y="222"/>
                    <a:pt x="43" y="219"/>
                  </a:cubicBezTo>
                  <a:cubicBezTo>
                    <a:pt x="37" y="216"/>
                    <a:pt x="19" y="208"/>
                    <a:pt x="15" y="209"/>
                  </a:cubicBezTo>
                  <a:cubicBezTo>
                    <a:pt x="11" y="210"/>
                    <a:pt x="9" y="220"/>
                    <a:pt x="5" y="214"/>
                  </a:cubicBezTo>
                  <a:cubicBezTo>
                    <a:pt x="0" y="208"/>
                    <a:pt x="0" y="199"/>
                    <a:pt x="4" y="197"/>
                  </a:cubicBezTo>
                  <a:cubicBezTo>
                    <a:pt x="7" y="195"/>
                    <a:pt x="23" y="197"/>
                    <a:pt x="26" y="193"/>
                  </a:cubicBezTo>
                  <a:cubicBezTo>
                    <a:pt x="29" y="190"/>
                    <a:pt x="35" y="183"/>
                    <a:pt x="30" y="178"/>
                  </a:cubicBezTo>
                  <a:cubicBezTo>
                    <a:pt x="26" y="173"/>
                    <a:pt x="34" y="167"/>
                    <a:pt x="29" y="164"/>
                  </a:cubicBezTo>
                  <a:cubicBezTo>
                    <a:pt x="24" y="160"/>
                    <a:pt x="13" y="169"/>
                    <a:pt x="7" y="166"/>
                  </a:cubicBezTo>
                  <a:cubicBezTo>
                    <a:pt x="5" y="165"/>
                    <a:pt x="9" y="154"/>
                    <a:pt x="12" y="144"/>
                  </a:cubicBezTo>
                  <a:cubicBezTo>
                    <a:pt x="13" y="140"/>
                    <a:pt x="19" y="135"/>
                    <a:pt x="25" y="132"/>
                  </a:cubicBezTo>
                  <a:cubicBezTo>
                    <a:pt x="30" y="130"/>
                    <a:pt x="35" y="127"/>
                    <a:pt x="40" y="128"/>
                  </a:cubicBezTo>
                  <a:cubicBezTo>
                    <a:pt x="45" y="129"/>
                    <a:pt x="55" y="126"/>
                    <a:pt x="60" y="124"/>
                  </a:cubicBezTo>
                  <a:cubicBezTo>
                    <a:pt x="65" y="122"/>
                    <a:pt x="84" y="126"/>
                    <a:pt x="87" y="124"/>
                  </a:cubicBezTo>
                  <a:cubicBezTo>
                    <a:pt x="90" y="121"/>
                    <a:pt x="81" y="117"/>
                    <a:pt x="86" y="115"/>
                  </a:cubicBezTo>
                  <a:cubicBezTo>
                    <a:pt x="92" y="112"/>
                    <a:pt x="103" y="113"/>
                    <a:pt x="108" y="109"/>
                  </a:cubicBezTo>
                  <a:cubicBezTo>
                    <a:pt x="112" y="105"/>
                    <a:pt x="88" y="103"/>
                    <a:pt x="89" y="99"/>
                  </a:cubicBezTo>
                  <a:cubicBezTo>
                    <a:pt x="90" y="95"/>
                    <a:pt x="88" y="93"/>
                    <a:pt x="95" y="93"/>
                  </a:cubicBezTo>
                  <a:cubicBezTo>
                    <a:pt x="103" y="93"/>
                    <a:pt x="139" y="93"/>
                    <a:pt x="146" y="89"/>
                  </a:cubicBezTo>
                  <a:cubicBezTo>
                    <a:pt x="152" y="85"/>
                    <a:pt x="148" y="82"/>
                    <a:pt x="153" y="79"/>
                  </a:cubicBezTo>
                  <a:cubicBezTo>
                    <a:pt x="158" y="76"/>
                    <a:pt x="178" y="56"/>
                    <a:pt x="183" y="54"/>
                  </a:cubicBezTo>
                  <a:cubicBezTo>
                    <a:pt x="189" y="51"/>
                    <a:pt x="199" y="45"/>
                    <a:pt x="211" y="45"/>
                  </a:cubicBezTo>
                  <a:cubicBezTo>
                    <a:pt x="222" y="45"/>
                    <a:pt x="231" y="42"/>
                    <a:pt x="234" y="41"/>
                  </a:cubicBezTo>
                  <a:cubicBezTo>
                    <a:pt x="237" y="39"/>
                    <a:pt x="240" y="36"/>
                    <a:pt x="242" y="33"/>
                  </a:cubicBezTo>
                  <a:cubicBezTo>
                    <a:pt x="245" y="30"/>
                    <a:pt x="248" y="35"/>
                    <a:pt x="251" y="35"/>
                  </a:cubicBezTo>
                  <a:cubicBezTo>
                    <a:pt x="253" y="35"/>
                    <a:pt x="247" y="43"/>
                    <a:pt x="251" y="44"/>
                  </a:cubicBezTo>
                  <a:cubicBezTo>
                    <a:pt x="256" y="45"/>
                    <a:pt x="259" y="48"/>
                    <a:pt x="263" y="48"/>
                  </a:cubicBezTo>
                  <a:cubicBezTo>
                    <a:pt x="268" y="47"/>
                    <a:pt x="270" y="42"/>
                    <a:pt x="273" y="41"/>
                  </a:cubicBezTo>
                  <a:cubicBezTo>
                    <a:pt x="276" y="39"/>
                    <a:pt x="280" y="43"/>
                    <a:pt x="280" y="46"/>
                  </a:cubicBezTo>
                  <a:cubicBezTo>
                    <a:pt x="280" y="49"/>
                    <a:pt x="280" y="51"/>
                    <a:pt x="284" y="54"/>
                  </a:cubicBezTo>
                  <a:cubicBezTo>
                    <a:pt x="288" y="58"/>
                    <a:pt x="290" y="59"/>
                    <a:pt x="292" y="57"/>
                  </a:cubicBezTo>
                  <a:cubicBezTo>
                    <a:pt x="295" y="54"/>
                    <a:pt x="294" y="50"/>
                    <a:pt x="297" y="50"/>
                  </a:cubicBezTo>
                  <a:cubicBezTo>
                    <a:pt x="300" y="50"/>
                    <a:pt x="303" y="48"/>
                    <a:pt x="305" y="52"/>
                  </a:cubicBezTo>
                  <a:cubicBezTo>
                    <a:pt x="308" y="55"/>
                    <a:pt x="306" y="57"/>
                    <a:pt x="310" y="57"/>
                  </a:cubicBezTo>
                  <a:cubicBezTo>
                    <a:pt x="314" y="57"/>
                    <a:pt x="331" y="61"/>
                    <a:pt x="339" y="59"/>
                  </a:cubicBezTo>
                  <a:cubicBezTo>
                    <a:pt x="347" y="56"/>
                    <a:pt x="364" y="43"/>
                    <a:pt x="371" y="43"/>
                  </a:cubicBezTo>
                  <a:cubicBezTo>
                    <a:pt x="377" y="43"/>
                    <a:pt x="386" y="48"/>
                    <a:pt x="393" y="45"/>
                  </a:cubicBezTo>
                  <a:cubicBezTo>
                    <a:pt x="399" y="43"/>
                    <a:pt x="418" y="25"/>
                    <a:pt x="422" y="18"/>
                  </a:cubicBezTo>
                  <a:cubicBezTo>
                    <a:pt x="423" y="16"/>
                    <a:pt x="424" y="14"/>
                    <a:pt x="425" y="12"/>
                  </a:cubicBezTo>
                  <a:cubicBezTo>
                    <a:pt x="426" y="12"/>
                    <a:pt x="427" y="11"/>
                    <a:pt x="428" y="11"/>
                  </a:cubicBezTo>
                  <a:cubicBezTo>
                    <a:pt x="434" y="10"/>
                    <a:pt x="450" y="3"/>
                    <a:pt x="454" y="1"/>
                  </a:cubicBezTo>
                  <a:cubicBezTo>
                    <a:pt x="458" y="0"/>
                    <a:pt x="475" y="7"/>
                    <a:pt x="478" y="10"/>
                  </a:cubicBezTo>
                  <a:cubicBezTo>
                    <a:pt x="480" y="10"/>
                    <a:pt x="482" y="12"/>
                    <a:pt x="483" y="14"/>
                  </a:cubicBezTo>
                  <a:cubicBezTo>
                    <a:pt x="483" y="14"/>
                    <a:pt x="483" y="14"/>
                    <a:pt x="483" y="14"/>
                  </a:cubicBezTo>
                  <a:cubicBezTo>
                    <a:pt x="487" y="17"/>
                    <a:pt x="490" y="22"/>
                    <a:pt x="490" y="24"/>
                  </a:cubicBezTo>
                  <a:cubicBezTo>
                    <a:pt x="490" y="28"/>
                    <a:pt x="490" y="40"/>
                    <a:pt x="494" y="44"/>
                  </a:cubicBezTo>
                  <a:cubicBezTo>
                    <a:pt x="497" y="48"/>
                    <a:pt x="509" y="43"/>
                    <a:pt x="514" y="43"/>
                  </a:cubicBezTo>
                  <a:cubicBezTo>
                    <a:pt x="517" y="43"/>
                    <a:pt x="521" y="48"/>
                    <a:pt x="523" y="53"/>
                  </a:cubicBezTo>
                  <a:cubicBezTo>
                    <a:pt x="521" y="57"/>
                    <a:pt x="521" y="65"/>
                    <a:pt x="521" y="65"/>
                  </a:cubicBezTo>
                  <a:cubicBezTo>
                    <a:pt x="514" y="69"/>
                    <a:pt x="514" y="69"/>
                    <a:pt x="514" y="69"/>
                  </a:cubicBezTo>
                  <a:cubicBezTo>
                    <a:pt x="514" y="69"/>
                    <a:pt x="532" y="94"/>
                    <a:pt x="534" y="99"/>
                  </a:cubicBezTo>
                  <a:cubicBezTo>
                    <a:pt x="536" y="104"/>
                    <a:pt x="527" y="116"/>
                    <a:pt x="533" y="118"/>
                  </a:cubicBezTo>
                  <a:cubicBezTo>
                    <a:pt x="539" y="120"/>
                    <a:pt x="541" y="121"/>
                    <a:pt x="546" y="12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8" name="Freeform 10">
              <a:extLst>
                <a:ext uri="{FF2B5EF4-FFF2-40B4-BE49-F238E27FC236}">
                  <a16:creationId xmlns:a16="http://schemas.microsoft.com/office/drawing/2014/main" id="{B1B47671-3F87-4B8F-A849-5C343185A9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92" y="2882"/>
              <a:ext cx="198" cy="142"/>
            </a:xfrm>
            <a:custGeom>
              <a:avLst/>
              <a:gdLst>
                <a:gd name="T0" fmla="*/ 474 w 106"/>
                <a:gd name="T1" fmla="*/ 482 h 76"/>
                <a:gd name="T2" fmla="*/ 273 w 106"/>
                <a:gd name="T3" fmla="*/ 353 h 76"/>
                <a:gd name="T4" fmla="*/ 262 w 106"/>
                <a:gd name="T5" fmla="*/ 374 h 76"/>
                <a:gd name="T6" fmla="*/ 202 w 106"/>
                <a:gd name="T7" fmla="*/ 306 h 76"/>
                <a:gd name="T8" fmla="*/ 73 w 106"/>
                <a:gd name="T9" fmla="*/ 314 h 76"/>
                <a:gd name="T10" fmla="*/ 45 w 106"/>
                <a:gd name="T11" fmla="*/ 181 h 76"/>
                <a:gd name="T12" fmla="*/ 0 w 106"/>
                <a:gd name="T13" fmla="*/ 120 h 76"/>
                <a:gd name="T14" fmla="*/ 65 w 106"/>
                <a:gd name="T15" fmla="*/ 60 h 76"/>
                <a:gd name="T16" fmla="*/ 202 w 106"/>
                <a:gd name="T17" fmla="*/ 7 h 76"/>
                <a:gd name="T18" fmla="*/ 224 w 106"/>
                <a:gd name="T19" fmla="*/ 0 h 76"/>
                <a:gd name="T20" fmla="*/ 325 w 106"/>
                <a:gd name="T21" fmla="*/ 13 h 76"/>
                <a:gd name="T22" fmla="*/ 359 w 106"/>
                <a:gd name="T23" fmla="*/ 92 h 76"/>
                <a:gd name="T24" fmla="*/ 482 w 106"/>
                <a:gd name="T25" fmla="*/ 144 h 76"/>
                <a:gd name="T26" fmla="*/ 482 w 106"/>
                <a:gd name="T27" fmla="*/ 217 h 76"/>
                <a:gd name="T28" fmla="*/ 594 w 106"/>
                <a:gd name="T29" fmla="*/ 262 h 76"/>
                <a:gd name="T30" fmla="*/ 667 w 106"/>
                <a:gd name="T31" fmla="*/ 338 h 76"/>
                <a:gd name="T32" fmla="*/ 691 w 106"/>
                <a:gd name="T33" fmla="*/ 411 h 76"/>
                <a:gd name="T34" fmla="*/ 667 w 106"/>
                <a:gd name="T35" fmla="*/ 437 h 76"/>
                <a:gd name="T36" fmla="*/ 587 w 106"/>
                <a:gd name="T37" fmla="*/ 471 h 76"/>
                <a:gd name="T38" fmla="*/ 474 w 106"/>
                <a:gd name="T39" fmla="*/ 482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6" h="76">
                  <a:moveTo>
                    <a:pt x="73" y="74"/>
                  </a:moveTo>
                  <a:cubicBezTo>
                    <a:pt x="68" y="72"/>
                    <a:pt x="47" y="52"/>
                    <a:pt x="42" y="54"/>
                  </a:cubicBezTo>
                  <a:cubicBezTo>
                    <a:pt x="41" y="55"/>
                    <a:pt x="41" y="56"/>
                    <a:pt x="40" y="57"/>
                  </a:cubicBezTo>
                  <a:cubicBezTo>
                    <a:pt x="38" y="52"/>
                    <a:pt x="34" y="47"/>
                    <a:pt x="31" y="47"/>
                  </a:cubicBezTo>
                  <a:cubicBezTo>
                    <a:pt x="26" y="47"/>
                    <a:pt x="14" y="52"/>
                    <a:pt x="11" y="48"/>
                  </a:cubicBezTo>
                  <a:cubicBezTo>
                    <a:pt x="7" y="44"/>
                    <a:pt x="7" y="32"/>
                    <a:pt x="7" y="28"/>
                  </a:cubicBezTo>
                  <a:cubicBezTo>
                    <a:pt x="7" y="26"/>
                    <a:pt x="4" y="21"/>
                    <a:pt x="0" y="1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3" y="5"/>
                    <a:pt x="23" y="2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ubicBezTo>
                    <a:pt x="41" y="0"/>
                    <a:pt x="47" y="0"/>
                    <a:pt x="50" y="2"/>
                  </a:cubicBezTo>
                  <a:cubicBezTo>
                    <a:pt x="54" y="5"/>
                    <a:pt x="52" y="9"/>
                    <a:pt x="55" y="14"/>
                  </a:cubicBezTo>
                  <a:cubicBezTo>
                    <a:pt x="58" y="19"/>
                    <a:pt x="68" y="20"/>
                    <a:pt x="74" y="22"/>
                  </a:cubicBezTo>
                  <a:cubicBezTo>
                    <a:pt x="79" y="24"/>
                    <a:pt x="73" y="31"/>
                    <a:pt x="74" y="33"/>
                  </a:cubicBezTo>
                  <a:cubicBezTo>
                    <a:pt x="75" y="36"/>
                    <a:pt x="86" y="39"/>
                    <a:pt x="91" y="40"/>
                  </a:cubicBezTo>
                  <a:cubicBezTo>
                    <a:pt x="95" y="40"/>
                    <a:pt x="98" y="45"/>
                    <a:pt x="102" y="52"/>
                  </a:cubicBezTo>
                  <a:cubicBezTo>
                    <a:pt x="103" y="54"/>
                    <a:pt x="105" y="59"/>
                    <a:pt x="106" y="63"/>
                  </a:cubicBezTo>
                  <a:cubicBezTo>
                    <a:pt x="104" y="65"/>
                    <a:pt x="103" y="67"/>
                    <a:pt x="102" y="67"/>
                  </a:cubicBezTo>
                  <a:cubicBezTo>
                    <a:pt x="101" y="68"/>
                    <a:pt x="96" y="70"/>
                    <a:pt x="90" y="72"/>
                  </a:cubicBezTo>
                  <a:cubicBezTo>
                    <a:pt x="83" y="74"/>
                    <a:pt x="76" y="76"/>
                    <a:pt x="73" y="7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49" name="Freeform 11">
              <a:extLst>
                <a:ext uri="{FF2B5EF4-FFF2-40B4-BE49-F238E27FC236}">
                  <a16:creationId xmlns:a16="http://schemas.microsoft.com/office/drawing/2014/main" id="{ED72266C-83BE-4EFA-BFC3-F16ECC4CB9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1" y="3389"/>
              <a:ext cx="133" cy="96"/>
            </a:xfrm>
            <a:custGeom>
              <a:avLst/>
              <a:gdLst>
                <a:gd name="T0" fmla="*/ 446 w 71"/>
                <a:gd name="T1" fmla="*/ 8 h 51"/>
                <a:gd name="T2" fmla="*/ 442 w 71"/>
                <a:gd name="T3" fmla="*/ 68 h 51"/>
                <a:gd name="T4" fmla="*/ 354 w 71"/>
                <a:gd name="T5" fmla="*/ 152 h 51"/>
                <a:gd name="T6" fmla="*/ 382 w 71"/>
                <a:gd name="T7" fmla="*/ 205 h 51"/>
                <a:gd name="T8" fmla="*/ 317 w 71"/>
                <a:gd name="T9" fmla="*/ 241 h 51"/>
                <a:gd name="T10" fmla="*/ 182 w 71"/>
                <a:gd name="T11" fmla="*/ 341 h 51"/>
                <a:gd name="T12" fmla="*/ 39 w 71"/>
                <a:gd name="T13" fmla="*/ 312 h 51"/>
                <a:gd name="T14" fmla="*/ 13 w 71"/>
                <a:gd name="T15" fmla="*/ 248 h 51"/>
                <a:gd name="T16" fmla="*/ 67 w 71"/>
                <a:gd name="T17" fmla="*/ 241 h 51"/>
                <a:gd name="T18" fmla="*/ 129 w 71"/>
                <a:gd name="T19" fmla="*/ 205 h 51"/>
                <a:gd name="T20" fmla="*/ 129 w 71"/>
                <a:gd name="T21" fmla="*/ 136 h 51"/>
                <a:gd name="T22" fmla="*/ 197 w 71"/>
                <a:gd name="T23" fmla="*/ 145 h 51"/>
                <a:gd name="T24" fmla="*/ 277 w 71"/>
                <a:gd name="T25" fmla="*/ 128 h 51"/>
                <a:gd name="T26" fmla="*/ 446 w 71"/>
                <a:gd name="T27" fmla="*/ 8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1">
                  <a:moveTo>
                    <a:pt x="68" y="1"/>
                  </a:moveTo>
                  <a:cubicBezTo>
                    <a:pt x="70" y="3"/>
                    <a:pt x="71" y="6"/>
                    <a:pt x="67" y="10"/>
                  </a:cubicBezTo>
                  <a:cubicBezTo>
                    <a:pt x="63" y="13"/>
                    <a:pt x="52" y="20"/>
                    <a:pt x="54" y="23"/>
                  </a:cubicBezTo>
                  <a:cubicBezTo>
                    <a:pt x="54" y="25"/>
                    <a:pt x="59" y="29"/>
                    <a:pt x="58" y="31"/>
                  </a:cubicBezTo>
                  <a:cubicBezTo>
                    <a:pt x="57" y="33"/>
                    <a:pt x="50" y="32"/>
                    <a:pt x="48" y="36"/>
                  </a:cubicBezTo>
                  <a:cubicBezTo>
                    <a:pt x="46" y="39"/>
                    <a:pt x="30" y="51"/>
                    <a:pt x="28" y="51"/>
                  </a:cubicBezTo>
                  <a:cubicBezTo>
                    <a:pt x="25" y="51"/>
                    <a:pt x="10" y="50"/>
                    <a:pt x="6" y="47"/>
                  </a:cubicBezTo>
                  <a:cubicBezTo>
                    <a:pt x="3" y="43"/>
                    <a:pt x="0" y="39"/>
                    <a:pt x="2" y="37"/>
                  </a:cubicBezTo>
                  <a:cubicBezTo>
                    <a:pt x="3" y="34"/>
                    <a:pt x="7" y="38"/>
                    <a:pt x="10" y="36"/>
                  </a:cubicBezTo>
                  <a:cubicBezTo>
                    <a:pt x="13" y="35"/>
                    <a:pt x="20" y="33"/>
                    <a:pt x="20" y="31"/>
                  </a:cubicBezTo>
                  <a:cubicBezTo>
                    <a:pt x="21" y="28"/>
                    <a:pt x="18" y="20"/>
                    <a:pt x="20" y="20"/>
                  </a:cubicBezTo>
                  <a:cubicBezTo>
                    <a:pt x="22" y="20"/>
                    <a:pt x="30" y="22"/>
                    <a:pt x="30" y="22"/>
                  </a:cubicBezTo>
                  <a:cubicBezTo>
                    <a:pt x="30" y="22"/>
                    <a:pt x="38" y="20"/>
                    <a:pt x="42" y="19"/>
                  </a:cubicBezTo>
                  <a:cubicBezTo>
                    <a:pt x="49" y="15"/>
                    <a:pt x="66" y="0"/>
                    <a:pt x="68" y="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50" name="Group 12">
              <a:extLst>
                <a:ext uri="{FF2B5EF4-FFF2-40B4-BE49-F238E27FC236}">
                  <a16:creationId xmlns:a16="http://schemas.microsoft.com/office/drawing/2014/main" id="{FC33E155-DB62-48E3-8901-DBF2301C072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097" y="800"/>
              <a:ext cx="1319" cy="2033"/>
              <a:chOff x="3097" y="800"/>
              <a:chExt cx="1319" cy="2033"/>
            </a:xfrm>
            <a:grpFill/>
          </p:grpSpPr>
          <p:sp>
            <p:nvSpPr>
              <p:cNvPr id="629" name="Freeform 13">
                <a:extLst>
                  <a:ext uri="{FF2B5EF4-FFF2-40B4-BE49-F238E27FC236}">
                    <a16:creationId xmlns:a16="http://schemas.microsoft.com/office/drawing/2014/main" id="{9AD529D1-4212-440B-99FA-82D035FD3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97" y="800"/>
                <a:ext cx="1319" cy="2033"/>
              </a:xfrm>
              <a:custGeom>
                <a:avLst/>
                <a:gdLst>
                  <a:gd name="T0" fmla="*/ 4000 w 707"/>
                  <a:gd name="T1" fmla="*/ 4419 h 1090"/>
                  <a:gd name="T2" fmla="*/ 3578 w 707"/>
                  <a:gd name="T3" fmla="*/ 4995 h 1090"/>
                  <a:gd name="T4" fmla="*/ 3358 w 707"/>
                  <a:gd name="T5" fmla="*/ 5489 h 1090"/>
                  <a:gd name="T6" fmla="*/ 3871 w 707"/>
                  <a:gd name="T7" fmla="*/ 5799 h 1090"/>
                  <a:gd name="T8" fmla="*/ 3780 w 707"/>
                  <a:gd name="T9" fmla="*/ 6261 h 1090"/>
                  <a:gd name="T10" fmla="*/ 3929 w 707"/>
                  <a:gd name="T11" fmla="*/ 6405 h 1090"/>
                  <a:gd name="T12" fmla="*/ 4222 w 707"/>
                  <a:gd name="T13" fmla="*/ 6929 h 1090"/>
                  <a:gd name="T14" fmla="*/ 3787 w 707"/>
                  <a:gd name="T15" fmla="*/ 6968 h 1090"/>
                  <a:gd name="T16" fmla="*/ 3196 w 707"/>
                  <a:gd name="T17" fmla="*/ 6908 h 1090"/>
                  <a:gd name="T18" fmla="*/ 2235 w 707"/>
                  <a:gd name="T19" fmla="*/ 6787 h 1090"/>
                  <a:gd name="T20" fmla="*/ 2183 w 707"/>
                  <a:gd name="T21" fmla="*/ 6606 h 1090"/>
                  <a:gd name="T22" fmla="*/ 2215 w 707"/>
                  <a:gd name="T23" fmla="*/ 6293 h 1090"/>
                  <a:gd name="T24" fmla="*/ 2183 w 707"/>
                  <a:gd name="T25" fmla="*/ 6127 h 1090"/>
                  <a:gd name="T26" fmla="*/ 2364 w 707"/>
                  <a:gd name="T27" fmla="*/ 5610 h 1090"/>
                  <a:gd name="T28" fmla="*/ 1612 w 707"/>
                  <a:gd name="T29" fmla="*/ 5504 h 1090"/>
                  <a:gd name="T30" fmla="*/ 1259 w 707"/>
                  <a:gd name="T31" fmla="*/ 5086 h 1090"/>
                  <a:gd name="T32" fmla="*/ 929 w 707"/>
                  <a:gd name="T33" fmla="*/ 5120 h 1090"/>
                  <a:gd name="T34" fmla="*/ 909 w 707"/>
                  <a:gd name="T35" fmla="*/ 4756 h 1090"/>
                  <a:gd name="T36" fmla="*/ 338 w 707"/>
                  <a:gd name="T37" fmla="*/ 4303 h 1090"/>
                  <a:gd name="T38" fmla="*/ 188 w 707"/>
                  <a:gd name="T39" fmla="*/ 3960 h 1090"/>
                  <a:gd name="T40" fmla="*/ 226 w 707"/>
                  <a:gd name="T41" fmla="*/ 3523 h 1090"/>
                  <a:gd name="T42" fmla="*/ 466 w 707"/>
                  <a:gd name="T43" fmla="*/ 3413 h 1090"/>
                  <a:gd name="T44" fmla="*/ 265 w 707"/>
                  <a:gd name="T45" fmla="*/ 3294 h 1090"/>
                  <a:gd name="T46" fmla="*/ 97 w 707"/>
                  <a:gd name="T47" fmla="*/ 3270 h 1090"/>
                  <a:gd name="T48" fmla="*/ 345 w 707"/>
                  <a:gd name="T49" fmla="*/ 2361 h 1090"/>
                  <a:gd name="T50" fmla="*/ 174 w 707"/>
                  <a:gd name="T51" fmla="*/ 1544 h 1090"/>
                  <a:gd name="T52" fmla="*/ 112 w 707"/>
                  <a:gd name="T53" fmla="*/ 1194 h 1090"/>
                  <a:gd name="T54" fmla="*/ 226 w 707"/>
                  <a:gd name="T55" fmla="*/ 989 h 1090"/>
                  <a:gd name="T56" fmla="*/ 261 w 707"/>
                  <a:gd name="T57" fmla="*/ 1071 h 1090"/>
                  <a:gd name="T58" fmla="*/ 608 w 707"/>
                  <a:gd name="T59" fmla="*/ 1110 h 1090"/>
                  <a:gd name="T60" fmla="*/ 1183 w 707"/>
                  <a:gd name="T61" fmla="*/ 1416 h 1090"/>
                  <a:gd name="T62" fmla="*/ 884 w 707"/>
                  <a:gd name="T63" fmla="*/ 1757 h 1090"/>
                  <a:gd name="T64" fmla="*/ 502 w 707"/>
                  <a:gd name="T65" fmla="*/ 1694 h 1090"/>
                  <a:gd name="T66" fmla="*/ 435 w 707"/>
                  <a:gd name="T67" fmla="*/ 1712 h 1090"/>
                  <a:gd name="T68" fmla="*/ 700 w 707"/>
                  <a:gd name="T69" fmla="*/ 2050 h 1090"/>
                  <a:gd name="T70" fmla="*/ 869 w 707"/>
                  <a:gd name="T71" fmla="*/ 2227 h 1090"/>
                  <a:gd name="T72" fmla="*/ 1110 w 707"/>
                  <a:gd name="T73" fmla="*/ 2199 h 1090"/>
                  <a:gd name="T74" fmla="*/ 946 w 707"/>
                  <a:gd name="T75" fmla="*/ 2063 h 1090"/>
                  <a:gd name="T76" fmla="*/ 1170 w 707"/>
                  <a:gd name="T77" fmla="*/ 2055 h 1090"/>
                  <a:gd name="T78" fmla="*/ 1222 w 707"/>
                  <a:gd name="T79" fmla="*/ 1817 h 1090"/>
                  <a:gd name="T80" fmla="*/ 1468 w 707"/>
                  <a:gd name="T81" fmla="*/ 1552 h 1090"/>
                  <a:gd name="T82" fmla="*/ 1468 w 707"/>
                  <a:gd name="T83" fmla="*/ 1363 h 1090"/>
                  <a:gd name="T84" fmla="*/ 1274 w 707"/>
                  <a:gd name="T85" fmla="*/ 1026 h 1090"/>
                  <a:gd name="T86" fmla="*/ 1621 w 707"/>
                  <a:gd name="T87" fmla="*/ 1130 h 1090"/>
                  <a:gd name="T88" fmla="*/ 1793 w 707"/>
                  <a:gd name="T89" fmla="*/ 1291 h 1090"/>
                  <a:gd name="T90" fmla="*/ 1825 w 707"/>
                  <a:gd name="T91" fmla="*/ 1018 h 1090"/>
                  <a:gd name="T92" fmla="*/ 2103 w 707"/>
                  <a:gd name="T93" fmla="*/ 623 h 1090"/>
                  <a:gd name="T94" fmla="*/ 2200 w 707"/>
                  <a:gd name="T95" fmla="*/ 727 h 1090"/>
                  <a:gd name="T96" fmla="*/ 2356 w 707"/>
                  <a:gd name="T97" fmla="*/ 563 h 1090"/>
                  <a:gd name="T98" fmla="*/ 2534 w 707"/>
                  <a:gd name="T99" fmla="*/ 494 h 1090"/>
                  <a:gd name="T100" fmla="*/ 2481 w 707"/>
                  <a:gd name="T101" fmla="*/ 90 h 1090"/>
                  <a:gd name="T102" fmla="*/ 3168 w 707"/>
                  <a:gd name="T103" fmla="*/ 39 h 1090"/>
                  <a:gd name="T104" fmla="*/ 3358 w 707"/>
                  <a:gd name="T105" fmla="*/ 1636 h 1090"/>
                  <a:gd name="T106" fmla="*/ 4390 w 707"/>
                  <a:gd name="T107" fmla="*/ 3699 h 10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707" h="1090">
                    <a:moveTo>
                      <a:pt x="701" y="631"/>
                    </a:moveTo>
                    <a:cubicBezTo>
                      <a:pt x="707" y="646"/>
                      <a:pt x="699" y="645"/>
                      <a:pt x="691" y="649"/>
                    </a:cubicBezTo>
                    <a:cubicBezTo>
                      <a:pt x="683" y="653"/>
                      <a:pt x="666" y="655"/>
                      <a:pt x="656" y="655"/>
                    </a:cubicBezTo>
                    <a:cubicBezTo>
                      <a:pt x="646" y="655"/>
                      <a:pt x="634" y="668"/>
                      <a:pt x="623" y="675"/>
                    </a:cubicBezTo>
                    <a:cubicBezTo>
                      <a:pt x="620" y="676"/>
                      <a:pt x="618" y="678"/>
                      <a:pt x="616" y="681"/>
                    </a:cubicBezTo>
                    <a:cubicBezTo>
                      <a:pt x="610" y="681"/>
                      <a:pt x="603" y="681"/>
                      <a:pt x="594" y="682"/>
                    </a:cubicBezTo>
                    <a:cubicBezTo>
                      <a:pt x="594" y="682"/>
                      <a:pt x="570" y="693"/>
                      <a:pt x="565" y="696"/>
                    </a:cubicBezTo>
                    <a:cubicBezTo>
                      <a:pt x="560" y="698"/>
                      <a:pt x="559" y="716"/>
                      <a:pt x="555" y="721"/>
                    </a:cubicBezTo>
                    <a:cubicBezTo>
                      <a:pt x="551" y="725"/>
                      <a:pt x="541" y="743"/>
                      <a:pt x="539" y="750"/>
                    </a:cubicBezTo>
                    <a:cubicBezTo>
                      <a:pt x="538" y="757"/>
                      <a:pt x="549" y="763"/>
                      <a:pt x="551" y="770"/>
                    </a:cubicBezTo>
                    <a:cubicBezTo>
                      <a:pt x="553" y="777"/>
                      <a:pt x="545" y="778"/>
                      <a:pt x="539" y="781"/>
                    </a:cubicBezTo>
                    <a:cubicBezTo>
                      <a:pt x="533" y="785"/>
                      <a:pt x="518" y="767"/>
                      <a:pt x="513" y="769"/>
                    </a:cubicBezTo>
                    <a:cubicBezTo>
                      <a:pt x="508" y="770"/>
                      <a:pt x="508" y="788"/>
                      <a:pt x="509" y="793"/>
                    </a:cubicBezTo>
                    <a:cubicBezTo>
                      <a:pt x="510" y="798"/>
                      <a:pt x="510" y="802"/>
                      <a:pt x="513" y="812"/>
                    </a:cubicBezTo>
                    <a:cubicBezTo>
                      <a:pt x="516" y="823"/>
                      <a:pt x="517" y="846"/>
                      <a:pt x="517" y="846"/>
                    </a:cubicBezTo>
                    <a:cubicBezTo>
                      <a:pt x="517" y="846"/>
                      <a:pt x="531" y="845"/>
                      <a:pt x="535" y="850"/>
                    </a:cubicBezTo>
                    <a:cubicBezTo>
                      <a:pt x="539" y="855"/>
                      <a:pt x="541" y="864"/>
                      <a:pt x="546" y="867"/>
                    </a:cubicBezTo>
                    <a:cubicBezTo>
                      <a:pt x="552" y="870"/>
                      <a:pt x="558" y="860"/>
                      <a:pt x="566" y="858"/>
                    </a:cubicBezTo>
                    <a:cubicBezTo>
                      <a:pt x="574" y="857"/>
                      <a:pt x="583" y="869"/>
                      <a:pt x="592" y="876"/>
                    </a:cubicBezTo>
                    <a:cubicBezTo>
                      <a:pt x="601" y="883"/>
                      <a:pt x="590" y="891"/>
                      <a:pt x="596" y="894"/>
                    </a:cubicBezTo>
                    <a:cubicBezTo>
                      <a:pt x="599" y="895"/>
                      <a:pt x="603" y="896"/>
                      <a:pt x="607" y="898"/>
                    </a:cubicBezTo>
                    <a:cubicBezTo>
                      <a:pt x="606" y="903"/>
                      <a:pt x="608" y="908"/>
                      <a:pt x="607" y="912"/>
                    </a:cubicBezTo>
                    <a:cubicBezTo>
                      <a:pt x="606" y="918"/>
                      <a:pt x="600" y="927"/>
                      <a:pt x="594" y="929"/>
                    </a:cubicBezTo>
                    <a:cubicBezTo>
                      <a:pt x="588" y="931"/>
                      <a:pt x="585" y="932"/>
                      <a:pt x="583" y="940"/>
                    </a:cubicBezTo>
                    <a:cubicBezTo>
                      <a:pt x="581" y="947"/>
                      <a:pt x="583" y="961"/>
                      <a:pt x="582" y="965"/>
                    </a:cubicBezTo>
                    <a:cubicBezTo>
                      <a:pt x="580" y="968"/>
                      <a:pt x="574" y="971"/>
                      <a:pt x="574" y="976"/>
                    </a:cubicBezTo>
                    <a:cubicBezTo>
                      <a:pt x="574" y="981"/>
                      <a:pt x="573" y="987"/>
                      <a:pt x="578" y="986"/>
                    </a:cubicBezTo>
                    <a:cubicBezTo>
                      <a:pt x="584" y="985"/>
                      <a:pt x="586" y="984"/>
                      <a:pt x="590" y="988"/>
                    </a:cubicBezTo>
                    <a:cubicBezTo>
                      <a:pt x="594" y="992"/>
                      <a:pt x="595" y="992"/>
                      <a:pt x="597" y="994"/>
                    </a:cubicBezTo>
                    <a:cubicBezTo>
                      <a:pt x="599" y="996"/>
                      <a:pt x="602" y="988"/>
                      <a:pt x="605" y="987"/>
                    </a:cubicBezTo>
                    <a:cubicBezTo>
                      <a:pt x="608" y="986"/>
                      <a:pt x="608" y="989"/>
                      <a:pt x="608" y="996"/>
                    </a:cubicBezTo>
                    <a:cubicBezTo>
                      <a:pt x="608" y="1002"/>
                      <a:pt x="609" y="1023"/>
                      <a:pt x="610" y="1026"/>
                    </a:cubicBezTo>
                    <a:cubicBezTo>
                      <a:pt x="612" y="1028"/>
                      <a:pt x="625" y="1038"/>
                      <a:pt x="629" y="1041"/>
                    </a:cubicBezTo>
                    <a:cubicBezTo>
                      <a:pt x="633" y="1044"/>
                      <a:pt x="645" y="1052"/>
                      <a:pt x="651" y="1056"/>
                    </a:cubicBezTo>
                    <a:cubicBezTo>
                      <a:pt x="650" y="1068"/>
                      <a:pt x="650" y="1068"/>
                      <a:pt x="650" y="1068"/>
                    </a:cubicBezTo>
                    <a:cubicBezTo>
                      <a:pt x="650" y="1068"/>
                      <a:pt x="645" y="1082"/>
                      <a:pt x="643" y="1086"/>
                    </a:cubicBezTo>
                    <a:cubicBezTo>
                      <a:pt x="641" y="1090"/>
                      <a:pt x="636" y="1086"/>
                      <a:pt x="633" y="1086"/>
                    </a:cubicBezTo>
                    <a:cubicBezTo>
                      <a:pt x="629" y="1086"/>
                      <a:pt x="612" y="1074"/>
                      <a:pt x="609" y="1073"/>
                    </a:cubicBezTo>
                    <a:cubicBezTo>
                      <a:pt x="607" y="1073"/>
                      <a:pt x="604" y="1075"/>
                      <a:pt x="601" y="1078"/>
                    </a:cubicBezTo>
                    <a:cubicBezTo>
                      <a:pt x="583" y="1074"/>
                      <a:pt x="583" y="1074"/>
                      <a:pt x="583" y="1074"/>
                    </a:cubicBezTo>
                    <a:cubicBezTo>
                      <a:pt x="579" y="1073"/>
                      <a:pt x="574" y="1072"/>
                      <a:pt x="571" y="1071"/>
                    </a:cubicBezTo>
                    <a:cubicBezTo>
                      <a:pt x="569" y="1070"/>
                      <a:pt x="575" y="1061"/>
                      <a:pt x="569" y="1060"/>
                    </a:cubicBezTo>
                    <a:cubicBezTo>
                      <a:pt x="564" y="1060"/>
                      <a:pt x="548" y="1060"/>
                      <a:pt x="542" y="1061"/>
                    </a:cubicBezTo>
                    <a:cubicBezTo>
                      <a:pt x="537" y="1062"/>
                      <a:pt x="529" y="1076"/>
                      <a:pt x="524" y="1075"/>
                    </a:cubicBezTo>
                    <a:cubicBezTo>
                      <a:pt x="519" y="1074"/>
                      <a:pt x="502" y="1065"/>
                      <a:pt x="492" y="1065"/>
                    </a:cubicBezTo>
                    <a:cubicBezTo>
                      <a:pt x="482" y="1065"/>
                      <a:pt x="469" y="1068"/>
                      <a:pt x="463" y="1068"/>
                    </a:cubicBezTo>
                    <a:cubicBezTo>
                      <a:pt x="457" y="1068"/>
                      <a:pt x="430" y="1065"/>
                      <a:pt x="425" y="1065"/>
                    </a:cubicBezTo>
                    <a:cubicBezTo>
                      <a:pt x="422" y="1065"/>
                      <a:pt x="419" y="1071"/>
                      <a:pt x="416" y="1077"/>
                    </a:cubicBezTo>
                    <a:cubicBezTo>
                      <a:pt x="405" y="1070"/>
                      <a:pt x="387" y="1060"/>
                      <a:pt x="382" y="1057"/>
                    </a:cubicBezTo>
                    <a:cubicBezTo>
                      <a:pt x="374" y="1054"/>
                      <a:pt x="351" y="1048"/>
                      <a:pt x="344" y="1046"/>
                    </a:cubicBezTo>
                    <a:cubicBezTo>
                      <a:pt x="339" y="1045"/>
                      <a:pt x="334" y="1037"/>
                      <a:pt x="328" y="1036"/>
                    </a:cubicBezTo>
                    <a:cubicBezTo>
                      <a:pt x="325" y="1035"/>
                      <a:pt x="319" y="1035"/>
                      <a:pt x="317" y="1035"/>
                    </a:cubicBezTo>
                    <a:cubicBezTo>
                      <a:pt x="314" y="1035"/>
                      <a:pt x="316" y="1028"/>
                      <a:pt x="316" y="1026"/>
                    </a:cubicBezTo>
                    <a:cubicBezTo>
                      <a:pt x="317" y="1025"/>
                      <a:pt x="319" y="1022"/>
                      <a:pt x="323" y="1023"/>
                    </a:cubicBezTo>
                    <a:cubicBezTo>
                      <a:pt x="326" y="1025"/>
                      <a:pt x="333" y="1021"/>
                      <a:pt x="336" y="1018"/>
                    </a:cubicBezTo>
                    <a:cubicBezTo>
                      <a:pt x="339" y="1014"/>
                      <a:pt x="340" y="1001"/>
                      <a:pt x="340" y="998"/>
                    </a:cubicBezTo>
                    <a:cubicBezTo>
                      <a:pt x="340" y="994"/>
                      <a:pt x="347" y="993"/>
                      <a:pt x="347" y="987"/>
                    </a:cubicBezTo>
                    <a:cubicBezTo>
                      <a:pt x="347" y="981"/>
                      <a:pt x="340" y="982"/>
                      <a:pt x="338" y="982"/>
                    </a:cubicBezTo>
                    <a:cubicBezTo>
                      <a:pt x="336" y="982"/>
                      <a:pt x="329" y="974"/>
                      <a:pt x="330" y="972"/>
                    </a:cubicBezTo>
                    <a:cubicBezTo>
                      <a:pt x="330" y="970"/>
                      <a:pt x="338" y="970"/>
                      <a:pt x="341" y="970"/>
                    </a:cubicBezTo>
                    <a:cubicBezTo>
                      <a:pt x="344" y="969"/>
                      <a:pt x="345" y="963"/>
                      <a:pt x="348" y="961"/>
                    </a:cubicBezTo>
                    <a:cubicBezTo>
                      <a:pt x="351" y="960"/>
                      <a:pt x="362" y="952"/>
                      <a:pt x="364" y="951"/>
                    </a:cubicBezTo>
                    <a:cubicBezTo>
                      <a:pt x="366" y="949"/>
                      <a:pt x="362" y="941"/>
                      <a:pt x="360" y="941"/>
                    </a:cubicBezTo>
                    <a:cubicBezTo>
                      <a:pt x="358" y="941"/>
                      <a:pt x="348" y="946"/>
                      <a:pt x="339" y="951"/>
                    </a:cubicBezTo>
                    <a:cubicBezTo>
                      <a:pt x="336" y="944"/>
                      <a:pt x="336" y="944"/>
                      <a:pt x="336" y="944"/>
                    </a:cubicBezTo>
                    <a:cubicBezTo>
                      <a:pt x="336" y="940"/>
                      <a:pt x="343" y="925"/>
                      <a:pt x="346" y="923"/>
                    </a:cubicBezTo>
                    <a:cubicBezTo>
                      <a:pt x="348" y="921"/>
                      <a:pt x="368" y="920"/>
                      <a:pt x="369" y="918"/>
                    </a:cubicBezTo>
                    <a:cubicBezTo>
                      <a:pt x="370" y="916"/>
                      <a:pt x="370" y="906"/>
                      <a:pt x="370" y="903"/>
                    </a:cubicBezTo>
                    <a:cubicBezTo>
                      <a:pt x="370" y="900"/>
                      <a:pt x="364" y="890"/>
                      <a:pt x="362" y="888"/>
                    </a:cubicBezTo>
                    <a:cubicBezTo>
                      <a:pt x="360" y="885"/>
                      <a:pt x="364" y="870"/>
                      <a:pt x="364" y="865"/>
                    </a:cubicBezTo>
                    <a:cubicBezTo>
                      <a:pt x="364" y="859"/>
                      <a:pt x="361" y="852"/>
                      <a:pt x="356" y="852"/>
                    </a:cubicBezTo>
                    <a:cubicBezTo>
                      <a:pt x="351" y="851"/>
                      <a:pt x="313" y="850"/>
                      <a:pt x="310" y="851"/>
                    </a:cubicBezTo>
                    <a:cubicBezTo>
                      <a:pt x="308" y="852"/>
                      <a:pt x="292" y="836"/>
                      <a:pt x="289" y="836"/>
                    </a:cubicBezTo>
                    <a:cubicBezTo>
                      <a:pt x="286" y="837"/>
                      <a:pt x="278" y="847"/>
                      <a:pt x="275" y="848"/>
                    </a:cubicBezTo>
                    <a:cubicBezTo>
                      <a:pt x="272" y="849"/>
                      <a:pt x="252" y="850"/>
                      <a:pt x="248" y="848"/>
                    </a:cubicBezTo>
                    <a:cubicBezTo>
                      <a:pt x="244" y="846"/>
                      <a:pt x="236" y="823"/>
                      <a:pt x="230" y="821"/>
                    </a:cubicBezTo>
                    <a:cubicBezTo>
                      <a:pt x="225" y="819"/>
                      <a:pt x="218" y="824"/>
                      <a:pt x="214" y="824"/>
                    </a:cubicBezTo>
                    <a:cubicBezTo>
                      <a:pt x="212" y="824"/>
                      <a:pt x="208" y="816"/>
                      <a:pt x="206" y="814"/>
                    </a:cubicBezTo>
                    <a:cubicBezTo>
                      <a:pt x="204" y="811"/>
                      <a:pt x="213" y="806"/>
                      <a:pt x="212" y="802"/>
                    </a:cubicBezTo>
                    <a:cubicBezTo>
                      <a:pt x="210" y="799"/>
                      <a:pt x="196" y="784"/>
                      <a:pt x="194" y="784"/>
                    </a:cubicBezTo>
                    <a:cubicBezTo>
                      <a:pt x="190" y="784"/>
                      <a:pt x="174" y="790"/>
                      <a:pt x="170" y="793"/>
                    </a:cubicBezTo>
                    <a:cubicBezTo>
                      <a:pt x="166" y="795"/>
                      <a:pt x="157" y="803"/>
                      <a:pt x="153" y="803"/>
                    </a:cubicBezTo>
                    <a:cubicBezTo>
                      <a:pt x="152" y="803"/>
                      <a:pt x="150" y="803"/>
                      <a:pt x="148" y="803"/>
                    </a:cubicBezTo>
                    <a:cubicBezTo>
                      <a:pt x="148" y="803"/>
                      <a:pt x="148" y="803"/>
                      <a:pt x="148" y="803"/>
                    </a:cubicBezTo>
                    <a:cubicBezTo>
                      <a:pt x="143" y="789"/>
                      <a:pt x="143" y="789"/>
                      <a:pt x="143" y="789"/>
                    </a:cubicBezTo>
                    <a:cubicBezTo>
                      <a:pt x="140" y="784"/>
                      <a:pt x="133" y="772"/>
                      <a:pt x="133" y="772"/>
                    </a:cubicBezTo>
                    <a:cubicBezTo>
                      <a:pt x="133" y="772"/>
                      <a:pt x="133" y="761"/>
                      <a:pt x="138" y="761"/>
                    </a:cubicBezTo>
                    <a:cubicBezTo>
                      <a:pt x="142" y="761"/>
                      <a:pt x="149" y="767"/>
                      <a:pt x="153" y="765"/>
                    </a:cubicBezTo>
                    <a:cubicBezTo>
                      <a:pt x="156" y="763"/>
                      <a:pt x="163" y="754"/>
                      <a:pt x="165" y="750"/>
                    </a:cubicBezTo>
                    <a:cubicBezTo>
                      <a:pt x="166" y="746"/>
                      <a:pt x="147" y="741"/>
                      <a:pt x="140" y="733"/>
                    </a:cubicBezTo>
                    <a:cubicBezTo>
                      <a:pt x="133" y="725"/>
                      <a:pt x="116" y="714"/>
                      <a:pt x="115" y="707"/>
                    </a:cubicBezTo>
                    <a:cubicBezTo>
                      <a:pt x="115" y="701"/>
                      <a:pt x="115" y="689"/>
                      <a:pt x="109" y="680"/>
                    </a:cubicBezTo>
                    <a:cubicBezTo>
                      <a:pt x="103" y="671"/>
                      <a:pt x="98" y="672"/>
                      <a:pt x="92" y="672"/>
                    </a:cubicBezTo>
                    <a:cubicBezTo>
                      <a:pt x="86" y="672"/>
                      <a:pt x="64" y="667"/>
                      <a:pt x="64" y="667"/>
                    </a:cubicBezTo>
                    <a:cubicBezTo>
                      <a:pt x="52" y="663"/>
                      <a:pt x="52" y="663"/>
                      <a:pt x="52" y="663"/>
                    </a:cubicBezTo>
                    <a:cubicBezTo>
                      <a:pt x="53" y="662"/>
                      <a:pt x="53" y="661"/>
                      <a:pt x="52" y="660"/>
                    </a:cubicBezTo>
                    <a:cubicBezTo>
                      <a:pt x="52" y="655"/>
                      <a:pt x="42" y="644"/>
                      <a:pt x="41" y="637"/>
                    </a:cubicBezTo>
                    <a:cubicBezTo>
                      <a:pt x="40" y="631"/>
                      <a:pt x="40" y="625"/>
                      <a:pt x="40" y="623"/>
                    </a:cubicBezTo>
                    <a:cubicBezTo>
                      <a:pt x="40" y="622"/>
                      <a:pt x="32" y="617"/>
                      <a:pt x="30" y="613"/>
                    </a:cubicBezTo>
                    <a:cubicBezTo>
                      <a:pt x="29" y="612"/>
                      <a:pt x="29" y="611"/>
                      <a:pt x="29" y="610"/>
                    </a:cubicBezTo>
                    <a:cubicBezTo>
                      <a:pt x="31" y="606"/>
                      <a:pt x="36" y="603"/>
                      <a:pt x="34" y="598"/>
                    </a:cubicBezTo>
                    <a:cubicBezTo>
                      <a:pt x="32" y="594"/>
                      <a:pt x="26" y="583"/>
                      <a:pt x="28" y="574"/>
                    </a:cubicBezTo>
                    <a:cubicBezTo>
                      <a:pt x="30" y="564"/>
                      <a:pt x="40" y="549"/>
                      <a:pt x="40" y="547"/>
                    </a:cubicBezTo>
                    <a:cubicBezTo>
                      <a:pt x="40" y="547"/>
                      <a:pt x="38" y="545"/>
                      <a:pt x="35" y="543"/>
                    </a:cubicBezTo>
                    <a:cubicBezTo>
                      <a:pt x="35" y="543"/>
                      <a:pt x="35" y="543"/>
                      <a:pt x="35" y="543"/>
                    </a:cubicBezTo>
                    <a:cubicBezTo>
                      <a:pt x="37" y="539"/>
                      <a:pt x="31" y="535"/>
                      <a:pt x="33" y="532"/>
                    </a:cubicBezTo>
                    <a:cubicBezTo>
                      <a:pt x="35" y="529"/>
                      <a:pt x="42" y="528"/>
                      <a:pt x="43" y="528"/>
                    </a:cubicBezTo>
                    <a:cubicBezTo>
                      <a:pt x="44" y="528"/>
                      <a:pt x="50" y="530"/>
                      <a:pt x="51" y="527"/>
                    </a:cubicBezTo>
                    <a:cubicBezTo>
                      <a:pt x="52" y="524"/>
                      <a:pt x="51" y="522"/>
                      <a:pt x="54" y="522"/>
                    </a:cubicBezTo>
                    <a:cubicBezTo>
                      <a:pt x="56" y="523"/>
                      <a:pt x="70" y="527"/>
                      <a:pt x="72" y="526"/>
                    </a:cubicBezTo>
                    <a:cubicBezTo>
                      <a:pt x="74" y="526"/>
                      <a:pt x="75" y="519"/>
                      <a:pt x="74" y="518"/>
                    </a:cubicBezTo>
                    <a:cubicBezTo>
                      <a:pt x="73" y="517"/>
                      <a:pt x="68" y="518"/>
                      <a:pt x="68" y="517"/>
                    </a:cubicBezTo>
                    <a:cubicBezTo>
                      <a:pt x="68" y="515"/>
                      <a:pt x="68" y="511"/>
                      <a:pt x="64" y="511"/>
                    </a:cubicBezTo>
                    <a:cubicBezTo>
                      <a:pt x="61" y="511"/>
                      <a:pt x="55" y="516"/>
                      <a:pt x="51" y="514"/>
                    </a:cubicBezTo>
                    <a:cubicBezTo>
                      <a:pt x="47" y="512"/>
                      <a:pt x="43" y="510"/>
                      <a:pt x="41" y="508"/>
                    </a:cubicBezTo>
                    <a:cubicBezTo>
                      <a:pt x="40" y="505"/>
                      <a:pt x="44" y="498"/>
                      <a:pt x="42" y="496"/>
                    </a:cubicBezTo>
                    <a:cubicBezTo>
                      <a:pt x="41" y="493"/>
                      <a:pt x="37" y="496"/>
                      <a:pt x="35" y="498"/>
                    </a:cubicBezTo>
                    <a:cubicBezTo>
                      <a:pt x="33" y="500"/>
                      <a:pt x="33" y="504"/>
                      <a:pt x="29" y="505"/>
                    </a:cubicBezTo>
                    <a:cubicBezTo>
                      <a:pt x="25" y="506"/>
                      <a:pt x="23" y="506"/>
                      <a:pt x="20" y="506"/>
                    </a:cubicBezTo>
                    <a:cubicBezTo>
                      <a:pt x="18" y="506"/>
                      <a:pt x="17" y="505"/>
                      <a:pt x="15" y="504"/>
                    </a:cubicBezTo>
                    <a:cubicBezTo>
                      <a:pt x="20" y="497"/>
                      <a:pt x="25" y="488"/>
                      <a:pt x="27" y="486"/>
                    </a:cubicBezTo>
                    <a:cubicBezTo>
                      <a:pt x="32" y="482"/>
                      <a:pt x="58" y="440"/>
                      <a:pt x="66" y="430"/>
                    </a:cubicBezTo>
                    <a:cubicBezTo>
                      <a:pt x="74" y="420"/>
                      <a:pt x="73" y="412"/>
                      <a:pt x="73" y="406"/>
                    </a:cubicBezTo>
                    <a:cubicBezTo>
                      <a:pt x="73" y="399"/>
                      <a:pt x="46" y="385"/>
                      <a:pt x="48" y="381"/>
                    </a:cubicBezTo>
                    <a:cubicBezTo>
                      <a:pt x="49" y="377"/>
                      <a:pt x="52" y="370"/>
                      <a:pt x="53" y="364"/>
                    </a:cubicBezTo>
                    <a:cubicBezTo>
                      <a:pt x="54" y="357"/>
                      <a:pt x="44" y="352"/>
                      <a:pt x="40" y="346"/>
                    </a:cubicBezTo>
                    <a:cubicBezTo>
                      <a:pt x="36" y="340"/>
                      <a:pt x="32" y="326"/>
                      <a:pt x="31" y="321"/>
                    </a:cubicBezTo>
                    <a:cubicBezTo>
                      <a:pt x="30" y="315"/>
                      <a:pt x="41" y="313"/>
                      <a:pt x="40" y="310"/>
                    </a:cubicBezTo>
                    <a:cubicBezTo>
                      <a:pt x="39" y="306"/>
                      <a:pt x="16" y="274"/>
                      <a:pt x="16" y="269"/>
                    </a:cubicBezTo>
                    <a:cubicBezTo>
                      <a:pt x="16" y="264"/>
                      <a:pt x="28" y="241"/>
                      <a:pt x="27" y="238"/>
                    </a:cubicBezTo>
                    <a:cubicBezTo>
                      <a:pt x="26" y="236"/>
                      <a:pt x="7" y="224"/>
                      <a:pt x="6" y="223"/>
                    </a:cubicBezTo>
                    <a:cubicBezTo>
                      <a:pt x="4" y="221"/>
                      <a:pt x="0" y="213"/>
                      <a:pt x="2" y="209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0" y="194"/>
                      <a:pt x="10" y="194"/>
                      <a:pt x="10" y="194"/>
                    </a:cubicBezTo>
                    <a:cubicBezTo>
                      <a:pt x="13" y="192"/>
                      <a:pt x="16" y="187"/>
                      <a:pt x="17" y="184"/>
                    </a:cubicBezTo>
                    <a:cubicBezTo>
                      <a:pt x="19" y="179"/>
                      <a:pt x="22" y="170"/>
                      <a:pt x="22" y="170"/>
                    </a:cubicBezTo>
                    <a:cubicBezTo>
                      <a:pt x="26" y="169"/>
                      <a:pt x="30" y="171"/>
                      <a:pt x="32" y="165"/>
                    </a:cubicBezTo>
                    <a:cubicBezTo>
                      <a:pt x="32" y="164"/>
                      <a:pt x="32" y="163"/>
                      <a:pt x="32" y="162"/>
                    </a:cubicBezTo>
                    <a:cubicBezTo>
                      <a:pt x="33" y="162"/>
                      <a:pt x="35" y="163"/>
                      <a:pt x="35" y="162"/>
                    </a:cubicBezTo>
                    <a:cubicBezTo>
                      <a:pt x="35" y="160"/>
                      <a:pt x="33" y="153"/>
                      <a:pt x="35" y="152"/>
                    </a:cubicBezTo>
                    <a:cubicBezTo>
                      <a:pt x="36" y="151"/>
                      <a:pt x="39" y="152"/>
                      <a:pt x="40" y="153"/>
                    </a:cubicBezTo>
                    <a:cubicBezTo>
                      <a:pt x="42" y="154"/>
                      <a:pt x="45" y="157"/>
                      <a:pt x="47" y="157"/>
                    </a:cubicBezTo>
                    <a:cubicBezTo>
                      <a:pt x="49" y="157"/>
                      <a:pt x="53" y="156"/>
                      <a:pt x="53" y="158"/>
                    </a:cubicBezTo>
                    <a:cubicBezTo>
                      <a:pt x="54" y="165"/>
                      <a:pt x="48" y="164"/>
                      <a:pt x="45" y="163"/>
                    </a:cubicBezTo>
                    <a:cubicBezTo>
                      <a:pt x="42" y="163"/>
                      <a:pt x="40" y="164"/>
                      <a:pt x="40" y="165"/>
                    </a:cubicBezTo>
                    <a:cubicBezTo>
                      <a:pt x="40" y="166"/>
                      <a:pt x="44" y="170"/>
                      <a:pt x="46" y="171"/>
                    </a:cubicBezTo>
                    <a:cubicBezTo>
                      <a:pt x="49" y="171"/>
                      <a:pt x="56" y="169"/>
                      <a:pt x="58" y="169"/>
                    </a:cubicBezTo>
                    <a:cubicBezTo>
                      <a:pt x="60" y="169"/>
                      <a:pt x="60" y="177"/>
                      <a:pt x="63" y="177"/>
                    </a:cubicBezTo>
                    <a:cubicBezTo>
                      <a:pt x="66" y="177"/>
                      <a:pt x="69" y="171"/>
                      <a:pt x="72" y="171"/>
                    </a:cubicBezTo>
                    <a:cubicBezTo>
                      <a:pt x="75" y="171"/>
                      <a:pt x="86" y="169"/>
                      <a:pt x="94" y="171"/>
                    </a:cubicBezTo>
                    <a:cubicBezTo>
                      <a:pt x="102" y="173"/>
                      <a:pt x="120" y="181"/>
                      <a:pt x="125" y="184"/>
                    </a:cubicBezTo>
                    <a:cubicBezTo>
                      <a:pt x="130" y="188"/>
                      <a:pt x="148" y="196"/>
                      <a:pt x="152" y="197"/>
                    </a:cubicBezTo>
                    <a:cubicBezTo>
                      <a:pt x="155" y="198"/>
                      <a:pt x="155" y="195"/>
                      <a:pt x="160" y="197"/>
                    </a:cubicBezTo>
                    <a:cubicBezTo>
                      <a:pt x="165" y="199"/>
                      <a:pt x="178" y="203"/>
                      <a:pt x="178" y="206"/>
                    </a:cubicBezTo>
                    <a:cubicBezTo>
                      <a:pt x="179" y="209"/>
                      <a:pt x="181" y="218"/>
                      <a:pt x="182" y="218"/>
                    </a:cubicBezTo>
                    <a:cubicBezTo>
                      <a:pt x="184" y="219"/>
                      <a:pt x="189" y="220"/>
                      <a:pt x="190" y="223"/>
                    </a:cubicBezTo>
                    <a:cubicBezTo>
                      <a:pt x="190" y="226"/>
                      <a:pt x="191" y="243"/>
                      <a:pt x="185" y="251"/>
                    </a:cubicBezTo>
                    <a:cubicBezTo>
                      <a:pt x="179" y="258"/>
                      <a:pt x="175" y="264"/>
                      <a:pt x="167" y="268"/>
                    </a:cubicBezTo>
                    <a:cubicBezTo>
                      <a:pt x="159" y="272"/>
                      <a:pt x="156" y="273"/>
                      <a:pt x="150" y="273"/>
                    </a:cubicBezTo>
                    <a:cubicBezTo>
                      <a:pt x="145" y="273"/>
                      <a:pt x="141" y="271"/>
                      <a:pt x="136" y="271"/>
                    </a:cubicBezTo>
                    <a:cubicBezTo>
                      <a:pt x="131" y="271"/>
                      <a:pt x="118" y="271"/>
                      <a:pt x="114" y="271"/>
                    </a:cubicBezTo>
                    <a:cubicBezTo>
                      <a:pt x="109" y="270"/>
                      <a:pt x="106" y="266"/>
                      <a:pt x="104" y="265"/>
                    </a:cubicBezTo>
                    <a:cubicBezTo>
                      <a:pt x="101" y="265"/>
                      <a:pt x="99" y="270"/>
                      <a:pt x="96" y="268"/>
                    </a:cubicBezTo>
                    <a:cubicBezTo>
                      <a:pt x="93" y="266"/>
                      <a:pt x="88" y="264"/>
                      <a:pt x="87" y="264"/>
                    </a:cubicBezTo>
                    <a:cubicBezTo>
                      <a:pt x="86" y="264"/>
                      <a:pt x="80" y="264"/>
                      <a:pt x="77" y="261"/>
                    </a:cubicBezTo>
                    <a:cubicBezTo>
                      <a:pt x="74" y="258"/>
                      <a:pt x="70" y="253"/>
                      <a:pt x="67" y="252"/>
                    </a:cubicBezTo>
                    <a:cubicBezTo>
                      <a:pt x="64" y="251"/>
                      <a:pt x="59" y="252"/>
                      <a:pt x="58" y="254"/>
                    </a:cubicBezTo>
                    <a:cubicBezTo>
                      <a:pt x="57" y="256"/>
                      <a:pt x="56" y="257"/>
                      <a:pt x="58" y="257"/>
                    </a:cubicBezTo>
                    <a:cubicBezTo>
                      <a:pt x="60" y="257"/>
                      <a:pt x="64" y="256"/>
                      <a:pt x="64" y="259"/>
                    </a:cubicBezTo>
                    <a:cubicBezTo>
                      <a:pt x="65" y="261"/>
                      <a:pt x="64" y="262"/>
                      <a:pt x="67" y="264"/>
                    </a:cubicBezTo>
                    <a:cubicBezTo>
                      <a:pt x="70" y="266"/>
                      <a:pt x="80" y="271"/>
                      <a:pt x="83" y="274"/>
                    </a:cubicBezTo>
                    <a:cubicBezTo>
                      <a:pt x="86" y="276"/>
                      <a:pt x="108" y="289"/>
                      <a:pt x="109" y="293"/>
                    </a:cubicBezTo>
                    <a:cubicBezTo>
                      <a:pt x="110" y="297"/>
                      <a:pt x="110" y="299"/>
                      <a:pt x="109" y="301"/>
                    </a:cubicBezTo>
                    <a:cubicBezTo>
                      <a:pt x="109" y="304"/>
                      <a:pt x="105" y="308"/>
                      <a:pt x="105" y="310"/>
                    </a:cubicBezTo>
                    <a:cubicBezTo>
                      <a:pt x="105" y="312"/>
                      <a:pt x="104" y="311"/>
                      <a:pt x="108" y="316"/>
                    </a:cubicBezTo>
                    <a:cubicBezTo>
                      <a:pt x="112" y="320"/>
                      <a:pt x="118" y="327"/>
                      <a:pt x="118" y="329"/>
                    </a:cubicBezTo>
                    <a:cubicBezTo>
                      <a:pt x="118" y="331"/>
                      <a:pt x="117" y="335"/>
                      <a:pt x="117" y="335"/>
                    </a:cubicBezTo>
                    <a:cubicBezTo>
                      <a:pt x="117" y="335"/>
                      <a:pt x="117" y="339"/>
                      <a:pt x="119" y="341"/>
                    </a:cubicBezTo>
                    <a:cubicBezTo>
                      <a:pt x="121" y="343"/>
                      <a:pt x="124" y="345"/>
                      <a:pt x="127" y="345"/>
                    </a:cubicBezTo>
                    <a:cubicBezTo>
                      <a:pt x="131" y="346"/>
                      <a:pt x="132" y="343"/>
                      <a:pt x="134" y="343"/>
                    </a:cubicBezTo>
                    <a:cubicBezTo>
                      <a:pt x="136" y="344"/>
                      <a:pt x="143" y="348"/>
                      <a:pt x="144" y="350"/>
                    </a:cubicBezTo>
                    <a:cubicBezTo>
                      <a:pt x="145" y="352"/>
                      <a:pt x="144" y="355"/>
                      <a:pt x="149" y="355"/>
                    </a:cubicBezTo>
                    <a:cubicBezTo>
                      <a:pt x="153" y="355"/>
                      <a:pt x="161" y="355"/>
                      <a:pt x="165" y="358"/>
                    </a:cubicBezTo>
                    <a:cubicBezTo>
                      <a:pt x="167" y="359"/>
                      <a:pt x="177" y="350"/>
                      <a:pt x="176" y="347"/>
                    </a:cubicBezTo>
                    <a:cubicBezTo>
                      <a:pt x="175" y="344"/>
                      <a:pt x="170" y="341"/>
                      <a:pt x="171" y="339"/>
                    </a:cubicBezTo>
                    <a:cubicBezTo>
                      <a:pt x="172" y="337"/>
                      <a:pt x="172" y="335"/>
                      <a:pt x="172" y="334"/>
                    </a:cubicBezTo>
                    <a:cubicBezTo>
                      <a:pt x="171" y="334"/>
                      <a:pt x="165" y="333"/>
                      <a:pt x="162" y="334"/>
                    </a:cubicBezTo>
                    <a:cubicBezTo>
                      <a:pt x="160" y="335"/>
                      <a:pt x="163" y="338"/>
                      <a:pt x="159" y="337"/>
                    </a:cubicBezTo>
                    <a:cubicBezTo>
                      <a:pt x="155" y="337"/>
                      <a:pt x="142" y="325"/>
                      <a:pt x="142" y="323"/>
                    </a:cubicBezTo>
                    <a:cubicBezTo>
                      <a:pt x="141" y="320"/>
                      <a:pt x="146" y="319"/>
                      <a:pt x="146" y="318"/>
                    </a:cubicBezTo>
                    <a:cubicBezTo>
                      <a:pt x="146" y="318"/>
                      <a:pt x="143" y="312"/>
                      <a:pt x="145" y="310"/>
                    </a:cubicBezTo>
                    <a:cubicBezTo>
                      <a:pt x="147" y="308"/>
                      <a:pt x="147" y="308"/>
                      <a:pt x="149" y="309"/>
                    </a:cubicBezTo>
                    <a:cubicBezTo>
                      <a:pt x="151" y="309"/>
                      <a:pt x="156" y="311"/>
                      <a:pt x="158" y="311"/>
                    </a:cubicBezTo>
                    <a:cubicBezTo>
                      <a:pt x="160" y="311"/>
                      <a:pt x="160" y="315"/>
                      <a:pt x="163" y="315"/>
                    </a:cubicBezTo>
                    <a:cubicBezTo>
                      <a:pt x="165" y="316"/>
                      <a:pt x="178" y="316"/>
                      <a:pt x="180" y="317"/>
                    </a:cubicBezTo>
                    <a:cubicBezTo>
                      <a:pt x="183" y="317"/>
                      <a:pt x="189" y="322"/>
                      <a:pt x="192" y="321"/>
                    </a:cubicBezTo>
                    <a:cubicBezTo>
                      <a:pt x="196" y="320"/>
                      <a:pt x="195" y="314"/>
                      <a:pt x="198" y="312"/>
                    </a:cubicBezTo>
                    <a:cubicBezTo>
                      <a:pt x="200" y="310"/>
                      <a:pt x="205" y="311"/>
                      <a:pt x="203" y="308"/>
                    </a:cubicBezTo>
                    <a:cubicBezTo>
                      <a:pt x="201" y="304"/>
                      <a:pt x="188" y="297"/>
                      <a:pt x="186" y="292"/>
                    </a:cubicBezTo>
                    <a:cubicBezTo>
                      <a:pt x="185" y="287"/>
                      <a:pt x="184" y="283"/>
                      <a:pt x="188" y="280"/>
                    </a:cubicBezTo>
                    <a:cubicBezTo>
                      <a:pt x="191" y="277"/>
                      <a:pt x="193" y="266"/>
                      <a:pt x="195" y="265"/>
                    </a:cubicBezTo>
                    <a:cubicBezTo>
                      <a:pt x="197" y="264"/>
                      <a:pt x="204" y="259"/>
                      <a:pt x="205" y="255"/>
                    </a:cubicBezTo>
                    <a:cubicBezTo>
                      <a:pt x="206" y="251"/>
                      <a:pt x="206" y="241"/>
                      <a:pt x="209" y="240"/>
                    </a:cubicBezTo>
                    <a:cubicBezTo>
                      <a:pt x="212" y="240"/>
                      <a:pt x="213" y="244"/>
                      <a:pt x="217" y="242"/>
                    </a:cubicBezTo>
                    <a:cubicBezTo>
                      <a:pt x="222" y="240"/>
                      <a:pt x="223" y="238"/>
                      <a:pt x="226" y="239"/>
                    </a:cubicBezTo>
                    <a:cubicBezTo>
                      <a:pt x="228" y="241"/>
                      <a:pt x="238" y="247"/>
                      <a:pt x="240" y="246"/>
                    </a:cubicBezTo>
                    <a:cubicBezTo>
                      <a:pt x="242" y="245"/>
                      <a:pt x="241" y="243"/>
                      <a:pt x="240" y="240"/>
                    </a:cubicBezTo>
                    <a:cubicBezTo>
                      <a:pt x="238" y="236"/>
                      <a:pt x="238" y="233"/>
                      <a:pt x="238" y="230"/>
                    </a:cubicBezTo>
                    <a:cubicBezTo>
                      <a:pt x="239" y="226"/>
                      <a:pt x="239" y="221"/>
                      <a:pt x="235" y="217"/>
                    </a:cubicBezTo>
                    <a:cubicBezTo>
                      <a:pt x="231" y="213"/>
                      <a:pt x="230" y="209"/>
                      <a:pt x="226" y="210"/>
                    </a:cubicBezTo>
                    <a:cubicBezTo>
                      <a:pt x="223" y="211"/>
                      <a:pt x="220" y="211"/>
                      <a:pt x="219" y="208"/>
                    </a:cubicBezTo>
                    <a:cubicBezTo>
                      <a:pt x="219" y="205"/>
                      <a:pt x="220" y="188"/>
                      <a:pt x="217" y="182"/>
                    </a:cubicBezTo>
                    <a:cubicBezTo>
                      <a:pt x="214" y="177"/>
                      <a:pt x="212" y="170"/>
                      <a:pt x="208" y="168"/>
                    </a:cubicBezTo>
                    <a:cubicBezTo>
                      <a:pt x="205" y="167"/>
                      <a:pt x="193" y="166"/>
                      <a:pt x="193" y="161"/>
                    </a:cubicBezTo>
                    <a:cubicBezTo>
                      <a:pt x="193" y="158"/>
                      <a:pt x="193" y="158"/>
                      <a:pt x="196" y="158"/>
                    </a:cubicBezTo>
                    <a:cubicBezTo>
                      <a:pt x="198" y="158"/>
                      <a:pt x="205" y="161"/>
                      <a:pt x="206" y="160"/>
                    </a:cubicBezTo>
                    <a:cubicBezTo>
                      <a:pt x="208" y="159"/>
                      <a:pt x="220" y="154"/>
                      <a:pt x="224" y="154"/>
                    </a:cubicBezTo>
                    <a:cubicBezTo>
                      <a:pt x="227" y="154"/>
                      <a:pt x="232" y="155"/>
                      <a:pt x="234" y="156"/>
                    </a:cubicBezTo>
                    <a:cubicBezTo>
                      <a:pt x="236" y="158"/>
                      <a:pt x="245" y="165"/>
                      <a:pt x="247" y="167"/>
                    </a:cubicBezTo>
                    <a:cubicBezTo>
                      <a:pt x="249" y="169"/>
                      <a:pt x="253" y="173"/>
                      <a:pt x="250" y="174"/>
                    </a:cubicBezTo>
                    <a:cubicBezTo>
                      <a:pt x="248" y="175"/>
                      <a:pt x="236" y="181"/>
                      <a:pt x="236" y="183"/>
                    </a:cubicBezTo>
                    <a:cubicBezTo>
                      <a:pt x="235" y="185"/>
                      <a:pt x="233" y="196"/>
                      <a:pt x="234" y="198"/>
                    </a:cubicBezTo>
                    <a:cubicBezTo>
                      <a:pt x="236" y="199"/>
                      <a:pt x="245" y="199"/>
                      <a:pt x="246" y="201"/>
                    </a:cubicBezTo>
                    <a:cubicBezTo>
                      <a:pt x="248" y="202"/>
                      <a:pt x="253" y="209"/>
                      <a:pt x="256" y="209"/>
                    </a:cubicBezTo>
                    <a:cubicBezTo>
                      <a:pt x="260" y="208"/>
                      <a:pt x="273" y="201"/>
                      <a:pt x="276" y="199"/>
                    </a:cubicBezTo>
                    <a:cubicBezTo>
                      <a:pt x="277" y="197"/>
                      <a:pt x="278" y="194"/>
                      <a:pt x="274" y="191"/>
                    </a:cubicBezTo>
                    <a:cubicBezTo>
                      <a:pt x="270" y="189"/>
                      <a:pt x="270" y="179"/>
                      <a:pt x="270" y="175"/>
                    </a:cubicBezTo>
                    <a:cubicBezTo>
                      <a:pt x="269" y="172"/>
                      <a:pt x="278" y="168"/>
                      <a:pt x="277" y="166"/>
                    </a:cubicBezTo>
                    <a:cubicBezTo>
                      <a:pt x="277" y="163"/>
                      <a:pt x="274" y="161"/>
                      <a:pt x="275" y="159"/>
                    </a:cubicBezTo>
                    <a:cubicBezTo>
                      <a:pt x="277" y="157"/>
                      <a:pt x="280" y="159"/>
                      <a:pt x="281" y="157"/>
                    </a:cubicBezTo>
                    <a:cubicBezTo>
                      <a:pt x="283" y="156"/>
                      <a:pt x="291" y="130"/>
                      <a:pt x="294" y="127"/>
                    </a:cubicBezTo>
                    <a:cubicBezTo>
                      <a:pt x="297" y="123"/>
                      <a:pt x="303" y="121"/>
                      <a:pt x="306" y="116"/>
                    </a:cubicBezTo>
                    <a:cubicBezTo>
                      <a:pt x="308" y="111"/>
                      <a:pt x="319" y="90"/>
                      <a:pt x="325" y="87"/>
                    </a:cubicBezTo>
                    <a:cubicBezTo>
                      <a:pt x="332" y="84"/>
                      <a:pt x="336" y="85"/>
                      <a:pt x="332" y="88"/>
                    </a:cubicBezTo>
                    <a:cubicBezTo>
                      <a:pt x="328" y="91"/>
                      <a:pt x="324" y="93"/>
                      <a:pt x="324" y="96"/>
                    </a:cubicBezTo>
                    <a:cubicBezTo>
                      <a:pt x="324" y="100"/>
                      <a:pt x="323" y="103"/>
                      <a:pt x="326" y="105"/>
                    </a:cubicBezTo>
                    <a:cubicBezTo>
                      <a:pt x="328" y="107"/>
                      <a:pt x="332" y="113"/>
                      <a:pt x="329" y="114"/>
                    </a:cubicBezTo>
                    <a:cubicBezTo>
                      <a:pt x="326" y="115"/>
                      <a:pt x="323" y="118"/>
                      <a:pt x="324" y="120"/>
                    </a:cubicBezTo>
                    <a:cubicBezTo>
                      <a:pt x="326" y="121"/>
                      <a:pt x="331" y="120"/>
                      <a:pt x="333" y="118"/>
                    </a:cubicBezTo>
                    <a:cubicBezTo>
                      <a:pt x="335" y="117"/>
                      <a:pt x="336" y="111"/>
                      <a:pt x="339" y="112"/>
                    </a:cubicBezTo>
                    <a:cubicBezTo>
                      <a:pt x="341" y="113"/>
                      <a:pt x="346" y="114"/>
                      <a:pt x="346" y="113"/>
                    </a:cubicBezTo>
                    <a:cubicBezTo>
                      <a:pt x="347" y="112"/>
                      <a:pt x="341" y="107"/>
                      <a:pt x="343" y="102"/>
                    </a:cubicBezTo>
                    <a:cubicBezTo>
                      <a:pt x="344" y="97"/>
                      <a:pt x="347" y="91"/>
                      <a:pt x="350" y="89"/>
                    </a:cubicBezTo>
                    <a:cubicBezTo>
                      <a:pt x="352" y="88"/>
                      <a:pt x="355" y="89"/>
                      <a:pt x="357" y="88"/>
                    </a:cubicBezTo>
                    <a:cubicBezTo>
                      <a:pt x="358" y="88"/>
                      <a:pt x="361" y="87"/>
                      <a:pt x="363" y="87"/>
                    </a:cubicBezTo>
                    <a:cubicBezTo>
                      <a:pt x="364" y="86"/>
                      <a:pt x="366" y="86"/>
                      <a:pt x="366" y="86"/>
                    </a:cubicBezTo>
                    <a:cubicBezTo>
                      <a:pt x="368" y="85"/>
                      <a:pt x="368" y="77"/>
                      <a:pt x="368" y="75"/>
                    </a:cubicBezTo>
                    <a:cubicBezTo>
                      <a:pt x="368" y="72"/>
                      <a:pt x="370" y="66"/>
                      <a:pt x="372" y="64"/>
                    </a:cubicBezTo>
                    <a:cubicBezTo>
                      <a:pt x="374" y="62"/>
                      <a:pt x="382" y="61"/>
                      <a:pt x="383" y="62"/>
                    </a:cubicBezTo>
                    <a:cubicBezTo>
                      <a:pt x="384" y="64"/>
                      <a:pt x="387" y="76"/>
                      <a:pt x="390" y="76"/>
                    </a:cubicBezTo>
                    <a:cubicBezTo>
                      <a:pt x="392" y="76"/>
                      <a:pt x="399" y="74"/>
                      <a:pt x="399" y="70"/>
                    </a:cubicBezTo>
                    <a:cubicBezTo>
                      <a:pt x="398" y="66"/>
                      <a:pt x="396" y="61"/>
                      <a:pt x="397" y="59"/>
                    </a:cubicBezTo>
                    <a:cubicBezTo>
                      <a:pt x="398" y="55"/>
                      <a:pt x="405" y="52"/>
                      <a:pt x="399" y="46"/>
                    </a:cubicBezTo>
                    <a:cubicBezTo>
                      <a:pt x="395" y="41"/>
                      <a:pt x="390" y="35"/>
                      <a:pt x="382" y="32"/>
                    </a:cubicBezTo>
                    <a:cubicBezTo>
                      <a:pt x="380" y="31"/>
                      <a:pt x="381" y="14"/>
                      <a:pt x="382" y="14"/>
                    </a:cubicBezTo>
                    <a:cubicBezTo>
                      <a:pt x="388" y="14"/>
                      <a:pt x="400" y="8"/>
                      <a:pt x="407" y="6"/>
                    </a:cubicBezTo>
                    <a:cubicBezTo>
                      <a:pt x="415" y="4"/>
                      <a:pt x="425" y="3"/>
                      <a:pt x="439" y="3"/>
                    </a:cubicBezTo>
                    <a:cubicBezTo>
                      <a:pt x="452" y="3"/>
                      <a:pt x="468" y="1"/>
                      <a:pt x="472" y="0"/>
                    </a:cubicBezTo>
                    <a:cubicBezTo>
                      <a:pt x="475" y="0"/>
                      <a:pt x="472" y="6"/>
                      <a:pt x="477" y="6"/>
                    </a:cubicBezTo>
                    <a:cubicBezTo>
                      <a:pt x="483" y="6"/>
                      <a:pt x="488" y="6"/>
                      <a:pt x="488" y="6"/>
                    </a:cubicBezTo>
                    <a:cubicBezTo>
                      <a:pt x="488" y="6"/>
                      <a:pt x="497" y="14"/>
                      <a:pt x="499" y="11"/>
                    </a:cubicBezTo>
                    <a:cubicBezTo>
                      <a:pt x="503" y="17"/>
                      <a:pt x="506" y="23"/>
                      <a:pt x="507" y="27"/>
                    </a:cubicBezTo>
                    <a:cubicBezTo>
                      <a:pt x="510" y="43"/>
                      <a:pt x="514" y="69"/>
                      <a:pt x="512" y="82"/>
                    </a:cubicBezTo>
                    <a:cubicBezTo>
                      <a:pt x="510" y="95"/>
                      <a:pt x="489" y="159"/>
                      <a:pt x="488" y="175"/>
                    </a:cubicBezTo>
                    <a:cubicBezTo>
                      <a:pt x="487" y="191"/>
                      <a:pt x="499" y="224"/>
                      <a:pt x="517" y="252"/>
                    </a:cubicBezTo>
                    <a:cubicBezTo>
                      <a:pt x="535" y="280"/>
                      <a:pt x="549" y="350"/>
                      <a:pt x="552" y="360"/>
                    </a:cubicBezTo>
                    <a:cubicBezTo>
                      <a:pt x="555" y="370"/>
                      <a:pt x="577" y="404"/>
                      <a:pt x="594" y="414"/>
                    </a:cubicBezTo>
                    <a:cubicBezTo>
                      <a:pt x="611" y="424"/>
                      <a:pt x="632" y="435"/>
                      <a:pt x="644" y="453"/>
                    </a:cubicBezTo>
                    <a:cubicBezTo>
                      <a:pt x="656" y="471"/>
                      <a:pt x="661" y="521"/>
                      <a:pt x="667" y="528"/>
                    </a:cubicBezTo>
                    <a:cubicBezTo>
                      <a:pt x="673" y="535"/>
                      <a:pt x="676" y="560"/>
                      <a:pt x="676" y="570"/>
                    </a:cubicBezTo>
                    <a:cubicBezTo>
                      <a:pt x="676" y="580"/>
                      <a:pt x="688" y="588"/>
                      <a:pt x="694" y="591"/>
                    </a:cubicBezTo>
                    <a:cubicBezTo>
                      <a:pt x="700" y="594"/>
                      <a:pt x="701" y="602"/>
                      <a:pt x="696" y="608"/>
                    </a:cubicBezTo>
                    <a:cubicBezTo>
                      <a:pt x="691" y="614"/>
                      <a:pt x="695" y="616"/>
                      <a:pt x="701" y="63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0" name="Freeform 14">
                <a:extLst>
                  <a:ext uri="{FF2B5EF4-FFF2-40B4-BE49-F238E27FC236}">
                    <a16:creationId xmlns:a16="http://schemas.microsoft.com/office/drawing/2014/main" id="{E3D7603A-99D2-4DB2-ABA3-8AF7F4173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8" y="817"/>
                <a:ext cx="69" cy="39"/>
              </a:xfrm>
              <a:custGeom>
                <a:avLst/>
                <a:gdLst>
                  <a:gd name="T0" fmla="*/ 233 w 37"/>
                  <a:gd name="T1" fmla="*/ 84 h 21"/>
                  <a:gd name="T2" fmla="*/ 233 w 37"/>
                  <a:gd name="T3" fmla="*/ 128 h 21"/>
                  <a:gd name="T4" fmla="*/ 104 w 37"/>
                  <a:gd name="T5" fmla="*/ 113 h 21"/>
                  <a:gd name="T6" fmla="*/ 13 w 37"/>
                  <a:gd name="T7" fmla="*/ 52 h 21"/>
                  <a:gd name="T8" fmla="*/ 45 w 37"/>
                  <a:gd name="T9" fmla="*/ 0 h 21"/>
                  <a:gd name="T10" fmla="*/ 194 w 37"/>
                  <a:gd name="T11" fmla="*/ 52 h 21"/>
                  <a:gd name="T12" fmla="*/ 233 w 37"/>
                  <a:gd name="T13" fmla="*/ 84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21">
                    <a:moveTo>
                      <a:pt x="36" y="13"/>
                    </a:moveTo>
                    <a:cubicBezTo>
                      <a:pt x="36" y="14"/>
                      <a:pt x="37" y="18"/>
                      <a:pt x="36" y="20"/>
                    </a:cubicBezTo>
                    <a:cubicBezTo>
                      <a:pt x="36" y="21"/>
                      <a:pt x="21" y="20"/>
                      <a:pt x="16" y="18"/>
                    </a:cubicBezTo>
                    <a:cubicBezTo>
                      <a:pt x="11" y="17"/>
                      <a:pt x="1" y="12"/>
                      <a:pt x="2" y="8"/>
                    </a:cubicBezTo>
                    <a:cubicBezTo>
                      <a:pt x="3" y="4"/>
                      <a:pt x="0" y="0"/>
                      <a:pt x="7" y="0"/>
                    </a:cubicBezTo>
                    <a:cubicBezTo>
                      <a:pt x="15" y="1"/>
                      <a:pt x="28" y="6"/>
                      <a:pt x="30" y="8"/>
                    </a:cubicBezTo>
                    <a:cubicBezTo>
                      <a:pt x="32" y="9"/>
                      <a:pt x="32" y="12"/>
                      <a:pt x="36" y="1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31" name="Freeform 15">
                <a:extLst>
                  <a:ext uri="{FF2B5EF4-FFF2-40B4-BE49-F238E27FC236}">
                    <a16:creationId xmlns:a16="http://schemas.microsoft.com/office/drawing/2014/main" id="{8E978FA0-7886-4D39-BC7D-285ED646D3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8" y="992"/>
                <a:ext cx="51" cy="56"/>
              </a:xfrm>
              <a:custGeom>
                <a:avLst/>
                <a:gdLst>
                  <a:gd name="T0" fmla="*/ 168 w 27"/>
                  <a:gd name="T1" fmla="*/ 32 h 30"/>
                  <a:gd name="T2" fmla="*/ 153 w 27"/>
                  <a:gd name="T3" fmla="*/ 121 h 30"/>
                  <a:gd name="T4" fmla="*/ 128 w 27"/>
                  <a:gd name="T5" fmla="*/ 181 h 30"/>
                  <a:gd name="T6" fmla="*/ 76 w 27"/>
                  <a:gd name="T7" fmla="*/ 189 h 30"/>
                  <a:gd name="T8" fmla="*/ 0 w 27"/>
                  <a:gd name="T9" fmla="*/ 77 h 30"/>
                  <a:gd name="T10" fmla="*/ 47 w 27"/>
                  <a:gd name="T11" fmla="*/ 0 h 30"/>
                  <a:gd name="T12" fmla="*/ 168 w 27"/>
                  <a:gd name="T13" fmla="*/ 32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30">
                    <a:moveTo>
                      <a:pt x="25" y="5"/>
                    </a:moveTo>
                    <a:cubicBezTo>
                      <a:pt x="27" y="10"/>
                      <a:pt x="25" y="16"/>
                      <a:pt x="23" y="19"/>
                    </a:cubicBezTo>
                    <a:cubicBezTo>
                      <a:pt x="22" y="23"/>
                      <a:pt x="23" y="27"/>
                      <a:pt x="19" y="28"/>
                    </a:cubicBezTo>
                    <a:cubicBezTo>
                      <a:pt x="15" y="30"/>
                      <a:pt x="15" y="30"/>
                      <a:pt x="11" y="29"/>
                    </a:cubicBezTo>
                    <a:cubicBezTo>
                      <a:pt x="7" y="29"/>
                      <a:pt x="0" y="17"/>
                      <a:pt x="0" y="12"/>
                    </a:cubicBezTo>
                    <a:cubicBezTo>
                      <a:pt x="0" y="7"/>
                      <a:pt x="1" y="0"/>
                      <a:pt x="7" y="0"/>
                    </a:cubicBezTo>
                    <a:cubicBezTo>
                      <a:pt x="13" y="0"/>
                      <a:pt x="24" y="0"/>
                      <a:pt x="25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51" name="Freeform 16">
              <a:extLst>
                <a:ext uri="{FF2B5EF4-FFF2-40B4-BE49-F238E27FC236}">
                  <a16:creationId xmlns:a16="http://schemas.microsoft.com/office/drawing/2014/main" id="{C7D7F38E-900B-4AF8-8B6F-B8D316358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8" y="2037"/>
              <a:ext cx="399" cy="334"/>
            </a:xfrm>
            <a:custGeom>
              <a:avLst/>
              <a:gdLst>
                <a:gd name="T0" fmla="*/ 1219 w 214"/>
                <a:gd name="T1" fmla="*/ 455 h 179"/>
                <a:gd name="T2" fmla="*/ 1380 w 214"/>
                <a:gd name="T3" fmla="*/ 564 h 179"/>
                <a:gd name="T4" fmla="*/ 1303 w 214"/>
                <a:gd name="T5" fmla="*/ 662 h 179"/>
                <a:gd name="T6" fmla="*/ 1206 w 214"/>
                <a:gd name="T7" fmla="*/ 636 h 179"/>
                <a:gd name="T8" fmla="*/ 1171 w 214"/>
                <a:gd name="T9" fmla="*/ 707 h 179"/>
                <a:gd name="T10" fmla="*/ 1238 w 214"/>
                <a:gd name="T11" fmla="*/ 817 h 179"/>
                <a:gd name="T12" fmla="*/ 1270 w 214"/>
                <a:gd name="T13" fmla="*/ 909 h 179"/>
                <a:gd name="T14" fmla="*/ 1270 w 214"/>
                <a:gd name="T15" fmla="*/ 909 h 179"/>
                <a:gd name="T16" fmla="*/ 1214 w 214"/>
                <a:gd name="T17" fmla="*/ 916 h 179"/>
                <a:gd name="T18" fmla="*/ 1141 w 214"/>
                <a:gd name="T19" fmla="*/ 1006 h 179"/>
                <a:gd name="T20" fmla="*/ 1167 w 214"/>
                <a:gd name="T21" fmla="*/ 1103 h 179"/>
                <a:gd name="T22" fmla="*/ 1117 w 214"/>
                <a:gd name="T23" fmla="*/ 1149 h 179"/>
                <a:gd name="T24" fmla="*/ 1050 w 214"/>
                <a:gd name="T25" fmla="*/ 1103 h 179"/>
                <a:gd name="T26" fmla="*/ 921 w 214"/>
                <a:gd name="T27" fmla="*/ 1086 h 179"/>
                <a:gd name="T28" fmla="*/ 832 w 214"/>
                <a:gd name="T29" fmla="*/ 1110 h 179"/>
                <a:gd name="T30" fmla="*/ 636 w 214"/>
                <a:gd name="T31" fmla="*/ 1090 h 179"/>
                <a:gd name="T32" fmla="*/ 434 w 214"/>
                <a:gd name="T33" fmla="*/ 1058 h 179"/>
                <a:gd name="T34" fmla="*/ 241 w 214"/>
                <a:gd name="T35" fmla="*/ 1058 h 179"/>
                <a:gd name="T36" fmla="*/ 157 w 214"/>
                <a:gd name="T37" fmla="*/ 1142 h 179"/>
                <a:gd name="T38" fmla="*/ 89 w 214"/>
                <a:gd name="T39" fmla="*/ 1142 h 179"/>
                <a:gd name="T40" fmla="*/ 89 w 214"/>
                <a:gd name="T41" fmla="*/ 1065 h 179"/>
                <a:gd name="T42" fmla="*/ 24 w 214"/>
                <a:gd name="T43" fmla="*/ 1000 h 179"/>
                <a:gd name="T44" fmla="*/ 52 w 214"/>
                <a:gd name="T45" fmla="*/ 922 h 179"/>
                <a:gd name="T46" fmla="*/ 129 w 214"/>
                <a:gd name="T47" fmla="*/ 892 h 179"/>
                <a:gd name="T48" fmla="*/ 112 w 214"/>
                <a:gd name="T49" fmla="*/ 767 h 179"/>
                <a:gd name="T50" fmla="*/ 52 w 214"/>
                <a:gd name="T51" fmla="*/ 606 h 179"/>
                <a:gd name="T52" fmla="*/ 173 w 214"/>
                <a:gd name="T53" fmla="*/ 606 h 179"/>
                <a:gd name="T54" fmla="*/ 285 w 214"/>
                <a:gd name="T55" fmla="*/ 519 h 179"/>
                <a:gd name="T56" fmla="*/ 369 w 214"/>
                <a:gd name="T57" fmla="*/ 377 h 179"/>
                <a:gd name="T58" fmla="*/ 434 w 214"/>
                <a:gd name="T59" fmla="*/ 293 h 179"/>
                <a:gd name="T60" fmla="*/ 479 w 214"/>
                <a:gd name="T61" fmla="*/ 220 h 179"/>
                <a:gd name="T62" fmla="*/ 466 w 214"/>
                <a:gd name="T63" fmla="*/ 144 h 179"/>
                <a:gd name="T64" fmla="*/ 599 w 214"/>
                <a:gd name="T65" fmla="*/ 65 h 179"/>
                <a:gd name="T66" fmla="*/ 647 w 214"/>
                <a:gd name="T67" fmla="*/ 0 h 179"/>
                <a:gd name="T68" fmla="*/ 727 w 214"/>
                <a:gd name="T69" fmla="*/ 24 h 179"/>
                <a:gd name="T70" fmla="*/ 908 w 214"/>
                <a:gd name="T71" fmla="*/ 60 h 179"/>
                <a:gd name="T72" fmla="*/ 1018 w 214"/>
                <a:gd name="T73" fmla="*/ 112 h 179"/>
                <a:gd name="T74" fmla="*/ 1057 w 214"/>
                <a:gd name="T75" fmla="*/ 285 h 179"/>
                <a:gd name="T76" fmla="*/ 1219 w 214"/>
                <a:gd name="T77" fmla="*/ 455 h 17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4" h="179">
                  <a:moveTo>
                    <a:pt x="188" y="70"/>
                  </a:moveTo>
                  <a:cubicBezTo>
                    <a:pt x="195" y="78"/>
                    <a:pt x="214" y="83"/>
                    <a:pt x="213" y="87"/>
                  </a:cubicBezTo>
                  <a:cubicBezTo>
                    <a:pt x="211" y="91"/>
                    <a:pt x="204" y="100"/>
                    <a:pt x="201" y="102"/>
                  </a:cubicBezTo>
                  <a:cubicBezTo>
                    <a:pt x="197" y="104"/>
                    <a:pt x="190" y="98"/>
                    <a:pt x="186" y="98"/>
                  </a:cubicBezTo>
                  <a:cubicBezTo>
                    <a:pt x="181" y="98"/>
                    <a:pt x="181" y="109"/>
                    <a:pt x="181" y="109"/>
                  </a:cubicBezTo>
                  <a:cubicBezTo>
                    <a:pt x="181" y="109"/>
                    <a:pt x="188" y="121"/>
                    <a:pt x="191" y="126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3" y="141"/>
                    <a:pt x="190" y="141"/>
                    <a:pt x="187" y="141"/>
                  </a:cubicBezTo>
                  <a:cubicBezTo>
                    <a:pt x="182" y="142"/>
                    <a:pt x="176" y="150"/>
                    <a:pt x="176" y="155"/>
                  </a:cubicBezTo>
                  <a:cubicBezTo>
                    <a:pt x="174" y="159"/>
                    <a:pt x="180" y="170"/>
                    <a:pt x="180" y="170"/>
                  </a:cubicBezTo>
                  <a:cubicBezTo>
                    <a:pt x="180" y="170"/>
                    <a:pt x="173" y="179"/>
                    <a:pt x="172" y="177"/>
                  </a:cubicBezTo>
                  <a:cubicBezTo>
                    <a:pt x="170" y="175"/>
                    <a:pt x="165" y="173"/>
                    <a:pt x="162" y="170"/>
                  </a:cubicBezTo>
                  <a:cubicBezTo>
                    <a:pt x="158" y="167"/>
                    <a:pt x="146" y="167"/>
                    <a:pt x="142" y="167"/>
                  </a:cubicBezTo>
                  <a:cubicBezTo>
                    <a:pt x="138" y="167"/>
                    <a:pt x="133" y="171"/>
                    <a:pt x="128" y="171"/>
                  </a:cubicBezTo>
                  <a:cubicBezTo>
                    <a:pt x="124" y="172"/>
                    <a:pt x="104" y="170"/>
                    <a:pt x="98" y="168"/>
                  </a:cubicBezTo>
                  <a:cubicBezTo>
                    <a:pt x="91" y="166"/>
                    <a:pt x="73" y="163"/>
                    <a:pt x="67" y="163"/>
                  </a:cubicBezTo>
                  <a:cubicBezTo>
                    <a:pt x="62" y="162"/>
                    <a:pt x="42" y="163"/>
                    <a:pt x="37" y="163"/>
                  </a:cubicBezTo>
                  <a:cubicBezTo>
                    <a:pt x="32" y="163"/>
                    <a:pt x="28" y="176"/>
                    <a:pt x="24" y="176"/>
                  </a:cubicBezTo>
                  <a:cubicBezTo>
                    <a:pt x="20" y="176"/>
                    <a:pt x="14" y="176"/>
                    <a:pt x="14" y="176"/>
                  </a:cubicBezTo>
                  <a:cubicBezTo>
                    <a:pt x="14" y="170"/>
                    <a:pt x="14" y="164"/>
                    <a:pt x="14" y="164"/>
                  </a:cubicBezTo>
                  <a:cubicBezTo>
                    <a:pt x="14" y="164"/>
                    <a:pt x="9" y="156"/>
                    <a:pt x="4" y="154"/>
                  </a:cubicBezTo>
                  <a:cubicBezTo>
                    <a:pt x="0" y="152"/>
                    <a:pt x="2" y="146"/>
                    <a:pt x="8" y="142"/>
                  </a:cubicBezTo>
                  <a:cubicBezTo>
                    <a:pt x="12" y="139"/>
                    <a:pt x="19" y="139"/>
                    <a:pt x="20" y="137"/>
                  </a:cubicBezTo>
                  <a:cubicBezTo>
                    <a:pt x="21" y="134"/>
                    <a:pt x="20" y="124"/>
                    <a:pt x="17" y="118"/>
                  </a:cubicBezTo>
                  <a:cubicBezTo>
                    <a:pt x="14" y="111"/>
                    <a:pt x="8" y="98"/>
                    <a:pt x="8" y="93"/>
                  </a:cubicBezTo>
                  <a:cubicBezTo>
                    <a:pt x="8" y="93"/>
                    <a:pt x="23" y="97"/>
                    <a:pt x="27" y="93"/>
                  </a:cubicBezTo>
                  <a:cubicBezTo>
                    <a:pt x="27" y="93"/>
                    <a:pt x="39" y="83"/>
                    <a:pt x="44" y="80"/>
                  </a:cubicBezTo>
                  <a:cubicBezTo>
                    <a:pt x="50" y="77"/>
                    <a:pt x="56" y="62"/>
                    <a:pt x="57" y="58"/>
                  </a:cubicBezTo>
                  <a:cubicBezTo>
                    <a:pt x="58" y="54"/>
                    <a:pt x="62" y="46"/>
                    <a:pt x="67" y="45"/>
                  </a:cubicBezTo>
                  <a:cubicBezTo>
                    <a:pt x="72" y="43"/>
                    <a:pt x="74" y="34"/>
                    <a:pt x="74" y="34"/>
                  </a:cubicBezTo>
                  <a:cubicBezTo>
                    <a:pt x="74" y="34"/>
                    <a:pt x="70" y="25"/>
                    <a:pt x="72" y="22"/>
                  </a:cubicBezTo>
                  <a:cubicBezTo>
                    <a:pt x="74" y="19"/>
                    <a:pt x="88" y="14"/>
                    <a:pt x="92" y="10"/>
                  </a:cubicBezTo>
                  <a:cubicBezTo>
                    <a:pt x="94" y="7"/>
                    <a:pt x="99" y="4"/>
                    <a:pt x="100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34" y="9"/>
                    <a:pt x="140" y="9"/>
                  </a:cubicBezTo>
                  <a:cubicBezTo>
                    <a:pt x="146" y="9"/>
                    <a:pt x="151" y="8"/>
                    <a:pt x="157" y="17"/>
                  </a:cubicBezTo>
                  <a:cubicBezTo>
                    <a:pt x="163" y="26"/>
                    <a:pt x="163" y="38"/>
                    <a:pt x="163" y="44"/>
                  </a:cubicBezTo>
                  <a:cubicBezTo>
                    <a:pt x="164" y="51"/>
                    <a:pt x="181" y="62"/>
                    <a:pt x="188" y="7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2" name="Freeform 17">
              <a:extLst>
                <a:ext uri="{FF2B5EF4-FFF2-40B4-BE49-F238E27FC236}">
                  <a16:creationId xmlns:a16="http://schemas.microsoft.com/office/drawing/2014/main" id="{816CF020-AA56-46B1-A9F8-DDB87280A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9" y="2569"/>
              <a:ext cx="170" cy="199"/>
            </a:xfrm>
            <a:custGeom>
              <a:avLst/>
              <a:gdLst>
                <a:gd name="T0" fmla="*/ 555 w 91"/>
                <a:gd name="T1" fmla="*/ 353 h 107"/>
                <a:gd name="T2" fmla="*/ 594 w 91"/>
                <a:gd name="T3" fmla="*/ 450 h 107"/>
                <a:gd name="T4" fmla="*/ 437 w 91"/>
                <a:gd name="T5" fmla="*/ 443 h 107"/>
                <a:gd name="T6" fmla="*/ 422 w 91"/>
                <a:gd name="T7" fmla="*/ 515 h 107"/>
                <a:gd name="T8" fmla="*/ 370 w 91"/>
                <a:gd name="T9" fmla="*/ 629 h 107"/>
                <a:gd name="T10" fmla="*/ 321 w 91"/>
                <a:gd name="T11" fmla="*/ 688 h 107"/>
                <a:gd name="T12" fmla="*/ 278 w 91"/>
                <a:gd name="T13" fmla="*/ 651 h 107"/>
                <a:gd name="T14" fmla="*/ 278 w 91"/>
                <a:gd name="T15" fmla="*/ 487 h 107"/>
                <a:gd name="T16" fmla="*/ 241 w 91"/>
                <a:gd name="T17" fmla="*/ 353 h 107"/>
                <a:gd name="T18" fmla="*/ 121 w 91"/>
                <a:gd name="T19" fmla="*/ 238 h 107"/>
                <a:gd name="T20" fmla="*/ 39 w 91"/>
                <a:gd name="T21" fmla="*/ 104 h 107"/>
                <a:gd name="T22" fmla="*/ 0 w 91"/>
                <a:gd name="T23" fmla="*/ 52 h 107"/>
                <a:gd name="T24" fmla="*/ 129 w 91"/>
                <a:gd name="T25" fmla="*/ 7 h 107"/>
                <a:gd name="T26" fmla="*/ 286 w 91"/>
                <a:gd name="T27" fmla="*/ 60 h 107"/>
                <a:gd name="T28" fmla="*/ 411 w 91"/>
                <a:gd name="T29" fmla="*/ 89 h 107"/>
                <a:gd name="T30" fmla="*/ 411 w 91"/>
                <a:gd name="T31" fmla="*/ 201 h 107"/>
                <a:gd name="T32" fmla="*/ 489 w 91"/>
                <a:gd name="T33" fmla="*/ 298 h 107"/>
                <a:gd name="T34" fmla="*/ 555 w 91"/>
                <a:gd name="T35" fmla="*/ 353 h 10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1" h="107">
                  <a:moveTo>
                    <a:pt x="85" y="55"/>
                  </a:moveTo>
                  <a:cubicBezTo>
                    <a:pt x="87" y="58"/>
                    <a:pt x="91" y="67"/>
                    <a:pt x="91" y="70"/>
                  </a:cubicBezTo>
                  <a:cubicBezTo>
                    <a:pt x="91" y="73"/>
                    <a:pt x="70" y="69"/>
                    <a:pt x="67" y="69"/>
                  </a:cubicBezTo>
                  <a:cubicBezTo>
                    <a:pt x="65" y="69"/>
                    <a:pt x="67" y="75"/>
                    <a:pt x="65" y="80"/>
                  </a:cubicBezTo>
                  <a:cubicBezTo>
                    <a:pt x="63" y="86"/>
                    <a:pt x="60" y="95"/>
                    <a:pt x="57" y="98"/>
                  </a:cubicBezTo>
                  <a:cubicBezTo>
                    <a:pt x="55" y="100"/>
                    <a:pt x="50" y="103"/>
                    <a:pt x="4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95"/>
                    <a:pt x="41" y="83"/>
                    <a:pt x="43" y="76"/>
                  </a:cubicBezTo>
                  <a:cubicBezTo>
                    <a:pt x="45" y="70"/>
                    <a:pt x="39" y="59"/>
                    <a:pt x="37" y="55"/>
                  </a:cubicBezTo>
                  <a:cubicBezTo>
                    <a:pt x="35" y="51"/>
                    <a:pt x="21" y="42"/>
                    <a:pt x="19" y="37"/>
                  </a:cubicBezTo>
                  <a:cubicBezTo>
                    <a:pt x="17" y="33"/>
                    <a:pt x="6" y="16"/>
                    <a:pt x="6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4" y="0"/>
                    <a:pt x="20" y="1"/>
                  </a:cubicBezTo>
                  <a:cubicBezTo>
                    <a:pt x="27" y="1"/>
                    <a:pt x="38" y="9"/>
                    <a:pt x="44" y="9"/>
                  </a:cubicBezTo>
                  <a:cubicBezTo>
                    <a:pt x="50" y="9"/>
                    <a:pt x="59" y="8"/>
                    <a:pt x="63" y="14"/>
                  </a:cubicBezTo>
                  <a:cubicBezTo>
                    <a:pt x="65" y="20"/>
                    <a:pt x="61" y="29"/>
                    <a:pt x="63" y="31"/>
                  </a:cubicBezTo>
                  <a:cubicBezTo>
                    <a:pt x="65" y="34"/>
                    <a:pt x="71" y="44"/>
                    <a:pt x="75" y="46"/>
                  </a:cubicBezTo>
                  <a:cubicBezTo>
                    <a:pt x="78" y="48"/>
                    <a:pt x="83" y="53"/>
                    <a:pt x="85" y="5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3" name="Freeform 18">
              <a:extLst>
                <a:ext uri="{FF2B5EF4-FFF2-40B4-BE49-F238E27FC236}">
                  <a16:creationId xmlns:a16="http://schemas.microsoft.com/office/drawing/2014/main" id="{FAEA1993-1AC9-4F07-9EDC-1D86B3D9B64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8" y="2583"/>
              <a:ext cx="459" cy="333"/>
            </a:xfrm>
            <a:custGeom>
              <a:avLst/>
              <a:gdLst>
                <a:gd name="T0" fmla="*/ 1573 w 246"/>
                <a:gd name="T1" fmla="*/ 668 h 178"/>
                <a:gd name="T2" fmla="*/ 1584 w 246"/>
                <a:gd name="T3" fmla="*/ 799 h 178"/>
                <a:gd name="T4" fmla="*/ 1493 w 246"/>
                <a:gd name="T5" fmla="*/ 836 h 178"/>
                <a:gd name="T6" fmla="*/ 1424 w 246"/>
                <a:gd name="T7" fmla="*/ 937 h 178"/>
                <a:gd name="T8" fmla="*/ 1440 w 246"/>
                <a:gd name="T9" fmla="*/ 1081 h 178"/>
                <a:gd name="T10" fmla="*/ 1411 w 246"/>
                <a:gd name="T11" fmla="*/ 1081 h 178"/>
                <a:gd name="T12" fmla="*/ 1162 w 246"/>
                <a:gd name="T13" fmla="*/ 1001 h 178"/>
                <a:gd name="T14" fmla="*/ 1026 w 246"/>
                <a:gd name="T15" fmla="*/ 1046 h 178"/>
                <a:gd name="T16" fmla="*/ 864 w 246"/>
                <a:gd name="T17" fmla="*/ 1151 h 178"/>
                <a:gd name="T18" fmla="*/ 655 w 246"/>
                <a:gd name="T19" fmla="*/ 1166 h 178"/>
                <a:gd name="T20" fmla="*/ 487 w 246"/>
                <a:gd name="T21" fmla="*/ 1134 h 178"/>
                <a:gd name="T22" fmla="*/ 466 w 246"/>
                <a:gd name="T23" fmla="*/ 1068 h 178"/>
                <a:gd name="T24" fmla="*/ 403 w 246"/>
                <a:gd name="T25" fmla="*/ 1036 h 178"/>
                <a:gd name="T26" fmla="*/ 362 w 246"/>
                <a:gd name="T27" fmla="*/ 941 h 178"/>
                <a:gd name="T28" fmla="*/ 272 w 246"/>
                <a:gd name="T29" fmla="*/ 969 h 178"/>
                <a:gd name="T30" fmla="*/ 170 w 246"/>
                <a:gd name="T31" fmla="*/ 879 h 178"/>
                <a:gd name="T32" fmla="*/ 181 w 246"/>
                <a:gd name="T33" fmla="*/ 804 h 178"/>
                <a:gd name="T34" fmla="*/ 65 w 246"/>
                <a:gd name="T35" fmla="*/ 692 h 178"/>
                <a:gd name="T36" fmla="*/ 0 w 246"/>
                <a:gd name="T37" fmla="*/ 610 h 178"/>
                <a:gd name="T38" fmla="*/ 65 w 246"/>
                <a:gd name="T39" fmla="*/ 556 h 178"/>
                <a:gd name="T40" fmla="*/ 157 w 246"/>
                <a:gd name="T41" fmla="*/ 531 h 178"/>
                <a:gd name="T42" fmla="*/ 272 w 246"/>
                <a:gd name="T43" fmla="*/ 262 h 178"/>
                <a:gd name="T44" fmla="*/ 377 w 246"/>
                <a:gd name="T45" fmla="*/ 165 h 178"/>
                <a:gd name="T46" fmla="*/ 414 w 246"/>
                <a:gd name="T47" fmla="*/ 112 h 178"/>
                <a:gd name="T48" fmla="*/ 655 w 246"/>
                <a:gd name="T49" fmla="*/ 120 h 178"/>
                <a:gd name="T50" fmla="*/ 759 w 246"/>
                <a:gd name="T51" fmla="*/ 178 h 178"/>
                <a:gd name="T52" fmla="*/ 877 w 246"/>
                <a:gd name="T53" fmla="*/ 120 h 178"/>
                <a:gd name="T54" fmla="*/ 993 w 246"/>
                <a:gd name="T55" fmla="*/ 13 h 178"/>
                <a:gd name="T56" fmla="*/ 1013 w 246"/>
                <a:gd name="T57" fmla="*/ 0 h 178"/>
                <a:gd name="T58" fmla="*/ 1050 w 246"/>
                <a:gd name="T59" fmla="*/ 52 h 178"/>
                <a:gd name="T60" fmla="*/ 1138 w 246"/>
                <a:gd name="T61" fmla="*/ 189 h 178"/>
                <a:gd name="T62" fmla="*/ 1254 w 246"/>
                <a:gd name="T63" fmla="*/ 309 h 178"/>
                <a:gd name="T64" fmla="*/ 1291 w 246"/>
                <a:gd name="T65" fmla="*/ 445 h 178"/>
                <a:gd name="T66" fmla="*/ 1291 w 246"/>
                <a:gd name="T67" fmla="*/ 610 h 178"/>
                <a:gd name="T68" fmla="*/ 1334 w 246"/>
                <a:gd name="T69" fmla="*/ 647 h 178"/>
                <a:gd name="T70" fmla="*/ 1334 w 246"/>
                <a:gd name="T71" fmla="*/ 662 h 178"/>
                <a:gd name="T72" fmla="*/ 1358 w 246"/>
                <a:gd name="T73" fmla="*/ 720 h 178"/>
                <a:gd name="T74" fmla="*/ 1435 w 246"/>
                <a:gd name="T75" fmla="*/ 720 h 178"/>
                <a:gd name="T76" fmla="*/ 1500 w 246"/>
                <a:gd name="T77" fmla="*/ 655 h 178"/>
                <a:gd name="T78" fmla="*/ 1573 w 246"/>
                <a:gd name="T79" fmla="*/ 668 h 1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46" h="178">
                  <a:moveTo>
                    <a:pt x="242" y="102"/>
                  </a:moveTo>
                  <a:cubicBezTo>
                    <a:pt x="243" y="109"/>
                    <a:pt x="246" y="120"/>
                    <a:pt x="244" y="122"/>
                  </a:cubicBezTo>
                  <a:cubicBezTo>
                    <a:pt x="241" y="124"/>
                    <a:pt x="233" y="124"/>
                    <a:pt x="230" y="128"/>
                  </a:cubicBezTo>
                  <a:cubicBezTo>
                    <a:pt x="227" y="132"/>
                    <a:pt x="219" y="139"/>
                    <a:pt x="219" y="143"/>
                  </a:cubicBezTo>
                  <a:cubicBezTo>
                    <a:pt x="219" y="146"/>
                    <a:pt x="221" y="158"/>
                    <a:pt x="222" y="165"/>
                  </a:cubicBezTo>
                  <a:cubicBezTo>
                    <a:pt x="217" y="165"/>
                    <a:pt x="217" y="165"/>
                    <a:pt x="217" y="165"/>
                  </a:cubicBezTo>
                  <a:cubicBezTo>
                    <a:pt x="217" y="165"/>
                    <a:pt x="187" y="153"/>
                    <a:pt x="179" y="153"/>
                  </a:cubicBezTo>
                  <a:cubicBezTo>
                    <a:pt x="172" y="153"/>
                    <a:pt x="163" y="158"/>
                    <a:pt x="158" y="160"/>
                  </a:cubicBezTo>
                  <a:cubicBezTo>
                    <a:pt x="153" y="162"/>
                    <a:pt x="143" y="175"/>
                    <a:pt x="133" y="176"/>
                  </a:cubicBezTo>
                  <a:cubicBezTo>
                    <a:pt x="123" y="176"/>
                    <a:pt x="105" y="178"/>
                    <a:pt x="101" y="178"/>
                  </a:cubicBezTo>
                  <a:cubicBezTo>
                    <a:pt x="97" y="178"/>
                    <a:pt x="80" y="173"/>
                    <a:pt x="75" y="173"/>
                  </a:cubicBezTo>
                  <a:cubicBezTo>
                    <a:pt x="69" y="174"/>
                    <a:pt x="76" y="164"/>
                    <a:pt x="72" y="163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5"/>
                    <a:pt x="60" y="147"/>
                    <a:pt x="56" y="144"/>
                  </a:cubicBezTo>
                  <a:cubicBezTo>
                    <a:pt x="51" y="141"/>
                    <a:pt x="46" y="150"/>
                    <a:pt x="42" y="148"/>
                  </a:cubicBezTo>
                  <a:cubicBezTo>
                    <a:pt x="39" y="146"/>
                    <a:pt x="26" y="134"/>
                    <a:pt x="26" y="13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14" y="111"/>
                    <a:pt x="10" y="106"/>
                  </a:cubicBezTo>
                  <a:cubicBezTo>
                    <a:pt x="8" y="103"/>
                    <a:pt x="3" y="97"/>
                    <a:pt x="0" y="93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3" y="82"/>
                    <a:pt x="23" y="86"/>
                    <a:pt x="24" y="81"/>
                  </a:cubicBezTo>
                  <a:cubicBezTo>
                    <a:pt x="25" y="76"/>
                    <a:pt x="35" y="47"/>
                    <a:pt x="42" y="40"/>
                  </a:cubicBezTo>
                  <a:cubicBezTo>
                    <a:pt x="49" y="34"/>
                    <a:pt x="58" y="25"/>
                    <a:pt x="58" y="25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7"/>
                    <a:pt x="96" y="17"/>
                    <a:pt x="101" y="18"/>
                  </a:cubicBezTo>
                  <a:cubicBezTo>
                    <a:pt x="107" y="18"/>
                    <a:pt x="115" y="28"/>
                    <a:pt x="117" y="27"/>
                  </a:cubicBezTo>
                  <a:cubicBezTo>
                    <a:pt x="119" y="27"/>
                    <a:pt x="133" y="20"/>
                    <a:pt x="135" y="18"/>
                  </a:cubicBezTo>
                  <a:cubicBezTo>
                    <a:pt x="138" y="16"/>
                    <a:pt x="149" y="6"/>
                    <a:pt x="153" y="2"/>
                  </a:cubicBezTo>
                  <a:cubicBezTo>
                    <a:pt x="153" y="2"/>
                    <a:pt x="154" y="1"/>
                    <a:pt x="156" y="0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8"/>
                    <a:pt x="173" y="25"/>
                    <a:pt x="175" y="29"/>
                  </a:cubicBezTo>
                  <a:cubicBezTo>
                    <a:pt x="177" y="34"/>
                    <a:pt x="191" y="43"/>
                    <a:pt x="193" y="47"/>
                  </a:cubicBezTo>
                  <a:cubicBezTo>
                    <a:pt x="195" y="51"/>
                    <a:pt x="201" y="62"/>
                    <a:pt x="199" y="68"/>
                  </a:cubicBezTo>
                  <a:cubicBezTo>
                    <a:pt x="197" y="75"/>
                    <a:pt x="199" y="87"/>
                    <a:pt x="199" y="93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100"/>
                    <a:pt x="204" y="100"/>
                    <a:pt x="205" y="101"/>
                  </a:cubicBezTo>
                  <a:cubicBezTo>
                    <a:pt x="205" y="107"/>
                    <a:pt x="205" y="108"/>
                    <a:pt x="209" y="110"/>
                  </a:cubicBezTo>
                  <a:cubicBezTo>
                    <a:pt x="213" y="111"/>
                    <a:pt x="219" y="112"/>
                    <a:pt x="221" y="110"/>
                  </a:cubicBezTo>
                  <a:cubicBezTo>
                    <a:pt x="224" y="108"/>
                    <a:pt x="227" y="100"/>
                    <a:pt x="231" y="100"/>
                  </a:cubicBezTo>
                  <a:cubicBezTo>
                    <a:pt x="232" y="100"/>
                    <a:pt x="237" y="101"/>
                    <a:pt x="242" y="1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4" name="Freeform 19">
              <a:extLst>
                <a:ext uri="{FF2B5EF4-FFF2-40B4-BE49-F238E27FC236}">
                  <a16:creationId xmlns:a16="http://schemas.microsoft.com/office/drawing/2014/main" id="{ECD7C5DA-8E50-402A-BE50-BCB814785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9" y="2869"/>
              <a:ext cx="323" cy="216"/>
            </a:xfrm>
            <a:custGeom>
              <a:avLst/>
              <a:gdLst>
                <a:gd name="T0" fmla="*/ 1126 w 173"/>
                <a:gd name="T1" fmla="*/ 76 h 116"/>
                <a:gd name="T2" fmla="*/ 1126 w 173"/>
                <a:gd name="T3" fmla="*/ 117 h 116"/>
                <a:gd name="T4" fmla="*/ 1102 w 173"/>
                <a:gd name="T5" fmla="*/ 166 h 116"/>
                <a:gd name="T6" fmla="*/ 1036 w 173"/>
                <a:gd name="T7" fmla="*/ 181 h 116"/>
                <a:gd name="T8" fmla="*/ 1014 w 173"/>
                <a:gd name="T9" fmla="*/ 322 h 116"/>
                <a:gd name="T10" fmla="*/ 952 w 173"/>
                <a:gd name="T11" fmla="*/ 382 h 116"/>
                <a:gd name="T12" fmla="*/ 1021 w 173"/>
                <a:gd name="T13" fmla="*/ 443 h 116"/>
                <a:gd name="T14" fmla="*/ 1060 w 173"/>
                <a:gd name="T15" fmla="*/ 503 h 116"/>
                <a:gd name="T16" fmla="*/ 997 w 173"/>
                <a:gd name="T17" fmla="*/ 531 h 116"/>
                <a:gd name="T18" fmla="*/ 892 w 173"/>
                <a:gd name="T19" fmla="*/ 516 h 116"/>
                <a:gd name="T20" fmla="*/ 760 w 173"/>
                <a:gd name="T21" fmla="*/ 562 h 116"/>
                <a:gd name="T22" fmla="*/ 711 w 173"/>
                <a:gd name="T23" fmla="*/ 672 h 116"/>
                <a:gd name="T24" fmla="*/ 586 w 173"/>
                <a:gd name="T25" fmla="*/ 704 h 116"/>
                <a:gd name="T26" fmla="*/ 398 w 173"/>
                <a:gd name="T27" fmla="*/ 659 h 116"/>
                <a:gd name="T28" fmla="*/ 157 w 173"/>
                <a:gd name="T29" fmla="*/ 749 h 116"/>
                <a:gd name="T30" fmla="*/ 149 w 173"/>
                <a:gd name="T31" fmla="*/ 659 h 116"/>
                <a:gd name="T32" fmla="*/ 112 w 173"/>
                <a:gd name="T33" fmla="*/ 562 h 116"/>
                <a:gd name="T34" fmla="*/ 24 w 173"/>
                <a:gd name="T35" fmla="*/ 479 h 116"/>
                <a:gd name="T36" fmla="*/ 136 w 173"/>
                <a:gd name="T37" fmla="*/ 285 h 116"/>
                <a:gd name="T38" fmla="*/ 32 w 173"/>
                <a:gd name="T39" fmla="*/ 142 h 116"/>
                <a:gd name="T40" fmla="*/ 84 w 173"/>
                <a:gd name="T41" fmla="*/ 32 h 116"/>
                <a:gd name="T42" fmla="*/ 149 w 173"/>
                <a:gd name="T43" fmla="*/ 65 h 116"/>
                <a:gd name="T44" fmla="*/ 170 w 173"/>
                <a:gd name="T45" fmla="*/ 128 h 116"/>
                <a:gd name="T46" fmla="*/ 338 w 173"/>
                <a:gd name="T47" fmla="*/ 164 h 116"/>
                <a:gd name="T48" fmla="*/ 547 w 173"/>
                <a:gd name="T49" fmla="*/ 149 h 116"/>
                <a:gd name="T50" fmla="*/ 711 w 173"/>
                <a:gd name="T51" fmla="*/ 45 h 116"/>
                <a:gd name="T52" fmla="*/ 848 w 173"/>
                <a:gd name="T53" fmla="*/ 0 h 116"/>
                <a:gd name="T54" fmla="*/ 1094 w 173"/>
                <a:gd name="T55" fmla="*/ 76 h 116"/>
                <a:gd name="T56" fmla="*/ 1126 w 173"/>
                <a:gd name="T57" fmla="*/ 76 h 11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3" h="116">
                  <a:moveTo>
                    <a:pt x="173" y="12"/>
                  </a:moveTo>
                  <a:cubicBezTo>
                    <a:pt x="173" y="15"/>
                    <a:pt x="173" y="17"/>
                    <a:pt x="173" y="18"/>
                  </a:cubicBezTo>
                  <a:cubicBezTo>
                    <a:pt x="173" y="21"/>
                    <a:pt x="170" y="24"/>
                    <a:pt x="169" y="26"/>
                  </a:cubicBezTo>
                  <a:cubicBezTo>
                    <a:pt x="168" y="29"/>
                    <a:pt x="159" y="24"/>
                    <a:pt x="159" y="28"/>
                  </a:cubicBezTo>
                  <a:cubicBezTo>
                    <a:pt x="159" y="33"/>
                    <a:pt x="156" y="47"/>
                    <a:pt x="156" y="50"/>
                  </a:cubicBezTo>
                  <a:cubicBezTo>
                    <a:pt x="156" y="54"/>
                    <a:pt x="146" y="54"/>
                    <a:pt x="146" y="59"/>
                  </a:cubicBezTo>
                  <a:cubicBezTo>
                    <a:pt x="146" y="65"/>
                    <a:pt x="151" y="69"/>
                    <a:pt x="157" y="69"/>
                  </a:cubicBezTo>
                  <a:cubicBezTo>
                    <a:pt x="161" y="70"/>
                    <a:pt x="163" y="74"/>
                    <a:pt x="163" y="78"/>
                  </a:cubicBezTo>
                  <a:cubicBezTo>
                    <a:pt x="159" y="80"/>
                    <a:pt x="154" y="82"/>
                    <a:pt x="153" y="82"/>
                  </a:cubicBezTo>
                  <a:cubicBezTo>
                    <a:pt x="149" y="84"/>
                    <a:pt x="142" y="78"/>
                    <a:pt x="137" y="80"/>
                  </a:cubicBezTo>
                  <a:cubicBezTo>
                    <a:pt x="131" y="81"/>
                    <a:pt x="125" y="82"/>
                    <a:pt x="117" y="87"/>
                  </a:cubicBezTo>
                  <a:cubicBezTo>
                    <a:pt x="110" y="92"/>
                    <a:pt x="111" y="98"/>
                    <a:pt x="109" y="104"/>
                  </a:cubicBezTo>
                  <a:cubicBezTo>
                    <a:pt x="107" y="110"/>
                    <a:pt x="96" y="109"/>
                    <a:pt x="90" y="109"/>
                  </a:cubicBezTo>
                  <a:cubicBezTo>
                    <a:pt x="84" y="109"/>
                    <a:pt x="68" y="102"/>
                    <a:pt x="61" y="102"/>
                  </a:cubicBezTo>
                  <a:cubicBezTo>
                    <a:pt x="55" y="102"/>
                    <a:pt x="35" y="111"/>
                    <a:pt x="24" y="1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97"/>
                    <a:pt x="17" y="87"/>
                    <a:pt x="17" y="87"/>
                  </a:cubicBezTo>
                  <a:cubicBezTo>
                    <a:pt x="17" y="87"/>
                    <a:pt x="0" y="80"/>
                    <a:pt x="4" y="74"/>
                  </a:cubicBezTo>
                  <a:cubicBezTo>
                    <a:pt x="8" y="68"/>
                    <a:pt x="21" y="44"/>
                    <a:pt x="21" y="44"/>
                  </a:cubicBezTo>
                  <a:cubicBezTo>
                    <a:pt x="21" y="44"/>
                    <a:pt x="4" y="30"/>
                    <a:pt x="5" y="22"/>
                  </a:cubicBezTo>
                  <a:cubicBezTo>
                    <a:pt x="7" y="13"/>
                    <a:pt x="13" y="8"/>
                    <a:pt x="13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7" y="11"/>
                    <a:pt x="20" y="21"/>
                    <a:pt x="26" y="20"/>
                  </a:cubicBezTo>
                  <a:cubicBezTo>
                    <a:pt x="31" y="20"/>
                    <a:pt x="48" y="25"/>
                    <a:pt x="52" y="25"/>
                  </a:cubicBezTo>
                  <a:cubicBezTo>
                    <a:pt x="56" y="25"/>
                    <a:pt x="74" y="23"/>
                    <a:pt x="84" y="23"/>
                  </a:cubicBezTo>
                  <a:cubicBezTo>
                    <a:pt x="94" y="22"/>
                    <a:pt x="104" y="9"/>
                    <a:pt x="109" y="7"/>
                  </a:cubicBezTo>
                  <a:cubicBezTo>
                    <a:pt x="114" y="5"/>
                    <a:pt x="123" y="0"/>
                    <a:pt x="130" y="0"/>
                  </a:cubicBezTo>
                  <a:cubicBezTo>
                    <a:pt x="138" y="0"/>
                    <a:pt x="168" y="12"/>
                    <a:pt x="168" y="12"/>
                  </a:cubicBezTo>
                  <a:lnTo>
                    <a:pt x="173" y="1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5" name="Freeform 20">
              <a:extLst>
                <a:ext uri="{FF2B5EF4-FFF2-40B4-BE49-F238E27FC236}">
                  <a16:creationId xmlns:a16="http://schemas.microsoft.com/office/drawing/2014/main" id="{C235E92A-48BB-4906-B1FC-1CD6651B6B8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8" y="3014"/>
              <a:ext cx="153" cy="129"/>
            </a:xfrm>
            <a:custGeom>
              <a:avLst/>
              <a:gdLst>
                <a:gd name="T0" fmla="*/ 104 w 82"/>
                <a:gd name="T1" fmla="*/ 325 h 69"/>
                <a:gd name="T2" fmla="*/ 0 w 82"/>
                <a:gd name="T3" fmla="*/ 338 h 69"/>
                <a:gd name="T4" fmla="*/ 0 w 82"/>
                <a:gd name="T5" fmla="*/ 338 h 69"/>
                <a:gd name="T6" fmla="*/ 52 w 82"/>
                <a:gd name="T7" fmla="*/ 277 h 69"/>
                <a:gd name="T8" fmla="*/ 91 w 82"/>
                <a:gd name="T9" fmla="*/ 172 h 69"/>
                <a:gd name="T10" fmla="*/ 32 w 82"/>
                <a:gd name="T11" fmla="*/ 60 h 69"/>
                <a:gd name="T12" fmla="*/ 164 w 82"/>
                <a:gd name="T13" fmla="*/ 13 h 69"/>
                <a:gd name="T14" fmla="*/ 269 w 82"/>
                <a:gd name="T15" fmla="*/ 24 h 69"/>
                <a:gd name="T16" fmla="*/ 330 w 82"/>
                <a:gd name="T17" fmla="*/ 0 h 69"/>
                <a:gd name="T18" fmla="*/ 330 w 82"/>
                <a:gd name="T19" fmla="*/ 24 h 69"/>
                <a:gd name="T20" fmla="*/ 390 w 82"/>
                <a:gd name="T21" fmla="*/ 120 h 69"/>
                <a:gd name="T22" fmla="*/ 511 w 82"/>
                <a:gd name="T23" fmla="*/ 150 h 69"/>
                <a:gd name="T24" fmla="*/ 487 w 82"/>
                <a:gd name="T25" fmla="*/ 217 h 69"/>
                <a:gd name="T26" fmla="*/ 383 w 82"/>
                <a:gd name="T27" fmla="*/ 217 h 69"/>
                <a:gd name="T28" fmla="*/ 272 w 82"/>
                <a:gd name="T29" fmla="*/ 254 h 69"/>
                <a:gd name="T30" fmla="*/ 220 w 82"/>
                <a:gd name="T31" fmla="*/ 314 h 69"/>
                <a:gd name="T32" fmla="*/ 181 w 82"/>
                <a:gd name="T33" fmla="*/ 346 h 69"/>
                <a:gd name="T34" fmla="*/ 65 w 82"/>
                <a:gd name="T35" fmla="*/ 413 h 69"/>
                <a:gd name="T36" fmla="*/ 39 w 82"/>
                <a:gd name="T37" fmla="*/ 437 h 69"/>
                <a:gd name="T38" fmla="*/ 0 w 82"/>
                <a:gd name="T39" fmla="*/ 430 h 69"/>
                <a:gd name="T40" fmla="*/ 104 w 82"/>
                <a:gd name="T41" fmla="*/ 325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69">
                  <a:moveTo>
                    <a:pt x="16" y="50"/>
                  </a:moveTo>
                  <a:cubicBezTo>
                    <a:pt x="15" y="44"/>
                    <a:pt x="4" y="56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48"/>
                    <a:pt x="6" y="44"/>
                    <a:pt x="8" y="42"/>
                  </a:cubicBezTo>
                  <a:cubicBezTo>
                    <a:pt x="10" y="40"/>
                    <a:pt x="14" y="34"/>
                    <a:pt x="14" y="26"/>
                  </a:cubicBezTo>
                  <a:cubicBezTo>
                    <a:pt x="14" y="18"/>
                    <a:pt x="5" y="9"/>
                    <a:pt x="5" y="9"/>
                  </a:cubicBezTo>
                  <a:cubicBezTo>
                    <a:pt x="13" y="4"/>
                    <a:pt x="19" y="3"/>
                    <a:pt x="25" y="2"/>
                  </a:cubicBezTo>
                  <a:cubicBezTo>
                    <a:pt x="30" y="0"/>
                    <a:pt x="37" y="6"/>
                    <a:pt x="41" y="4"/>
                  </a:cubicBezTo>
                  <a:cubicBezTo>
                    <a:pt x="42" y="4"/>
                    <a:pt x="47" y="2"/>
                    <a:pt x="51" y="0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51" y="9"/>
                    <a:pt x="55" y="17"/>
                    <a:pt x="60" y="18"/>
                  </a:cubicBezTo>
                  <a:cubicBezTo>
                    <a:pt x="64" y="18"/>
                    <a:pt x="77" y="23"/>
                    <a:pt x="79" y="23"/>
                  </a:cubicBezTo>
                  <a:cubicBezTo>
                    <a:pt x="82" y="24"/>
                    <a:pt x="79" y="33"/>
                    <a:pt x="75" y="33"/>
                  </a:cubicBezTo>
                  <a:cubicBezTo>
                    <a:pt x="72" y="34"/>
                    <a:pt x="63" y="31"/>
                    <a:pt x="59" y="33"/>
                  </a:cubicBezTo>
                  <a:cubicBezTo>
                    <a:pt x="54" y="35"/>
                    <a:pt x="46" y="35"/>
                    <a:pt x="42" y="39"/>
                  </a:cubicBezTo>
                  <a:cubicBezTo>
                    <a:pt x="39" y="42"/>
                    <a:pt x="34" y="48"/>
                    <a:pt x="34" y="48"/>
                  </a:cubicBezTo>
                  <a:cubicBezTo>
                    <a:pt x="34" y="48"/>
                    <a:pt x="31" y="51"/>
                    <a:pt x="28" y="53"/>
                  </a:cubicBezTo>
                  <a:cubicBezTo>
                    <a:pt x="25" y="55"/>
                    <a:pt x="14" y="60"/>
                    <a:pt x="10" y="63"/>
                  </a:cubicBezTo>
                  <a:cubicBezTo>
                    <a:pt x="6" y="65"/>
                    <a:pt x="9" y="66"/>
                    <a:pt x="6" y="67"/>
                  </a:cubicBezTo>
                  <a:cubicBezTo>
                    <a:pt x="3" y="69"/>
                    <a:pt x="1" y="69"/>
                    <a:pt x="0" y="66"/>
                  </a:cubicBezTo>
                  <a:cubicBezTo>
                    <a:pt x="0" y="63"/>
                    <a:pt x="17" y="52"/>
                    <a:pt x="16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6" name="Freeform 21">
              <a:extLst>
                <a:ext uri="{FF2B5EF4-FFF2-40B4-BE49-F238E27FC236}">
                  <a16:creationId xmlns:a16="http://schemas.microsoft.com/office/drawing/2014/main" id="{701CFAE6-DE68-4CCD-A797-63AEE8047D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4" y="1917"/>
              <a:ext cx="282" cy="161"/>
            </a:xfrm>
            <a:custGeom>
              <a:avLst/>
              <a:gdLst>
                <a:gd name="T0" fmla="*/ 908 w 151"/>
                <a:gd name="T1" fmla="*/ 249 h 86"/>
                <a:gd name="T2" fmla="*/ 977 w 151"/>
                <a:gd name="T3" fmla="*/ 399 h 86"/>
                <a:gd name="T4" fmla="*/ 977 w 151"/>
                <a:gd name="T5" fmla="*/ 421 h 86"/>
                <a:gd name="T6" fmla="*/ 924 w 151"/>
                <a:gd name="T7" fmla="*/ 487 h 86"/>
                <a:gd name="T8" fmla="*/ 796 w 151"/>
                <a:gd name="T9" fmla="*/ 564 h 86"/>
                <a:gd name="T10" fmla="*/ 728 w 151"/>
                <a:gd name="T11" fmla="*/ 543 h 86"/>
                <a:gd name="T12" fmla="*/ 652 w 151"/>
                <a:gd name="T13" fmla="*/ 474 h 86"/>
                <a:gd name="T14" fmla="*/ 571 w 151"/>
                <a:gd name="T15" fmla="*/ 453 h 86"/>
                <a:gd name="T16" fmla="*/ 519 w 151"/>
                <a:gd name="T17" fmla="*/ 386 h 86"/>
                <a:gd name="T18" fmla="*/ 430 w 151"/>
                <a:gd name="T19" fmla="*/ 438 h 86"/>
                <a:gd name="T20" fmla="*/ 220 w 151"/>
                <a:gd name="T21" fmla="*/ 427 h 86"/>
                <a:gd name="T22" fmla="*/ 105 w 151"/>
                <a:gd name="T23" fmla="*/ 453 h 86"/>
                <a:gd name="T24" fmla="*/ 13 w 151"/>
                <a:gd name="T25" fmla="*/ 479 h 86"/>
                <a:gd name="T26" fmla="*/ 0 w 151"/>
                <a:gd name="T27" fmla="*/ 427 h 86"/>
                <a:gd name="T28" fmla="*/ 13 w 151"/>
                <a:gd name="T29" fmla="*/ 329 h 86"/>
                <a:gd name="T30" fmla="*/ 60 w 151"/>
                <a:gd name="T31" fmla="*/ 285 h 86"/>
                <a:gd name="T32" fmla="*/ 65 w 151"/>
                <a:gd name="T33" fmla="*/ 210 h 86"/>
                <a:gd name="T34" fmla="*/ 97 w 151"/>
                <a:gd name="T35" fmla="*/ 144 h 86"/>
                <a:gd name="T36" fmla="*/ 144 w 151"/>
                <a:gd name="T37" fmla="*/ 129 h 86"/>
                <a:gd name="T38" fmla="*/ 217 w 151"/>
                <a:gd name="T39" fmla="*/ 92 h 86"/>
                <a:gd name="T40" fmla="*/ 226 w 151"/>
                <a:gd name="T41" fmla="*/ 137 h 86"/>
                <a:gd name="T42" fmla="*/ 286 w 151"/>
                <a:gd name="T43" fmla="*/ 189 h 86"/>
                <a:gd name="T44" fmla="*/ 314 w 151"/>
                <a:gd name="T45" fmla="*/ 256 h 86"/>
                <a:gd name="T46" fmla="*/ 383 w 151"/>
                <a:gd name="T47" fmla="*/ 277 h 86"/>
                <a:gd name="T48" fmla="*/ 458 w 151"/>
                <a:gd name="T49" fmla="*/ 204 h 86"/>
                <a:gd name="T50" fmla="*/ 435 w 151"/>
                <a:gd name="T51" fmla="*/ 84 h 86"/>
                <a:gd name="T52" fmla="*/ 443 w 151"/>
                <a:gd name="T53" fmla="*/ 39 h 86"/>
                <a:gd name="T54" fmla="*/ 495 w 151"/>
                <a:gd name="T55" fmla="*/ 24 h 86"/>
                <a:gd name="T56" fmla="*/ 592 w 151"/>
                <a:gd name="T57" fmla="*/ 13 h 86"/>
                <a:gd name="T58" fmla="*/ 704 w 151"/>
                <a:gd name="T59" fmla="*/ 120 h 86"/>
                <a:gd name="T60" fmla="*/ 768 w 151"/>
                <a:gd name="T61" fmla="*/ 92 h 86"/>
                <a:gd name="T62" fmla="*/ 833 w 151"/>
                <a:gd name="T63" fmla="*/ 92 h 86"/>
                <a:gd name="T64" fmla="*/ 833 w 151"/>
                <a:gd name="T65" fmla="*/ 92 h 86"/>
                <a:gd name="T66" fmla="*/ 900 w 151"/>
                <a:gd name="T67" fmla="*/ 157 h 86"/>
                <a:gd name="T68" fmla="*/ 908 w 151"/>
                <a:gd name="T69" fmla="*/ 249 h 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1" h="86">
                  <a:moveTo>
                    <a:pt x="139" y="38"/>
                  </a:moveTo>
                  <a:cubicBezTo>
                    <a:pt x="140" y="45"/>
                    <a:pt x="150" y="56"/>
                    <a:pt x="150" y="61"/>
                  </a:cubicBezTo>
                  <a:cubicBezTo>
                    <a:pt x="151" y="62"/>
                    <a:pt x="151" y="63"/>
                    <a:pt x="150" y="64"/>
                  </a:cubicBezTo>
                  <a:cubicBezTo>
                    <a:pt x="149" y="68"/>
                    <a:pt x="144" y="71"/>
                    <a:pt x="142" y="74"/>
                  </a:cubicBezTo>
                  <a:cubicBezTo>
                    <a:pt x="138" y="78"/>
                    <a:pt x="124" y="83"/>
                    <a:pt x="122" y="86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08" y="80"/>
                    <a:pt x="106" y="73"/>
                    <a:pt x="100" y="72"/>
                  </a:cubicBezTo>
                  <a:cubicBezTo>
                    <a:pt x="96" y="70"/>
                    <a:pt x="88" y="69"/>
                    <a:pt x="88" y="69"/>
                  </a:cubicBezTo>
                  <a:cubicBezTo>
                    <a:pt x="88" y="69"/>
                    <a:pt x="84" y="60"/>
                    <a:pt x="80" y="59"/>
                  </a:cubicBezTo>
                  <a:cubicBezTo>
                    <a:pt x="78" y="58"/>
                    <a:pt x="70" y="68"/>
                    <a:pt x="66" y="67"/>
                  </a:cubicBezTo>
                  <a:cubicBezTo>
                    <a:pt x="62" y="66"/>
                    <a:pt x="40" y="65"/>
                    <a:pt x="34" y="65"/>
                  </a:cubicBezTo>
                  <a:cubicBezTo>
                    <a:pt x="28" y="65"/>
                    <a:pt x="20" y="68"/>
                    <a:pt x="16" y="69"/>
                  </a:cubicBezTo>
                  <a:cubicBezTo>
                    <a:pt x="14" y="70"/>
                    <a:pt x="8" y="72"/>
                    <a:pt x="2" y="73"/>
                  </a:cubicBezTo>
                  <a:cubicBezTo>
                    <a:pt x="1" y="70"/>
                    <a:pt x="0" y="67"/>
                    <a:pt x="0" y="65"/>
                  </a:cubicBezTo>
                  <a:cubicBezTo>
                    <a:pt x="0" y="61"/>
                    <a:pt x="1" y="53"/>
                    <a:pt x="2" y="50"/>
                  </a:cubicBezTo>
                  <a:cubicBezTo>
                    <a:pt x="4" y="47"/>
                    <a:pt x="8" y="45"/>
                    <a:pt x="9" y="43"/>
                  </a:cubicBezTo>
                  <a:cubicBezTo>
                    <a:pt x="9" y="41"/>
                    <a:pt x="9" y="34"/>
                    <a:pt x="10" y="32"/>
                  </a:cubicBezTo>
                  <a:cubicBezTo>
                    <a:pt x="12" y="29"/>
                    <a:pt x="12" y="24"/>
                    <a:pt x="15" y="22"/>
                  </a:cubicBezTo>
                  <a:cubicBezTo>
                    <a:pt x="18" y="21"/>
                    <a:pt x="21" y="20"/>
                    <a:pt x="22" y="20"/>
                  </a:cubicBezTo>
                  <a:cubicBezTo>
                    <a:pt x="23" y="19"/>
                    <a:pt x="31" y="12"/>
                    <a:pt x="33" y="14"/>
                  </a:cubicBezTo>
                  <a:cubicBezTo>
                    <a:pt x="35" y="15"/>
                    <a:pt x="33" y="20"/>
                    <a:pt x="35" y="21"/>
                  </a:cubicBezTo>
                  <a:cubicBezTo>
                    <a:pt x="37" y="22"/>
                    <a:pt x="43" y="26"/>
                    <a:pt x="44" y="29"/>
                  </a:cubicBezTo>
                  <a:cubicBezTo>
                    <a:pt x="45" y="31"/>
                    <a:pt x="45" y="37"/>
                    <a:pt x="48" y="39"/>
                  </a:cubicBezTo>
                  <a:cubicBezTo>
                    <a:pt x="52" y="42"/>
                    <a:pt x="54" y="43"/>
                    <a:pt x="59" y="42"/>
                  </a:cubicBezTo>
                  <a:cubicBezTo>
                    <a:pt x="63" y="40"/>
                    <a:pt x="70" y="36"/>
                    <a:pt x="70" y="31"/>
                  </a:cubicBezTo>
                  <a:cubicBezTo>
                    <a:pt x="70" y="27"/>
                    <a:pt x="67" y="18"/>
                    <a:pt x="67" y="13"/>
                  </a:cubicBezTo>
                  <a:cubicBezTo>
                    <a:pt x="67" y="10"/>
                    <a:pt x="67" y="8"/>
                    <a:pt x="68" y="6"/>
                  </a:cubicBezTo>
                  <a:cubicBezTo>
                    <a:pt x="72" y="5"/>
                    <a:pt x="76" y="4"/>
                    <a:pt x="76" y="4"/>
                  </a:cubicBezTo>
                  <a:cubicBezTo>
                    <a:pt x="78" y="4"/>
                    <a:pt x="83" y="0"/>
                    <a:pt x="91" y="2"/>
                  </a:cubicBezTo>
                  <a:cubicBezTo>
                    <a:pt x="99" y="4"/>
                    <a:pt x="106" y="16"/>
                    <a:pt x="108" y="18"/>
                  </a:cubicBezTo>
                  <a:cubicBezTo>
                    <a:pt x="110" y="20"/>
                    <a:pt x="114" y="14"/>
                    <a:pt x="11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30" y="18"/>
                    <a:pt x="138" y="23"/>
                    <a:pt x="138" y="24"/>
                  </a:cubicBezTo>
                  <a:cubicBezTo>
                    <a:pt x="138" y="26"/>
                    <a:pt x="138" y="32"/>
                    <a:pt x="139" y="3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7" name="Freeform 22">
              <a:extLst>
                <a:ext uri="{FF2B5EF4-FFF2-40B4-BE49-F238E27FC236}">
                  <a16:creationId xmlns:a16="http://schemas.microsoft.com/office/drawing/2014/main" id="{03E03A33-D187-46E6-81C9-C55DE3769AC5}"/>
                </a:ext>
              </a:extLst>
            </p:cNvPr>
            <p:cNvSpPr>
              <a:spLocks/>
            </p:cNvSpPr>
            <p:nvPr/>
          </p:nvSpPr>
          <p:spPr bwMode="gray">
            <a:xfrm>
              <a:off x="2353" y="1018"/>
              <a:ext cx="804" cy="871"/>
            </a:xfrm>
            <a:custGeom>
              <a:avLst/>
              <a:gdLst>
                <a:gd name="T0" fmla="*/ 2602 w 431"/>
                <a:gd name="T1" fmla="*/ 390 h 467"/>
                <a:gd name="T2" fmla="*/ 2324 w 431"/>
                <a:gd name="T3" fmla="*/ 479 h 467"/>
                <a:gd name="T4" fmla="*/ 1953 w 431"/>
                <a:gd name="T5" fmla="*/ 474 h 467"/>
                <a:gd name="T6" fmla="*/ 1668 w 431"/>
                <a:gd name="T7" fmla="*/ 796 h 467"/>
                <a:gd name="T8" fmla="*/ 1395 w 431"/>
                <a:gd name="T9" fmla="*/ 1169 h 467"/>
                <a:gd name="T10" fmla="*/ 1222 w 431"/>
                <a:gd name="T11" fmla="*/ 1597 h 467"/>
                <a:gd name="T12" fmla="*/ 929 w 431"/>
                <a:gd name="T13" fmla="*/ 2205 h 467"/>
                <a:gd name="T14" fmla="*/ 849 w 431"/>
                <a:gd name="T15" fmla="*/ 2714 h 467"/>
                <a:gd name="T16" fmla="*/ 688 w 431"/>
                <a:gd name="T17" fmla="*/ 2790 h 467"/>
                <a:gd name="T18" fmla="*/ 563 w 431"/>
                <a:gd name="T19" fmla="*/ 2842 h 467"/>
                <a:gd name="T20" fmla="*/ 32 w 431"/>
                <a:gd name="T21" fmla="*/ 2814 h 467"/>
                <a:gd name="T22" fmla="*/ 121 w 431"/>
                <a:gd name="T23" fmla="*/ 2647 h 467"/>
                <a:gd name="T24" fmla="*/ 112 w 431"/>
                <a:gd name="T25" fmla="*/ 2565 h 467"/>
                <a:gd name="T26" fmla="*/ 136 w 431"/>
                <a:gd name="T27" fmla="*/ 2477 h 467"/>
                <a:gd name="T28" fmla="*/ 84 w 431"/>
                <a:gd name="T29" fmla="*/ 2272 h 467"/>
                <a:gd name="T30" fmla="*/ 265 w 431"/>
                <a:gd name="T31" fmla="*/ 2303 h 467"/>
                <a:gd name="T32" fmla="*/ 369 w 431"/>
                <a:gd name="T33" fmla="*/ 2264 h 467"/>
                <a:gd name="T34" fmla="*/ 164 w 431"/>
                <a:gd name="T35" fmla="*/ 2233 h 467"/>
                <a:gd name="T36" fmla="*/ 142 w 431"/>
                <a:gd name="T37" fmla="*/ 2152 h 467"/>
                <a:gd name="T38" fmla="*/ 241 w 431"/>
                <a:gd name="T39" fmla="*/ 1958 h 467"/>
                <a:gd name="T40" fmla="*/ 345 w 431"/>
                <a:gd name="T41" fmla="*/ 1951 h 467"/>
                <a:gd name="T42" fmla="*/ 427 w 431"/>
                <a:gd name="T43" fmla="*/ 1934 h 467"/>
                <a:gd name="T44" fmla="*/ 707 w 431"/>
                <a:gd name="T45" fmla="*/ 1746 h 467"/>
                <a:gd name="T46" fmla="*/ 845 w 431"/>
                <a:gd name="T47" fmla="*/ 1802 h 467"/>
                <a:gd name="T48" fmla="*/ 894 w 431"/>
                <a:gd name="T49" fmla="*/ 1660 h 467"/>
                <a:gd name="T50" fmla="*/ 720 w 431"/>
                <a:gd name="T51" fmla="*/ 1708 h 467"/>
                <a:gd name="T52" fmla="*/ 981 w 431"/>
                <a:gd name="T53" fmla="*/ 1479 h 467"/>
                <a:gd name="T54" fmla="*/ 1037 w 431"/>
                <a:gd name="T55" fmla="*/ 1380 h 467"/>
                <a:gd name="T56" fmla="*/ 1089 w 431"/>
                <a:gd name="T57" fmla="*/ 1276 h 467"/>
                <a:gd name="T58" fmla="*/ 1267 w 431"/>
                <a:gd name="T59" fmla="*/ 1147 h 467"/>
                <a:gd name="T60" fmla="*/ 1183 w 431"/>
                <a:gd name="T61" fmla="*/ 1044 h 467"/>
                <a:gd name="T62" fmla="*/ 1259 w 431"/>
                <a:gd name="T63" fmla="*/ 985 h 467"/>
                <a:gd name="T64" fmla="*/ 1351 w 431"/>
                <a:gd name="T65" fmla="*/ 916 h 467"/>
                <a:gd name="T66" fmla="*/ 1343 w 431"/>
                <a:gd name="T67" fmla="*/ 824 h 467"/>
                <a:gd name="T68" fmla="*/ 1513 w 431"/>
                <a:gd name="T69" fmla="*/ 712 h 467"/>
                <a:gd name="T70" fmla="*/ 1513 w 431"/>
                <a:gd name="T71" fmla="*/ 651 h 467"/>
                <a:gd name="T72" fmla="*/ 1162 w 431"/>
                <a:gd name="T73" fmla="*/ 793 h 467"/>
                <a:gd name="T74" fmla="*/ 1330 w 431"/>
                <a:gd name="T75" fmla="*/ 608 h 467"/>
                <a:gd name="T76" fmla="*/ 1500 w 431"/>
                <a:gd name="T77" fmla="*/ 494 h 467"/>
                <a:gd name="T78" fmla="*/ 1612 w 431"/>
                <a:gd name="T79" fmla="*/ 532 h 467"/>
                <a:gd name="T80" fmla="*/ 1726 w 431"/>
                <a:gd name="T81" fmla="*/ 323 h 467"/>
                <a:gd name="T82" fmla="*/ 1862 w 431"/>
                <a:gd name="T83" fmla="*/ 317 h 467"/>
                <a:gd name="T84" fmla="*/ 1949 w 431"/>
                <a:gd name="T85" fmla="*/ 220 h 467"/>
                <a:gd name="T86" fmla="*/ 2136 w 431"/>
                <a:gd name="T87" fmla="*/ 293 h 467"/>
                <a:gd name="T88" fmla="*/ 2136 w 431"/>
                <a:gd name="T89" fmla="*/ 121 h 467"/>
                <a:gd name="T90" fmla="*/ 2244 w 431"/>
                <a:gd name="T91" fmla="*/ 73 h 467"/>
                <a:gd name="T92" fmla="*/ 2244 w 431"/>
                <a:gd name="T93" fmla="*/ 157 h 467"/>
                <a:gd name="T94" fmla="*/ 2311 w 431"/>
                <a:gd name="T95" fmla="*/ 149 h 467"/>
                <a:gd name="T96" fmla="*/ 2429 w 431"/>
                <a:gd name="T97" fmla="*/ 76 h 467"/>
                <a:gd name="T98" fmla="*/ 2485 w 431"/>
                <a:gd name="T99" fmla="*/ 104 h 467"/>
                <a:gd name="T100" fmla="*/ 2572 w 431"/>
                <a:gd name="T101" fmla="*/ 65 h 467"/>
                <a:gd name="T102" fmla="*/ 2738 w 431"/>
                <a:gd name="T103" fmla="*/ 129 h 467"/>
                <a:gd name="T104" fmla="*/ 2578 w 431"/>
                <a:gd name="T105" fmla="*/ 254 h 467"/>
                <a:gd name="T106" fmla="*/ 2731 w 431"/>
                <a:gd name="T107" fmla="*/ 345 h 46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31" h="467">
                  <a:moveTo>
                    <a:pt x="409" y="77"/>
                  </a:moveTo>
                  <a:cubicBezTo>
                    <a:pt x="409" y="77"/>
                    <a:pt x="409" y="77"/>
                    <a:pt x="409" y="77"/>
                  </a:cubicBezTo>
                  <a:cubicBezTo>
                    <a:pt x="407" y="78"/>
                    <a:pt x="406" y="78"/>
                    <a:pt x="405" y="78"/>
                  </a:cubicBezTo>
                  <a:cubicBezTo>
                    <a:pt x="400" y="78"/>
                    <a:pt x="399" y="76"/>
                    <a:pt x="397" y="74"/>
                  </a:cubicBezTo>
                  <a:cubicBezTo>
                    <a:pt x="397" y="72"/>
                    <a:pt x="399" y="63"/>
                    <a:pt x="401" y="60"/>
                  </a:cubicBezTo>
                  <a:cubicBezTo>
                    <a:pt x="401" y="57"/>
                    <a:pt x="396" y="53"/>
                    <a:pt x="393" y="53"/>
                  </a:cubicBezTo>
                  <a:cubicBezTo>
                    <a:pt x="391" y="53"/>
                    <a:pt x="385" y="46"/>
                    <a:pt x="383" y="45"/>
                  </a:cubicBezTo>
                  <a:cubicBezTo>
                    <a:pt x="381" y="44"/>
                    <a:pt x="377" y="49"/>
                    <a:pt x="374" y="49"/>
                  </a:cubicBezTo>
                  <a:cubicBezTo>
                    <a:pt x="371" y="49"/>
                    <a:pt x="367" y="47"/>
                    <a:pt x="365" y="49"/>
                  </a:cubicBezTo>
                  <a:cubicBezTo>
                    <a:pt x="363" y="52"/>
                    <a:pt x="358" y="67"/>
                    <a:pt x="358" y="74"/>
                  </a:cubicBezTo>
                  <a:cubicBezTo>
                    <a:pt x="358" y="81"/>
                    <a:pt x="351" y="91"/>
                    <a:pt x="348" y="92"/>
                  </a:cubicBezTo>
                  <a:cubicBezTo>
                    <a:pt x="345" y="94"/>
                    <a:pt x="331" y="92"/>
                    <a:pt x="331" y="92"/>
                  </a:cubicBezTo>
                  <a:cubicBezTo>
                    <a:pt x="331" y="92"/>
                    <a:pt x="321" y="91"/>
                    <a:pt x="319" y="91"/>
                  </a:cubicBezTo>
                  <a:cubicBezTo>
                    <a:pt x="317" y="90"/>
                    <a:pt x="312" y="79"/>
                    <a:pt x="311" y="75"/>
                  </a:cubicBezTo>
                  <a:cubicBezTo>
                    <a:pt x="309" y="72"/>
                    <a:pt x="306" y="73"/>
                    <a:pt x="301" y="73"/>
                  </a:cubicBezTo>
                  <a:cubicBezTo>
                    <a:pt x="296" y="72"/>
                    <a:pt x="291" y="77"/>
                    <a:pt x="289" y="82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106"/>
                    <a:pt x="264" y="99"/>
                    <a:pt x="261" y="102"/>
                  </a:cubicBezTo>
                  <a:cubicBezTo>
                    <a:pt x="259" y="104"/>
                    <a:pt x="259" y="122"/>
                    <a:pt x="257" y="123"/>
                  </a:cubicBezTo>
                  <a:cubicBezTo>
                    <a:pt x="255" y="123"/>
                    <a:pt x="247" y="117"/>
                    <a:pt x="247" y="117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38" y="124"/>
                    <a:pt x="229" y="137"/>
                    <a:pt x="227" y="140"/>
                  </a:cubicBezTo>
                  <a:cubicBezTo>
                    <a:pt x="225" y="143"/>
                    <a:pt x="228" y="152"/>
                    <a:pt x="227" y="156"/>
                  </a:cubicBezTo>
                  <a:cubicBezTo>
                    <a:pt x="226" y="161"/>
                    <a:pt x="216" y="179"/>
                    <a:pt x="215" y="180"/>
                  </a:cubicBezTo>
                  <a:cubicBezTo>
                    <a:pt x="213" y="181"/>
                    <a:pt x="208" y="185"/>
                    <a:pt x="208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5"/>
                    <a:pt x="197" y="205"/>
                    <a:pt x="197" y="213"/>
                  </a:cubicBezTo>
                  <a:cubicBezTo>
                    <a:pt x="197" y="220"/>
                    <a:pt x="185" y="233"/>
                    <a:pt x="182" y="236"/>
                  </a:cubicBezTo>
                  <a:cubicBezTo>
                    <a:pt x="179" y="240"/>
                    <a:pt x="189" y="243"/>
                    <a:pt x="188" y="246"/>
                  </a:cubicBezTo>
                  <a:cubicBezTo>
                    <a:pt x="187" y="250"/>
                    <a:pt x="185" y="262"/>
                    <a:pt x="183" y="262"/>
                  </a:cubicBezTo>
                  <a:cubicBezTo>
                    <a:pt x="181" y="262"/>
                    <a:pt x="172" y="259"/>
                    <a:pt x="167" y="260"/>
                  </a:cubicBezTo>
                  <a:cubicBezTo>
                    <a:pt x="161" y="262"/>
                    <a:pt x="150" y="285"/>
                    <a:pt x="149" y="289"/>
                  </a:cubicBezTo>
                  <a:cubicBezTo>
                    <a:pt x="148" y="293"/>
                    <a:pt x="149" y="313"/>
                    <a:pt x="149" y="313"/>
                  </a:cubicBezTo>
                  <a:cubicBezTo>
                    <a:pt x="149" y="313"/>
                    <a:pt x="143" y="337"/>
                    <a:pt x="143" y="340"/>
                  </a:cubicBezTo>
                  <a:cubicBezTo>
                    <a:pt x="143" y="343"/>
                    <a:pt x="154" y="350"/>
                    <a:pt x="154" y="355"/>
                  </a:cubicBezTo>
                  <a:cubicBezTo>
                    <a:pt x="154" y="359"/>
                    <a:pt x="153" y="364"/>
                    <a:pt x="151" y="367"/>
                  </a:cubicBezTo>
                  <a:cubicBezTo>
                    <a:pt x="149" y="371"/>
                    <a:pt x="144" y="369"/>
                    <a:pt x="142" y="372"/>
                  </a:cubicBezTo>
                  <a:cubicBezTo>
                    <a:pt x="140" y="376"/>
                    <a:pt x="147" y="391"/>
                    <a:pt x="145" y="399"/>
                  </a:cubicBezTo>
                  <a:cubicBezTo>
                    <a:pt x="143" y="407"/>
                    <a:pt x="135" y="412"/>
                    <a:pt x="131" y="418"/>
                  </a:cubicBezTo>
                  <a:cubicBezTo>
                    <a:pt x="127" y="423"/>
                    <a:pt x="131" y="440"/>
                    <a:pt x="131" y="440"/>
                  </a:cubicBezTo>
                  <a:cubicBezTo>
                    <a:pt x="131" y="440"/>
                    <a:pt x="128" y="442"/>
                    <a:pt x="126" y="445"/>
                  </a:cubicBezTo>
                  <a:cubicBezTo>
                    <a:pt x="124" y="449"/>
                    <a:pt x="119" y="438"/>
                    <a:pt x="117" y="438"/>
                  </a:cubicBezTo>
                  <a:cubicBezTo>
                    <a:pt x="116" y="438"/>
                    <a:pt x="114" y="439"/>
                    <a:pt x="112" y="440"/>
                  </a:cubicBezTo>
                  <a:cubicBezTo>
                    <a:pt x="110" y="437"/>
                    <a:pt x="106" y="434"/>
                    <a:pt x="106" y="430"/>
                  </a:cubicBezTo>
                  <a:cubicBezTo>
                    <a:pt x="106" y="427"/>
                    <a:pt x="110" y="410"/>
                    <a:pt x="108" y="410"/>
                  </a:cubicBezTo>
                  <a:cubicBezTo>
                    <a:pt x="103" y="410"/>
                    <a:pt x="105" y="415"/>
                    <a:pt x="97" y="419"/>
                  </a:cubicBezTo>
                  <a:cubicBezTo>
                    <a:pt x="92" y="421"/>
                    <a:pt x="100" y="425"/>
                    <a:pt x="100" y="428"/>
                  </a:cubicBezTo>
                  <a:cubicBezTo>
                    <a:pt x="100" y="431"/>
                    <a:pt x="98" y="436"/>
                    <a:pt x="96" y="437"/>
                  </a:cubicBezTo>
                  <a:cubicBezTo>
                    <a:pt x="94" y="438"/>
                    <a:pt x="88" y="439"/>
                    <a:pt x="87" y="438"/>
                  </a:cubicBezTo>
                  <a:cubicBezTo>
                    <a:pt x="85" y="438"/>
                    <a:pt x="82" y="443"/>
                    <a:pt x="79" y="444"/>
                  </a:cubicBezTo>
                  <a:cubicBezTo>
                    <a:pt x="76" y="446"/>
                    <a:pt x="54" y="466"/>
                    <a:pt x="51" y="466"/>
                  </a:cubicBezTo>
                  <a:cubicBezTo>
                    <a:pt x="48" y="466"/>
                    <a:pt x="27" y="467"/>
                    <a:pt x="22" y="462"/>
                  </a:cubicBezTo>
                  <a:cubicBezTo>
                    <a:pt x="17" y="458"/>
                    <a:pt x="29" y="455"/>
                    <a:pt x="22" y="453"/>
                  </a:cubicBezTo>
                  <a:cubicBezTo>
                    <a:pt x="13" y="449"/>
                    <a:pt x="4" y="438"/>
                    <a:pt x="5" y="434"/>
                  </a:cubicBezTo>
                  <a:cubicBezTo>
                    <a:pt x="6" y="431"/>
                    <a:pt x="7" y="424"/>
                    <a:pt x="9" y="423"/>
                  </a:cubicBezTo>
                  <a:cubicBezTo>
                    <a:pt x="10" y="422"/>
                    <a:pt x="14" y="429"/>
                    <a:pt x="16" y="428"/>
                  </a:cubicBezTo>
                  <a:cubicBezTo>
                    <a:pt x="19" y="426"/>
                    <a:pt x="17" y="417"/>
                    <a:pt x="21" y="417"/>
                  </a:cubicBezTo>
                  <a:cubicBezTo>
                    <a:pt x="24" y="417"/>
                    <a:pt x="22" y="412"/>
                    <a:pt x="23" y="410"/>
                  </a:cubicBezTo>
                  <a:cubicBezTo>
                    <a:pt x="23" y="408"/>
                    <a:pt x="22" y="408"/>
                    <a:pt x="19" y="408"/>
                  </a:cubicBezTo>
                  <a:cubicBezTo>
                    <a:pt x="16" y="409"/>
                    <a:pt x="18" y="409"/>
                    <a:pt x="15" y="412"/>
                  </a:cubicBezTo>
                  <a:cubicBezTo>
                    <a:pt x="13" y="414"/>
                    <a:pt x="6" y="419"/>
                    <a:pt x="3" y="418"/>
                  </a:cubicBezTo>
                  <a:cubicBezTo>
                    <a:pt x="0" y="418"/>
                    <a:pt x="1" y="413"/>
                    <a:pt x="3" y="411"/>
                  </a:cubicBezTo>
                  <a:cubicBezTo>
                    <a:pt x="4" y="408"/>
                    <a:pt x="5" y="403"/>
                    <a:pt x="8" y="401"/>
                  </a:cubicBezTo>
                  <a:cubicBezTo>
                    <a:pt x="11" y="400"/>
                    <a:pt x="16" y="396"/>
                    <a:pt x="17" y="395"/>
                  </a:cubicBezTo>
                  <a:cubicBezTo>
                    <a:pt x="19" y="393"/>
                    <a:pt x="26" y="388"/>
                    <a:pt x="27" y="386"/>
                  </a:cubicBezTo>
                  <a:cubicBezTo>
                    <a:pt x="27" y="385"/>
                    <a:pt x="29" y="381"/>
                    <a:pt x="31" y="379"/>
                  </a:cubicBezTo>
                  <a:cubicBezTo>
                    <a:pt x="33" y="378"/>
                    <a:pt x="38" y="378"/>
                    <a:pt x="38" y="376"/>
                  </a:cubicBezTo>
                  <a:cubicBezTo>
                    <a:pt x="38" y="375"/>
                    <a:pt x="35" y="373"/>
                    <a:pt x="30" y="374"/>
                  </a:cubicBezTo>
                  <a:cubicBezTo>
                    <a:pt x="26" y="376"/>
                    <a:pt x="22" y="379"/>
                    <a:pt x="21" y="382"/>
                  </a:cubicBezTo>
                  <a:cubicBezTo>
                    <a:pt x="20" y="385"/>
                    <a:pt x="16" y="387"/>
                    <a:pt x="14" y="389"/>
                  </a:cubicBezTo>
                  <a:cubicBezTo>
                    <a:pt x="12" y="390"/>
                    <a:pt x="8" y="396"/>
                    <a:pt x="6" y="392"/>
                  </a:cubicBezTo>
                  <a:cubicBezTo>
                    <a:pt x="5" y="387"/>
                    <a:pt x="10" y="375"/>
                    <a:pt x="10" y="371"/>
                  </a:cubicBezTo>
                  <a:cubicBezTo>
                    <a:pt x="10" y="367"/>
                    <a:pt x="9" y="359"/>
                    <a:pt x="10" y="356"/>
                  </a:cubicBezTo>
                  <a:cubicBezTo>
                    <a:pt x="11" y="352"/>
                    <a:pt x="12" y="351"/>
                    <a:pt x="13" y="350"/>
                  </a:cubicBezTo>
                  <a:cubicBezTo>
                    <a:pt x="14" y="349"/>
                    <a:pt x="17" y="349"/>
                    <a:pt x="18" y="350"/>
                  </a:cubicBezTo>
                  <a:cubicBezTo>
                    <a:pt x="19" y="351"/>
                    <a:pt x="20" y="353"/>
                    <a:pt x="22" y="353"/>
                  </a:cubicBezTo>
                  <a:cubicBezTo>
                    <a:pt x="24" y="353"/>
                    <a:pt x="26" y="351"/>
                    <a:pt x="28" y="351"/>
                  </a:cubicBezTo>
                  <a:cubicBezTo>
                    <a:pt x="30" y="351"/>
                    <a:pt x="35" y="353"/>
                    <a:pt x="37" y="354"/>
                  </a:cubicBezTo>
                  <a:cubicBezTo>
                    <a:pt x="38" y="355"/>
                    <a:pt x="39" y="355"/>
                    <a:pt x="41" y="355"/>
                  </a:cubicBezTo>
                  <a:cubicBezTo>
                    <a:pt x="43" y="354"/>
                    <a:pt x="43" y="352"/>
                    <a:pt x="45" y="352"/>
                  </a:cubicBezTo>
                  <a:cubicBezTo>
                    <a:pt x="47" y="353"/>
                    <a:pt x="47" y="356"/>
                    <a:pt x="49" y="356"/>
                  </a:cubicBezTo>
                  <a:cubicBezTo>
                    <a:pt x="52" y="356"/>
                    <a:pt x="55" y="355"/>
                    <a:pt x="56" y="355"/>
                  </a:cubicBezTo>
                  <a:cubicBezTo>
                    <a:pt x="58" y="355"/>
                    <a:pt x="61" y="352"/>
                    <a:pt x="61" y="351"/>
                  </a:cubicBezTo>
                  <a:cubicBezTo>
                    <a:pt x="61" y="350"/>
                    <a:pt x="58" y="349"/>
                    <a:pt x="57" y="349"/>
                  </a:cubicBezTo>
                  <a:cubicBezTo>
                    <a:pt x="56" y="349"/>
                    <a:pt x="52" y="350"/>
                    <a:pt x="51" y="349"/>
                  </a:cubicBezTo>
                  <a:cubicBezTo>
                    <a:pt x="51" y="348"/>
                    <a:pt x="43" y="342"/>
                    <a:pt x="41" y="345"/>
                  </a:cubicBezTo>
                  <a:cubicBezTo>
                    <a:pt x="40" y="346"/>
                    <a:pt x="42" y="349"/>
                    <a:pt x="39" y="348"/>
                  </a:cubicBezTo>
                  <a:cubicBezTo>
                    <a:pt x="37" y="347"/>
                    <a:pt x="36" y="346"/>
                    <a:pt x="33" y="345"/>
                  </a:cubicBezTo>
                  <a:cubicBezTo>
                    <a:pt x="29" y="344"/>
                    <a:pt x="28" y="344"/>
                    <a:pt x="25" y="344"/>
                  </a:cubicBezTo>
                  <a:cubicBezTo>
                    <a:pt x="22" y="345"/>
                    <a:pt x="23" y="347"/>
                    <a:pt x="21" y="344"/>
                  </a:cubicBezTo>
                  <a:cubicBezTo>
                    <a:pt x="19" y="341"/>
                    <a:pt x="15" y="342"/>
                    <a:pt x="12" y="343"/>
                  </a:cubicBezTo>
                  <a:cubicBezTo>
                    <a:pt x="10" y="344"/>
                    <a:pt x="7" y="348"/>
                    <a:pt x="7" y="344"/>
                  </a:cubicBezTo>
                  <a:cubicBezTo>
                    <a:pt x="7" y="340"/>
                    <a:pt x="12" y="336"/>
                    <a:pt x="17" y="335"/>
                  </a:cubicBezTo>
                  <a:cubicBezTo>
                    <a:pt x="21" y="334"/>
                    <a:pt x="22" y="334"/>
                    <a:pt x="22" y="332"/>
                  </a:cubicBezTo>
                  <a:cubicBezTo>
                    <a:pt x="21" y="329"/>
                    <a:pt x="17" y="330"/>
                    <a:pt x="18" y="325"/>
                  </a:cubicBezTo>
                  <a:cubicBezTo>
                    <a:pt x="20" y="321"/>
                    <a:pt x="20" y="316"/>
                    <a:pt x="22" y="315"/>
                  </a:cubicBezTo>
                  <a:cubicBezTo>
                    <a:pt x="25" y="313"/>
                    <a:pt x="27" y="316"/>
                    <a:pt x="29" y="314"/>
                  </a:cubicBezTo>
                  <a:cubicBezTo>
                    <a:pt x="31" y="313"/>
                    <a:pt x="25" y="309"/>
                    <a:pt x="28" y="307"/>
                  </a:cubicBezTo>
                  <a:cubicBezTo>
                    <a:pt x="30" y="306"/>
                    <a:pt x="34" y="302"/>
                    <a:pt x="37" y="302"/>
                  </a:cubicBezTo>
                  <a:cubicBezTo>
                    <a:pt x="40" y="302"/>
                    <a:pt x="41" y="302"/>
                    <a:pt x="41" y="303"/>
                  </a:cubicBezTo>
                  <a:cubicBezTo>
                    <a:pt x="41" y="305"/>
                    <a:pt x="43" y="308"/>
                    <a:pt x="47" y="308"/>
                  </a:cubicBezTo>
                  <a:cubicBezTo>
                    <a:pt x="51" y="308"/>
                    <a:pt x="54" y="306"/>
                    <a:pt x="55" y="307"/>
                  </a:cubicBezTo>
                  <a:cubicBezTo>
                    <a:pt x="60" y="309"/>
                    <a:pt x="59" y="305"/>
                    <a:pt x="59" y="304"/>
                  </a:cubicBezTo>
                  <a:cubicBezTo>
                    <a:pt x="59" y="302"/>
                    <a:pt x="56" y="302"/>
                    <a:pt x="53" y="301"/>
                  </a:cubicBezTo>
                  <a:cubicBezTo>
                    <a:pt x="50" y="301"/>
                    <a:pt x="49" y="303"/>
                    <a:pt x="48" y="301"/>
                  </a:cubicBezTo>
                  <a:cubicBezTo>
                    <a:pt x="47" y="300"/>
                    <a:pt x="47" y="298"/>
                    <a:pt x="46" y="298"/>
                  </a:cubicBezTo>
                  <a:cubicBezTo>
                    <a:pt x="44" y="297"/>
                    <a:pt x="45" y="296"/>
                    <a:pt x="48" y="294"/>
                  </a:cubicBezTo>
                  <a:cubicBezTo>
                    <a:pt x="51" y="292"/>
                    <a:pt x="51" y="294"/>
                    <a:pt x="54" y="294"/>
                  </a:cubicBezTo>
                  <a:cubicBezTo>
                    <a:pt x="57" y="294"/>
                    <a:pt x="63" y="298"/>
                    <a:pt x="66" y="298"/>
                  </a:cubicBezTo>
                  <a:cubicBezTo>
                    <a:pt x="68" y="299"/>
                    <a:pt x="74" y="296"/>
                    <a:pt x="74" y="295"/>
                  </a:cubicBezTo>
                  <a:cubicBezTo>
                    <a:pt x="73" y="293"/>
                    <a:pt x="61" y="292"/>
                    <a:pt x="61" y="289"/>
                  </a:cubicBezTo>
                  <a:cubicBezTo>
                    <a:pt x="61" y="286"/>
                    <a:pt x="61" y="285"/>
                    <a:pt x="66" y="284"/>
                  </a:cubicBezTo>
                  <a:cubicBezTo>
                    <a:pt x="70" y="284"/>
                    <a:pt x="87" y="278"/>
                    <a:pt x="90" y="277"/>
                  </a:cubicBezTo>
                  <a:cubicBezTo>
                    <a:pt x="92" y="276"/>
                    <a:pt x="108" y="269"/>
                    <a:pt x="109" y="269"/>
                  </a:cubicBezTo>
                  <a:cubicBezTo>
                    <a:pt x="111" y="269"/>
                    <a:pt x="112" y="271"/>
                    <a:pt x="112" y="274"/>
                  </a:cubicBezTo>
                  <a:cubicBezTo>
                    <a:pt x="112" y="276"/>
                    <a:pt x="112" y="279"/>
                    <a:pt x="112" y="280"/>
                  </a:cubicBezTo>
                  <a:cubicBezTo>
                    <a:pt x="113" y="280"/>
                    <a:pt x="116" y="282"/>
                    <a:pt x="118" y="282"/>
                  </a:cubicBezTo>
                  <a:cubicBezTo>
                    <a:pt x="119" y="282"/>
                    <a:pt x="119" y="278"/>
                    <a:pt x="121" y="277"/>
                  </a:cubicBezTo>
                  <a:cubicBezTo>
                    <a:pt x="122" y="277"/>
                    <a:pt x="128" y="279"/>
                    <a:pt x="130" y="278"/>
                  </a:cubicBezTo>
                  <a:cubicBezTo>
                    <a:pt x="132" y="277"/>
                    <a:pt x="129" y="272"/>
                    <a:pt x="130" y="271"/>
                  </a:cubicBezTo>
                  <a:cubicBezTo>
                    <a:pt x="131" y="271"/>
                    <a:pt x="140" y="269"/>
                    <a:pt x="141" y="267"/>
                  </a:cubicBezTo>
                  <a:cubicBezTo>
                    <a:pt x="142" y="265"/>
                    <a:pt x="139" y="263"/>
                    <a:pt x="140" y="261"/>
                  </a:cubicBezTo>
                  <a:cubicBezTo>
                    <a:pt x="141" y="260"/>
                    <a:pt x="145" y="259"/>
                    <a:pt x="144" y="257"/>
                  </a:cubicBezTo>
                  <a:cubicBezTo>
                    <a:pt x="142" y="255"/>
                    <a:pt x="139" y="256"/>
                    <a:pt x="138" y="256"/>
                  </a:cubicBezTo>
                  <a:cubicBezTo>
                    <a:pt x="137" y="256"/>
                    <a:pt x="132" y="259"/>
                    <a:pt x="131" y="259"/>
                  </a:cubicBezTo>
                  <a:cubicBezTo>
                    <a:pt x="130" y="260"/>
                    <a:pt x="134" y="262"/>
                    <a:pt x="132" y="264"/>
                  </a:cubicBezTo>
                  <a:cubicBezTo>
                    <a:pt x="129" y="266"/>
                    <a:pt x="119" y="273"/>
                    <a:pt x="118" y="272"/>
                  </a:cubicBezTo>
                  <a:cubicBezTo>
                    <a:pt x="117" y="271"/>
                    <a:pt x="118" y="266"/>
                    <a:pt x="116" y="265"/>
                  </a:cubicBezTo>
                  <a:cubicBezTo>
                    <a:pt x="114" y="263"/>
                    <a:pt x="111" y="264"/>
                    <a:pt x="111" y="263"/>
                  </a:cubicBezTo>
                  <a:cubicBezTo>
                    <a:pt x="111" y="258"/>
                    <a:pt x="119" y="259"/>
                    <a:pt x="120" y="257"/>
                  </a:cubicBezTo>
                  <a:cubicBezTo>
                    <a:pt x="121" y="256"/>
                    <a:pt x="122" y="251"/>
                    <a:pt x="123" y="250"/>
                  </a:cubicBezTo>
                  <a:cubicBezTo>
                    <a:pt x="124" y="248"/>
                    <a:pt x="138" y="236"/>
                    <a:pt x="140" y="235"/>
                  </a:cubicBezTo>
                  <a:cubicBezTo>
                    <a:pt x="143" y="235"/>
                    <a:pt x="150" y="234"/>
                    <a:pt x="151" y="233"/>
                  </a:cubicBezTo>
                  <a:cubicBezTo>
                    <a:pt x="153" y="232"/>
                    <a:pt x="152" y="229"/>
                    <a:pt x="151" y="228"/>
                  </a:cubicBezTo>
                  <a:cubicBezTo>
                    <a:pt x="150" y="227"/>
                    <a:pt x="143" y="229"/>
                    <a:pt x="142" y="229"/>
                  </a:cubicBezTo>
                  <a:cubicBezTo>
                    <a:pt x="142" y="229"/>
                    <a:pt x="134" y="228"/>
                    <a:pt x="135" y="226"/>
                  </a:cubicBezTo>
                  <a:cubicBezTo>
                    <a:pt x="136" y="223"/>
                    <a:pt x="139" y="220"/>
                    <a:pt x="141" y="220"/>
                  </a:cubicBezTo>
                  <a:cubicBezTo>
                    <a:pt x="142" y="220"/>
                    <a:pt x="147" y="223"/>
                    <a:pt x="149" y="222"/>
                  </a:cubicBezTo>
                  <a:cubicBezTo>
                    <a:pt x="151" y="221"/>
                    <a:pt x="159" y="215"/>
                    <a:pt x="160" y="213"/>
                  </a:cubicBezTo>
                  <a:cubicBezTo>
                    <a:pt x="160" y="211"/>
                    <a:pt x="160" y="205"/>
                    <a:pt x="161" y="204"/>
                  </a:cubicBezTo>
                  <a:cubicBezTo>
                    <a:pt x="162" y="203"/>
                    <a:pt x="164" y="203"/>
                    <a:pt x="164" y="205"/>
                  </a:cubicBezTo>
                  <a:cubicBezTo>
                    <a:pt x="164" y="206"/>
                    <a:pt x="167" y="209"/>
                    <a:pt x="168" y="208"/>
                  </a:cubicBezTo>
                  <a:cubicBezTo>
                    <a:pt x="170" y="208"/>
                    <a:pt x="170" y="208"/>
                    <a:pt x="171" y="206"/>
                  </a:cubicBezTo>
                  <a:cubicBezTo>
                    <a:pt x="171" y="205"/>
                    <a:pt x="169" y="198"/>
                    <a:pt x="168" y="197"/>
                  </a:cubicBezTo>
                  <a:cubicBezTo>
                    <a:pt x="167" y="196"/>
                    <a:pt x="164" y="193"/>
                    <a:pt x="165" y="191"/>
                  </a:cubicBezTo>
                  <a:cubicBezTo>
                    <a:pt x="165" y="189"/>
                    <a:pt x="168" y="187"/>
                    <a:pt x="170" y="186"/>
                  </a:cubicBezTo>
                  <a:cubicBezTo>
                    <a:pt x="172" y="186"/>
                    <a:pt x="181" y="183"/>
                    <a:pt x="183" y="183"/>
                  </a:cubicBezTo>
                  <a:cubicBezTo>
                    <a:pt x="184" y="183"/>
                    <a:pt x="183" y="187"/>
                    <a:pt x="187" y="186"/>
                  </a:cubicBezTo>
                  <a:cubicBezTo>
                    <a:pt x="190" y="185"/>
                    <a:pt x="196" y="179"/>
                    <a:pt x="195" y="177"/>
                  </a:cubicBezTo>
                  <a:cubicBezTo>
                    <a:pt x="193" y="175"/>
                    <a:pt x="179" y="178"/>
                    <a:pt x="177" y="178"/>
                  </a:cubicBezTo>
                  <a:cubicBezTo>
                    <a:pt x="176" y="178"/>
                    <a:pt x="171" y="180"/>
                    <a:pt x="171" y="179"/>
                  </a:cubicBezTo>
                  <a:cubicBezTo>
                    <a:pt x="171" y="177"/>
                    <a:pt x="176" y="171"/>
                    <a:pt x="178" y="171"/>
                  </a:cubicBezTo>
                  <a:cubicBezTo>
                    <a:pt x="179" y="170"/>
                    <a:pt x="181" y="168"/>
                    <a:pt x="181" y="166"/>
                  </a:cubicBezTo>
                  <a:cubicBezTo>
                    <a:pt x="181" y="164"/>
                    <a:pt x="181" y="162"/>
                    <a:pt x="182" y="161"/>
                  </a:cubicBezTo>
                  <a:cubicBezTo>
                    <a:pt x="183" y="160"/>
                    <a:pt x="189" y="163"/>
                    <a:pt x="191" y="163"/>
                  </a:cubicBezTo>
                  <a:cubicBezTo>
                    <a:pt x="194" y="163"/>
                    <a:pt x="195" y="161"/>
                    <a:pt x="195" y="160"/>
                  </a:cubicBezTo>
                  <a:cubicBezTo>
                    <a:pt x="195" y="159"/>
                    <a:pt x="189" y="157"/>
                    <a:pt x="189" y="155"/>
                  </a:cubicBezTo>
                  <a:cubicBezTo>
                    <a:pt x="189" y="154"/>
                    <a:pt x="192" y="154"/>
                    <a:pt x="192" y="154"/>
                  </a:cubicBezTo>
                  <a:cubicBezTo>
                    <a:pt x="193" y="154"/>
                    <a:pt x="194" y="153"/>
                    <a:pt x="194" y="152"/>
                  </a:cubicBezTo>
                  <a:cubicBezTo>
                    <a:pt x="196" y="149"/>
                    <a:pt x="196" y="148"/>
                    <a:pt x="197" y="148"/>
                  </a:cubicBezTo>
                  <a:cubicBezTo>
                    <a:pt x="197" y="148"/>
                    <a:pt x="209" y="147"/>
                    <a:pt x="211" y="148"/>
                  </a:cubicBezTo>
                  <a:cubicBezTo>
                    <a:pt x="213" y="149"/>
                    <a:pt x="217" y="150"/>
                    <a:pt x="217" y="149"/>
                  </a:cubicBezTo>
                  <a:cubicBezTo>
                    <a:pt x="218" y="148"/>
                    <a:pt x="217" y="146"/>
                    <a:pt x="215" y="144"/>
                  </a:cubicBezTo>
                  <a:cubicBezTo>
                    <a:pt x="213" y="142"/>
                    <a:pt x="211" y="141"/>
                    <a:pt x="208" y="141"/>
                  </a:cubicBezTo>
                  <a:cubicBezTo>
                    <a:pt x="206" y="141"/>
                    <a:pt x="201" y="141"/>
                    <a:pt x="201" y="139"/>
                  </a:cubicBezTo>
                  <a:cubicBezTo>
                    <a:pt x="201" y="137"/>
                    <a:pt x="209" y="133"/>
                    <a:pt x="211" y="133"/>
                  </a:cubicBezTo>
                  <a:cubicBezTo>
                    <a:pt x="212" y="133"/>
                    <a:pt x="219" y="129"/>
                    <a:pt x="220" y="128"/>
                  </a:cubicBezTo>
                  <a:cubicBezTo>
                    <a:pt x="222" y="128"/>
                    <a:pt x="221" y="126"/>
                    <a:pt x="219" y="125"/>
                  </a:cubicBezTo>
                  <a:cubicBezTo>
                    <a:pt x="216" y="125"/>
                    <a:pt x="208" y="129"/>
                    <a:pt x="207" y="127"/>
                  </a:cubicBezTo>
                  <a:cubicBezTo>
                    <a:pt x="206" y="126"/>
                    <a:pt x="210" y="121"/>
                    <a:pt x="213" y="119"/>
                  </a:cubicBezTo>
                  <a:cubicBezTo>
                    <a:pt x="215" y="117"/>
                    <a:pt x="219" y="113"/>
                    <a:pt x="221" y="113"/>
                  </a:cubicBezTo>
                  <a:cubicBezTo>
                    <a:pt x="222" y="113"/>
                    <a:pt x="227" y="110"/>
                    <a:pt x="227" y="112"/>
                  </a:cubicBezTo>
                  <a:cubicBezTo>
                    <a:pt x="228" y="114"/>
                    <a:pt x="227" y="120"/>
                    <a:pt x="230" y="120"/>
                  </a:cubicBezTo>
                  <a:cubicBezTo>
                    <a:pt x="236" y="120"/>
                    <a:pt x="233" y="112"/>
                    <a:pt x="233" y="110"/>
                  </a:cubicBezTo>
                  <a:cubicBezTo>
                    <a:pt x="232" y="107"/>
                    <a:pt x="233" y="106"/>
                    <a:pt x="235" y="106"/>
                  </a:cubicBezTo>
                  <a:cubicBezTo>
                    <a:pt x="237" y="105"/>
                    <a:pt x="240" y="107"/>
                    <a:pt x="242" y="106"/>
                  </a:cubicBezTo>
                  <a:cubicBezTo>
                    <a:pt x="244" y="105"/>
                    <a:pt x="251" y="102"/>
                    <a:pt x="250" y="99"/>
                  </a:cubicBezTo>
                  <a:cubicBezTo>
                    <a:pt x="249" y="97"/>
                    <a:pt x="245" y="100"/>
                    <a:pt x="242" y="100"/>
                  </a:cubicBezTo>
                  <a:cubicBezTo>
                    <a:pt x="239" y="100"/>
                    <a:pt x="235" y="99"/>
                    <a:pt x="233" y="100"/>
                  </a:cubicBezTo>
                  <a:cubicBezTo>
                    <a:pt x="230" y="101"/>
                    <a:pt x="222" y="105"/>
                    <a:pt x="220" y="106"/>
                  </a:cubicBezTo>
                  <a:cubicBezTo>
                    <a:pt x="219" y="107"/>
                    <a:pt x="211" y="109"/>
                    <a:pt x="209" y="110"/>
                  </a:cubicBezTo>
                  <a:cubicBezTo>
                    <a:pt x="207" y="112"/>
                    <a:pt x="199" y="111"/>
                    <a:pt x="197" y="112"/>
                  </a:cubicBezTo>
                  <a:cubicBezTo>
                    <a:pt x="195" y="113"/>
                    <a:pt x="187" y="118"/>
                    <a:pt x="185" y="121"/>
                  </a:cubicBezTo>
                  <a:cubicBezTo>
                    <a:pt x="184" y="123"/>
                    <a:pt x="181" y="124"/>
                    <a:pt x="179" y="122"/>
                  </a:cubicBezTo>
                  <a:cubicBezTo>
                    <a:pt x="177" y="121"/>
                    <a:pt x="179" y="120"/>
                    <a:pt x="182" y="116"/>
                  </a:cubicBezTo>
                  <a:cubicBezTo>
                    <a:pt x="184" y="112"/>
                    <a:pt x="192" y="104"/>
                    <a:pt x="195" y="104"/>
                  </a:cubicBezTo>
                  <a:cubicBezTo>
                    <a:pt x="198" y="103"/>
                    <a:pt x="209" y="101"/>
                    <a:pt x="211" y="100"/>
                  </a:cubicBezTo>
                  <a:cubicBezTo>
                    <a:pt x="213" y="100"/>
                    <a:pt x="221" y="97"/>
                    <a:pt x="219" y="95"/>
                  </a:cubicBezTo>
                  <a:cubicBezTo>
                    <a:pt x="217" y="93"/>
                    <a:pt x="204" y="96"/>
                    <a:pt x="205" y="94"/>
                  </a:cubicBezTo>
                  <a:cubicBezTo>
                    <a:pt x="205" y="92"/>
                    <a:pt x="212" y="79"/>
                    <a:pt x="214" y="79"/>
                  </a:cubicBezTo>
                  <a:cubicBezTo>
                    <a:pt x="215" y="79"/>
                    <a:pt x="218" y="85"/>
                    <a:pt x="219" y="85"/>
                  </a:cubicBezTo>
                  <a:cubicBezTo>
                    <a:pt x="220" y="84"/>
                    <a:pt x="227" y="72"/>
                    <a:pt x="228" y="71"/>
                  </a:cubicBezTo>
                  <a:cubicBezTo>
                    <a:pt x="229" y="70"/>
                    <a:pt x="231" y="69"/>
                    <a:pt x="231" y="69"/>
                  </a:cubicBezTo>
                  <a:cubicBezTo>
                    <a:pt x="232" y="69"/>
                    <a:pt x="232" y="73"/>
                    <a:pt x="231" y="76"/>
                  </a:cubicBezTo>
                  <a:cubicBezTo>
                    <a:pt x="230" y="78"/>
                    <a:pt x="227" y="87"/>
                    <a:pt x="228" y="88"/>
                  </a:cubicBezTo>
                  <a:cubicBezTo>
                    <a:pt x="230" y="88"/>
                    <a:pt x="235" y="80"/>
                    <a:pt x="236" y="81"/>
                  </a:cubicBezTo>
                  <a:cubicBezTo>
                    <a:pt x="237" y="82"/>
                    <a:pt x="235" y="93"/>
                    <a:pt x="237" y="93"/>
                  </a:cubicBezTo>
                  <a:cubicBezTo>
                    <a:pt x="239" y="93"/>
                    <a:pt x="243" y="92"/>
                    <a:pt x="245" y="90"/>
                  </a:cubicBezTo>
                  <a:cubicBezTo>
                    <a:pt x="248" y="88"/>
                    <a:pt x="248" y="85"/>
                    <a:pt x="248" y="82"/>
                  </a:cubicBezTo>
                  <a:cubicBezTo>
                    <a:pt x="249" y="80"/>
                    <a:pt x="242" y="80"/>
                    <a:pt x="242" y="77"/>
                  </a:cubicBezTo>
                  <a:cubicBezTo>
                    <a:pt x="241" y="74"/>
                    <a:pt x="240" y="71"/>
                    <a:pt x="242" y="69"/>
                  </a:cubicBezTo>
                  <a:cubicBezTo>
                    <a:pt x="245" y="66"/>
                    <a:pt x="249" y="62"/>
                    <a:pt x="252" y="62"/>
                  </a:cubicBezTo>
                  <a:cubicBezTo>
                    <a:pt x="255" y="62"/>
                    <a:pt x="257" y="60"/>
                    <a:pt x="259" y="58"/>
                  </a:cubicBezTo>
                  <a:cubicBezTo>
                    <a:pt x="261" y="56"/>
                    <a:pt x="266" y="52"/>
                    <a:pt x="266" y="50"/>
                  </a:cubicBezTo>
                  <a:cubicBezTo>
                    <a:pt x="266" y="47"/>
                    <a:pt x="263" y="47"/>
                    <a:pt x="265" y="44"/>
                  </a:cubicBezTo>
                  <a:cubicBezTo>
                    <a:pt x="267" y="41"/>
                    <a:pt x="271" y="37"/>
                    <a:pt x="272" y="38"/>
                  </a:cubicBezTo>
                  <a:cubicBezTo>
                    <a:pt x="273" y="38"/>
                    <a:pt x="281" y="43"/>
                    <a:pt x="278" y="48"/>
                  </a:cubicBezTo>
                  <a:cubicBezTo>
                    <a:pt x="276" y="50"/>
                    <a:pt x="277" y="60"/>
                    <a:pt x="279" y="61"/>
                  </a:cubicBezTo>
                  <a:cubicBezTo>
                    <a:pt x="281" y="61"/>
                    <a:pt x="286" y="50"/>
                    <a:pt x="287" y="49"/>
                  </a:cubicBezTo>
                  <a:cubicBezTo>
                    <a:pt x="289" y="40"/>
                    <a:pt x="301" y="51"/>
                    <a:pt x="305" y="50"/>
                  </a:cubicBezTo>
                  <a:cubicBezTo>
                    <a:pt x="306" y="50"/>
                    <a:pt x="306" y="47"/>
                    <a:pt x="307" y="46"/>
                  </a:cubicBezTo>
                  <a:cubicBezTo>
                    <a:pt x="307" y="46"/>
                    <a:pt x="306" y="43"/>
                    <a:pt x="303" y="42"/>
                  </a:cubicBezTo>
                  <a:cubicBezTo>
                    <a:pt x="301" y="41"/>
                    <a:pt x="298" y="40"/>
                    <a:pt x="297" y="38"/>
                  </a:cubicBezTo>
                  <a:cubicBezTo>
                    <a:pt x="296" y="37"/>
                    <a:pt x="299" y="35"/>
                    <a:pt x="300" y="34"/>
                  </a:cubicBezTo>
                  <a:cubicBezTo>
                    <a:pt x="301" y="33"/>
                    <a:pt x="301" y="32"/>
                    <a:pt x="303" y="32"/>
                  </a:cubicBezTo>
                  <a:cubicBezTo>
                    <a:pt x="304" y="33"/>
                    <a:pt x="311" y="37"/>
                    <a:pt x="313" y="37"/>
                  </a:cubicBezTo>
                  <a:cubicBezTo>
                    <a:pt x="315" y="37"/>
                    <a:pt x="319" y="40"/>
                    <a:pt x="319" y="42"/>
                  </a:cubicBezTo>
                  <a:cubicBezTo>
                    <a:pt x="319" y="43"/>
                    <a:pt x="320" y="49"/>
                    <a:pt x="325" y="47"/>
                  </a:cubicBezTo>
                  <a:cubicBezTo>
                    <a:pt x="326" y="46"/>
                    <a:pt x="329" y="46"/>
                    <a:pt x="329" y="45"/>
                  </a:cubicBezTo>
                  <a:cubicBezTo>
                    <a:pt x="328" y="43"/>
                    <a:pt x="325" y="42"/>
                    <a:pt x="325" y="40"/>
                  </a:cubicBezTo>
                  <a:cubicBezTo>
                    <a:pt x="325" y="39"/>
                    <a:pt x="325" y="37"/>
                    <a:pt x="323" y="35"/>
                  </a:cubicBezTo>
                  <a:cubicBezTo>
                    <a:pt x="321" y="34"/>
                    <a:pt x="318" y="33"/>
                    <a:pt x="318" y="31"/>
                  </a:cubicBezTo>
                  <a:cubicBezTo>
                    <a:pt x="319" y="29"/>
                    <a:pt x="323" y="27"/>
                    <a:pt x="325" y="25"/>
                  </a:cubicBezTo>
                  <a:cubicBezTo>
                    <a:pt x="326" y="23"/>
                    <a:pt x="327" y="18"/>
                    <a:pt x="329" y="19"/>
                  </a:cubicBezTo>
                  <a:cubicBezTo>
                    <a:pt x="330" y="20"/>
                    <a:pt x="333" y="24"/>
                    <a:pt x="335" y="22"/>
                  </a:cubicBezTo>
                  <a:cubicBezTo>
                    <a:pt x="336" y="21"/>
                    <a:pt x="337" y="18"/>
                    <a:pt x="337" y="17"/>
                  </a:cubicBezTo>
                  <a:cubicBezTo>
                    <a:pt x="336" y="16"/>
                    <a:pt x="333" y="15"/>
                    <a:pt x="334" y="14"/>
                  </a:cubicBezTo>
                  <a:cubicBezTo>
                    <a:pt x="335" y="13"/>
                    <a:pt x="336" y="8"/>
                    <a:pt x="338" y="9"/>
                  </a:cubicBezTo>
                  <a:cubicBezTo>
                    <a:pt x="341" y="10"/>
                    <a:pt x="342" y="15"/>
                    <a:pt x="346" y="11"/>
                  </a:cubicBezTo>
                  <a:cubicBezTo>
                    <a:pt x="347" y="10"/>
                    <a:pt x="345" y="5"/>
                    <a:pt x="347" y="4"/>
                  </a:cubicBezTo>
                  <a:cubicBezTo>
                    <a:pt x="348" y="2"/>
                    <a:pt x="351" y="0"/>
                    <a:pt x="353" y="1"/>
                  </a:cubicBezTo>
                  <a:cubicBezTo>
                    <a:pt x="354" y="2"/>
                    <a:pt x="357" y="6"/>
                    <a:pt x="357" y="6"/>
                  </a:cubicBezTo>
                  <a:cubicBezTo>
                    <a:pt x="357" y="7"/>
                    <a:pt x="355" y="11"/>
                    <a:pt x="354" y="12"/>
                  </a:cubicBezTo>
                  <a:cubicBezTo>
                    <a:pt x="353" y="13"/>
                    <a:pt x="346" y="22"/>
                    <a:pt x="346" y="24"/>
                  </a:cubicBezTo>
                  <a:cubicBezTo>
                    <a:pt x="345" y="26"/>
                    <a:pt x="344" y="28"/>
                    <a:pt x="345" y="29"/>
                  </a:cubicBezTo>
                  <a:cubicBezTo>
                    <a:pt x="346" y="29"/>
                    <a:pt x="347" y="31"/>
                    <a:pt x="346" y="33"/>
                  </a:cubicBezTo>
                  <a:cubicBezTo>
                    <a:pt x="345" y="35"/>
                    <a:pt x="343" y="43"/>
                    <a:pt x="346" y="42"/>
                  </a:cubicBezTo>
                  <a:cubicBezTo>
                    <a:pt x="349" y="42"/>
                    <a:pt x="352" y="36"/>
                    <a:pt x="353" y="34"/>
                  </a:cubicBezTo>
                  <a:cubicBezTo>
                    <a:pt x="353" y="33"/>
                    <a:pt x="355" y="25"/>
                    <a:pt x="356" y="23"/>
                  </a:cubicBezTo>
                  <a:cubicBezTo>
                    <a:pt x="357" y="21"/>
                    <a:pt x="362" y="9"/>
                    <a:pt x="363" y="9"/>
                  </a:cubicBezTo>
                  <a:cubicBezTo>
                    <a:pt x="364" y="9"/>
                    <a:pt x="365" y="11"/>
                    <a:pt x="365" y="14"/>
                  </a:cubicBezTo>
                  <a:cubicBezTo>
                    <a:pt x="365" y="16"/>
                    <a:pt x="364" y="30"/>
                    <a:pt x="365" y="30"/>
                  </a:cubicBezTo>
                  <a:cubicBezTo>
                    <a:pt x="367" y="29"/>
                    <a:pt x="369" y="23"/>
                    <a:pt x="371" y="21"/>
                  </a:cubicBezTo>
                  <a:cubicBezTo>
                    <a:pt x="373" y="19"/>
                    <a:pt x="374" y="13"/>
                    <a:pt x="374" y="12"/>
                  </a:cubicBezTo>
                  <a:cubicBezTo>
                    <a:pt x="374" y="11"/>
                    <a:pt x="369" y="11"/>
                    <a:pt x="370" y="7"/>
                  </a:cubicBezTo>
                  <a:cubicBezTo>
                    <a:pt x="371" y="4"/>
                    <a:pt x="374" y="2"/>
                    <a:pt x="376" y="2"/>
                  </a:cubicBezTo>
                  <a:cubicBezTo>
                    <a:pt x="378" y="2"/>
                    <a:pt x="385" y="2"/>
                    <a:pt x="385" y="4"/>
                  </a:cubicBezTo>
                  <a:cubicBezTo>
                    <a:pt x="386" y="6"/>
                    <a:pt x="385" y="10"/>
                    <a:pt x="384" y="11"/>
                  </a:cubicBezTo>
                  <a:cubicBezTo>
                    <a:pt x="383" y="12"/>
                    <a:pt x="383" y="15"/>
                    <a:pt x="383" y="16"/>
                  </a:cubicBezTo>
                  <a:cubicBezTo>
                    <a:pt x="382" y="18"/>
                    <a:pt x="378" y="22"/>
                    <a:pt x="380" y="24"/>
                  </a:cubicBezTo>
                  <a:cubicBezTo>
                    <a:pt x="381" y="27"/>
                    <a:pt x="388" y="25"/>
                    <a:pt x="389" y="24"/>
                  </a:cubicBezTo>
                  <a:cubicBezTo>
                    <a:pt x="391" y="23"/>
                    <a:pt x="389" y="20"/>
                    <a:pt x="389" y="18"/>
                  </a:cubicBezTo>
                  <a:cubicBezTo>
                    <a:pt x="389" y="16"/>
                    <a:pt x="389" y="9"/>
                    <a:pt x="392" y="8"/>
                  </a:cubicBezTo>
                  <a:cubicBezTo>
                    <a:pt x="394" y="8"/>
                    <a:pt x="396" y="8"/>
                    <a:pt x="396" y="10"/>
                  </a:cubicBezTo>
                  <a:cubicBezTo>
                    <a:pt x="396" y="12"/>
                    <a:pt x="397" y="17"/>
                    <a:pt x="399" y="16"/>
                  </a:cubicBezTo>
                  <a:cubicBezTo>
                    <a:pt x="401" y="16"/>
                    <a:pt x="402" y="12"/>
                    <a:pt x="403" y="12"/>
                  </a:cubicBezTo>
                  <a:cubicBezTo>
                    <a:pt x="405" y="12"/>
                    <a:pt x="408" y="14"/>
                    <a:pt x="409" y="15"/>
                  </a:cubicBezTo>
                  <a:cubicBezTo>
                    <a:pt x="411" y="16"/>
                    <a:pt x="415" y="19"/>
                    <a:pt x="416" y="20"/>
                  </a:cubicBezTo>
                  <a:cubicBezTo>
                    <a:pt x="417" y="22"/>
                    <a:pt x="421" y="18"/>
                    <a:pt x="422" y="20"/>
                  </a:cubicBezTo>
                  <a:cubicBezTo>
                    <a:pt x="423" y="22"/>
                    <a:pt x="425" y="25"/>
                    <a:pt x="423" y="25"/>
                  </a:cubicBezTo>
                  <a:cubicBezTo>
                    <a:pt x="422" y="26"/>
                    <a:pt x="413" y="34"/>
                    <a:pt x="411" y="34"/>
                  </a:cubicBezTo>
                  <a:cubicBezTo>
                    <a:pt x="409" y="34"/>
                    <a:pt x="396" y="32"/>
                    <a:pt x="394" y="32"/>
                  </a:cubicBezTo>
                  <a:cubicBezTo>
                    <a:pt x="391" y="33"/>
                    <a:pt x="391" y="35"/>
                    <a:pt x="391" y="36"/>
                  </a:cubicBezTo>
                  <a:cubicBezTo>
                    <a:pt x="391" y="38"/>
                    <a:pt x="394" y="39"/>
                    <a:pt x="397" y="39"/>
                  </a:cubicBezTo>
                  <a:cubicBezTo>
                    <a:pt x="399" y="40"/>
                    <a:pt x="407" y="40"/>
                    <a:pt x="409" y="41"/>
                  </a:cubicBezTo>
                  <a:cubicBezTo>
                    <a:pt x="411" y="41"/>
                    <a:pt x="428" y="45"/>
                    <a:pt x="430" y="45"/>
                  </a:cubicBezTo>
                  <a:cubicBezTo>
                    <a:pt x="430" y="45"/>
                    <a:pt x="430" y="45"/>
                    <a:pt x="431" y="45"/>
                  </a:cubicBezTo>
                  <a:cubicBezTo>
                    <a:pt x="431" y="46"/>
                    <a:pt x="431" y="47"/>
                    <a:pt x="431" y="48"/>
                  </a:cubicBezTo>
                  <a:cubicBezTo>
                    <a:pt x="429" y="54"/>
                    <a:pt x="425" y="52"/>
                    <a:pt x="421" y="53"/>
                  </a:cubicBezTo>
                  <a:cubicBezTo>
                    <a:pt x="421" y="53"/>
                    <a:pt x="418" y="62"/>
                    <a:pt x="416" y="67"/>
                  </a:cubicBezTo>
                  <a:cubicBezTo>
                    <a:pt x="415" y="70"/>
                    <a:pt x="412" y="75"/>
                    <a:pt x="409" y="7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8" name="Freeform 23">
              <a:extLst>
                <a:ext uri="{FF2B5EF4-FFF2-40B4-BE49-F238E27FC236}">
                  <a16:creationId xmlns:a16="http://schemas.microsoft.com/office/drawing/2014/main" id="{2110A536-59F0-4E87-92F0-007A1E2242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18" y="2026"/>
              <a:ext cx="228" cy="192"/>
            </a:xfrm>
            <a:custGeom>
              <a:avLst/>
              <a:gdLst>
                <a:gd name="T0" fmla="*/ 796 w 122"/>
                <a:gd name="T1" fmla="*/ 261 h 103"/>
                <a:gd name="T2" fmla="*/ 751 w 122"/>
                <a:gd name="T3" fmla="*/ 330 h 103"/>
                <a:gd name="T4" fmla="*/ 684 w 122"/>
                <a:gd name="T5" fmla="*/ 414 h 103"/>
                <a:gd name="T6" fmla="*/ 600 w 122"/>
                <a:gd name="T7" fmla="*/ 555 h 103"/>
                <a:gd name="T8" fmla="*/ 490 w 122"/>
                <a:gd name="T9" fmla="*/ 643 h 103"/>
                <a:gd name="T10" fmla="*/ 366 w 122"/>
                <a:gd name="T11" fmla="*/ 643 h 103"/>
                <a:gd name="T12" fmla="*/ 314 w 122"/>
                <a:gd name="T13" fmla="*/ 546 h 103"/>
                <a:gd name="T14" fmla="*/ 234 w 122"/>
                <a:gd name="T15" fmla="*/ 473 h 103"/>
                <a:gd name="T16" fmla="*/ 241 w 122"/>
                <a:gd name="T17" fmla="*/ 397 h 103"/>
                <a:gd name="T18" fmla="*/ 129 w 122"/>
                <a:gd name="T19" fmla="*/ 362 h 103"/>
                <a:gd name="T20" fmla="*/ 0 w 122"/>
                <a:gd name="T21" fmla="*/ 298 h 103"/>
                <a:gd name="T22" fmla="*/ 13 w 122"/>
                <a:gd name="T23" fmla="*/ 261 h 103"/>
                <a:gd name="T24" fmla="*/ 7 w 122"/>
                <a:gd name="T25" fmla="*/ 157 h 103"/>
                <a:gd name="T26" fmla="*/ 0 w 122"/>
                <a:gd name="T27" fmla="*/ 97 h 103"/>
                <a:gd name="T28" fmla="*/ 92 w 122"/>
                <a:gd name="T29" fmla="*/ 73 h 103"/>
                <a:gd name="T30" fmla="*/ 209 w 122"/>
                <a:gd name="T31" fmla="*/ 45 h 103"/>
                <a:gd name="T32" fmla="*/ 419 w 122"/>
                <a:gd name="T33" fmla="*/ 60 h 103"/>
                <a:gd name="T34" fmla="*/ 510 w 122"/>
                <a:gd name="T35" fmla="*/ 7 h 103"/>
                <a:gd name="T36" fmla="*/ 563 w 122"/>
                <a:gd name="T37" fmla="*/ 73 h 103"/>
                <a:gd name="T38" fmla="*/ 639 w 122"/>
                <a:gd name="T39" fmla="*/ 89 h 103"/>
                <a:gd name="T40" fmla="*/ 720 w 122"/>
                <a:gd name="T41" fmla="*/ 164 h 103"/>
                <a:gd name="T42" fmla="*/ 783 w 122"/>
                <a:gd name="T43" fmla="*/ 181 h 103"/>
                <a:gd name="T44" fmla="*/ 796 w 122"/>
                <a:gd name="T45" fmla="*/ 261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22" h="103">
                  <a:moveTo>
                    <a:pt x="122" y="40"/>
                  </a:moveTo>
                  <a:cubicBezTo>
                    <a:pt x="122" y="40"/>
                    <a:pt x="120" y="49"/>
                    <a:pt x="115" y="51"/>
                  </a:cubicBezTo>
                  <a:cubicBezTo>
                    <a:pt x="110" y="52"/>
                    <a:pt x="106" y="60"/>
                    <a:pt x="105" y="64"/>
                  </a:cubicBezTo>
                  <a:cubicBezTo>
                    <a:pt x="104" y="68"/>
                    <a:pt x="98" y="83"/>
                    <a:pt x="92" y="86"/>
                  </a:cubicBezTo>
                  <a:cubicBezTo>
                    <a:pt x="87" y="89"/>
                    <a:pt x="75" y="99"/>
                    <a:pt x="75" y="99"/>
                  </a:cubicBezTo>
                  <a:cubicBezTo>
                    <a:pt x="71" y="103"/>
                    <a:pt x="56" y="99"/>
                    <a:pt x="56" y="99"/>
                  </a:cubicBezTo>
                  <a:cubicBezTo>
                    <a:pt x="56" y="93"/>
                    <a:pt x="56" y="87"/>
                    <a:pt x="48" y="84"/>
                  </a:cubicBezTo>
                  <a:cubicBezTo>
                    <a:pt x="40" y="82"/>
                    <a:pt x="36" y="76"/>
                    <a:pt x="36" y="73"/>
                  </a:cubicBezTo>
                  <a:cubicBezTo>
                    <a:pt x="36" y="71"/>
                    <a:pt x="40" y="65"/>
                    <a:pt x="37" y="61"/>
                  </a:cubicBezTo>
                  <a:cubicBezTo>
                    <a:pt x="34" y="57"/>
                    <a:pt x="27" y="60"/>
                    <a:pt x="20" y="56"/>
                  </a:cubicBezTo>
                  <a:cubicBezTo>
                    <a:pt x="16" y="54"/>
                    <a:pt x="8" y="50"/>
                    <a:pt x="0" y="46"/>
                  </a:cubicBezTo>
                  <a:cubicBezTo>
                    <a:pt x="1" y="44"/>
                    <a:pt x="2" y="42"/>
                    <a:pt x="2" y="40"/>
                  </a:cubicBezTo>
                  <a:cubicBezTo>
                    <a:pt x="2" y="36"/>
                    <a:pt x="2" y="30"/>
                    <a:pt x="1" y="24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6" y="14"/>
                    <a:pt x="12" y="12"/>
                    <a:pt x="14" y="11"/>
                  </a:cubicBezTo>
                  <a:cubicBezTo>
                    <a:pt x="18" y="10"/>
                    <a:pt x="26" y="7"/>
                    <a:pt x="32" y="7"/>
                  </a:cubicBezTo>
                  <a:cubicBezTo>
                    <a:pt x="38" y="7"/>
                    <a:pt x="60" y="8"/>
                    <a:pt x="64" y="9"/>
                  </a:cubicBezTo>
                  <a:cubicBezTo>
                    <a:pt x="68" y="10"/>
                    <a:pt x="76" y="0"/>
                    <a:pt x="78" y="1"/>
                  </a:cubicBezTo>
                  <a:cubicBezTo>
                    <a:pt x="82" y="2"/>
                    <a:pt x="86" y="11"/>
                    <a:pt x="86" y="11"/>
                  </a:cubicBezTo>
                  <a:cubicBezTo>
                    <a:pt x="86" y="11"/>
                    <a:pt x="94" y="12"/>
                    <a:pt x="98" y="14"/>
                  </a:cubicBezTo>
                  <a:cubicBezTo>
                    <a:pt x="104" y="15"/>
                    <a:pt x="106" y="22"/>
                    <a:pt x="110" y="25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8" y="31"/>
                    <a:pt x="122" y="40"/>
                    <a:pt x="122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59" name="Freeform 24">
              <a:extLst>
                <a:ext uri="{FF2B5EF4-FFF2-40B4-BE49-F238E27FC236}">
                  <a16:creationId xmlns:a16="http://schemas.microsoft.com/office/drawing/2014/main" id="{3C48DAFD-3D3E-40AF-858F-CF3F27002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1" y="2111"/>
              <a:ext cx="433" cy="431"/>
            </a:xfrm>
            <a:custGeom>
              <a:avLst/>
              <a:gdLst>
                <a:gd name="T0" fmla="*/ 1476 w 232"/>
                <a:gd name="T1" fmla="*/ 1045 h 231"/>
                <a:gd name="T2" fmla="*/ 1508 w 232"/>
                <a:gd name="T3" fmla="*/ 1155 h 231"/>
                <a:gd name="T4" fmla="*/ 1424 w 232"/>
                <a:gd name="T5" fmla="*/ 1194 h 231"/>
                <a:gd name="T6" fmla="*/ 1306 w 232"/>
                <a:gd name="T7" fmla="*/ 1364 h 231"/>
                <a:gd name="T8" fmla="*/ 1314 w 232"/>
                <a:gd name="T9" fmla="*/ 1500 h 231"/>
                <a:gd name="T10" fmla="*/ 1209 w 232"/>
                <a:gd name="T11" fmla="*/ 1480 h 231"/>
                <a:gd name="T12" fmla="*/ 1094 w 232"/>
                <a:gd name="T13" fmla="*/ 1424 h 231"/>
                <a:gd name="T14" fmla="*/ 948 w 232"/>
                <a:gd name="T15" fmla="*/ 1440 h 231"/>
                <a:gd name="T16" fmla="*/ 885 w 232"/>
                <a:gd name="T17" fmla="*/ 1493 h 231"/>
                <a:gd name="T18" fmla="*/ 832 w 232"/>
                <a:gd name="T19" fmla="*/ 1500 h 231"/>
                <a:gd name="T20" fmla="*/ 825 w 232"/>
                <a:gd name="T21" fmla="*/ 1448 h 231"/>
                <a:gd name="T22" fmla="*/ 767 w 232"/>
                <a:gd name="T23" fmla="*/ 1396 h 231"/>
                <a:gd name="T24" fmla="*/ 691 w 232"/>
                <a:gd name="T25" fmla="*/ 1403 h 231"/>
                <a:gd name="T26" fmla="*/ 663 w 232"/>
                <a:gd name="T27" fmla="*/ 1336 h 231"/>
                <a:gd name="T28" fmla="*/ 623 w 232"/>
                <a:gd name="T29" fmla="*/ 1299 h 231"/>
                <a:gd name="T30" fmla="*/ 534 w 232"/>
                <a:gd name="T31" fmla="*/ 1282 h 231"/>
                <a:gd name="T32" fmla="*/ 511 w 232"/>
                <a:gd name="T33" fmla="*/ 1207 h 231"/>
                <a:gd name="T34" fmla="*/ 390 w 232"/>
                <a:gd name="T35" fmla="*/ 1177 h 231"/>
                <a:gd name="T36" fmla="*/ 353 w 232"/>
                <a:gd name="T37" fmla="*/ 1259 h 231"/>
                <a:gd name="T38" fmla="*/ 272 w 232"/>
                <a:gd name="T39" fmla="*/ 1155 h 231"/>
                <a:gd name="T40" fmla="*/ 272 w 232"/>
                <a:gd name="T41" fmla="*/ 1097 h 231"/>
                <a:gd name="T42" fmla="*/ 118 w 232"/>
                <a:gd name="T43" fmla="*/ 1026 h 231"/>
                <a:gd name="T44" fmla="*/ 105 w 232"/>
                <a:gd name="T45" fmla="*/ 916 h 231"/>
                <a:gd name="T46" fmla="*/ 77 w 232"/>
                <a:gd name="T47" fmla="*/ 780 h 231"/>
                <a:gd name="T48" fmla="*/ 77 w 232"/>
                <a:gd name="T49" fmla="*/ 623 h 231"/>
                <a:gd name="T50" fmla="*/ 13 w 232"/>
                <a:gd name="T51" fmla="*/ 558 h 231"/>
                <a:gd name="T52" fmla="*/ 65 w 232"/>
                <a:gd name="T53" fmla="*/ 474 h 231"/>
                <a:gd name="T54" fmla="*/ 77 w 232"/>
                <a:gd name="T55" fmla="*/ 306 h 231"/>
                <a:gd name="T56" fmla="*/ 97 w 232"/>
                <a:gd name="T57" fmla="*/ 299 h 231"/>
                <a:gd name="T58" fmla="*/ 306 w 232"/>
                <a:gd name="T59" fmla="*/ 254 h 231"/>
                <a:gd name="T60" fmla="*/ 377 w 232"/>
                <a:gd name="T61" fmla="*/ 188 h 231"/>
                <a:gd name="T62" fmla="*/ 435 w 232"/>
                <a:gd name="T63" fmla="*/ 174 h 231"/>
                <a:gd name="T64" fmla="*/ 495 w 232"/>
                <a:gd name="T65" fmla="*/ 136 h 231"/>
                <a:gd name="T66" fmla="*/ 638 w 232"/>
                <a:gd name="T67" fmla="*/ 129 h 231"/>
                <a:gd name="T68" fmla="*/ 651 w 232"/>
                <a:gd name="T69" fmla="*/ 164 h 231"/>
                <a:gd name="T70" fmla="*/ 668 w 232"/>
                <a:gd name="T71" fmla="*/ 226 h 231"/>
                <a:gd name="T72" fmla="*/ 756 w 232"/>
                <a:gd name="T73" fmla="*/ 246 h 231"/>
                <a:gd name="T74" fmla="*/ 857 w 232"/>
                <a:gd name="T75" fmla="*/ 164 h 231"/>
                <a:gd name="T76" fmla="*/ 864 w 232"/>
                <a:gd name="T77" fmla="*/ 97 h 231"/>
                <a:gd name="T78" fmla="*/ 954 w 232"/>
                <a:gd name="T79" fmla="*/ 76 h 231"/>
                <a:gd name="T80" fmla="*/ 1000 w 232"/>
                <a:gd name="T81" fmla="*/ 0 h 231"/>
                <a:gd name="T82" fmla="*/ 1133 w 232"/>
                <a:gd name="T83" fmla="*/ 65 h 231"/>
                <a:gd name="T84" fmla="*/ 1239 w 232"/>
                <a:gd name="T85" fmla="*/ 97 h 231"/>
                <a:gd name="T86" fmla="*/ 1237 w 232"/>
                <a:gd name="T87" fmla="*/ 174 h 231"/>
                <a:gd name="T88" fmla="*/ 1314 w 232"/>
                <a:gd name="T89" fmla="*/ 246 h 231"/>
                <a:gd name="T90" fmla="*/ 1366 w 232"/>
                <a:gd name="T91" fmla="*/ 345 h 231"/>
                <a:gd name="T92" fmla="*/ 1424 w 232"/>
                <a:gd name="T93" fmla="*/ 507 h 231"/>
                <a:gd name="T94" fmla="*/ 1443 w 232"/>
                <a:gd name="T95" fmla="*/ 631 h 231"/>
                <a:gd name="T96" fmla="*/ 1366 w 232"/>
                <a:gd name="T97" fmla="*/ 662 h 231"/>
                <a:gd name="T98" fmla="*/ 1338 w 232"/>
                <a:gd name="T99" fmla="*/ 741 h 231"/>
                <a:gd name="T100" fmla="*/ 1404 w 232"/>
                <a:gd name="T101" fmla="*/ 804 h 231"/>
                <a:gd name="T102" fmla="*/ 1404 w 232"/>
                <a:gd name="T103" fmla="*/ 884 h 231"/>
                <a:gd name="T104" fmla="*/ 1404 w 232"/>
                <a:gd name="T105" fmla="*/ 909 h 231"/>
                <a:gd name="T106" fmla="*/ 1476 w 232"/>
                <a:gd name="T107" fmla="*/ 1045 h 23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31">
                  <a:moveTo>
                    <a:pt x="227" y="161"/>
                  </a:moveTo>
                  <a:cubicBezTo>
                    <a:pt x="230" y="165"/>
                    <a:pt x="232" y="174"/>
                    <a:pt x="232" y="178"/>
                  </a:cubicBezTo>
                  <a:cubicBezTo>
                    <a:pt x="231" y="182"/>
                    <a:pt x="223" y="182"/>
                    <a:pt x="219" y="184"/>
                  </a:cubicBezTo>
                  <a:cubicBezTo>
                    <a:pt x="215" y="186"/>
                    <a:pt x="205" y="203"/>
                    <a:pt x="201" y="210"/>
                  </a:cubicBezTo>
                  <a:cubicBezTo>
                    <a:pt x="197" y="217"/>
                    <a:pt x="202" y="227"/>
                    <a:pt x="202" y="231"/>
                  </a:cubicBezTo>
                  <a:cubicBezTo>
                    <a:pt x="186" y="228"/>
                    <a:pt x="186" y="228"/>
                    <a:pt x="186" y="228"/>
                  </a:cubicBezTo>
                  <a:cubicBezTo>
                    <a:pt x="184" y="226"/>
                    <a:pt x="172" y="219"/>
                    <a:pt x="168" y="219"/>
                  </a:cubicBezTo>
                  <a:cubicBezTo>
                    <a:pt x="164" y="219"/>
                    <a:pt x="149" y="221"/>
                    <a:pt x="146" y="222"/>
                  </a:cubicBezTo>
                  <a:cubicBezTo>
                    <a:pt x="142" y="223"/>
                    <a:pt x="136" y="230"/>
                    <a:pt x="136" y="230"/>
                  </a:cubicBezTo>
                  <a:cubicBezTo>
                    <a:pt x="136" y="230"/>
                    <a:pt x="130" y="231"/>
                    <a:pt x="128" y="231"/>
                  </a:cubicBezTo>
                  <a:cubicBezTo>
                    <a:pt x="127" y="231"/>
                    <a:pt x="127" y="227"/>
                    <a:pt x="127" y="223"/>
                  </a:cubicBezTo>
                  <a:cubicBezTo>
                    <a:pt x="127" y="220"/>
                    <a:pt x="121" y="216"/>
                    <a:pt x="118" y="215"/>
                  </a:cubicBezTo>
                  <a:cubicBezTo>
                    <a:pt x="115" y="215"/>
                    <a:pt x="110" y="215"/>
                    <a:pt x="106" y="216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102" y="206"/>
                    <a:pt x="102" y="203"/>
                    <a:pt x="96" y="200"/>
                  </a:cubicBezTo>
                  <a:cubicBezTo>
                    <a:pt x="91" y="197"/>
                    <a:pt x="84" y="200"/>
                    <a:pt x="82" y="197"/>
                  </a:cubicBezTo>
                  <a:cubicBezTo>
                    <a:pt x="79" y="194"/>
                    <a:pt x="81" y="187"/>
                    <a:pt x="79" y="186"/>
                  </a:cubicBezTo>
                  <a:cubicBezTo>
                    <a:pt x="77" y="185"/>
                    <a:pt x="62" y="180"/>
                    <a:pt x="60" y="181"/>
                  </a:cubicBezTo>
                  <a:cubicBezTo>
                    <a:pt x="59" y="183"/>
                    <a:pt x="54" y="194"/>
                    <a:pt x="54" y="194"/>
                  </a:cubicBezTo>
                  <a:cubicBezTo>
                    <a:pt x="52" y="195"/>
                    <a:pt x="43" y="180"/>
                    <a:pt x="42" y="178"/>
                  </a:cubicBezTo>
                  <a:cubicBezTo>
                    <a:pt x="40" y="176"/>
                    <a:pt x="50" y="172"/>
                    <a:pt x="42" y="169"/>
                  </a:cubicBezTo>
                  <a:cubicBezTo>
                    <a:pt x="34" y="166"/>
                    <a:pt x="20" y="161"/>
                    <a:pt x="18" y="158"/>
                  </a:cubicBezTo>
                  <a:cubicBezTo>
                    <a:pt x="14" y="155"/>
                    <a:pt x="18" y="145"/>
                    <a:pt x="16" y="141"/>
                  </a:cubicBezTo>
                  <a:cubicBezTo>
                    <a:pt x="16" y="138"/>
                    <a:pt x="12" y="127"/>
                    <a:pt x="12" y="120"/>
                  </a:cubicBezTo>
                  <a:cubicBezTo>
                    <a:pt x="12" y="113"/>
                    <a:pt x="16" y="100"/>
                    <a:pt x="12" y="96"/>
                  </a:cubicBezTo>
                  <a:cubicBezTo>
                    <a:pt x="7" y="92"/>
                    <a:pt x="0" y="89"/>
                    <a:pt x="2" y="86"/>
                  </a:cubicBezTo>
                  <a:cubicBezTo>
                    <a:pt x="4" y="82"/>
                    <a:pt x="10" y="78"/>
                    <a:pt x="10" y="73"/>
                  </a:cubicBezTo>
                  <a:cubicBezTo>
                    <a:pt x="10" y="69"/>
                    <a:pt x="11" y="56"/>
                    <a:pt x="12" y="47"/>
                  </a:cubicBezTo>
                  <a:cubicBezTo>
                    <a:pt x="13" y="46"/>
                    <a:pt x="14" y="46"/>
                    <a:pt x="15" y="46"/>
                  </a:cubicBezTo>
                  <a:cubicBezTo>
                    <a:pt x="19" y="46"/>
                    <a:pt x="44" y="39"/>
                    <a:pt x="47" y="39"/>
                  </a:cubicBezTo>
                  <a:cubicBezTo>
                    <a:pt x="50" y="39"/>
                    <a:pt x="55" y="29"/>
                    <a:pt x="58" y="29"/>
                  </a:cubicBezTo>
                  <a:cubicBezTo>
                    <a:pt x="62" y="28"/>
                    <a:pt x="65" y="28"/>
                    <a:pt x="67" y="27"/>
                  </a:cubicBezTo>
                  <a:cubicBezTo>
                    <a:pt x="69" y="27"/>
                    <a:pt x="73" y="21"/>
                    <a:pt x="76" y="21"/>
                  </a:cubicBezTo>
                  <a:cubicBezTo>
                    <a:pt x="79" y="21"/>
                    <a:pt x="94" y="18"/>
                    <a:pt x="98" y="20"/>
                  </a:cubicBezTo>
                  <a:cubicBezTo>
                    <a:pt x="101" y="21"/>
                    <a:pt x="100" y="22"/>
                    <a:pt x="100" y="25"/>
                  </a:cubicBezTo>
                  <a:cubicBezTo>
                    <a:pt x="101" y="27"/>
                    <a:pt x="101" y="34"/>
                    <a:pt x="103" y="35"/>
                  </a:cubicBezTo>
                  <a:cubicBezTo>
                    <a:pt x="105" y="35"/>
                    <a:pt x="112" y="39"/>
                    <a:pt x="116" y="38"/>
                  </a:cubicBezTo>
                  <a:cubicBezTo>
                    <a:pt x="120" y="37"/>
                    <a:pt x="132" y="28"/>
                    <a:pt x="132" y="25"/>
                  </a:cubicBezTo>
                  <a:cubicBezTo>
                    <a:pt x="133" y="23"/>
                    <a:pt x="130" y="16"/>
                    <a:pt x="133" y="15"/>
                  </a:cubicBezTo>
                  <a:cubicBezTo>
                    <a:pt x="136" y="14"/>
                    <a:pt x="142" y="17"/>
                    <a:pt x="147" y="12"/>
                  </a:cubicBezTo>
                  <a:cubicBezTo>
                    <a:pt x="150" y="9"/>
                    <a:pt x="153" y="4"/>
                    <a:pt x="154" y="0"/>
                  </a:cubicBezTo>
                  <a:cubicBezTo>
                    <a:pt x="162" y="4"/>
                    <a:pt x="170" y="8"/>
                    <a:pt x="174" y="10"/>
                  </a:cubicBezTo>
                  <a:cubicBezTo>
                    <a:pt x="181" y="14"/>
                    <a:pt x="188" y="11"/>
                    <a:pt x="191" y="15"/>
                  </a:cubicBezTo>
                  <a:cubicBezTo>
                    <a:pt x="194" y="19"/>
                    <a:pt x="190" y="25"/>
                    <a:pt x="190" y="27"/>
                  </a:cubicBezTo>
                  <a:cubicBezTo>
                    <a:pt x="190" y="30"/>
                    <a:pt x="194" y="36"/>
                    <a:pt x="202" y="38"/>
                  </a:cubicBezTo>
                  <a:cubicBezTo>
                    <a:pt x="210" y="41"/>
                    <a:pt x="210" y="47"/>
                    <a:pt x="210" y="53"/>
                  </a:cubicBezTo>
                  <a:cubicBezTo>
                    <a:pt x="210" y="58"/>
                    <a:pt x="216" y="71"/>
                    <a:pt x="219" y="78"/>
                  </a:cubicBezTo>
                  <a:cubicBezTo>
                    <a:pt x="222" y="84"/>
                    <a:pt x="223" y="94"/>
                    <a:pt x="222" y="97"/>
                  </a:cubicBezTo>
                  <a:cubicBezTo>
                    <a:pt x="221" y="99"/>
                    <a:pt x="214" y="99"/>
                    <a:pt x="210" y="102"/>
                  </a:cubicBezTo>
                  <a:cubicBezTo>
                    <a:pt x="204" y="106"/>
                    <a:pt x="202" y="112"/>
                    <a:pt x="206" y="114"/>
                  </a:cubicBezTo>
                  <a:cubicBezTo>
                    <a:pt x="211" y="116"/>
                    <a:pt x="216" y="124"/>
                    <a:pt x="216" y="124"/>
                  </a:cubicBezTo>
                  <a:cubicBezTo>
                    <a:pt x="216" y="124"/>
                    <a:pt x="216" y="130"/>
                    <a:pt x="216" y="136"/>
                  </a:cubicBezTo>
                  <a:cubicBezTo>
                    <a:pt x="216" y="137"/>
                    <a:pt x="216" y="139"/>
                    <a:pt x="216" y="140"/>
                  </a:cubicBezTo>
                  <a:cubicBezTo>
                    <a:pt x="216" y="147"/>
                    <a:pt x="224" y="156"/>
                    <a:pt x="227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0" name="Freeform 25">
              <a:extLst>
                <a:ext uri="{FF2B5EF4-FFF2-40B4-BE49-F238E27FC236}">
                  <a16:creationId xmlns:a16="http://schemas.microsoft.com/office/drawing/2014/main" id="{021D546D-67D2-4CD7-AAF2-D106647735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" y="3007"/>
              <a:ext cx="133" cy="110"/>
            </a:xfrm>
            <a:custGeom>
              <a:avLst/>
              <a:gdLst>
                <a:gd name="T0" fmla="*/ 459 w 71"/>
                <a:gd name="T1" fmla="*/ 181 h 59"/>
                <a:gd name="T2" fmla="*/ 466 w 71"/>
                <a:gd name="T3" fmla="*/ 270 h 59"/>
                <a:gd name="T4" fmla="*/ 421 w 71"/>
                <a:gd name="T5" fmla="*/ 293 h 59"/>
                <a:gd name="T6" fmla="*/ 317 w 71"/>
                <a:gd name="T7" fmla="*/ 298 h 59"/>
                <a:gd name="T8" fmla="*/ 165 w 71"/>
                <a:gd name="T9" fmla="*/ 362 h 59"/>
                <a:gd name="T10" fmla="*/ 97 w 71"/>
                <a:gd name="T11" fmla="*/ 382 h 59"/>
                <a:gd name="T12" fmla="*/ 24 w 71"/>
                <a:gd name="T13" fmla="*/ 270 h 59"/>
                <a:gd name="T14" fmla="*/ 39 w 71"/>
                <a:gd name="T15" fmla="*/ 117 h 59"/>
                <a:gd name="T16" fmla="*/ 32 w 71"/>
                <a:gd name="T17" fmla="*/ 84 h 59"/>
                <a:gd name="T18" fmla="*/ 112 w 71"/>
                <a:gd name="T19" fmla="*/ 65 h 59"/>
                <a:gd name="T20" fmla="*/ 270 w 71"/>
                <a:gd name="T21" fmla="*/ 13 h 59"/>
                <a:gd name="T22" fmla="*/ 337 w 71"/>
                <a:gd name="T23" fmla="*/ 0 h 59"/>
                <a:gd name="T24" fmla="*/ 421 w 71"/>
                <a:gd name="T25" fmla="*/ 84 h 59"/>
                <a:gd name="T26" fmla="*/ 459 w 71"/>
                <a:gd name="T27" fmla="*/ 181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1" h="59">
                  <a:moveTo>
                    <a:pt x="70" y="28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67" y="43"/>
                    <a:pt x="65" y="45"/>
                    <a:pt x="64" y="45"/>
                  </a:cubicBezTo>
                  <a:cubicBezTo>
                    <a:pt x="60" y="46"/>
                    <a:pt x="52" y="46"/>
                    <a:pt x="48" y="46"/>
                  </a:cubicBezTo>
                  <a:cubicBezTo>
                    <a:pt x="44" y="46"/>
                    <a:pt x="31" y="54"/>
                    <a:pt x="25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2" y="55"/>
                    <a:pt x="8" y="46"/>
                    <a:pt x="4" y="42"/>
                  </a:cubicBezTo>
                  <a:cubicBezTo>
                    <a:pt x="0" y="38"/>
                    <a:pt x="5" y="27"/>
                    <a:pt x="6" y="18"/>
                  </a:cubicBezTo>
                  <a:cubicBezTo>
                    <a:pt x="6" y="17"/>
                    <a:pt x="6" y="15"/>
                    <a:pt x="5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6"/>
                    <a:pt x="64" y="13"/>
                    <a:pt x="64" y="13"/>
                  </a:cubicBezTo>
                  <a:cubicBezTo>
                    <a:pt x="64" y="13"/>
                    <a:pt x="70" y="23"/>
                    <a:pt x="70" y="2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1" name="Freeform 26">
              <a:extLst>
                <a:ext uri="{FF2B5EF4-FFF2-40B4-BE49-F238E27FC236}">
                  <a16:creationId xmlns:a16="http://schemas.microsoft.com/office/drawing/2014/main" id="{8164508F-341B-497F-BD87-B025CD51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5" y="2748"/>
              <a:ext cx="203" cy="283"/>
            </a:xfrm>
            <a:custGeom>
              <a:avLst/>
              <a:gdLst>
                <a:gd name="T0" fmla="*/ 704 w 109"/>
                <a:gd name="T1" fmla="*/ 704 h 152"/>
                <a:gd name="T2" fmla="*/ 592 w 109"/>
                <a:gd name="T3" fmla="*/ 897 h 152"/>
                <a:gd name="T4" fmla="*/ 531 w 109"/>
                <a:gd name="T5" fmla="*/ 912 h 152"/>
                <a:gd name="T6" fmla="*/ 374 w 109"/>
                <a:gd name="T7" fmla="*/ 961 h 152"/>
                <a:gd name="T8" fmla="*/ 298 w 109"/>
                <a:gd name="T9" fmla="*/ 981 h 152"/>
                <a:gd name="T10" fmla="*/ 212 w 109"/>
                <a:gd name="T11" fmla="*/ 864 h 152"/>
                <a:gd name="T12" fmla="*/ 253 w 109"/>
                <a:gd name="T13" fmla="*/ 788 h 152"/>
                <a:gd name="T14" fmla="*/ 112 w 109"/>
                <a:gd name="T15" fmla="*/ 676 h 152"/>
                <a:gd name="T16" fmla="*/ 69 w 109"/>
                <a:gd name="T17" fmla="*/ 631 h 152"/>
                <a:gd name="T18" fmla="*/ 97 w 109"/>
                <a:gd name="T19" fmla="*/ 600 h 152"/>
                <a:gd name="T20" fmla="*/ 112 w 109"/>
                <a:gd name="T21" fmla="*/ 503 h 152"/>
                <a:gd name="T22" fmla="*/ 32 w 109"/>
                <a:gd name="T23" fmla="*/ 434 h 152"/>
                <a:gd name="T24" fmla="*/ 65 w 109"/>
                <a:gd name="T25" fmla="*/ 305 h 152"/>
                <a:gd name="T26" fmla="*/ 20 w 109"/>
                <a:gd name="T27" fmla="*/ 298 h 152"/>
                <a:gd name="T28" fmla="*/ 45 w 109"/>
                <a:gd name="T29" fmla="*/ 225 h 152"/>
                <a:gd name="T30" fmla="*/ 13 w 109"/>
                <a:gd name="T31" fmla="*/ 121 h 152"/>
                <a:gd name="T32" fmla="*/ 0 w 109"/>
                <a:gd name="T33" fmla="*/ 60 h 152"/>
                <a:gd name="T34" fmla="*/ 37 w 109"/>
                <a:gd name="T35" fmla="*/ 60 h 152"/>
                <a:gd name="T36" fmla="*/ 218 w 109"/>
                <a:gd name="T37" fmla="*/ 7 h 152"/>
                <a:gd name="T38" fmla="*/ 246 w 109"/>
                <a:gd name="T39" fmla="*/ 32 h 152"/>
                <a:gd name="T40" fmla="*/ 253 w 109"/>
                <a:gd name="T41" fmla="*/ 32 h 152"/>
                <a:gd name="T42" fmla="*/ 315 w 109"/>
                <a:gd name="T43" fmla="*/ 117 h 152"/>
                <a:gd name="T44" fmla="*/ 434 w 109"/>
                <a:gd name="T45" fmla="*/ 225 h 152"/>
                <a:gd name="T46" fmla="*/ 419 w 109"/>
                <a:gd name="T47" fmla="*/ 298 h 152"/>
                <a:gd name="T48" fmla="*/ 523 w 109"/>
                <a:gd name="T49" fmla="*/ 389 h 152"/>
                <a:gd name="T50" fmla="*/ 615 w 109"/>
                <a:gd name="T51" fmla="*/ 361 h 152"/>
                <a:gd name="T52" fmla="*/ 652 w 109"/>
                <a:gd name="T53" fmla="*/ 451 h 152"/>
                <a:gd name="T54" fmla="*/ 600 w 109"/>
                <a:gd name="T55" fmla="*/ 562 h 152"/>
                <a:gd name="T56" fmla="*/ 704 w 109"/>
                <a:gd name="T57" fmla="*/ 704 h 1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9" h="152">
                  <a:moveTo>
                    <a:pt x="109" y="109"/>
                  </a:moveTo>
                  <a:cubicBezTo>
                    <a:pt x="109" y="109"/>
                    <a:pt x="96" y="133"/>
                    <a:pt x="92" y="139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58" y="149"/>
                    <a:pt x="58" y="149"/>
                    <a:pt x="58" y="149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4" y="145"/>
                    <a:pt x="36" y="138"/>
                    <a:pt x="33" y="134"/>
                  </a:cubicBezTo>
                  <a:cubicBezTo>
                    <a:pt x="30" y="129"/>
                    <a:pt x="39" y="125"/>
                    <a:pt x="39" y="122"/>
                  </a:cubicBezTo>
                  <a:cubicBezTo>
                    <a:pt x="39" y="119"/>
                    <a:pt x="29" y="115"/>
                    <a:pt x="17" y="105"/>
                  </a:cubicBezTo>
                  <a:cubicBezTo>
                    <a:pt x="13" y="102"/>
                    <a:pt x="11" y="100"/>
                    <a:pt x="11" y="98"/>
                  </a:cubicBezTo>
                  <a:cubicBezTo>
                    <a:pt x="9" y="94"/>
                    <a:pt x="13" y="93"/>
                    <a:pt x="15" y="93"/>
                  </a:cubicBezTo>
                  <a:cubicBezTo>
                    <a:pt x="19" y="93"/>
                    <a:pt x="18" y="81"/>
                    <a:pt x="17" y="78"/>
                  </a:cubicBezTo>
                  <a:cubicBezTo>
                    <a:pt x="17" y="75"/>
                    <a:pt x="7" y="70"/>
                    <a:pt x="5" y="67"/>
                  </a:cubicBezTo>
                  <a:cubicBezTo>
                    <a:pt x="2" y="65"/>
                    <a:pt x="14" y="49"/>
                    <a:pt x="10" y="47"/>
                  </a:cubicBezTo>
                  <a:cubicBezTo>
                    <a:pt x="8" y="47"/>
                    <a:pt x="6" y="47"/>
                    <a:pt x="3" y="4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9"/>
                    <a:pt x="5" y="9"/>
                    <a:pt x="6" y="9"/>
                  </a:cubicBezTo>
                  <a:cubicBezTo>
                    <a:pt x="12" y="9"/>
                    <a:pt x="30" y="0"/>
                    <a:pt x="34" y="1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9"/>
                    <a:pt x="47" y="15"/>
                    <a:pt x="49" y="18"/>
                  </a:cubicBezTo>
                  <a:cubicBezTo>
                    <a:pt x="53" y="23"/>
                    <a:pt x="67" y="35"/>
                    <a:pt x="67" y="35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78" y="58"/>
                    <a:pt x="81" y="60"/>
                  </a:cubicBezTo>
                  <a:cubicBezTo>
                    <a:pt x="85" y="62"/>
                    <a:pt x="90" y="53"/>
                    <a:pt x="95" y="56"/>
                  </a:cubicBezTo>
                  <a:cubicBezTo>
                    <a:pt x="99" y="59"/>
                    <a:pt x="101" y="67"/>
                    <a:pt x="101" y="70"/>
                  </a:cubicBezTo>
                  <a:cubicBezTo>
                    <a:pt x="101" y="73"/>
                    <a:pt x="95" y="78"/>
                    <a:pt x="93" y="87"/>
                  </a:cubicBezTo>
                  <a:cubicBezTo>
                    <a:pt x="92" y="95"/>
                    <a:pt x="109" y="109"/>
                    <a:pt x="109" y="109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2" name="Freeform 27">
              <a:extLst>
                <a:ext uri="{FF2B5EF4-FFF2-40B4-BE49-F238E27FC236}">
                  <a16:creationId xmlns:a16="http://schemas.microsoft.com/office/drawing/2014/main" id="{6946B704-CF7D-429C-9DFC-AAF70D8413D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7" y="2513"/>
              <a:ext cx="271" cy="123"/>
            </a:xfrm>
            <a:custGeom>
              <a:avLst/>
              <a:gdLst>
                <a:gd name="T0" fmla="*/ 841 w 145"/>
                <a:gd name="T1" fmla="*/ 84 h 66"/>
                <a:gd name="T2" fmla="*/ 946 w 145"/>
                <a:gd name="T3" fmla="*/ 104 h 66"/>
                <a:gd name="T4" fmla="*/ 869 w 145"/>
                <a:gd name="T5" fmla="*/ 216 h 66"/>
                <a:gd name="T6" fmla="*/ 841 w 145"/>
                <a:gd name="T7" fmla="*/ 270 h 66"/>
                <a:gd name="T8" fmla="*/ 804 w 145"/>
                <a:gd name="T9" fmla="*/ 285 h 66"/>
                <a:gd name="T10" fmla="*/ 736 w 145"/>
                <a:gd name="T11" fmla="*/ 246 h 66"/>
                <a:gd name="T12" fmla="*/ 594 w 145"/>
                <a:gd name="T13" fmla="*/ 240 h 66"/>
                <a:gd name="T14" fmla="*/ 518 w 145"/>
                <a:gd name="T15" fmla="*/ 317 h 66"/>
                <a:gd name="T16" fmla="*/ 346 w 145"/>
                <a:gd name="T17" fmla="*/ 350 h 66"/>
                <a:gd name="T18" fmla="*/ 293 w 145"/>
                <a:gd name="T19" fmla="*/ 421 h 66"/>
                <a:gd name="T20" fmla="*/ 164 w 145"/>
                <a:gd name="T21" fmla="*/ 427 h 66"/>
                <a:gd name="T22" fmla="*/ 97 w 145"/>
                <a:gd name="T23" fmla="*/ 390 h 66"/>
                <a:gd name="T24" fmla="*/ 24 w 145"/>
                <a:gd name="T25" fmla="*/ 375 h 66"/>
                <a:gd name="T26" fmla="*/ 0 w 145"/>
                <a:gd name="T27" fmla="*/ 216 h 66"/>
                <a:gd name="T28" fmla="*/ 0 w 145"/>
                <a:gd name="T29" fmla="*/ 188 h 66"/>
                <a:gd name="T30" fmla="*/ 129 w 145"/>
                <a:gd name="T31" fmla="*/ 157 h 66"/>
                <a:gd name="T32" fmla="*/ 280 w 145"/>
                <a:gd name="T33" fmla="*/ 13 h 66"/>
                <a:gd name="T34" fmla="*/ 321 w 145"/>
                <a:gd name="T35" fmla="*/ 7 h 66"/>
                <a:gd name="T36" fmla="*/ 398 w 145"/>
                <a:gd name="T37" fmla="*/ 0 h 66"/>
                <a:gd name="T38" fmla="*/ 458 w 145"/>
                <a:gd name="T39" fmla="*/ 52 h 66"/>
                <a:gd name="T40" fmla="*/ 465 w 145"/>
                <a:gd name="T41" fmla="*/ 104 h 66"/>
                <a:gd name="T42" fmla="*/ 518 w 145"/>
                <a:gd name="T43" fmla="*/ 97 h 66"/>
                <a:gd name="T44" fmla="*/ 579 w 145"/>
                <a:gd name="T45" fmla="*/ 45 h 66"/>
                <a:gd name="T46" fmla="*/ 723 w 145"/>
                <a:gd name="T47" fmla="*/ 24 h 66"/>
                <a:gd name="T48" fmla="*/ 841 w 145"/>
                <a:gd name="T49" fmla="*/ 84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5" h="66">
                  <a:moveTo>
                    <a:pt x="129" y="13"/>
                  </a:moveTo>
                  <a:cubicBezTo>
                    <a:pt x="145" y="16"/>
                    <a:pt x="145" y="16"/>
                    <a:pt x="145" y="16"/>
                  </a:cubicBezTo>
                  <a:cubicBezTo>
                    <a:pt x="145" y="20"/>
                    <a:pt x="135" y="27"/>
                    <a:pt x="133" y="33"/>
                  </a:cubicBezTo>
                  <a:cubicBezTo>
                    <a:pt x="129" y="42"/>
                    <a:pt x="129" y="42"/>
                    <a:pt x="129" y="42"/>
                  </a:cubicBezTo>
                  <a:cubicBezTo>
                    <a:pt x="127" y="42"/>
                    <a:pt x="125" y="43"/>
                    <a:pt x="123" y="44"/>
                  </a:cubicBezTo>
                  <a:cubicBezTo>
                    <a:pt x="120" y="46"/>
                    <a:pt x="117" y="41"/>
                    <a:pt x="113" y="38"/>
                  </a:cubicBezTo>
                  <a:cubicBezTo>
                    <a:pt x="110" y="36"/>
                    <a:pt x="94" y="36"/>
                    <a:pt x="91" y="37"/>
                  </a:cubicBezTo>
                  <a:cubicBezTo>
                    <a:pt x="87" y="37"/>
                    <a:pt x="80" y="48"/>
                    <a:pt x="79" y="49"/>
                  </a:cubicBezTo>
                  <a:cubicBezTo>
                    <a:pt x="78" y="51"/>
                    <a:pt x="58" y="53"/>
                    <a:pt x="53" y="54"/>
                  </a:cubicBezTo>
                  <a:cubicBezTo>
                    <a:pt x="48" y="54"/>
                    <a:pt x="45" y="65"/>
                    <a:pt x="45" y="65"/>
                  </a:cubicBezTo>
                  <a:cubicBezTo>
                    <a:pt x="45" y="65"/>
                    <a:pt x="30" y="66"/>
                    <a:pt x="25" y="66"/>
                  </a:cubicBezTo>
                  <a:cubicBezTo>
                    <a:pt x="19" y="66"/>
                    <a:pt x="17" y="60"/>
                    <a:pt x="15" y="60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2"/>
                    <a:pt x="0" y="35"/>
                    <a:pt x="0" y="3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" y="29"/>
                    <a:pt x="18" y="27"/>
                    <a:pt x="20" y="24"/>
                  </a:cubicBezTo>
                  <a:cubicBezTo>
                    <a:pt x="23" y="22"/>
                    <a:pt x="39" y="3"/>
                    <a:pt x="43" y="2"/>
                  </a:cubicBezTo>
                  <a:cubicBezTo>
                    <a:pt x="44" y="1"/>
                    <a:pt x="46" y="1"/>
                    <a:pt x="49" y="1"/>
                  </a:cubicBezTo>
                  <a:cubicBezTo>
                    <a:pt x="53" y="0"/>
                    <a:pt x="58" y="0"/>
                    <a:pt x="61" y="0"/>
                  </a:cubicBezTo>
                  <a:cubicBezTo>
                    <a:pt x="64" y="1"/>
                    <a:pt x="70" y="5"/>
                    <a:pt x="70" y="8"/>
                  </a:cubicBezTo>
                  <a:cubicBezTo>
                    <a:pt x="70" y="12"/>
                    <a:pt x="70" y="16"/>
                    <a:pt x="71" y="16"/>
                  </a:cubicBezTo>
                  <a:cubicBezTo>
                    <a:pt x="73" y="16"/>
                    <a:pt x="79" y="15"/>
                    <a:pt x="79" y="15"/>
                  </a:cubicBezTo>
                  <a:cubicBezTo>
                    <a:pt x="79" y="15"/>
                    <a:pt x="85" y="8"/>
                    <a:pt x="89" y="7"/>
                  </a:cubicBezTo>
                  <a:cubicBezTo>
                    <a:pt x="92" y="6"/>
                    <a:pt x="107" y="4"/>
                    <a:pt x="111" y="4"/>
                  </a:cubicBezTo>
                  <a:cubicBezTo>
                    <a:pt x="115" y="4"/>
                    <a:pt x="127" y="11"/>
                    <a:pt x="129" y="13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3" name="Group 28">
              <a:extLst>
                <a:ext uri="{FF2B5EF4-FFF2-40B4-BE49-F238E27FC236}">
                  <a16:creationId xmlns:a16="http://schemas.microsoft.com/office/drawing/2014/main" id="{AAAD21EC-9A33-4DC4-8EC7-6AB65766BF9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944" y="1807"/>
              <a:ext cx="228" cy="148"/>
              <a:chOff x="2944" y="1807"/>
              <a:chExt cx="228" cy="148"/>
            </a:xfrm>
            <a:grpFill/>
          </p:grpSpPr>
          <p:sp>
            <p:nvSpPr>
              <p:cNvPr id="626" name="Freeform 29">
                <a:extLst>
                  <a:ext uri="{FF2B5EF4-FFF2-40B4-BE49-F238E27FC236}">
                    <a16:creationId xmlns:a16="http://schemas.microsoft.com/office/drawing/2014/main" id="{114429A7-706C-4B6D-BF7C-4F0C0E20E1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0" y="1807"/>
                <a:ext cx="172" cy="148"/>
              </a:xfrm>
              <a:custGeom>
                <a:avLst/>
                <a:gdLst>
                  <a:gd name="T0" fmla="*/ 527 w 92"/>
                  <a:gd name="T1" fmla="*/ 459 h 79"/>
                  <a:gd name="T2" fmla="*/ 535 w 92"/>
                  <a:gd name="T3" fmla="*/ 481 h 79"/>
                  <a:gd name="T4" fmla="*/ 535 w 92"/>
                  <a:gd name="T5" fmla="*/ 481 h 79"/>
                  <a:gd name="T6" fmla="*/ 471 w 92"/>
                  <a:gd name="T7" fmla="*/ 481 h 79"/>
                  <a:gd name="T8" fmla="*/ 406 w 92"/>
                  <a:gd name="T9" fmla="*/ 506 h 79"/>
                  <a:gd name="T10" fmla="*/ 294 w 92"/>
                  <a:gd name="T11" fmla="*/ 401 h 79"/>
                  <a:gd name="T12" fmla="*/ 196 w 92"/>
                  <a:gd name="T13" fmla="*/ 414 h 79"/>
                  <a:gd name="T14" fmla="*/ 144 w 92"/>
                  <a:gd name="T15" fmla="*/ 429 h 79"/>
                  <a:gd name="T16" fmla="*/ 150 w 92"/>
                  <a:gd name="T17" fmla="*/ 393 h 79"/>
                  <a:gd name="T18" fmla="*/ 157 w 92"/>
                  <a:gd name="T19" fmla="*/ 330 h 79"/>
                  <a:gd name="T20" fmla="*/ 112 w 92"/>
                  <a:gd name="T21" fmla="*/ 309 h 79"/>
                  <a:gd name="T22" fmla="*/ 84 w 92"/>
                  <a:gd name="T23" fmla="*/ 362 h 79"/>
                  <a:gd name="T24" fmla="*/ 52 w 92"/>
                  <a:gd name="T25" fmla="*/ 322 h 79"/>
                  <a:gd name="T26" fmla="*/ 39 w 92"/>
                  <a:gd name="T27" fmla="*/ 289 h 79"/>
                  <a:gd name="T28" fmla="*/ 7 w 92"/>
                  <a:gd name="T29" fmla="*/ 172 h 79"/>
                  <a:gd name="T30" fmla="*/ 13 w 92"/>
                  <a:gd name="T31" fmla="*/ 126 h 79"/>
                  <a:gd name="T32" fmla="*/ 77 w 92"/>
                  <a:gd name="T33" fmla="*/ 105 h 79"/>
                  <a:gd name="T34" fmla="*/ 120 w 92"/>
                  <a:gd name="T35" fmla="*/ 60 h 79"/>
                  <a:gd name="T36" fmla="*/ 234 w 92"/>
                  <a:gd name="T37" fmla="*/ 52 h 79"/>
                  <a:gd name="T38" fmla="*/ 262 w 92"/>
                  <a:gd name="T39" fmla="*/ 0 h 79"/>
                  <a:gd name="T40" fmla="*/ 314 w 92"/>
                  <a:gd name="T41" fmla="*/ 7 h 79"/>
                  <a:gd name="T42" fmla="*/ 430 w 92"/>
                  <a:gd name="T43" fmla="*/ 32 h 79"/>
                  <a:gd name="T44" fmla="*/ 555 w 92"/>
                  <a:gd name="T45" fmla="*/ 32 h 79"/>
                  <a:gd name="T46" fmla="*/ 570 w 92"/>
                  <a:gd name="T47" fmla="*/ 21 h 79"/>
                  <a:gd name="T48" fmla="*/ 602 w 92"/>
                  <a:gd name="T49" fmla="*/ 45 h 79"/>
                  <a:gd name="T50" fmla="*/ 523 w 92"/>
                  <a:gd name="T51" fmla="*/ 225 h 79"/>
                  <a:gd name="T52" fmla="*/ 563 w 92"/>
                  <a:gd name="T53" fmla="*/ 382 h 79"/>
                  <a:gd name="T54" fmla="*/ 527 w 92"/>
                  <a:gd name="T55" fmla="*/ 459 h 7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2" h="79">
                    <a:moveTo>
                      <a:pt x="81" y="70"/>
                    </a:moveTo>
                    <a:cubicBezTo>
                      <a:pt x="81" y="71"/>
                      <a:pt x="81" y="72"/>
                      <a:pt x="82" y="73"/>
                    </a:cubicBezTo>
                    <a:cubicBezTo>
                      <a:pt x="82" y="73"/>
                      <a:pt x="82" y="73"/>
                      <a:pt x="82" y="73"/>
                    </a:cubicBezTo>
                    <a:cubicBezTo>
                      <a:pt x="72" y="73"/>
                      <a:pt x="72" y="73"/>
                      <a:pt x="72" y="73"/>
                    </a:cubicBezTo>
                    <a:cubicBezTo>
                      <a:pt x="68" y="73"/>
                      <a:pt x="64" y="79"/>
                      <a:pt x="62" y="77"/>
                    </a:cubicBezTo>
                    <a:cubicBezTo>
                      <a:pt x="60" y="75"/>
                      <a:pt x="53" y="63"/>
                      <a:pt x="45" y="61"/>
                    </a:cubicBezTo>
                    <a:cubicBezTo>
                      <a:pt x="37" y="59"/>
                      <a:pt x="32" y="63"/>
                      <a:pt x="30" y="63"/>
                    </a:cubicBezTo>
                    <a:cubicBezTo>
                      <a:pt x="30" y="63"/>
                      <a:pt x="26" y="64"/>
                      <a:pt x="22" y="65"/>
                    </a:cubicBezTo>
                    <a:cubicBezTo>
                      <a:pt x="22" y="64"/>
                      <a:pt x="23" y="62"/>
                      <a:pt x="23" y="60"/>
                    </a:cubicBezTo>
                    <a:cubicBezTo>
                      <a:pt x="24" y="55"/>
                      <a:pt x="26" y="52"/>
                      <a:pt x="24" y="50"/>
                    </a:cubicBezTo>
                    <a:cubicBezTo>
                      <a:pt x="23" y="49"/>
                      <a:pt x="19" y="45"/>
                      <a:pt x="17" y="47"/>
                    </a:cubicBezTo>
                    <a:cubicBezTo>
                      <a:pt x="16" y="50"/>
                      <a:pt x="17" y="56"/>
                      <a:pt x="13" y="55"/>
                    </a:cubicBezTo>
                    <a:cubicBezTo>
                      <a:pt x="9" y="54"/>
                      <a:pt x="8" y="51"/>
                      <a:pt x="8" y="49"/>
                    </a:cubicBezTo>
                    <a:cubicBezTo>
                      <a:pt x="8" y="48"/>
                      <a:pt x="7" y="45"/>
                      <a:pt x="6" y="44"/>
                    </a:cubicBezTo>
                    <a:cubicBezTo>
                      <a:pt x="4" y="42"/>
                      <a:pt x="0" y="27"/>
                      <a:pt x="1" y="26"/>
                    </a:cubicBezTo>
                    <a:cubicBezTo>
                      <a:pt x="1" y="24"/>
                      <a:pt x="1" y="20"/>
                      <a:pt x="2" y="19"/>
                    </a:cubicBezTo>
                    <a:cubicBezTo>
                      <a:pt x="4" y="17"/>
                      <a:pt x="10" y="18"/>
                      <a:pt x="12" y="16"/>
                    </a:cubicBezTo>
                    <a:cubicBezTo>
                      <a:pt x="15" y="14"/>
                      <a:pt x="13" y="9"/>
                      <a:pt x="18" y="9"/>
                    </a:cubicBezTo>
                    <a:cubicBezTo>
                      <a:pt x="23" y="9"/>
                      <a:pt x="33" y="9"/>
                      <a:pt x="36" y="8"/>
                    </a:cubicBezTo>
                    <a:cubicBezTo>
                      <a:pt x="39" y="7"/>
                      <a:pt x="37" y="1"/>
                      <a:pt x="40" y="0"/>
                    </a:cubicBezTo>
                    <a:cubicBezTo>
                      <a:pt x="42" y="0"/>
                      <a:pt x="45" y="1"/>
                      <a:pt x="48" y="1"/>
                    </a:cubicBezTo>
                    <a:cubicBezTo>
                      <a:pt x="51" y="2"/>
                      <a:pt x="62" y="5"/>
                      <a:pt x="66" y="5"/>
                    </a:cubicBezTo>
                    <a:cubicBezTo>
                      <a:pt x="69" y="5"/>
                      <a:pt x="83" y="7"/>
                      <a:pt x="85" y="5"/>
                    </a:cubicBezTo>
                    <a:cubicBezTo>
                      <a:pt x="86" y="4"/>
                      <a:pt x="87" y="3"/>
                      <a:pt x="87" y="3"/>
                    </a:cubicBezTo>
                    <a:cubicBezTo>
                      <a:pt x="90" y="5"/>
                      <a:pt x="92" y="7"/>
                      <a:pt x="92" y="7"/>
                    </a:cubicBezTo>
                    <a:cubicBezTo>
                      <a:pt x="92" y="9"/>
                      <a:pt x="82" y="24"/>
                      <a:pt x="80" y="34"/>
                    </a:cubicBezTo>
                    <a:cubicBezTo>
                      <a:pt x="78" y="43"/>
                      <a:pt x="84" y="54"/>
                      <a:pt x="86" y="58"/>
                    </a:cubicBezTo>
                    <a:cubicBezTo>
                      <a:pt x="88" y="63"/>
                      <a:pt x="83" y="66"/>
                      <a:pt x="81" y="7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7" name="Freeform 30">
                <a:extLst>
                  <a:ext uri="{FF2B5EF4-FFF2-40B4-BE49-F238E27FC236}">
                    <a16:creationId xmlns:a16="http://schemas.microsoft.com/office/drawing/2014/main" id="{4D7F7332-5A8B-4368-A57A-1A50DC70F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4" y="1882"/>
                <a:ext cx="60" cy="49"/>
              </a:xfrm>
              <a:custGeom>
                <a:avLst/>
                <a:gdLst>
                  <a:gd name="T0" fmla="*/ 189 w 32"/>
                  <a:gd name="T1" fmla="*/ 32 h 26"/>
                  <a:gd name="T2" fmla="*/ 189 w 32"/>
                  <a:gd name="T3" fmla="*/ 68 h 26"/>
                  <a:gd name="T4" fmla="*/ 137 w 32"/>
                  <a:gd name="T5" fmla="*/ 89 h 26"/>
                  <a:gd name="T6" fmla="*/ 81 w 32"/>
                  <a:gd name="T7" fmla="*/ 113 h 26"/>
                  <a:gd name="T8" fmla="*/ 39 w 32"/>
                  <a:gd name="T9" fmla="*/ 168 h 26"/>
                  <a:gd name="T10" fmla="*/ 15 w 32"/>
                  <a:gd name="T11" fmla="*/ 100 h 26"/>
                  <a:gd name="T12" fmla="*/ 28 w 32"/>
                  <a:gd name="T13" fmla="*/ 53 h 26"/>
                  <a:gd name="T14" fmla="*/ 81 w 32"/>
                  <a:gd name="T15" fmla="*/ 15 h 26"/>
                  <a:gd name="T16" fmla="*/ 158 w 32"/>
                  <a:gd name="T17" fmla="*/ 0 h 26"/>
                  <a:gd name="T18" fmla="*/ 189 w 32"/>
                  <a:gd name="T19" fmla="*/ 32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2" h="26">
                    <a:moveTo>
                      <a:pt x="29" y="5"/>
                    </a:moveTo>
                    <a:cubicBezTo>
                      <a:pt x="30" y="8"/>
                      <a:pt x="32" y="9"/>
                      <a:pt x="29" y="10"/>
                    </a:cubicBezTo>
                    <a:cubicBezTo>
                      <a:pt x="26" y="11"/>
                      <a:pt x="21" y="13"/>
                      <a:pt x="21" y="13"/>
                    </a:cubicBezTo>
                    <a:cubicBezTo>
                      <a:pt x="17" y="15"/>
                      <a:pt x="13" y="16"/>
                      <a:pt x="12" y="17"/>
                    </a:cubicBezTo>
                    <a:cubicBezTo>
                      <a:pt x="11" y="18"/>
                      <a:pt x="10" y="26"/>
                      <a:pt x="6" y="25"/>
                    </a:cubicBezTo>
                    <a:cubicBezTo>
                      <a:pt x="3" y="24"/>
                      <a:pt x="7" y="18"/>
                      <a:pt x="2" y="15"/>
                    </a:cubicBezTo>
                    <a:cubicBezTo>
                      <a:pt x="0" y="14"/>
                      <a:pt x="0" y="10"/>
                      <a:pt x="4" y="8"/>
                    </a:cubicBezTo>
                    <a:cubicBezTo>
                      <a:pt x="7" y="6"/>
                      <a:pt x="10" y="2"/>
                      <a:pt x="12" y="2"/>
                    </a:cubicBezTo>
                    <a:cubicBezTo>
                      <a:pt x="15" y="2"/>
                      <a:pt x="23" y="0"/>
                      <a:pt x="24" y="0"/>
                    </a:cubicBezTo>
                    <a:cubicBezTo>
                      <a:pt x="26" y="1"/>
                      <a:pt x="28" y="3"/>
                      <a:pt x="29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8" name="Freeform 31">
                <a:extLst>
                  <a:ext uri="{FF2B5EF4-FFF2-40B4-BE49-F238E27FC236}">
                    <a16:creationId xmlns:a16="http://schemas.microsoft.com/office/drawing/2014/main" id="{E63A4B77-FE3B-4267-ACDB-4A351D0FF2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52" y="1850"/>
                <a:ext cx="39" cy="28"/>
              </a:xfrm>
              <a:custGeom>
                <a:avLst/>
                <a:gdLst>
                  <a:gd name="T0" fmla="*/ 69 w 21"/>
                  <a:gd name="T1" fmla="*/ 0 h 15"/>
                  <a:gd name="T2" fmla="*/ 121 w 21"/>
                  <a:gd name="T3" fmla="*/ 65 h 15"/>
                  <a:gd name="T4" fmla="*/ 97 w 21"/>
                  <a:gd name="T5" fmla="*/ 73 h 15"/>
                  <a:gd name="T6" fmla="*/ 69 w 21"/>
                  <a:gd name="T7" fmla="*/ 91 h 15"/>
                  <a:gd name="T8" fmla="*/ 37 w 21"/>
                  <a:gd name="T9" fmla="*/ 65 h 15"/>
                  <a:gd name="T10" fmla="*/ 7 w 21"/>
                  <a:gd name="T11" fmla="*/ 65 h 15"/>
                  <a:gd name="T12" fmla="*/ 37 w 21"/>
                  <a:gd name="T13" fmla="*/ 32 h 15"/>
                  <a:gd name="T14" fmla="*/ 69 w 21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1" h="15">
                    <a:moveTo>
                      <a:pt x="11" y="0"/>
                    </a:moveTo>
                    <a:cubicBezTo>
                      <a:pt x="14" y="1"/>
                      <a:pt x="21" y="10"/>
                      <a:pt x="19" y="10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2"/>
                      <a:pt x="13" y="15"/>
                      <a:pt x="11" y="14"/>
                    </a:cubicBezTo>
                    <a:cubicBezTo>
                      <a:pt x="8" y="13"/>
                      <a:pt x="8" y="10"/>
                      <a:pt x="6" y="10"/>
                    </a:cubicBezTo>
                    <a:cubicBezTo>
                      <a:pt x="4" y="10"/>
                      <a:pt x="1" y="12"/>
                      <a:pt x="1" y="10"/>
                    </a:cubicBezTo>
                    <a:cubicBezTo>
                      <a:pt x="0" y="5"/>
                      <a:pt x="5" y="5"/>
                      <a:pt x="6" y="5"/>
                    </a:cubicBezTo>
                    <a:cubicBezTo>
                      <a:pt x="8" y="4"/>
                      <a:pt x="8" y="0"/>
                      <a:pt x="11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4" name="Freeform 32">
              <a:extLst>
                <a:ext uri="{FF2B5EF4-FFF2-40B4-BE49-F238E27FC236}">
                  <a16:creationId xmlns:a16="http://schemas.microsoft.com/office/drawing/2014/main" id="{8DA8CEFE-E532-415E-9086-9BB8612BB84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0" y="2580"/>
              <a:ext cx="317" cy="194"/>
            </a:xfrm>
            <a:custGeom>
              <a:avLst/>
              <a:gdLst>
                <a:gd name="T0" fmla="*/ 985 w 170"/>
                <a:gd name="T1" fmla="*/ 45 h 104"/>
                <a:gd name="T2" fmla="*/ 1102 w 170"/>
                <a:gd name="T3" fmla="*/ 121 h 104"/>
                <a:gd name="T4" fmla="*/ 1065 w 170"/>
                <a:gd name="T5" fmla="*/ 173 h 104"/>
                <a:gd name="T6" fmla="*/ 960 w 170"/>
                <a:gd name="T7" fmla="*/ 272 h 104"/>
                <a:gd name="T8" fmla="*/ 841 w 170"/>
                <a:gd name="T9" fmla="*/ 539 h 104"/>
                <a:gd name="T10" fmla="*/ 751 w 170"/>
                <a:gd name="T11" fmla="*/ 563 h 104"/>
                <a:gd name="T12" fmla="*/ 688 w 170"/>
                <a:gd name="T13" fmla="*/ 616 h 104"/>
                <a:gd name="T14" fmla="*/ 681 w 170"/>
                <a:gd name="T15" fmla="*/ 616 h 104"/>
                <a:gd name="T16" fmla="*/ 655 w 170"/>
                <a:gd name="T17" fmla="*/ 591 h 104"/>
                <a:gd name="T18" fmla="*/ 474 w 170"/>
                <a:gd name="T19" fmla="*/ 644 h 104"/>
                <a:gd name="T20" fmla="*/ 434 w 170"/>
                <a:gd name="T21" fmla="*/ 644 h 104"/>
                <a:gd name="T22" fmla="*/ 270 w 170"/>
                <a:gd name="T23" fmla="*/ 655 h 104"/>
                <a:gd name="T24" fmla="*/ 97 w 170"/>
                <a:gd name="T25" fmla="*/ 526 h 104"/>
                <a:gd name="T26" fmla="*/ 39 w 170"/>
                <a:gd name="T27" fmla="*/ 474 h 104"/>
                <a:gd name="T28" fmla="*/ 13 w 170"/>
                <a:gd name="T29" fmla="*/ 397 h 104"/>
                <a:gd name="T30" fmla="*/ 84 w 170"/>
                <a:gd name="T31" fmla="*/ 241 h 104"/>
                <a:gd name="T32" fmla="*/ 157 w 170"/>
                <a:gd name="T33" fmla="*/ 142 h 104"/>
                <a:gd name="T34" fmla="*/ 226 w 170"/>
                <a:gd name="T35" fmla="*/ 157 h 104"/>
                <a:gd name="T36" fmla="*/ 293 w 170"/>
                <a:gd name="T37" fmla="*/ 194 h 104"/>
                <a:gd name="T38" fmla="*/ 421 w 170"/>
                <a:gd name="T39" fmla="*/ 188 h 104"/>
                <a:gd name="T40" fmla="*/ 474 w 170"/>
                <a:gd name="T41" fmla="*/ 118 h 104"/>
                <a:gd name="T42" fmla="*/ 643 w 170"/>
                <a:gd name="T43" fmla="*/ 84 h 104"/>
                <a:gd name="T44" fmla="*/ 720 w 170"/>
                <a:gd name="T45" fmla="*/ 7 h 104"/>
                <a:gd name="T46" fmla="*/ 861 w 170"/>
                <a:gd name="T47" fmla="*/ 13 h 104"/>
                <a:gd name="T48" fmla="*/ 929 w 170"/>
                <a:gd name="T49" fmla="*/ 52 h 104"/>
                <a:gd name="T50" fmla="*/ 966 w 170"/>
                <a:gd name="T51" fmla="*/ 39 h 104"/>
                <a:gd name="T52" fmla="*/ 985 w 170"/>
                <a:gd name="T53" fmla="*/ 45 h 10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0" h="104">
                  <a:moveTo>
                    <a:pt x="152" y="7"/>
                  </a:moveTo>
                  <a:cubicBezTo>
                    <a:pt x="154" y="10"/>
                    <a:pt x="163" y="19"/>
                    <a:pt x="170" y="19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7"/>
                    <a:pt x="155" y="36"/>
                    <a:pt x="148" y="42"/>
                  </a:cubicBezTo>
                  <a:cubicBezTo>
                    <a:pt x="141" y="49"/>
                    <a:pt x="131" y="78"/>
                    <a:pt x="130" y="83"/>
                  </a:cubicBezTo>
                  <a:cubicBezTo>
                    <a:pt x="129" y="88"/>
                    <a:pt x="119" y="84"/>
                    <a:pt x="116" y="87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4" y="93"/>
                    <a:pt x="102" y="92"/>
                    <a:pt x="101" y="91"/>
                  </a:cubicBezTo>
                  <a:cubicBezTo>
                    <a:pt x="97" y="90"/>
                    <a:pt x="79" y="99"/>
                    <a:pt x="73" y="99"/>
                  </a:cubicBezTo>
                  <a:cubicBezTo>
                    <a:pt x="72" y="99"/>
                    <a:pt x="70" y="99"/>
                    <a:pt x="67" y="99"/>
                  </a:cubicBezTo>
                  <a:cubicBezTo>
                    <a:pt x="59" y="101"/>
                    <a:pt x="46" y="104"/>
                    <a:pt x="42" y="101"/>
                  </a:cubicBezTo>
                  <a:cubicBezTo>
                    <a:pt x="37" y="96"/>
                    <a:pt x="20" y="87"/>
                    <a:pt x="15" y="81"/>
                  </a:cubicBezTo>
                  <a:cubicBezTo>
                    <a:pt x="12" y="79"/>
                    <a:pt x="9" y="76"/>
                    <a:pt x="6" y="73"/>
                  </a:cubicBezTo>
                  <a:cubicBezTo>
                    <a:pt x="2" y="69"/>
                    <a:pt x="0" y="65"/>
                    <a:pt x="2" y="61"/>
                  </a:cubicBezTo>
                  <a:cubicBezTo>
                    <a:pt x="4" y="53"/>
                    <a:pt x="9" y="43"/>
                    <a:pt x="13" y="37"/>
                  </a:cubicBezTo>
                  <a:cubicBezTo>
                    <a:pt x="17" y="32"/>
                    <a:pt x="24" y="28"/>
                    <a:pt x="24" y="22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9" y="30"/>
                    <a:pt x="45" y="30"/>
                  </a:cubicBezTo>
                  <a:cubicBezTo>
                    <a:pt x="50" y="30"/>
                    <a:pt x="65" y="29"/>
                    <a:pt x="65" y="29"/>
                  </a:cubicBezTo>
                  <a:cubicBezTo>
                    <a:pt x="65" y="29"/>
                    <a:pt x="68" y="18"/>
                    <a:pt x="73" y="18"/>
                  </a:cubicBezTo>
                  <a:cubicBezTo>
                    <a:pt x="78" y="17"/>
                    <a:pt x="98" y="15"/>
                    <a:pt x="99" y="13"/>
                  </a:cubicBezTo>
                  <a:cubicBezTo>
                    <a:pt x="100" y="12"/>
                    <a:pt x="107" y="1"/>
                    <a:pt x="111" y="1"/>
                  </a:cubicBezTo>
                  <a:cubicBezTo>
                    <a:pt x="114" y="0"/>
                    <a:pt x="130" y="0"/>
                    <a:pt x="133" y="2"/>
                  </a:cubicBezTo>
                  <a:cubicBezTo>
                    <a:pt x="137" y="5"/>
                    <a:pt x="140" y="10"/>
                    <a:pt x="143" y="8"/>
                  </a:cubicBezTo>
                  <a:cubicBezTo>
                    <a:pt x="145" y="7"/>
                    <a:pt x="147" y="6"/>
                    <a:pt x="149" y="6"/>
                  </a:cubicBezTo>
                  <a:cubicBezTo>
                    <a:pt x="150" y="6"/>
                    <a:pt x="151" y="6"/>
                    <a:pt x="152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5" name="Freeform 33">
              <a:extLst>
                <a:ext uri="{FF2B5EF4-FFF2-40B4-BE49-F238E27FC236}">
                  <a16:creationId xmlns:a16="http://schemas.microsoft.com/office/drawing/2014/main" id="{7BCC5143-0BBD-4DD2-BBB4-3EBFBCAAB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78" y="2263"/>
              <a:ext cx="810" cy="552"/>
            </a:xfrm>
            <a:custGeom>
              <a:avLst/>
              <a:gdLst>
                <a:gd name="T0" fmla="*/ 24 w 434"/>
                <a:gd name="T1" fmla="*/ 1082 h 296"/>
                <a:gd name="T2" fmla="*/ 97 w 434"/>
                <a:gd name="T3" fmla="*/ 837 h 296"/>
                <a:gd name="T4" fmla="*/ 300 w 434"/>
                <a:gd name="T5" fmla="*/ 630 h 296"/>
                <a:gd name="T6" fmla="*/ 196 w 434"/>
                <a:gd name="T7" fmla="*/ 382 h 296"/>
                <a:gd name="T8" fmla="*/ 261 w 434"/>
                <a:gd name="T9" fmla="*/ 358 h 296"/>
                <a:gd name="T10" fmla="*/ 539 w 434"/>
                <a:gd name="T11" fmla="*/ 270 h 296"/>
                <a:gd name="T12" fmla="*/ 937 w 434"/>
                <a:gd name="T13" fmla="*/ 323 h 296"/>
                <a:gd name="T14" fmla="*/ 1157 w 434"/>
                <a:gd name="T15" fmla="*/ 317 h 296"/>
                <a:gd name="T16" fmla="*/ 1275 w 434"/>
                <a:gd name="T17" fmla="*/ 317 h 296"/>
                <a:gd name="T18" fmla="*/ 1320 w 434"/>
                <a:gd name="T19" fmla="*/ 129 h 296"/>
                <a:gd name="T20" fmla="*/ 1411 w 434"/>
                <a:gd name="T21" fmla="*/ 121 h 296"/>
                <a:gd name="T22" fmla="*/ 1680 w 434"/>
                <a:gd name="T23" fmla="*/ 0 h 296"/>
                <a:gd name="T24" fmla="*/ 1756 w 434"/>
                <a:gd name="T25" fmla="*/ 194 h 296"/>
                <a:gd name="T26" fmla="*/ 1913 w 434"/>
                <a:gd name="T27" fmla="*/ 241 h 296"/>
                <a:gd name="T28" fmla="*/ 2204 w 434"/>
                <a:gd name="T29" fmla="*/ 414 h 296"/>
                <a:gd name="T30" fmla="*/ 2432 w 434"/>
                <a:gd name="T31" fmla="*/ 435 h 296"/>
                <a:gd name="T32" fmla="*/ 2783 w 434"/>
                <a:gd name="T33" fmla="*/ 526 h 296"/>
                <a:gd name="T34" fmla="*/ 2822 w 434"/>
                <a:gd name="T35" fmla="*/ 772 h 296"/>
                <a:gd name="T36" fmla="*/ 2665 w 434"/>
                <a:gd name="T37" fmla="*/ 901 h 296"/>
                <a:gd name="T38" fmla="*/ 2620 w 434"/>
                <a:gd name="T39" fmla="*/ 1082 h 296"/>
                <a:gd name="T40" fmla="*/ 2497 w 434"/>
                <a:gd name="T41" fmla="*/ 1175 h 296"/>
                <a:gd name="T42" fmla="*/ 2191 w 434"/>
                <a:gd name="T43" fmla="*/ 1402 h 296"/>
                <a:gd name="T44" fmla="*/ 2199 w 434"/>
                <a:gd name="T45" fmla="*/ 1583 h 296"/>
                <a:gd name="T46" fmla="*/ 2424 w 434"/>
                <a:gd name="T47" fmla="*/ 1568 h 296"/>
                <a:gd name="T48" fmla="*/ 2400 w 434"/>
                <a:gd name="T49" fmla="*/ 1665 h 296"/>
                <a:gd name="T50" fmla="*/ 2251 w 434"/>
                <a:gd name="T51" fmla="*/ 1725 h 296"/>
                <a:gd name="T52" fmla="*/ 2055 w 434"/>
                <a:gd name="T53" fmla="*/ 1898 h 296"/>
                <a:gd name="T54" fmla="*/ 1958 w 434"/>
                <a:gd name="T55" fmla="*/ 1815 h 296"/>
                <a:gd name="T56" fmla="*/ 1825 w 434"/>
                <a:gd name="T57" fmla="*/ 1704 h 296"/>
                <a:gd name="T58" fmla="*/ 1814 w 434"/>
                <a:gd name="T59" fmla="*/ 1621 h 296"/>
                <a:gd name="T60" fmla="*/ 1853 w 434"/>
                <a:gd name="T61" fmla="*/ 1505 h 296"/>
                <a:gd name="T62" fmla="*/ 1613 w 434"/>
                <a:gd name="T63" fmla="*/ 1492 h 296"/>
                <a:gd name="T64" fmla="*/ 1629 w 434"/>
                <a:gd name="T65" fmla="*/ 1408 h 296"/>
                <a:gd name="T66" fmla="*/ 1431 w 434"/>
                <a:gd name="T67" fmla="*/ 1531 h 296"/>
                <a:gd name="T68" fmla="*/ 1292 w 434"/>
                <a:gd name="T69" fmla="*/ 1777 h 296"/>
                <a:gd name="T70" fmla="*/ 1157 w 434"/>
                <a:gd name="T71" fmla="*/ 1829 h 296"/>
                <a:gd name="T72" fmla="*/ 1053 w 434"/>
                <a:gd name="T73" fmla="*/ 1770 h 296"/>
                <a:gd name="T74" fmla="*/ 1105 w 434"/>
                <a:gd name="T75" fmla="*/ 1701 h 296"/>
                <a:gd name="T76" fmla="*/ 1170 w 434"/>
                <a:gd name="T77" fmla="*/ 1512 h 296"/>
                <a:gd name="T78" fmla="*/ 1290 w 434"/>
                <a:gd name="T79" fmla="*/ 1419 h 296"/>
                <a:gd name="T80" fmla="*/ 1142 w 434"/>
                <a:gd name="T81" fmla="*/ 1266 h 296"/>
                <a:gd name="T82" fmla="*/ 1021 w 434"/>
                <a:gd name="T83" fmla="*/ 1123 h 296"/>
                <a:gd name="T84" fmla="*/ 735 w 434"/>
                <a:gd name="T85" fmla="*/ 1117 h 296"/>
                <a:gd name="T86" fmla="*/ 599 w 434"/>
                <a:gd name="T87" fmla="*/ 1231 h 296"/>
                <a:gd name="T88" fmla="*/ 377 w 434"/>
                <a:gd name="T89" fmla="*/ 1231 h 296"/>
                <a:gd name="T90" fmla="*/ 21 w 434"/>
                <a:gd name="T91" fmla="*/ 1147 h 29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4" h="296">
                  <a:moveTo>
                    <a:pt x="0" y="176"/>
                  </a:moveTo>
                  <a:cubicBezTo>
                    <a:pt x="4" y="167"/>
                    <a:pt x="4" y="167"/>
                    <a:pt x="4" y="167"/>
                  </a:cubicBezTo>
                  <a:cubicBezTo>
                    <a:pt x="6" y="161"/>
                    <a:pt x="16" y="154"/>
                    <a:pt x="16" y="150"/>
                  </a:cubicBezTo>
                  <a:cubicBezTo>
                    <a:pt x="16" y="146"/>
                    <a:pt x="11" y="136"/>
                    <a:pt x="15" y="129"/>
                  </a:cubicBezTo>
                  <a:cubicBezTo>
                    <a:pt x="19" y="122"/>
                    <a:pt x="29" y="105"/>
                    <a:pt x="33" y="103"/>
                  </a:cubicBezTo>
                  <a:cubicBezTo>
                    <a:pt x="37" y="101"/>
                    <a:pt x="45" y="101"/>
                    <a:pt x="46" y="97"/>
                  </a:cubicBezTo>
                  <a:cubicBezTo>
                    <a:pt x="46" y="93"/>
                    <a:pt x="44" y="84"/>
                    <a:pt x="41" y="80"/>
                  </a:cubicBezTo>
                  <a:cubicBezTo>
                    <a:pt x="38" y="75"/>
                    <a:pt x="30" y="66"/>
                    <a:pt x="30" y="59"/>
                  </a:cubicBezTo>
                  <a:cubicBezTo>
                    <a:pt x="30" y="58"/>
                    <a:pt x="30" y="56"/>
                    <a:pt x="30" y="55"/>
                  </a:cubicBezTo>
                  <a:cubicBezTo>
                    <a:pt x="30" y="55"/>
                    <a:pt x="36" y="55"/>
                    <a:pt x="40" y="55"/>
                  </a:cubicBezTo>
                  <a:cubicBezTo>
                    <a:pt x="44" y="55"/>
                    <a:pt x="48" y="42"/>
                    <a:pt x="53" y="42"/>
                  </a:cubicBezTo>
                  <a:cubicBezTo>
                    <a:pt x="58" y="42"/>
                    <a:pt x="78" y="41"/>
                    <a:pt x="83" y="42"/>
                  </a:cubicBezTo>
                  <a:cubicBezTo>
                    <a:pt x="89" y="42"/>
                    <a:pt x="107" y="45"/>
                    <a:pt x="114" y="47"/>
                  </a:cubicBezTo>
                  <a:cubicBezTo>
                    <a:pt x="120" y="49"/>
                    <a:pt x="140" y="51"/>
                    <a:pt x="144" y="50"/>
                  </a:cubicBezTo>
                  <a:cubicBezTo>
                    <a:pt x="149" y="50"/>
                    <a:pt x="154" y="46"/>
                    <a:pt x="158" y="46"/>
                  </a:cubicBezTo>
                  <a:cubicBezTo>
                    <a:pt x="162" y="46"/>
                    <a:pt x="174" y="46"/>
                    <a:pt x="178" y="49"/>
                  </a:cubicBezTo>
                  <a:cubicBezTo>
                    <a:pt x="181" y="52"/>
                    <a:pt x="186" y="54"/>
                    <a:pt x="188" y="56"/>
                  </a:cubicBezTo>
                  <a:cubicBezTo>
                    <a:pt x="189" y="58"/>
                    <a:pt x="196" y="49"/>
                    <a:pt x="196" y="49"/>
                  </a:cubicBezTo>
                  <a:cubicBezTo>
                    <a:pt x="196" y="49"/>
                    <a:pt x="190" y="38"/>
                    <a:pt x="192" y="34"/>
                  </a:cubicBezTo>
                  <a:cubicBezTo>
                    <a:pt x="192" y="29"/>
                    <a:pt x="198" y="21"/>
                    <a:pt x="203" y="20"/>
                  </a:cubicBezTo>
                  <a:cubicBezTo>
                    <a:pt x="206" y="20"/>
                    <a:pt x="209" y="20"/>
                    <a:pt x="212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21" y="19"/>
                    <a:pt x="230" y="11"/>
                    <a:pt x="234" y="9"/>
                  </a:cubicBezTo>
                  <a:cubicBezTo>
                    <a:pt x="238" y="6"/>
                    <a:pt x="254" y="0"/>
                    <a:pt x="258" y="0"/>
                  </a:cubicBezTo>
                  <a:cubicBezTo>
                    <a:pt x="260" y="0"/>
                    <a:pt x="274" y="15"/>
                    <a:pt x="276" y="18"/>
                  </a:cubicBezTo>
                  <a:cubicBezTo>
                    <a:pt x="277" y="22"/>
                    <a:pt x="268" y="27"/>
                    <a:pt x="270" y="30"/>
                  </a:cubicBezTo>
                  <a:cubicBezTo>
                    <a:pt x="272" y="32"/>
                    <a:pt x="276" y="40"/>
                    <a:pt x="278" y="40"/>
                  </a:cubicBezTo>
                  <a:cubicBezTo>
                    <a:pt x="282" y="40"/>
                    <a:pt x="289" y="35"/>
                    <a:pt x="294" y="37"/>
                  </a:cubicBezTo>
                  <a:cubicBezTo>
                    <a:pt x="300" y="39"/>
                    <a:pt x="308" y="62"/>
                    <a:pt x="312" y="64"/>
                  </a:cubicBezTo>
                  <a:cubicBezTo>
                    <a:pt x="316" y="66"/>
                    <a:pt x="336" y="65"/>
                    <a:pt x="339" y="64"/>
                  </a:cubicBezTo>
                  <a:cubicBezTo>
                    <a:pt x="342" y="63"/>
                    <a:pt x="350" y="53"/>
                    <a:pt x="353" y="52"/>
                  </a:cubicBezTo>
                  <a:cubicBezTo>
                    <a:pt x="356" y="52"/>
                    <a:pt x="372" y="68"/>
                    <a:pt x="374" y="67"/>
                  </a:cubicBezTo>
                  <a:cubicBezTo>
                    <a:pt x="377" y="66"/>
                    <a:pt x="415" y="67"/>
                    <a:pt x="420" y="68"/>
                  </a:cubicBezTo>
                  <a:cubicBezTo>
                    <a:pt x="425" y="68"/>
                    <a:pt x="428" y="75"/>
                    <a:pt x="428" y="81"/>
                  </a:cubicBezTo>
                  <a:cubicBezTo>
                    <a:pt x="428" y="86"/>
                    <a:pt x="424" y="101"/>
                    <a:pt x="426" y="104"/>
                  </a:cubicBezTo>
                  <a:cubicBezTo>
                    <a:pt x="428" y="106"/>
                    <a:pt x="434" y="116"/>
                    <a:pt x="434" y="119"/>
                  </a:cubicBezTo>
                  <a:cubicBezTo>
                    <a:pt x="434" y="122"/>
                    <a:pt x="434" y="132"/>
                    <a:pt x="433" y="134"/>
                  </a:cubicBezTo>
                  <a:cubicBezTo>
                    <a:pt x="432" y="136"/>
                    <a:pt x="412" y="137"/>
                    <a:pt x="410" y="139"/>
                  </a:cubicBezTo>
                  <a:cubicBezTo>
                    <a:pt x="407" y="141"/>
                    <a:pt x="400" y="156"/>
                    <a:pt x="400" y="160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396" y="170"/>
                    <a:pt x="390" y="173"/>
                    <a:pt x="389" y="174"/>
                  </a:cubicBezTo>
                  <a:cubicBezTo>
                    <a:pt x="384" y="176"/>
                    <a:pt x="385" y="178"/>
                    <a:pt x="384" y="181"/>
                  </a:cubicBezTo>
                  <a:cubicBezTo>
                    <a:pt x="383" y="183"/>
                    <a:pt x="354" y="198"/>
                    <a:pt x="351" y="199"/>
                  </a:cubicBezTo>
                  <a:cubicBezTo>
                    <a:pt x="348" y="200"/>
                    <a:pt x="340" y="213"/>
                    <a:pt x="337" y="216"/>
                  </a:cubicBezTo>
                  <a:cubicBezTo>
                    <a:pt x="335" y="218"/>
                    <a:pt x="328" y="219"/>
                    <a:pt x="325" y="222"/>
                  </a:cubicBezTo>
                  <a:cubicBezTo>
                    <a:pt x="323" y="225"/>
                    <a:pt x="335" y="240"/>
                    <a:pt x="338" y="244"/>
                  </a:cubicBezTo>
                  <a:cubicBezTo>
                    <a:pt x="341" y="247"/>
                    <a:pt x="347" y="250"/>
                    <a:pt x="350" y="250"/>
                  </a:cubicBezTo>
                  <a:cubicBezTo>
                    <a:pt x="353" y="250"/>
                    <a:pt x="369" y="237"/>
                    <a:pt x="373" y="242"/>
                  </a:cubicBezTo>
                  <a:cubicBezTo>
                    <a:pt x="374" y="245"/>
                    <a:pt x="373" y="250"/>
                    <a:pt x="373" y="252"/>
                  </a:cubicBezTo>
                  <a:cubicBezTo>
                    <a:pt x="373" y="254"/>
                    <a:pt x="371" y="256"/>
                    <a:pt x="369" y="257"/>
                  </a:cubicBezTo>
                  <a:cubicBezTo>
                    <a:pt x="366" y="258"/>
                    <a:pt x="365" y="259"/>
                    <a:pt x="362" y="259"/>
                  </a:cubicBezTo>
                  <a:cubicBezTo>
                    <a:pt x="356" y="258"/>
                    <a:pt x="347" y="259"/>
                    <a:pt x="346" y="266"/>
                  </a:cubicBezTo>
                  <a:cubicBezTo>
                    <a:pt x="345" y="273"/>
                    <a:pt x="331" y="273"/>
                    <a:pt x="329" y="276"/>
                  </a:cubicBezTo>
                  <a:cubicBezTo>
                    <a:pt x="328" y="280"/>
                    <a:pt x="322" y="291"/>
                    <a:pt x="316" y="293"/>
                  </a:cubicBezTo>
                  <a:cubicBezTo>
                    <a:pt x="309" y="296"/>
                    <a:pt x="302" y="296"/>
                    <a:pt x="298" y="291"/>
                  </a:cubicBezTo>
                  <a:cubicBezTo>
                    <a:pt x="294" y="285"/>
                    <a:pt x="300" y="288"/>
                    <a:pt x="301" y="280"/>
                  </a:cubicBezTo>
                  <a:cubicBezTo>
                    <a:pt x="303" y="273"/>
                    <a:pt x="302" y="266"/>
                    <a:pt x="296" y="267"/>
                  </a:cubicBezTo>
                  <a:cubicBezTo>
                    <a:pt x="289" y="269"/>
                    <a:pt x="286" y="261"/>
                    <a:pt x="281" y="263"/>
                  </a:cubicBezTo>
                  <a:cubicBezTo>
                    <a:pt x="276" y="264"/>
                    <a:pt x="272" y="270"/>
                    <a:pt x="270" y="265"/>
                  </a:cubicBezTo>
                  <a:cubicBezTo>
                    <a:pt x="267" y="260"/>
                    <a:pt x="274" y="252"/>
                    <a:pt x="279" y="250"/>
                  </a:cubicBezTo>
                  <a:cubicBezTo>
                    <a:pt x="283" y="247"/>
                    <a:pt x="297" y="243"/>
                    <a:pt x="298" y="238"/>
                  </a:cubicBezTo>
                  <a:cubicBezTo>
                    <a:pt x="299" y="233"/>
                    <a:pt x="288" y="232"/>
                    <a:pt x="285" y="232"/>
                  </a:cubicBezTo>
                  <a:cubicBezTo>
                    <a:pt x="282" y="232"/>
                    <a:pt x="270" y="237"/>
                    <a:pt x="264" y="237"/>
                  </a:cubicBezTo>
                  <a:cubicBezTo>
                    <a:pt x="257" y="237"/>
                    <a:pt x="250" y="232"/>
                    <a:pt x="248" y="230"/>
                  </a:cubicBezTo>
                  <a:cubicBezTo>
                    <a:pt x="245" y="227"/>
                    <a:pt x="251" y="225"/>
                    <a:pt x="253" y="224"/>
                  </a:cubicBezTo>
                  <a:cubicBezTo>
                    <a:pt x="256" y="223"/>
                    <a:pt x="261" y="215"/>
                    <a:pt x="251" y="217"/>
                  </a:cubicBezTo>
                  <a:cubicBezTo>
                    <a:pt x="240" y="219"/>
                    <a:pt x="226" y="221"/>
                    <a:pt x="223" y="223"/>
                  </a:cubicBezTo>
                  <a:cubicBezTo>
                    <a:pt x="220" y="226"/>
                    <a:pt x="225" y="231"/>
                    <a:pt x="220" y="236"/>
                  </a:cubicBezTo>
                  <a:cubicBezTo>
                    <a:pt x="216" y="241"/>
                    <a:pt x="201" y="264"/>
                    <a:pt x="199" y="267"/>
                  </a:cubicBezTo>
                  <a:cubicBezTo>
                    <a:pt x="199" y="268"/>
                    <a:pt x="199" y="271"/>
                    <a:pt x="199" y="274"/>
                  </a:cubicBezTo>
                  <a:cubicBezTo>
                    <a:pt x="194" y="273"/>
                    <a:pt x="189" y="272"/>
                    <a:pt x="188" y="272"/>
                  </a:cubicBezTo>
                  <a:cubicBezTo>
                    <a:pt x="184" y="272"/>
                    <a:pt x="181" y="280"/>
                    <a:pt x="178" y="282"/>
                  </a:cubicBezTo>
                  <a:cubicBezTo>
                    <a:pt x="176" y="284"/>
                    <a:pt x="170" y="283"/>
                    <a:pt x="166" y="282"/>
                  </a:cubicBezTo>
                  <a:cubicBezTo>
                    <a:pt x="162" y="280"/>
                    <a:pt x="162" y="279"/>
                    <a:pt x="162" y="273"/>
                  </a:cubicBezTo>
                  <a:cubicBezTo>
                    <a:pt x="161" y="272"/>
                    <a:pt x="162" y="272"/>
                    <a:pt x="162" y="271"/>
                  </a:cubicBezTo>
                  <a:cubicBezTo>
                    <a:pt x="163" y="267"/>
                    <a:pt x="168" y="264"/>
                    <a:pt x="170" y="262"/>
                  </a:cubicBezTo>
                  <a:cubicBezTo>
                    <a:pt x="173" y="259"/>
                    <a:pt x="176" y="250"/>
                    <a:pt x="178" y="244"/>
                  </a:cubicBezTo>
                  <a:cubicBezTo>
                    <a:pt x="180" y="239"/>
                    <a:pt x="178" y="233"/>
                    <a:pt x="180" y="233"/>
                  </a:cubicBezTo>
                  <a:cubicBezTo>
                    <a:pt x="183" y="233"/>
                    <a:pt x="204" y="237"/>
                    <a:pt x="204" y="234"/>
                  </a:cubicBezTo>
                  <a:cubicBezTo>
                    <a:pt x="204" y="231"/>
                    <a:pt x="200" y="222"/>
                    <a:pt x="198" y="219"/>
                  </a:cubicBezTo>
                  <a:cubicBezTo>
                    <a:pt x="196" y="217"/>
                    <a:pt x="191" y="212"/>
                    <a:pt x="188" y="210"/>
                  </a:cubicBezTo>
                  <a:cubicBezTo>
                    <a:pt x="184" y="208"/>
                    <a:pt x="178" y="198"/>
                    <a:pt x="176" y="195"/>
                  </a:cubicBezTo>
                  <a:cubicBezTo>
                    <a:pt x="174" y="193"/>
                    <a:pt x="178" y="184"/>
                    <a:pt x="176" y="178"/>
                  </a:cubicBezTo>
                  <a:cubicBezTo>
                    <a:pt x="172" y="172"/>
                    <a:pt x="163" y="173"/>
                    <a:pt x="157" y="173"/>
                  </a:cubicBezTo>
                  <a:cubicBezTo>
                    <a:pt x="151" y="173"/>
                    <a:pt x="140" y="165"/>
                    <a:pt x="133" y="165"/>
                  </a:cubicBezTo>
                  <a:cubicBezTo>
                    <a:pt x="127" y="164"/>
                    <a:pt x="118" y="169"/>
                    <a:pt x="113" y="172"/>
                  </a:cubicBezTo>
                  <a:cubicBezTo>
                    <a:pt x="111" y="173"/>
                    <a:pt x="110" y="174"/>
                    <a:pt x="110" y="174"/>
                  </a:cubicBezTo>
                  <a:cubicBezTo>
                    <a:pt x="106" y="178"/>
                    <a:pt x="95" y="188"/>
                    <a:pt x="92" y="190"/>
                  </a:cubicBezTo>
                  <a:cubicBezTo>
                    <a:pt x="90" y="192"/>
                    <a:pt x="76" y="199"/>
                    <a:pt x="74" y="199"/>
                  </a:cubicBezTo>
                  <a:cubicBezTo>
                    <a:pt x="72" y="200"/>
                    <a:pt x="64" y="190"/>
                    <a:pt x="58" y="190"/>
                  </a:cubicBezTo>
                  <a:cubicBezTo>
                    <a:pt x="53" y="189"/>
                    <a:pt x="28" y="189"/>
                    <a:pt x="21" y="189"/>
                  </a:cubicBezTo>
                  <a:cubicBezTo>
                    <a:pt x="14" y="189"/>
                    <a:pt x="5" y="180"/>
                    <a:pt x="3" y="177"/>
                  </a:cubicBezTo>
                  <a:cubicBezTo>
                    <a:pt x="2" y="176"/>
                    <a:pt x="1" y="176"/>
                    <a:pt x="0" y="17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6" name="Freeform 34">
              <a:extLst>
                <a:ext uri="{FF2B5EF4-FFF2-40B4-BE49-F238E27FC236}">
                  <a16:creationId xmlns:a16="http://schemas.microsoft.com/office/drawing/2014/main" id="{1645D85A-C6C3-450B-9C2D-EE23EF8AD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" y="2990"/>
              <a:ext cx="93" cy="207"/>
            </a:xfrm>
            <a:custGeom>
              <a:avLst/>
              <a:gdLst>
                <a:gd name="T0" fmla="*/ 298 w 50"/>
                <a:gd name="T1" fmla="*/ 442 h 111"/>
                <a:gd name="T2" fmla="*/ 298 w 50"/>
                <a:gd name="T3" fmla="*/ 531 h 111"/>
                <a:gd name="T4" fmla="*/ 201 w 50"/>
                <a:gd name="T5" fmla="*/ 643 h 111"/>
                <a:gd name="T6" fmla="*/ 141 w 50"/>
                <a:gd name="T7" fmla="*/ 720 h 111"/>
                <a:gd name="T8" fmla="*/ 113 w 50"/>
                <a:gd name="T9" fmla="*/ 707 h 111"/>
                <a:gd name="T10" fmla="*/ 112 w 50"/>
                <a:gd name="T11" fmla="*/ 660 h 111"/>
                <a:gd name="T12" fmla="*/ 76 w 50"/>
                <a:gd name="T13" fmla="*/ 608 h 111"/>
                <a:gd name="T14" fmla="*/ 13 w 50"/>
                <a:gd name="T15" fmla="*/ 554 h 111"/>
                <a:gd name="T16" fmla="*/ 13 w 50"/>
                <a:gd name="T17" fmla="*/ 466 h 111"/>
                <a:gd name="T18" fmla="*/ 37 w 50"/>
                <a:gd name="T19" fmla="*/ 362 h 111"/>
                <a:gd name="T20" fmla="*/ 20 w 50"/>
                <a:gd name="T21" fmla="*/ 298 h 111"/>
                <a:gd name="T22" fmla="*/ 52 w 50"/>
                <a:gd name="T23" fmla="*/ 254 h 111"/>
                <a:gd name="T24" fmla="*/ 52 w 50"/>
                <a:gd name="T25" fmla="*/ 209 h 111"/>
                <a:gd name="T26" fmla="*/ 7 w 50"/>
                <a:gd name="T27" fmla="*/ 188 h 111"/>
                <a:gd name="T28" fmla="*/ 45 w 50"/>
                <a:gd name="T29" fmla="*/ 21 h 111"/>
                <a:gd name="T30" fmla="*/ 97 w 50"/>
                <a:gd name="T31" fmla="*/ 52 h 111"/>
                <a:gd name="T32" fmla="*/ 149 w 50"/>
                <a:gd name="T33" fmla="*/ 24 h 111"/>
                <a:gd name="T34" fmla="*/ 233 w 50"/>
                <a:gd name="T35" fmla="*/ 142 h 111"/>
                <a:gd name="T36" fmla="*/ 238 w 50"/>
                <a:gd name="T37" fmla="*/ 173 h 111"/>
                <a:gd name="T38" fmla="*/ 225 w 50"/>
                <a:gd name="T39" fmla="*/ 330 h 111"/>
                <a:gd name="T40" fmla="*/ 298 w 50"/>
                <a:gd name="T41" fmla="*/ 442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0" h="111">
                  <a:moveTo>
                    <a:pt x="46" y="68"/>
                  </a:moveTo>
                  <a:cubicBezTo>
                    <a:pt x="49" y="72"/>
                    <a:pt x="50" y="78"/>
                    <a:pt x="46" y="82"/>
                  </a:cubicBezTo>
                  <a:cubicBezTo>
                    <a:pt x="42" y="86"/>
                    <a:pt x="33" y="93"/>
                    <a:pt x="31" y="99"/>
                  </a:cubicBezTo>
                  <a:cubicBezTo>
                    <a:pt x="29" y="101"/>
                    <a:pt x="26" y="107"/>
                    <a:pt x="22" y="111"/>
                  </a:cubicBezTo>
                  <a:cubicBezTo>
                    <a:pt x="20" y="111"/>
                    <a:pt x="18" y="111"/>
                    <a:pt x="18" y="109"/>
                  </a:cubicBezTo>
                  <a:cubicBezTo>
                    <a:pt x="18" y="107"/>
                    <a:pt x="18" y="104"/>
                    <a:pt x="17" y="102"/>
                  </a:cubicBezTo>
                  <a:cubicBezTo>
                    <a:pt x="15" y="99"/>
                    <a:pt x="14" y="95"/>
                    <a:pt x="12" y="94"/>
                  </a:cubicBezTo>
                  <a:cubicBezTo>
                    <a:pt x="9" y="93"/>
                    <a:pt x="3" y="89"/>
                    <a:pt x="2" y="85"/>
                  </a:cubicBezTo>
                  <a:cubicBezTo>
                    <a:pt x="0" y="80"/>
                    <a:pt x="1" y="78"/>
                    <a:pt x="2" y="72"/>
                  </a:cubicBezTo>
                  <a:cubicBezTo>
                    <a:pt x="2" y="65"/>
                    <a:pt x="6" y="59"/>
                    <a:pt x="6" y="56"/>
                  </a:cubicBezTo>
                  <a:cubicBezTo>
                    <a:pt x="6" y="52"/>
                    <a:pt x="1" y="50"/>
                    <a:pt x="3" y="46"/>
                  </a:cubicBezTo>
                  <a:cubicBezTo>
                    <a:pt x="4" y="42"/>
                    <a:pt x="8" y="39"/>
                    <a:pt x="8" y="39"/>
                  </a:cubicBezTo>
                  <a:cubicBezTo>
                    <a:pt x="8" y="39"/>
                    <a:pt x="11" y="34"/>
                    <a:pt x="8" y="32"/>
                  </a:cubicBezTo>
                  <a:cubicBezTo>
                    <a:pt x="6" y="31"/>
                    <a:pt x="3" y="30"/>
                    <a:pt x="1" y="29"/>
                  </a:cubicBezTo>
                  <a:cubicBezTo>
                    <a:pt x="3" y="18"/>
                    <a:pt x="5" y="4"/>
                    <a:pt x="7" y="3"/>
                  </a:cubicBezTo>
                  <a:cubicBezTo>
                    <a:pt x="11" y="0"/>
                    <a:pt x="11" y="7"/>
                    <a:pt x="15" y="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8"/>
                    <a:pt x="34" y="15"/>
                    <a:pt x="36" y="22"/>
                  </a:cubicBezTo>
                  <a:cubicBezTo>
                    <a:pt x="37" y="24"/>
                    <a:pt x="37" y="26"/>
                    <a:pt x="37" y="27"/>
                  </a:cubicBezTo>
                  <a:cubicBezTo>
                    <a:pt x="36" y="36"/>
                    <a:pt x="31" y="47"/>
                    <a:pt x="35" y="51"/>
                  </a:cubicBezTo>
                  <a:cubicBezTo>
                    <a:pt x="39" y="55"/>
                    <a:pt x="43" y="64"/>
                    <a:pt x="46" y="6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67" name="Group 35">
              <a:extLst>
                <a:ext uri="{FF2B5EF4-FFF2-40B4-BE49-F238E27FC236}">
                  <a16:creationId xmlns:a16="http://schemas.microsoft.com/office/drawing/2014/main" id="{91EC505F-3B39-4FCE-A1DF-5D04DD352EE4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59" y="1100"/>
              <a:ext cx="376" cy="706"/>
              <a:chOff x="2859" y="1100"/>
              <a:chExt cx="376" cy="706"/>
            </a:xfrm>
            <a:grpFill/>
          </p:grpSpPr>
          <p:sp>
            <p:nvSpPr>
              <p:cNvPr id="624" name="Freeform 36">
                <a:extLst>
                  <a:ext uri="{FF2B5EF4-FFF2-40B4-BE49-F238E27FC236}">
                    <a16:creationId xmlns:a16="http://schemas.microsoft.com/office/drawing/2014/main" id="{729E2083-71A8-486F-B50E-553D94D0C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2" y="1100"/>
                <a:ext cx="343" cy="706"/>
              </a:xfrm>
              <a:custGeom>
                <a:avLst/>
                <a:gdLst>
                  <a:gd name="T0" fmla="*/ 1139 w 184"/>
                  <a:gd name="T1" fmla="*/ 1752 h 378"/>
                  <a:gd name="T2" fmla="*/ 809 w 184"/>
                  <a:gd name="T3" fmla="*/ 2236 h 378"/>
                  <a:gd name="T4" fmla="*/ 733 w 184"/>
                  <a:gd name="T5" fmla="*/ 2288 h 378"/>
                  <a:gd name="T6" fmla="*/ 615 w 184"/>
                  <a:gd name="T7" fmla="*/ 2327 h 378"/>
                  <a:gd name="T8" fmla="*/ 487 w 184"/>
                  <a:gd name="T9" fmla="*/ 2411 h 378"/>
                  <a:gd name="T10" fmla="*/ 382 w 184"/>
                  <a:gd name="T11" fmla="*/ 2432 h 378"/>
                  <a:gd name="T12" fmla="*/ 309 w 184"/>
                  <a:gd name="T13" fmla="*/ 2396 h 378"/>
                  <a:gd name="T14" fmla="*/ 226 w 184"/>
                  <a:gd name="T15" fmla="*/ 2387 h 378"/>
                  <a:gd name="T16" fmla="*/ 164 w 184"/>
                  <a:gd name="T17" fmla="*/ 2344 h 378"/>
                  <a:gd name="T18" fmla="*/ 104 w 184"/>
                  <a:gd name="T19" fmla="*/ 2247 h 378"/>
                  <a:gd name="T20" fmla="*/ 129 w 184"/>
                  <a:gd name="T21" fmla="*/ 2071 h 378"/>
                  <a:gd name="T22" fmla="*/ 89 w 184"/>
                  <a:gd name="T23" fmla="*/ 1914 h 378"/>
                  <a:gd name="T24" fmla="*/ 76 w 184"/>
                  <a:gd name="T25" fmla="*/ 1741 h 378"/>
                  <a:gd name="T26" fmla="*/ 84 w 184"/>
                  <a:gd name="T27" fmla="*/ 1616 h 378"/>
                  <a:gd name="T28" fmla="*/ 194 w 184"/>
                  <a:gd name="T29" fmla="*/ 1556 h 378"/>
                  <a:gd name="T30" fmla="*/ 350 w 184"/>
                  <a:gd name="T31" fmla="*/ 1403 h 378"/>
                  <a:gd name="T32" fmla="*/ 500 w 184"/>
                  <a:gd name="T33" fmla="*/ 1231 h 378"/>
                  <a:gd name="T34" fmla="*/ 479 w 184"/>
                  <a:gd name="T35" fmla="*/ 1154 h 378"/>
                  <a:gd name="T36" fmla="*/ 362 w 184"/>
                  <a:gd name="T37" fmla="*/ 1009 h 378"/>
                  <a:gd name="T38" fmla="*/ 337 w 184"/>
                  <a:gd name="T39" fmla="*/ 756 h 378"/>
                  <a:gd name="T40" fmla="*/ 270 w 184"/>
                  <a:gd name="T41" fmla="*/ 510 h 378"/>
                  <a:gd name="T42" fmla="*/ 65 w 184"/>
                  <a:gd name="T43" fmla="*/ 346 h 378"/>
                  <a:gd name="T44" fmla="*/ 0 w 184"/>
                  <a:gd name="T45" fmla="*/ 269 h 378"/>
                  <a:gd name="T46" fmla="*/ 76 w 184"/>
                  <a:gd name="T47" fmla="*/ 189 h 378"/>
                  <a:gd name="T48" fmla="*/ 194 w 184"/>
                  <a:gd name="T49" fmla="*/ 306 h 378"/>
                  <a:gd name="T50" fmla="*/ 382 w 184"/>
                  <a:gd name="T51" fmla="*/ 314 h 378"/>
                  <a:gd name="T52" fmla="*/ 494 w 184"/>
                  <a:gd name="T53" fmla="*/ 32 h 378"/>
                  <a:gd name="T54" fmla="*/ 608 w 184"/>
                  <a:gd name="T55" fmla="*/ 7 h 378"/>
                  <a:gd name="T56" fmla="*/ 727 w 184"/>
                  <a:gd name="T57" fmla="*/ 105 h 378"/>
                  <a:gd name="T58" fmla="*/ 751 w 184"/>
                  <a:gd name="T59" fmla="*/ 224 h 378"/>
                  <a:gd name="T60" fmla="*/ 727 w 184"/>
                  <a:gd name="T61" fmla="*/ 314 h 378"/>
                  <a:gd name="T62" fmla="*/ 885 w 184"/>
                  <a:gd name="T63" fmla="*/ 502 h 378"/>
                  <a:gd name="T64" fmla="*/ 973 w 184"/>
                  <a:gd name="T65" fmla="*/ 969 h 378"/>
                  <a:gd name="T66" fmla="*/ 973 w 184"/>
                  <a:gd name="T67" fmla="*/ 1207 h 378"/>
                  <a:gd name="T68" fmla="*/ 1025 w 184"/>
                  <a:gd name="T69" fmla="*/ 1434 h 3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84" h="378">
                    <a:moveTo>
                      <a:pt x="183" y="245"/>
                    </a:moveTo>
                    <a:cubicBezTo>
                      <a:pt x="183" y="251"/>
                      <a:pt x="184" y="259"/>
                      <a:pt x="176" y="269"/>
                    </a:cubicBezTo>
                    <a:cubicBezTo>
                      <a:pt x="168" y="279"/>
                      <a:pt x="142" y="321"/>
                      <a:pt x="137" y="325"/>
                    </a:cubicBezTo>
                    <a:cubicBezTo>
                      <a:pt x="135" y="327"/>
                      <a:pt x="130" y="336"/>
                      <a:pt x="125" y="343"/>
                    </a:cubicBezTo>
                    <a:cubicBezTo>
                      <a:pt x="124" y="342"/>
                      <a:pt x="122" y="342"/>
                      <a:pt x="120" y="343"/>
                    </a:cubicBezTo>
                    <a:cubicBezTo>
                      <a:pt x="118" y="344"/>
                      <a:pt x="115" y="350"/>
                      <a:pt x="113" y="351"/>
                    </a:cubicBezTo>
                    <a:cubicBezTo>
                      <a:pt x="111" y="353"/>
                      <a:pt x="106" y="358"/>
                      <a:pt x="103" y="358"/>
                    </a:cubicBezTo>
                    <a:cubicBezTo>
                      <a:pt x="100" y="357"/>
                      <a:pt x="96" y="357"/>
                      <a:pt x="95" y="357"/>
                    </a:cubicBezTo>
                    <a:cubicBezTo>
                      <a:pt x="93" y="357"/>
                      <a:pt x="85" y="361"/>
                      <a:pt x="84" y="363"/>
                    </a:cubicBezTo>
                    <a:cubicBezTo>
                      <a:pt x="83" y="365"/>
                      <a:pt x="78" y="371"/>
                      <a:pt x="75" y="370"/>
                    </a:cubicBezTo>
                    <a:cubicBezTo>
                      <a:pt x="73" y="370"/>
                      <a:pt x="73" y="366"/>
                      <a:pt x="71" y="366"/>
                    </a:cubicBezTo>
                    <a:cubicBezTo>
                      <a:pt x="69" y="367"/>
                      <a:pt x="62" y="371"/>
                      <a:pt x="59" y="373"/>
                    </a:cubicBezTo>
                    <a:cubicBezTo>
                      <a:pt x="56" y="375"/>
                      <a:pt x="49" y="378"/>
                      <a:pt x="48" y="376"/>
                    </a:cubicBezTo>
                    <a:cubicBezTo>
                      <a:pt x="47" y="375"/>
                      <a:pt x="51" y="366"/>
                      <a:pt x="48" y="368"/>
                    </a:cubicBezTo>
                    <a:cubicBezTo>
                      <a:pt x="46" y="369"/>
                      <a:pt x="38" y="373"/>
                      <a:pt x="37" y="371"/>
                    </a:cubicBezTo>
                    <a:cubicBezTo>
                      <a:pt x="35" y="369"/>
                      <a:pt x="39" y="366"/>
                      <a:pt x="35" y="366"/>
                    </a:cubicBezTo>
                    <a:cubicBezTo>
                      <a:pt x="32" y="366"/>
                      <a:pt x="24" y="369"/>
                      <a:pt x="21" y="367"/>
                    </a:cubicBezTo>
                    <a:cubicBezTo>
                      <a:pt x="17" y="365"/>
                      <a:pt x="26" y="364"/>
                      <a:pt x="25" y="360"/>
                    </a:cubicBezTo>
                    <a:cubicBezTo>
                      <a:pt x="24" y="356"/>
                      <a:pt x="22" y="355"/>
                      <a:pt x="18" y="352"/>
                    </a:cubicBezTo>
                    <a:cubicBezTo>
                      <a:pt x="15" y="349"/>
                      <a:pt x="16" y="348"/>
                      <a:pt x="16" y="345"/>
                    </a:cubicBezTo>
                    <a:cubicBezTo>
                      <a:pt x="15" y="341"/>
                      <a:pt x="13" y="338"/>
                      <a:pt x="15" y="335"/>
                    </a:cubicBezTo>
                    <a:cubicBezTo>
                      <a:pt x="18" y="331"/>
                      <a:pt x="20" y="321"/>
                      <a:pt x="20" y="318"/>
                    </a:cubicBezTo>
                    <a:cubicBezTo>
                      <a:pt x="20" y="315"/>
                      <a:pt x="19" y="304"/>
                      <a:pt x="17" y="301"/>
                    </a:cubicBezTo>
                    <a:cubicBezTo>
                      <a:pt x="15" y="298"/>
                      <a:pt x="13" y="297"/>
                      <a:pt x="14" y="294"/>
                    </a:cubicBezTo>
                    <a:cubicBezTo>
                      <a:pt x="16" y="290"/>
                      <a:pt x="18" y="289"/>
                      <a:pt x="16" y="286"/>
                    </a:cubicBezTo>
                    <a:cubicBezTo>
                      <a:pt x="15" y="283"/>
                      <a:pt x="10" y="270"/>
                      <a:pt x="12" y="267"/>
                    </a:cubicBezTo>
                    <a:cubicBezTo>
                      <a:pt x="15" y="263"/>
                      <a:pt x="18" y="261"/>
                      <a:pt x="18" y="258"/>
                    </a:cubicBezTo>
                    <a:cubicBezTo>
                      <a:pt x="18" y="256"/>
                      <a:pt x="10" y="253"/>
                      <a:pt x="13" y="248"/>
                    </a:cubicBezTo>
                    <a:cubicBezTo>
                      <a:pt x="16" y="243"/>
                      <a:pt x="30" y="253"/>
                      <a:pt x="31" y="250"/>
                    </a:cubicBezTo>
                    <a:cubicBezTo>
                      <a:pt x="35" y="244"/>
                      <a:pt x="29" y="243"/>
                      <a:pt x="30" y="239"/>
                    </a:cubicBezTo>
                    <a:cubicBezTo>
                      <a:pt x="32" y="235"/>
                      <a:pt x="36" y="227"/>
                      <a:pt x="39" y="225"/>
                    </a:cubicBezTo>
                    <a:cubicBezTo>
                      <a:pt x="43" y="224"/>
                      <a:pt x="52" y="218"/>
                      <a:pt x="54" y="215"/>
                    </a:cubicBezTo>
                    <a:cubicBezTo>
                      <a:pt x="55" y="212"/>
                      <a:pt x="64" y="192"/>
                      <a:pt x="66" y="190"/>
                    </a:cubicBezTo>
                    <a:cubicBezTo>
                      <a:pt x="68" y="188"/>
                      <a:pt x="75" y="188"/>
                      <a:pt x="77" y="189"/>
                    </a:cubicBezTo>
                    <a:cubicBezTo>
                      <a:pt x="78" y="190"/>
                      <a:pt x="79" y="187"/>
                      <a:pt x="79" y="183"/>
                    </a:cubicBezTo>
                    <a:cubicBezTo>
                      <a:pt x="78" y="179"/>
                      <a:pt x="73" y="179"/>
                      <a:pt x="74" y="177"/>
                    </a:cubicBezTo>
                    <a:cubicBezTo>
                      <a:pt x="76" y="174"/>
                      <a:pt x="77" y="167"/>
                      <a:pt x="73" y="164"/>
                    </a:cubicBezTo>
                    <a:cubicBezTo>
                      <a:pt x="69" y="160"/>
                      <a:pt x="61" y="155"/>
                      <a:pt x="56" y="155"/>
                    </a:cubicBezTo>
                    <a:cubicBezTo>
                      <a:pt x="54" y="149"/>
                      <a:pt x="50" y="140"/>
                      <a:pt x="48" y="136"/>
                    </a:cubicBezTo>
                    <a:cubicBezTo>
                      <a:pt x="45" y="130"/>
                      <a:pt x="54" y="119"/>
                      <a:pt x="52" y="116"/>
                    </a:cubicBezTo>
                    <a:cubicBezTo>
                      <a:pt x="50" y="113"/>
                      <a:pt x="46" y="103"/>
                      <a:pt x="45" y="99"/>
                    </a:cubicBezTo>
                    <a:cubicBezTo>
                      <a:pt x="44" y="94"/>
                      <a:pt x="44" y="81"/>
                      <a:pt x="42" y="78"/>
                    </a:cubicBezTo>
                    <a:cubicBezTo>
                      <a:pt x="40" y="74"/>
                      <a:pt x="26" y="65"/>
                      <a:pt x="24" y="64"/>
                    </a:cubicBezTo>
                    <a:cubicBezTo>
                      <a:pt x="18" y="62"/>
                      <a:pt x="14" y="56"/>
                      <a:pt x="1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" y="33"/>
                      <a:pt x="7" y="28"/>
                      <a:pt x="12" y="29"/>
                    </a:cubicBezTo>
                    <a:cubicBezTo>
                      <a:pt x="17" y="29"/>
                      <a:pt x="20" y="28"/>
                      <a:pt x="22" y="31"/>
                    </a:cubicBezTo>
                    <a:cubicBezTo>
                      <a:pt x="23" y="35"/>
                      <a:pt x="28" y="46"/>
                      <a:pt x="30" y="47"/>
                    </a:cubicBezTo>
                    <a:cubicBezTo>
                      <a:pt x="32" y="47"/>
                      <a:pt x="42" y="48"/>
                      <a:pt x="42" y="48"/>
                    </a:cubicBezTo>
                    <a:cubicBezTo>
                      <a:pt x="42" y="48"/>
                      <a:pt x="56" y="50"/>
                      <a:pt x="59" y="48"/>
                    </a:cubicBezTo>
                    <a:cubicBezTo>
                      <a:pt x="62" y="47"/>
                      <a:pt x="69" y="37"/>
                      <a:pt x="69" y="30"/>
                    </a:cubicBezTo>
                    <a:cubicBezTo>
                      <a:pt x="69" y="23"/>
                      <a:pt x="74" y="8"/>
                      <a:pt x="76" y="5"/>
                    </a:cubicBezTo>
                    <a:cubicBezTo>
                      <a:pt x="78" y="3"/>
                      <a:pt x="82" y="5"/>
                      <a:pt x="85" y="5"/>
                    </a:cubicBezTo>
                    <a:cubicBezTo>
                      <a:pt x="88" y="5"/>
                      <a:pt x="92" y="0"/>
                      <a:pt x="94" y="1"/>
                    </a:cubicBezTo>
                    <a:cubicBezTo>
                      <a:pt x="96" y="2"/>
                      <a:pt x="102" y="9"/>
                      <a:pt x="104" y="9"/>
                    </a:cubicBezTo>
                    <a:cubicBezTo>
                      <a:pt x="107" y="9"/>
                      <a:pt x="112" y="13"/>
                      <a:pt x="112" y="16"/>
                    </a:cubicBezTo>
                    <a:cubicBezTo>
                      <a:pt x="110" y="19"/>
                      <a:pt x="108" y="28"/>
                      <a:pt x="108" y="30"/>
                    </a:cubicBezTo>
                    <a:cubicBezTo>
                      <a:pt x="110" y="32"/>
                      <a:pt x="111" y="34"/>
                      <a:pt x="116" y="34"/>
                    </a:cubicBezTo>
                    <a:cubicBezTo>
                      <a:pt x="117" y="34"/>
                      <a:pt x="118" y="34"/>
                      <a:pt x="120" y="33"/>
                    </a:cubicBezTo>
                    <a:cubicBezTo>
                      <a:pt x="112" y="48"/>
                      <a:pt x="112" y="48"/>
                      <a:pt x="112" y="48"/>
                    </a:cubicBezTo>
                    <a:cubicBezTo>
                      <a:pt x="110" y="52"/>
                      <a:pt x="114" y="60"/>
                      <a:pt x="116" y="62"/>
                    </a:cubicBezTo>
                    <a:cubicBezTo>
                      <a:pt x="117" y="63"/>
                      <a:pt x="136" y="75"/>
                      <a:pt x="137" y="77"/>
                    </a:cubicBezTo>
                    <a:cubicBezTo>
                      <a:pt x="138" y="80"/>
                      <a:pt x="126" y="103"/>
                      <a:pt x="126" y="108"/>
                    </a:cubicBezTo>
                    <a:cubicBezTo>
                      <a:pt x="126" y="113"/>
                      <a:pt x="149" y="145"/>
                      <a:pt x="150" y="149"/>
                    </a:cubicBezTo>
                    <a:cubicBezTo>
                      <a:pt x="151" y="152"/>
                      <a:pt x="140" y="154"/>
                      <a:pt x="141" y="160"/>
                    </a:cubicBezTo>
                    <a:cubicBezTo>
                      <a:pt x="142" y="165"/>
                      <a:pt x="146" y="179"/>
                      <a:pt x="150" y="185"/>
                    </a:cubicBezTo>
                    <a:cubicBezTo>
                      <a:pt x="154" y="191"/>
                      <a:pt x="164" y="196"/>
                      <a:pt x="163" y="203"/>
                    </a:cubicBezTo>
                    <a:cubicBezTo>
                      <a:pt x="162" y="209"/>
                      <a:pt x="159" y="216"/>
                      <a:pt x="158" y="220"/>
                    </a:cubicBezTo>
                    <a:cubicBezTo>
                      <a:pt x="156" y="224"/>
                      <a:pt x="183" y="238"/>
                      <a:pt x="183" y="24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5" name="Freeform 37">
                <a:extLst>
                  <a:ext uri="{FF2B5EF4-FFF2-40B4-BE49-F238E27FC236}">
                    <a16:creationId xmlns:a16="http://schemas.microsoft.com/office/drawing/2014/main" id="{B4E9E73C-84C0-462C-8496-ED6E4175FF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9" y="1761"/>
                <a:ext cx="41" cy="33"/>
              </a:xfrm>
              <a:custGeom>
                <a:avLst/>
                <a:gdLst>
                  <a:gd name="T0" fmla="*/ 129 w 22"/>
                  <a:gd name="T1" fmla="*/ 31 h 18"/>
                  <a:gd name="T2" fmla="*/ 117 w 22"/>
                  <a:gd name="T3" fmla="*/ 94 h 18"/>
                  <a:gd name="T4" fmla="*/ 73 w 22"/>
                  <a:gd name="T5" fmla="*/ 112 h 18"/>
                  <a:gd name="T6" fmla="*/ 39 w 22"/>
                  <a:gd name="T7" fmla="*/ 81 h 18"/>
                  <a:gd name="T8" fmla="*/ 13 w 22"/>
                  <a:gd name="T9" fmla="*/ 51 h 18"/>
                  <a:gd name="T10" fmla="*/ 45 w 22"/>
                  <a:gd name="T11" fmla="*/ 37 h 18"/>
                  <a:gd name="T12" fmla="*/ 65 w 22"/>
                  <a:gd name="T13" fmla="*/ 7 h 18"/>
                  <a:gd name="T14" fmla="*/ 129 w 22"/>
                  <a:gd name="T15" fmla="*/ 31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" h="18">
                    <a:moveTo>
                      <a:pt x="20" y="5"/>
                    </a:moveTo>
                    <a:cubicBezTo>
                      <a:pt x="21" y="8"/>
                      <a:pt x="22" y="13"/>
                      <a:pt x="18" y="15"/>
                    </a:cubicBezTo>
                    <a:cubicBezTo>
                      <a:pt x="14" y="18"/>
                      <a:pt x="11" y="18"/>
                      <a:pt x="11" y="18"/>
                    </a:cubicBezTo>
                    <a:cubicBezTo>
                      <a:pt x="11" y="18"/>
                      <a:pt x="7" y="14"/>
                      <a:pt x="6" y="13"/>
                    </a:cubicBezTo>
                    <a:cubicBezTo>
                      <a:pt x="5" y="12"/>
                      <a:pt x="0" y="12"/>
                      <a:pt x="2" y="8"/>
                    </a:cubicBezTo>
                    <a:cubicBezTo>
                      <a:pt x="2" y="6"/>
                      <a:pt x="6" y="8"/>
                      <a:pt x="7" y="6"/>
                    </a:cubicBezTo>
                    <a:cubicBezTo>
                      <a:pt x="8" y="4"/>
                      <a:pt x="5" y="0"/>
                      <a:pt x="10" y="1"/>
                    </a:cubicBezTo>
                    <a:cubicBezTo>
                      <a:pt x="15" y="2"/>
                      <a:pt x="19" y="2"/>
                      <a:pt x="2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68" name="Freeform 38">
              <a:extLst>
                <a:ext uri="{FF2B5EF4-FFF2-40B4-BE49-F238E27FC236}">
                  <a16:creationId xmlns:a16="http://schemas.microsoft.com/office/drawing/2014/main" id="{EBDEAE83-CFA1-4B0E-A456-010F63252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4" y="2931"/>
              <a:ext cx="94" cy="113"/>
            </a:xfrm>
            <a:custGeom>
              <a:avLst/>
              <a:gdLst>
                <a:gd name="T0" fmla="*/ 188 w 50"/>
                <a:gd name="T1" fmla="*/ 44 h 61"/>
                <a:gd name="T2" fmla="*/ 333 w 50"/>
                <a:gd name="T3" fmla="*/ 152 h 61"/>
                <a:gd name="T4" fmla="*/ 293 w 50"/>
                <a:gd name="T5" fmla="*/ 230 h 61"/>
                <a:gd name="T6" fmla="*/ 241 w 50"/>
                <a:gd name="T7" fmla="*/ 254 h 61"/>
                <a:gd name="T8" fmla="*/ 188 w 50"/>
                <a:gd name="T9" fmla="*/ 222 h 61"/>
                <a:gd name="T10" fmla="*/ 145 w 50"/>
                <a:gd name="T11" fmla="*/ 387 h 61"/>
                <a:gd name="T12" fmla="*/ 113 w 50"/>
                <a:gd name="T13" fmla="*/ 374 h 61"/>
                <a:gd name="T14" fmla="*/ 85 w 50"/>
                <a:gd name="T15" fmla="*/ 322 h 61"/>
                <a:gd name="T16" fmla="*/ 32 w 50"/>
                <a:gd name="T17" fmla="*/ 285 h 61"/>
                <a:gd name="T18" fmla="*/ 0 w 50"/>
                <a:gd name="T19" fmla="*/ 261 h 61"/>
                <a:gd name="T20" fmla="*/ 0 w 50"/>
                <a:gd name="T21" fmla="*/ 141 h 61"/>
                <a:gd name="T22" fmla="*/ 45 w 50"/>
                <a:gd name="T23" fmla="*/ 44 h 61"/>
                <a:gd name="T24" fmla="*/ 145 w 50"/>
                <a:gd name="T25" fmla="*/ 0 h 61"/>
                <a:gd name="T26" fmla="*/ 188 w 50"/>
                <a:gd name="T27" fmla="*/ 44 h 6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61">
                  <a:moveTo>
                    <a:pt x="28" y="7"/>
                  </a:moveTo>
                  <a:cubicBezTo>
                    <a:pt x="40" y="17"/>
                    <a:pt x="50" y="21"/>
                    <a:pt x="50" y="24"/>
                  </a:cubicBezTo>
                  <a:cubicBezTo>
                    <a:pt x="50" y="27"/>
                    <a:pt x="41" y="31"/>
                    <a:pt x="44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2" y="39"/>
                    <a:pt x="32" y="32"/>
                    <a:pt x="28" y="35"/>
                  </a:cubicBezTo>
                  <a:cubicBezTo>
                    <a:pt x="26" y="36"/>
                    <a:pt x="24" y="50"/>
                    <a:pt x="22" y="61"/>
                  </a:cubicBezTo>
                  <a:cubicBezTo>
                    <a:pt x="19" y="60"/>
                    <a:pt x="18" y="60"/>
                    <a:pt x="17" y="59"/>
                  </a:cubicBezTo>
                  <a:cubicBezTo>
                    <a:pt x="15" y="57"/>
                    <a:pt x="17" y="54"/>
                    <a:pt x="13" y="51"/>
                  </a:cubicBezTo>
                  <a:cubicBezTo>
                    <a:pt x="10" y="49"/>
                    <a:pt x="9" y="47"/>
                    <a:pt x="5" y="45"/>
                  </a:cubicBezTo>
                  <a:cubicBezTo>
                    <a:pt x="4" y="44"/>
                    <a:pt x="2" y="42"/>
                    <a:pt x="0" y="41"/>
                  </a:cubicBezTo>
                  <a:cubicBezTo>
                    <a:pt x="1" y="34"/>
                    <a:pt x="0" y="26"/>
                    <a:pt x="0" y="22"/>
                  </a:cubicBezTo>
                  <a:cubicBezTo>
                    <a:pt x="0" y="14"/>
                    <a:pt x="3" y="11"/>
                    <a:pt x="7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"/>
                    <a:pt x="24" y="4"/>
                    <a:pt x="28" y="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69" name="Freeform 39">
              <a:extLst>
                <a:ext uri="{FF2B5EF4-FFF2-40B4-BE49-F238E27FC236}">
                  <a16:creationId xmlns:a16="http://schemas.microsoft.com/office/drawing/2014/main" id="{B7BA6B61-2667-45F3-A169-CE3C5741075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3" y="2804"/>
              <a:ext cx="197" cy="203"/>
            </a:xfrm>
            <a:custGeom>
              <a:avLst/>
              <a:gdLst>
                <a:gd name="T0" fmla="*/ 576 w 106"/>
                <a:gd name="T1" fmla="*/ 104 h 109"/>
                <a:gd name="T2" fmla="*/ 623 w 106"/>
                <a:gd name="T3" fmla="*/ 112 h 109"/>
                <a:gd name="T4" fmla="*/ 591 w 106"/>
                <a:gd name="T5" fmla="*/ 240 h 109"/>
                <a:gd name="T6" fmla="*/ 667 w 106"/>
                <a:gd name="T7" fmla="*/ 309 h 109"/>
                <a:gd name="T8" fmla="*/ 656 w 106"/>
                <a:gd name="T9" fmla="*/ 406 h 109"/>
                <a:gd name="T10" fmla="*/ 628 w 106"/>
                <a:gd name="T11" fmla="*/ 441 h 109"/>
                <a:gd name="T12" fmla="*/ 532 w 106"/>
                <a:gd name="T13" fmla="*/ 486 h 109"/>
                <a:gd name="T14" fmla="*/ 487 w 106"/>
                <a:gd name="T15" fmla="*/ 583 h 109"/>
                <a:gd name="T16" fmla="*/ 487 w 106"/>
                <a:gd name="T17" fmla="*/ 704 h 109"/>
                <a:gd name="T18" fmla="*/ 435 w 106"/>
                <a:gd name="T19" fmla="*/ 667 h 109"/>
                <a:gd name="T20" fmla="*/ 329 w 106"/>
                <a:gd name="T21" fmla="*/ 600 h 109"/>
                <a:gd name="T22" fmla="*/ 307 w 106"/>
                <a:gd name="T23" fmla="*/ 587 h 109"/>
                <a:gd name="T24" fmla="*/ 353 w 106"/>
                <a:gd name="T25" fmla="*/ 523 h 109"/>
                <a:gd name="T26" fmla="*/ 294 w 106"/>
                <a:gd name="T27" fmla="*/ 441 h 109"/>
                <a:gd name="T28" fmla="*/ 128 w 106"/>
                <a:gd name="T29" fmla="*/ 285 h 109"/>
                <a:gd name="T30" fmla="*/ 37 w 106"/>
                <a:gd name="T31" fmla="*/ 121 h 109"/>
                <a:gd name="T32" fmla="*/ 52 w 106"/>
                <a:gd name="T33" fmla="*/ 20 h 109"/>
                <a:gd name="T34" fmla="*/ 141 w 106"/>
                <a:gd name="T35" fmla="*/ 69 h 109"/>
                <a:gd name="T36" fmla="*/ 225 w 106"/>
                <a:gd name="T37" fmla="*/ 20 h 109"/>
                <a:gd name="T38" fmla="*/ 379 w 106"/>
                <a:gd name="T39" fmla="*/ 60 h 109"/>
                <a:gd name="T40" fmla="*/ 515 w 106"/>
                <a:gd name="T41" fmla="*/ 84 h 109"/>
                <a:gd name="T42" fmla="*/ 576 w 106"/>
                <a:gd name="T43" fmla="*/ 104 h 1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6" h="109">
                  <a:moveTo>
                    <a:pt x="90" y="16"/>
                  </a:moveTo>
                  <a:cubicBezTo>
                    <a:pt x="93" y="17"/>
                    <a:pt x="95" y="17"/>
                    <a:pt x="97" y="17"/>
                  </a:cubicBezTo>
                  <a:cubicBezTo>
                    <a:pt x="101" y="19"/>
                    <a:pt x="89" y="35"/>
                    <a:pt x="92" y="37"/>
                  </a:cubicBezTo>
                  <a:cubicBezTo>
                    <a:pt x="94" y="40"/>
                    <a:pt x="104" y="45"/>
                    <a:pt x="104" y="48"/>
                  </a:cubicBezTo>
                  <a:cubicBezTo>
                    <a:pt x="105" y="51"/>
                    <a:pt x="106" y="63"/>
                    <a:pt x="102" y="63"/>
                  </a:cubicBezTo>
                  <a:cubicBezTo>
                    <a:pt x="100" y="63"/>
                    <a:pt x="96" y="64"/>
                    <a:pt x="98" y="6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9" y="79"/>
                    <a:pt x="76" y="82"/>
                    <a:pt x="76" y="90"/>
                  </a:cubicBezTo>
                  <a:cubicBezTo>
                    <a:pt x="76" y="94"/>
                    <a:pt x="77" y="102"/>
                    <a:pt x="76" y="109"/>
                  </a:cubicBezTo>
                  <a:cubicBezTo>
                    <a:pt x="73" y="107"/>
                    <a:pt x="70" y="105"/>
                    <a:pt x="68" y="103"/>
                  </a:cubicBezTo>
                  <a:cubicBezTo>
                    <a:pt x="65" y="101"/>
                    <a:pt x="57" y="96"/>
                    <a:pt x="51" y="93"/>
                  </a:cubicBezTo>
                  <a:cubicBezTo>
                    <a:pt x="50" y="92"/>
                    <a:pt x="49" y="92"/>
                    <a:pt x="48" y="91"/>
                  </a:cubicBezTo>
                  <a:cubicBezTo>
                    <a:pt x="51" y="88"/>
                    <a:pt x="55" y="83"/>
                    <a:pt x="55" y="81"/>
                  </a:cubicBezTo>
                  <a:cubicBezTo>
                    <a:pt x="55" y="78"/>
                    <a:pt x="52" y="73"/>
                    <a:pt x="46" y="68"/>
                  </a:cubicBezTo>
                  <a:cubicBezTo>
                    <a:pt x="40" y="63"/>
                    <a:pt x="25" y="52"/>
                    <a:pt x="20" y="44"/>
                  </a:cubicBezTo>
                  <a:cubicBezTo>
                    <a:pt x="16" y="36"/>
                    <a:pt x="7" y="25"/>
                    <a:pt x="6" y="19"/>
                  </a:cubicBezTo>
                  <a:cubicBezTo>
                    <a:pt x="6" y="12"/>
                    <a:pt x="0" y="5"/>
                    <a:pt x="8" y="3"/>
                  </a:cubicBezTo>
                  <a:cubicBezTo>
                    <a:pt x="15" y="0"/>
                    <a:pt x="21" y="13"/>
                    <a:pt x="22" y="11"/>
                  </a:cubicBezTo>
                  <a:cubicBezTo>
                    <a:pt x="24" y="9"/>
                    <a:pt x="28" y="3"/>
                    <a:pt x="35" y="3"/>
                  </a:cubicBezTo>
                  <a:cubicBezTo>
                    <a:pt x="42" y="3"/>
                    <a:pt x="52" y="9"/>
                    <a:pt x="59" y="9"/>
                  </a:cubicBezTo>
                  <a:cubicBezTo>
                    <a:pt x="66" y="9"/>
                    <a:pt x="75" y="8"/>
                    <a:pt x="80" y="13"/>
                  </a:cubicBezTo>
                  <a:cubicBezTo>
                    <a:pt x="83" y="15"/>
                    <a:pt x="87" y="16"/>
                    <a:pt x="90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0" name="Group 40">
              <a:extLst>
                <a:ext uri="{FF2B5EF4-FFF2-40B4-BE49-F238E27FC236}">
                  <a16:creationId xmlns:a16="http://schemas.microsoft.com/office/drawing/2014/main" id="{3F0EFB0E-EC5B-4D53-8707-EA5DAEAEDBC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2" y="1177"/>
              <a:ext cx="435" cy="927"/>
              <a:chOff x="2562" y="1177"/>
              <a:chExt cx="435" cy="927"/>
            </a:xfrm>
            <a:grpFill/>
          </p:grpSpPr>
          <p:sp>
            <p:nvSpPr>
              <p:cNvPr id="622" name="Freeform 41">
                <a:extLst>
                  <a:ext uri="{FF2B5EF4-FFF2-40B4-BE49-F238E27FC236}">
                    <a16:creationId xmlns:a16="http://schemas.microsoft.com/office/drawing/2014/main" id="{5CCACF0E-2796-4FB5-BFFF-F071905797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2" y="1177"/>
                <a:ext cx="435" cy="927"/>
              </a:xfrm>
              <a:custGeom>
                <a:avLst/>
                <a:gdLst>
                  <a:gd name="T0" fmla="*/ 1516 w 233"/>
                  <a:gd name="T1" fmla="*/ 740 h 497"/>
                  <a:gd name="T2" fmla="*/ 1426 w 233"/>
                  <a:gd name="T3" fmla="*/ 759 h 497"/>
                  <a:gd name="T4" fmla="*/ 1346 w 233"/>
                  <a:gd name="T5" fmla="*/ 740 h 497"/>
                  <a:gd name="T6" fmla="*/ 1275 w 233"/>
                  <a:gd name="T7" fmla="*/ 849 h 497"/>
                  <a:gd name="T8" fmla="*/ 1270 w 233"/>
                  <a:gd name="T9" fmla="*/ 921 h 497"/>
                  <a:gd name="T10" fmla="*/ 1270 w 233"/>
                  <a:gd name="T11" fmla="*/ 1078 h 497"/>
                  <a:gd name="T12" fmla="*/ 1165 w 233"/>
                  <a:gd name="T13" fmla="*/ 1252 h 497"/>
                  <a:gd name="T14" fmla="*/ 1004 w 233"/>
                  <a:gd name="T15" fmla="*/ 1356 h 497"/>
                  <a:gd name="T16" fmla="*/ 872 w 233"/>
                  <a:gd name="T17" fmla="*/ 1531 h 497"/>
                  <a:gd name="T18" fmla="*/ 833 w 233"/>
                  <a:gd name="T19" fmla="*/ 1612 h 497"/>
                  <a:gd name="T20" fmla="*/ 773 w 233"/>
                  <a:gd name="T21" fmla="*/ 1889 h 497"/>
                  <a:gd name="T22" fmla="*/ 833 w 233"/>
                  <a:gd name="T23" fmla="*/ 1994 h 497"/>
                  <a:gd name="T24" fmla="*/ 900 w 233"/>
                  <a:gd name="T25" fmla="*/ 2039 h 497"/>
                  <a:gd name="T26" fmla="*/ 982 w 233"/>
                  <a:gd name="T27" fmla="*/ 2147 h 497"/>
                  <a:gd name="T28" fmla="*/ 930 w 233"/>
                  <a:gd name="T29" fmla="*/ 2251 h 497"/>
                  <a:gd name="T30" fmla="*/ 917 w 233"/>
                  <a:gd name="T31" fmla="*/ 2356 h 497"/>
                  <a:gd name="T32" fmla="*/ 825 w 233"/>
                  <a:gd name="T33" fmla="*/ 2335 h 497"/>
                  <a:gd name="T34" fmla="*/ 696 w 233"/>
                  <a:gd name="T35" fmla="*/ 2460 h 497"/>
                  <a:gd name="T36" fmla="*/ 715 w 233"/>
                  <a:gd name="T37" fmla="*/ 2537 h 497"/>
                  <a:gd name="T38" fmla="*/ 663 w 233"/>
                  <a:gd name="T39" fmla="*/ 2746 h 497"/>
                  <a:gd name="T40" fmla="*/ 659 w 233"/>
                  <a:gd name="T41" fmla="*/ 2843 h 497"/>
                  <a:gd name="T42" fmla="*/ 540 w 233"/>
                  <a:gd name="T43" fmla="*/ 3061 h 497"/>
                  <a:gd name="T44" fmla="*/ 398 w 233"/>
                  <a:gd name="T45" fmla="*/ 3083 h 497"/>
                  <a:gd name="T46" fmla="*/ 317 w 233"/>
                  <a:gd name="T47" fmla="*/ 3141 h 497"/>
                  <a:gd name="T48" fmla="*/ 301 w 233"/>
                  <a:gd name="T49" fmla="*/ 3217 h 497"/>
                  <a:gd name="T50" fmla="*/ 170 w 233"/>
                  <a:gd name="T51" fmla="*/ 3212 h 497"/>
                  <a:gd name="T52" fmla="*/ 164 w 233"/>
                  <a:gd name="T53" fmla="*/ 3128 h 497"/>
                  <a:gd name="T54" fmla="*/ 157 w 233"/>
                  <a:gd name="T55" fmla="*/ 2947 h 497"/>
                  <a:gd name="T56" fmla="*/ 129 w 233"/>
                  <a:gd name="T57" fmla="*/ 2874 h 497"/>
                  <a:gd name="T58" fmla="*/ 97 w 233"/>
                  <a:gd name="T59" fmla="*/ 2699 h 497"/>
                  <a:gd name="T60" fmla="*/ 45 w 233"/>
                  <a:gd name="T61" fmla="*/ 2589 h 497"/>
                  <a:gd name="T62" fmla="*/ 7 w 233"/>
                  <a:gd name="T63" fmla="*/ 2445 h 497"/>
                  <a:gd name="T64" fmla="*/ 0 w 233"/>
                  <a:gd name="T65" fmla="*/ 2304 h 497"/>
                  <a:gd name="T66" fmla="*/ 91 w 233"/>
                  <a:gd name="T67" fmla="*/ 2335 h 497"/>
                  <a:gd name="T68" fmla="*/ 121 w 233"/>
                  <a:gd name="T69" fmla="*/ 2160 h 497"/>
                  <a:gd name="T70" fmla="*/ 196 w 233"/>
                  <a:gd name="T71" fmla="*/ 1861 h 497"/>
                  <a:gd name="T72" fmla="*/ 273 w 233"/>
                  <a:gd name="T73" fmla="*/ 1753 h 497"/>
                  <a:gd name="T74" fmla="*/ 241 w 233"/>
                  <a:gd name="T75" fmla="*/ 1479 h 497"/>
                  <a:gd name="T76" fmla="*/ 358 w 233"/>
                  <a:gd name="T77" fmla="*/ 1134 h 497"/>
                  <a:gd name="T78" fmla="*/ 495 w 233"/>
                  <a:gd name="T79" fmla="*/ 1045 h 497"/>
                  <a:gd name="T80" fmla="*/ 554 w 233"/>
                  <a:gd name="T81" fmla="*/ 832 h 497"/>
                  <a:gd name="T82" fmla="*/ 624 w 233"/>
                  <a:gd name="T83" fmla="*/ 651 h 497"/>
                  <a:gd name="T84" fmla="*/ 749 w 233"/>
                  <a:gd name="T85" fmla="*/ 459 h 497"/>
                  <a:gd name="T86" fmla="*/ 820 w 233"/>
                  <a:gd name="T87" fmla="*/ 254 h 497"/>
                  <a:gd name="T88" fmla="*/ 945 w 233"/>
                  <a:gd name="T89" fmla="*/ 246 h 497"/>
                  <a:gd name="T90" fmla="*/ 1105 w 233"/>
                  <a:gd name="T91" fmla="*/ 136 h 497"/>
                  <a:gd name="T92" fmla="*/ 1150 w 233"/>
                  <a:gd name="T93" fmla="*/ 0 h 497"/>
                  <a:gd name="T94" fmla="*/ 1307 w 233"/>
                  <a:gd name="T95" fmla="*/ 149 h 497"/>
                  <a:gd name="T96" fmla="*/ 1443 w 233"/>
                  <a:gd name="T97" fmla="*/ 375 h 497"/>
                  <a:gd name="T98" fmla="*/ 1464 w 233"/>
                  <a:gd name="T99" fmla="*/ 616 h 49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33" h="497">
                    <a:moveTo>
                      <a:pt x="225" y="95"/>
                    </a:moveTo>
                    <a:cubicBezTo>
                      <a:pt x="227" y="99"/>
                      <a:pt x="231" y="108"/>
                      <a:pt x="233" y="114"/>
                    </a:cubicBezTo>
                    <a:cubicBezTo>
                      <a:pt x="233" y="114"/>
                      <a:pt x="233" y="114"/>
                      <a:pt x="233" y="114"/>
                    </a:cubicBezTo>
                    <a:cubicBezTo>
                      <a:pt x="227" y="115"/>
                      <a:pt x="221" y="115"/>
                      <a:pt x="219" y="117"/>
                    </a:cubicBezTo>
                    <a:cubicBezTo>
                      <a:pt x="216" y="119"/>
                      <a:pt x="217" y="120"/>
                      <a:pt x="214" y="118"/>
                    </a:cubicBezTo>
                    <a:cubicBezTo>
                      <a:pt x="212" y="116"/>
                      <a:pt x="208" y="112"/>
                      <a:pt x="207" y="114"/>
                    </a:cubicBezTo>
                    <a:cubicBezTo>
                      <a:pt x="205" y="116"/>
                      <a:pt x="208" y="126"/>
                      <a:pt x="206" y="128"/>
                    </a:cubicBezTo>
                    <a:cubicBezTo>
                      <a:pt x="205" y="129"/>
                      <a:pt x="197" y="130"/>
                      <a:pt x="196" y="131"/>
                    </a:cubicBezTo>
                    <a:cubicBezTo>
                      <a:pt x="194" y="132"/>
                      <a:pt x="190" y="133"/>
                      <a:pt x="192" y="136"/>
                    </a:cubicBezTo>
                    <a:cubicBezTo>
                      <a:pt x="194" y="140"/>
                      <a:pt x="197" y="140"/>
                      <a:pt x="195" y="142"/>
                    </a:cubicBezTo>
                    <a:cubicBezTo>
                      <a:pt x="193" y="145"/>
                      <a:pt x="187" y="150"/>
                      <a:pt x="189" y="152"/>
                    </a:cubicBezTo>
                    <a:cubicBezTo>
                      <a:pt x="191" y="155"/>
                      <a:pt x="196" y="163"/>
                      <a:pt x="195" y="166"/>
                    </a:cubicBezTo>
                    <a:cubicBezTo>
                      <a:pt x="195" y="169"/>
                      <a:pt x="189" y="172"/>
                      <a:pt x="187" y="177"/>
                    </a:cubicBezTo>
                    <a:cubicBezTo>
                      <a:pt x="185" y="181"/>
                      <a:pt x="181" y="191"/>
                      <a:pt x="179" y="193"/>
                    </a:cubicBezTo>
                    <a:cubicBezTo>
                      <a:pt x="176" y="195"/>
                      <a:pt x="167" y="201"/>
                      <a:pt x="164" y="202"/>
                    </a:cubicBezTo>
                    <a:cubicBezTo>
                      <a:pt x="161" y="203"/>
                      <a:pt x="157" y="208"/>
                      <a:pt x="154" y="209"/>
                    </a:cubicBezTo>
                    <a:cubicBezTo>
                      <a:pt x="152" y="211"/>
                      <a:pt x="149" y="215"/>
                      <a:pt x="146" y="218"/>
                    </a:cubicBezTo>
                    <a:cubicBezTo>
                      <a:pt x="144" y="222"/>
                      <a:pt x="134" y="235"/>
                      <a:pt x="134" y="236"/>
                    </a:cubicBezTo>
                    <a:cubicBezTo>
                      <a:pt x="133" y="238"/>
                      <a:pt x="126" y="233"/>
                      <a:pt x="126" y="240"/>
                    </a:cubicBezTo>
                    <a:cubicBezTo>
                      <a:pt x="125" y="242"/>
                      <a:pt x="130" y="246"/>
                      <a:pt x="128" y="248"/>
                    </a:cubicBezTo>
                    <a:cubicBezTo>
                      <a:pt x="127" y="251"/>
                      <a:pt x="125" y="264"/>
                      <a:pt x="123" y="268"/>
                    </a:cubicBezTo>
                    <a:cubicBezTo>
                      <a:pt x="122" y="273"/>
                      <a:pt x="119" y="286"/>
                      <a:pt x="119" y="291"/>
                    </a:cubicBezTo>
                    <a:cubicBezTo>
                      <a:pt x="119" y="296"/>
                      <a:pt x="120" y="301"/>
                      <a:pt x="122" y="302"/>
                    </a:cubicBezTo>
                    <a:cubicBezTo>
                      <a:pt x="123" y="304"/>
                      <a:pt x="125" y="307"/>
                      <a:pt x="128" y="307"/>
                    </a:cubicBezTo>
                    <a:cubicBezTo>
                      <a:pt x="130" y="307"/>
                      <a:pt x="133" y="305"/>
                      <a:pt x="135" y="306"/>
                    </a:cubicBezTo>
                    <a:cubicBezTo>
                      <a:pt x="135" y="307"/>
                      <a:pt x="136" y="312"/>
                      <a:pt x="138" y="314"/>
                    </a:cubicBezTo>
                    <a:cubicBezTo>
                      <a:pt x="141" y="315"/>
                      <a:pt x="143" y="316"/>
                      <a:pt x="147" y="320"/>
                    </a:cubicBezTo>
                    <a:cubicBezTo>
                      <a:pt x="149" y="323"/>
                      <a:pt x="150" y="330"/>
                      <a:pt x="151" y="331"/>
                    </a:cubicBezTo>
                    <a:cubicBezTo>
                      <a:pt x="153" y="333"/>
                      <a:pt x="155" y="337"/>
                      <a:pt x="155" y="338"/>
                    </a:cubicBezTo>
                    <a:cubicBezTo>
                      <a:pt x="154" y="340"/>
                      <a:pt x="145" y="345"/>
                      <a:pt x="143" y="347"/>
                    </a:cubicBezTo>
                    <a:cubicBezTo>
                      <a:pt x="141" y="350"/>
                      <a:pt x="129" y="350"/>
                      <a:pt x="139" y="356"/>
                    </a:cubicBezTo>
                    <a:cubicBezTo>
                      <a:pt x="142" y="357"/>
                      <a:pt x="143" y="360"/>
                      <a:pt x="141" y="363"/>
                    </a:cubicBezTo>
                    <a:cubicBezTo>
                      <a:pt x="138" y="365"/>
                      <a:pt x="132" y="371"/>
                      <a:pt x="130" y="372"/>
                    </a:cubicBezTo>
                    <a:cubicBezTo>
                      <a:pt x="128" y="373"/>
                      <a:pt x="130" y="360"/>
                      <a:pt x="127" y="360"/>
                    </a:cubicBezTo>
                    <a:cubicBezTo>
                      <a:pt x="119" y="359"/>
                      <a:pt x="125" y="374"/>
                      <a:pt x="119" y="375"/>
                    </a:cubicBezTo>
                    <a:cubicBezTo>
                      <a:pt x="113" y="375"/>
                      <a:pt x="112" y="381"/>
                      <a:pt x="107" y="379"/>
                    </a:cubicBezTo>
                    <a:cubicBezTo>
                      <a:pt x="96" y="374"/>
                      <a:pt x="94" y="384"/>
                      <a:pt x="107" y="385"/>
                    </a:cubicBezTo>
                    <a:cubicBezTo>
                      <a:pt x="115" y="386"/>
                      <a:pt x="111" y="388"/>
                      <a:pt x="110" y="391"/>
                    </a:cubicBezTo>
                    <a:cubicBezTo>
                      <a:pt x="109" y="394"/>
                      <a:pt x="107" y="400"/>
                      <a:pt x="105" y="407"/>
                    </a:cubicBezTo>
                    <a:cubicBezTo>
                      <a:pt x="105" y="413"/>
                      <a:pt x="104" y="421"/>
                      <a:pt x="102" y="423"/>
                    </a:cubicBezTo>
                    <a:cubicBezTo>
                      <a:pt x="101" y="426"/>
                      <a:pt x="96" y="430"/>
                      <a:pt x="97" y="431"/>
                    </a:cubicBezTo>
                    <a:cubicBezTo>
                      <a:pt x="98" y="433"/>
                      <a:pt x="103" y="435"/>
                      <a:pt x="101" y="438"/>
                    </a:cubicBezTo>
                    <a:cubicBezTo>
                      <a:pt x="99" y="441"/>
                      <a:pt x="89" y="465"/>
                      <a:pt x="87" y="468"/>
                    </a:cubicBezTo>
                    <a:cubicBezTo>
                      <a:pt x="85" y="470"/>
                      <a:pt x="85" y="472"/>
                      <a:pt x="83" y="472"/>
                    </a:cubicBezTo>
                    <a:cubicBezTo>
                      <a:pt x="82" y="472"/>
                      <a:pt x="63" y="466"/>
                      <a:pt x="62" y="467"/>
                    </a:cubicBezTo>
                    <a:cubicBezTo>
                      <a:pt x="60" y="468"/>
                      <a:pt x="63" y="475"/>
                      <a:pt x="61" y="475"/>
                    </a:cubicBezTo>
                    <a:cubicBezTo>
                      <a:pt x="59" y="475"/>
                      <a:pt x="53" y="474"/>
                      <a:pt x="51" y="476"/>
                    </a:cubicBezTo>
                    <a:cubicBezTo>
                      <a:pt x="50" y="479"/>
                      <a:pt x="49" y="482"/>
                      <a:pt x="49" y="484"/>
                    </a:cubicBezTo>
                    <a:cubicBezTo>
                      <a:pt x="49" y="486"/>
                      <a:pt x="54" y="489"/>
                      <a:pt x="52" y="491"/>
                    </a:cubicBezTo>
                    <a:cubicBezTo>
                      <a:pt x="50" y="493"/>
                      <a:pt x="48" y="496"/>
                      <a:pt x="46" y="496"/>
                    </a:cubicBezTo>
                    <a:cubicBezTo>
                      <a:pt x="44" y="495"/>
                      <a:pt x="41" y="493"/>
                      <a:pt x="38" y="494"/>
                    </a:cubicBezTo>
                    <a:cubicBezTo>
                      <a:pt x="34" y="495"/>
                      <a:pt x="30" y="497"/>
                      <a:pt x="26" y="495"/>
                    </a:cubicBezTo>
                    <a:cubicBezTo>
                      <a:pt x="21" y="493"/>
                      <a:pt x="21" y="489"/>
                      <a:pt x="21" y="488"/>
                    </a:cubicBezTo>
                    <a:cubicBezTo>
                      <a:pt x="21" y="486"/>
                      <a:pt x="25" y="484"/>
                      <a:pt x="25" y="482"/>
                    </a:cubicBezTo>
                    <a:cubicBezTo>
                      <a:pt x="24" y="479"/>
                      <a:pt x="17" y="463"/>
                      <a:pt x="18" y="460"/>
                    </a:cubicBezTo>
                    <a:cubicBezTo>
                      <a:pt x="19" y="458"/>
                      <a:pt x="22" y="456"/>
                      <a:pt x="24" y="454"/>
                    </a:cubicBezTo>
                    <a:cubicBezTo>
                      <a:pt x="25" y="452"/>
                      <a:pt x="28" y="449"/>
                      <a:pt x="24" y="447"/>
                    </a:cubicBezTo>
                    <a:cubicBezTo>
                      <a:pt x="21" y="445"/>
                      <a:pt x="21" y="445"/>
                      <a:pt x="20" y="443"/>
                    </a:cubicBezTo>
                    <a:cubicBezTo>
                      <a:pt x="19" y="441"/>
                      <a:pt x="16" y="432"/>
                      <a:pt x="16" y="428"/>
                    </a:cubicBezTo>
                    <a:cubicBezTo>
                      <a:pt x="15" y="424"/>
                      <a:pt x="16" y="418"/>
                      <a:pt x="15" y="416"/>
                    </a:cubicBezTo>
                    <a:cubicBezTo>
                      <a:pt x="14" y="415"/>
                      <a:pt x="8" y="420"/>
                      <a:pt x="8" y="415"/>
                    </a:cubicBezTo>
                    <a:cubicBezTo>
                      <a:pt x="8" y="410"/>
                      <a:pt x="10" y="407"/>
                      <a:pt x="7" y="399"/>
                    </a:cubicBezTo>
                    <a:cubicBezTo>
                      <a:pt x="6" y="397"/>
                      <a:pt x="5" y="390"/>
                      <a:pt x="4" y="388"/>
                    </a:cubicBezTo>
                    <a:cubicBezTo>
                      <a:pt x="2" y="382"/>
                      <a:pt x="0" y="383"/>
                      <a:pt x="1" y="377"/>
                    </a:cubicBezTo>
                    <a:cubicBezTo>
                      <a:pt x="2" y="373"/>
                      <a:pt x="2" y="359"/>
                      <a:pt x="1" y="356"/>
                    </a:cubicBezTo>
                    <a:cubicBezTo>
                      <a:pt x="1" y="356"/>
                      <a:pt x="0" y="355"/>
                      <a:pt x="0" y="355"/>
                    </a:cubicBezTo>
                    <a:cubicBezTo>
                      <a:pt x="2" y="354"/>
                      <a:pt x="4" y="353"/>
                      <a:pt x="5" y="353"/>
                    </a:cubicBezTo>
                    <a:cubicBezTo>
                      <a:pt x="7" y="353"/>
                      <a:pt x="12" y="364"/>
                      <a:pt x="14" y="360"/>
                    </a:cubicBezTo>
                    <a:cubicBezTo>
                      <a:pt x="16" y="357"/>
                      <a:pt x="19" y="355"/>
                      <a:pt x="19" y="355"/>
                    </a:cubicBezTo>
                    <a:cubicBezTo>
                      <a:pt x="19" y="355"/>
                      <a:pt x="15" y="338"/>
                      <a:pt x="19" y="333"/>
                    </a:cubicBezTo>
                    <a:cubicBezTo>
                      <a:pt x="23" y="327"/>
                      <a:pt x="31" y="322"/>
                      <a:pt x="33" y="314"/>
                    </a:cubicBezTo>
                    <a:cubicBezTo>
                      <a:pt x="35" y="306"/>
                      <a:pt x="28" y="291"/>
                      <a:pt x="30" y="287"/>
                    </a:cubicBezTo>
                    <a:cubicBezTo>
                      <a:pt x="32" y="284"/>
                      <a:pt x="37" y="286"/>
                      <a:pt x="39" y="282"/>
                    </a:cubicBezTo>
                    <a:cubicBezTo>
                      <a:pt x="41" y="279"/>
                      <a:pt x="42" y="274"/>
                      <a:pt x="42" y="270"/>
                    </a:cubicBezTo>
                    <a:cubicBezTo>
                      <a:pt x="42" y="265"/>
                      <a:pt x="31" y="258"/>
                      <a:pt x="31" y="255"/>
                    </a:cubicBezTo>
                    <a:cubicBezTo>
                      <a:pt x="31" y="252"/>
                      <a:pt x="37" y="228"/>
                      <a:pt x="37" y="228"/>
                    </a:cubicBezTo>
                    <a:cubicBezTo>
                      <a:pt x="37" y="228"/>
                      <a:pt x="36" y="208"/>
                      <a:pt x="37" y="204"/>
                    </a:cubicBezTo>
                    <a:cubicBezTo>
                      <a:pt x="38" y="200"/>
                      <a:pt x="49" y="177"/>
                      <a:pt x="55" y="175"/>
                    </a:cubicBezTo>
                    <a:cubicBezTo>
                      <a:pt x="60" y="174"/>
                      <a:pt x="69" y="177"/>
                      <a:pt x="71" y="177"/>
                    </a:cubicBezTo>
                    <a:cubicBezTo>
                      <a:pt x="73" y="177"/>
                      <a:pt x="75" y="165"/>
                      <a:pt x="76" y="161"/>
                    </a:cubicBezTo>
                    <a:cubicBezTo>
                      <a:pt x="77" y="158"/>
                      <a:pt x="67" y="155"/>
                      <a:pt x="70" y="151"/>
                    </a:cubicBezTo>
                    <a:cubicBezTo>
                      <a:pt x="73" y="148"/>
                      <a:pt x="85" y="135"/>
                      <a:pt x="85" y="128"/>
                    </a:cubicBezTo>
                    <a:cubicBezTo>
                      <a:pt x="85" y="120"/>
                      <a:pt x="87" y="100"/>
                      <a:pt x="87" y="100"/>
                    </a:cubicBezTo>
                    <a:cubicBezTo>
                      <a:pt x="96" y="100"/>
                      <a:pt x="96" y="100"/>
                      <a:pt x="96" y="100"/>
                    </a:cubicBezTo>
                    <a:cubicBezTo>
                      <a:pt x="96" y="100"/>
                      <a:pt x="101" y="96"/>
                      <a:pt x="103" y="95"/>
                    </a:cubicBezTo>
                    <a:cubicBezTo>
                      <a:pt x="104" y="94"/>
                      <a:pt x="114" y="76"/>
                      <a:pt x="115" y="71"/>
                    </a:cubicBezTo>
                    <a:cubicBezTo>
                      <a:pt x="116" y="67"/>
                      <a:pt x="113" y="58"/>
                      <a:pt x="115" y="55"/>
                    </a:cubicBezTo>
                    <a:cubicBezTo>
                      <a:pt x="117" y="52"/>
                      <a:pt x="126" y="39"/>
                      <a:pt x="126" y="39"/>
                    </a:cubicBezTo>
                    <a:cubicBezTo>
                      <a:pt x="135" y="32"/>
                      <a:pt x="135" y="32"/>
                      <a:pt x="135" y="32"/>
                    </a:cubicBezTo>
                    <a:cubicBezTo>
                      <a:pt x="135" y="32"/>
                      <a:pt x="143" y="38"/>
                      <a:pt x="145" y="38"/>
                    </a:cubicBezTo>
                    <a:cubicBezTo>
                      <a:pt x="147" y="37"/>
                      <a:pt x="147" y="19"/>
                      <a:pt x="149" y="17"/>
                    </a:cubicBezTo>
                    <a:cubicBezTo>
                      <a:pt x="152" y="14"/>
                      <a:pt x="170" y="21"/>
                      <a:pt x="170" y="21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7" y="12"/>
                      <a:pt x="187" y="12"/>
                      <a:pt x="187" y="12"/>
                    </a:cubicBezTo>
                    <a:cubicBezTo>
                      <a:pt x="191" y="15"/>
                      <a:pt x="195" y="21"/>
                      <a:pt x="201" y="23"/>
                    </a:cubicBezTo>
                    <a:cubicBezTo>
                      <a:pt x="203" y="24"/>
                      <a:pt x="217" y="33"/>
                      <a:pt x="219" y="37"/>
                    </a:cubicBezTo>
                    <a:cubicBezTo>
                      <a:pt x="221" y="40"/>
                      <a:pt x="221" y="53"/>
                      <a:pt x="222" y="58"/>
                    </a:cubicBezTo>
                    <a:cubicBezTo>
                      <a:pt x="223" y="62"/>
                      <a:pt x="227" y="72"/>
                      <a:pt x="229" y="75"/>
                    </a:cubicBezTo>
                    <a:cubicBezTo>
                      <a:pt x="231" y="78"/>
                      <a:pt x="222" y="89"/>
                      <a:pt x="225" y="9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3" name="Freeform 42">
                <a:extLst>
                  <a:ext uri="{FF2B5EF4-FFF2-40B4-BE49-F238E27FC236}">
                    <a16:creationId xmlns:a16="http://schemas.microsoft.com/office/drawing/2014/main" id="{CB8EBD34-EDB5-4C21-A54E-BBA0CFDF61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04" y="1931"/>
                <a:ext cx="53" cy="76"/>
              </a:xfrm>
              <a:custGeom>
                <a:avLst/>
                <a:gdLst>
                  <a:gd name="T0" fmla="*/ 161 w 28"/>
                  <a:gd name="T1" fmla="*/ 0 h 41"/>
                  <a:gd name="T2" fmla="*/ 184 w 28"/>
                  <a:gd name="T3" fmla="*/ 32 h 41"/>
                  <a:gd name="T4" fmla="*/ 129 w 28"/>
                  <a:gd name="T5" fmla="*/ 65 h 41"/>
                  <a:gd name="T6" fmla="*/ 115 w 28"/>
                  <a:gd name="T7" fmla="*/ 133 h 41"/>
                  <a:gd name="T8" fmla="*/ 61 w 28"/>
                  <a:gd name="T9" fmla="*/ 217 h 41"/>
                  <a:gd name="T10" fmla="*/ 47 w 28"/>
                  <a:gd name="T11" fmla="*/ 261 h 41"/>
                  <a:gd name="T12" fmla="*/ 21 w 28"/>
                  <a:gd name="T13" fmla="*/ 247 h 41"/>
                  <a:gd name="T14" fmla="*/ 21 w 28"/>
                  <a:gd name="T15" fmla="*/ 165 h 41"/>
                  <a:gd name="T16" fmla="*/ 21 w 28"/>
                  <a:gd name="T17" fmla="*/ 96 h 41"/>
                  <a:gd name="T18" fmla="*/ 83 w 28"/>
                  <a:gd name="T19" fmla="*/ 20 h 41"/>
                  <a:gd name="T20" fmla="*/ 161 w 28"/>
                  <a:gd name="T21" fmla="*/ 0 h 4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8" h="41">
                    <a:moveTo>
                      <a:pt x="24" y="0"/>
                    </a:moveTo>
                    <a:cubicBezTo>
                      <a:pt x="28" y="0"/>
                      <a:pt x="28" y="4"/>
                      <a:pt x="27" y="5"/>
                    </a:cubicBezTo>
                    <a:cubicBezTo>
                      <a:pt x="27" y="6"/>
                      <a:pt x="20" y="7"/>
                      <a:pt x="19" y="10"/>
                    </a:cubicBezTo>
                    <a:cubicBezTo>
                      <a:pt x="17" y="13"/>
                      <a:pt x="17" y="18"/>
                      <a:pt x="17" y="21"/>
                    </a:cubicBezTo>
                    <a:cubicBezTo>
                      <a:pt x="18" y="24"/>
                      <a:pt x="9" y="32"/>
                      <a:pt x="9" y="34"/>
                    </a:cubicBezTo>
                    <a:cubicBezTo>
                      <a:pt x="9" y="37"/>
                      <a:pt x="9" y="41"/>
                      <a:pt x="7" y="41"/>
                    </a:cubicBezTo>
                    <a:cubicBezTo>
                      <a:pt x="7" y="41"/>
                      <a:pt x="3" y="39"/>
                      <a:pt x="3" y="39"/>
                    </a:cubicBezTo>
                    <a:cubicBezTo>
                      <a:pt x="2" y="37"/>
                      <a:pt x="3" y="30"/>
                      <a:pt x="3" y="26"/>
                    </a:cubicBezTo>
                    <a:cubicBezTo>
                      <a:pt x="2" y="21"/>
                      <a:pt x="0" y="19"/>
                      <a:pt x="3" y="15"/>
                    </a:cubicBezTo>
                    <a:cubicBezTo>
                      <a:pt x="5" y="11"/>
                      <a:pt x="10" y="5"/>
                      <a:pt x="12" y="3"/>
                    </a:cubicBezTo>
                    <a:cubicBezTo>
                      <a:pt x="14" y="1"/>
                      <a:pt x="19" y="0"/>
                      <a:pt x="24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1" name="Freeform 43">
              <a:extLst>
                <a:ext uri="{FF2B5EF4-FFF2-40B4-BE49-F238E27FC236}">
                  <a16:creationId xmlns:a16="http://schemas.microsoft.com/office/drawing/2014/main" id="{2EEFCDAF-5A92-477E-892A-BC45E5C6F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532" y="2403"/>
              <a:ext cx="297" cy="171"/>
            </a:xfrm>
            <a:custGeom>
              <a:avLst/>
              <a:gdLst>
                <a:gd name="T0" fmla="*/ 1012 w 159"/>
                <a:gd name="T1" fmla="*/ 322 h 92"/>
                <a:gd name="T2" fmla="*/ 1037 w 159"/>
                <a:gd name="T3" fmla="*/ 387 h 92"/>
                <a:gd name="T4" fmla="*/ 997 w 159"/>
                <a:gd name="T5" fmla="*/ 390 h 92"/>
                <a:gd name="T6" fmla="*/ 848 w 159"/>
                <a:gd name="T7" fmla="*/ 532 h 92"/>
                <a:gd name="T8" fmla="*/ 715 w 159"/>
                <a:gd name="T9" fmla="*/ 567 h 92"/>
                <a:gd name="T10" fmla="*/ 715 w 159"/>
                <a:gd name="T11" fmla="*/ 567 h 92"/>
                <a:gd name="T12" fmla="*/ 435 w 159"/>
                <a:gd name="T13" fmla="*/ 487 h 92"/>
                <a:gd name="T14" fmla="*/ 353 w 159"/>
                <a:gd name="T15" fmla="*/ 576 h 92"/>
                <a:gd name="T16" fmla="*/ 241 w 159"/>
                <a:gd name="T17" fmla="*/ 546 h 92"/>
                <a:gd name="T18" fmla="*/ 181 w 159"/>
                <a:gd name="T19" fmla="*/ 478 h 92"/>
                <a:gd name="T20" fmla="*/ 120 w 159"/>
                <a:gd name="T21" fmla="*/ 411 h 92"/>
                <a:gd name="T22" fmla="*/ 39 w 159"/>
                <a:gd name="T23" fmla="*/ 322 h 92"/>
                <a:gd name="T24" fmla="*/ 52 w 159"/>
                <a:gd name="T25" fmla="*/ 238 h 92"/>
                <a:gd name="T26" fmla="*/ 0 w 159"/>
                <a:gd name="T27" fmla="*/ 165 h 92"/>
                <a:gd name="T28" fmla="*/ 60 w 159"/>
                <a:gd name="T29" fmla="*/ 128 h 92"/>
                <a:gd name="T30" fmla="*/ 217 w 159"/>
                <a:gd name="T31" fmla="*/ 76 h 92"/>
                <a:gd name="T32" fmla="*/ 338 w 159"/>
                <a:gd name="T33" fmla="*/ 0 h 92"/>
                <a:gd name="T34" fmla="*/ 418 w 159"/>
                <a:gd name="T35" fmla="*/ 65 h 92"/>
                <a:gd name="T36" fmla="*/ 463 w 159"/>
                <a:gd name="T37" fmla="*/ 13 h 92"/>
                <a:gd name="T38" fmla="*/ 618 w 159"/>
                <a:gd name="T39" fmla="*/ 84 h 92"/>
                <a:gd name="T40" fmla="*/ 618 w 159"/>
                <a:gd name="T41" fmla="*/ 141 h 92"/>
                <a:gd name="T42" fmla="*/ 699 w 159"/>
                <a:gd name="T43" fmla="*/ 245 h 92"/>
                <a:gd name="T44" fmla="*/ 736 w 159"/>
                <a:gd name="T45" fmla="*/ 160 h 92"/>
                <a:gd name="T46" fmla="*/ 861 w 159"/>
                <a:gd name="T47" fmla="*/ 193 h 92"/>
                <a:gd name="T48" fmla="*/ 880 w 159"/>
                <a:gd name="T49" fmla="*/ 262 h 92"/>
                <a:gd name="T50" fmla="*/ 969 w 159"/>
                <a:gd name="T51" fmla="*/ 283 h 92"/>
                <a:gd name="T52" fmla="*/ 1012 w 159"/>
                <a:gd name="T53" fmla="*/ 322 h 9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9" h="92">
                  <a:moveTo>
                    <a:pt x="155" y="50"/>
                  </a:moveTo>
                  <a:cubicBezTo>
                    <a:pt x="159" y="60"/>
                    <a:pt x="159" y="60"/>
                    <a:pt x="159" y="60"/>
                  </a:cubicBezTo>
                  <a:cubicBezTo>
                    <a:pt x="156" y="60"/>
                    <a:pt x="154" y="60"/>
                    <a:pt x="153" y="61"/>
                  </a:cubicBezTo>
                  <a:cubicBezTo>
                    <a:pt x="149" y="62"/>
                    <a:pt x="133" y="81"/>
                    <a:pt x="130" y="83"/>
                  </a:cubicBezTo>
                  <a:cubicBezTo>
                    <a:pt x="128" y="86"/>
                    <a:pt x="115" y="88"/>
                    <a:pt x="110" y="88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05" y="88"/>
                    <a:pt x="70" y="76"/>
                    <a:pt x="67" y="76"/>
                  </a:cubicBezTo>
                  <a:cubicBezTo>
                    <a:pt x="64" y="77"/>
                    <a:pt x="59" y="89"/>
                    <a:pt x="54" y="90"/>
                  </a:cubicBezTo>
                  <a:cubicBezTo>
                    <a:pt x="49" y="92"/>
                    <a:pt x="39" y="84"/>
                    <a:pt x="37" y="8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1" y="66"/>
                    <a:pt x="18" y="64"/>
                  </a:cubicBezTo>
                  <a:cubicBezTo>
                    <a:pt x="16" y="62"/>
                    <a:pt x="9" y="56"/>
                    <a:pt x="6" y="50"/>
                  </a:cubicBezTo>
                  <a:cubicBezTo>
                    <a:pt x="2" y="45"/>
                    <a:pt x="10" y="41"/>
                    <a:pt x="8" y="37"/>
                  </a:cubicBezTo>
                  <a:cubicBezTo>
                    <a:pt x="6" y="33"/>
                    <a:pt x="0" y="30"/>
                    <a:pt x="0" y="26"/>
                  </a:cubicBezTo>
                  <a:cubicBezTo>
                    <a:pt x="0" y="23"/>
                    <a:pt x="4" y="20"/>
                    <a:pt x="9" y="20"/>
                  </a:cubicBezTo>
                  <a:cubicBezTo>
                    <a:pt x="14" y="19"/>
                    <a:pt x="30" y="12"/>
                    <a:pt x="33" y="12"/>
                  </a:cubicBezTo>
                  <a:cubicBezTo>
                    <a:pt x="36" y="11"/>
                    <a:pt x="49" y="1"/>
                    <a:pt x="52" y="0"/>
                  </a:cubicBezTo>
                  <a:cubicBezTo>
                    <a:pt x="56" y="0"/>
                    <a:pt x="60" y="12"/>
                    <a:pt x="64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3" y="5"/>
                    <a:pt x="87" y="10"/>
                    <a:pt x="95" y="13"/>
                  </a:cubicBezTo>
                  <a:cubicBezTo>
                    <a:pt x="103" y="16"/>
                    <a:pt x="93" y="20"/>
                    <a:pt x="95" y="22"/>
                  </a:cubicBezTo>
                  <a:cubicBezTo>
                    <a:pt x="96" y="24"/>
                    <a:pt x="105" y="39"/>
                    <a:pt x="107" y="38"/>
                  </a:cubicBezTo>
                  <a:cubicBezTo>
                    <a:pt x="107" y="38"/>
                    <a:pt x="112" y="27"/>
                    <a:pt x="113" y="25"/>
                  </a:cubicBezTo>
                  <a:cubicBezTo>
                    <a:pt x="115" y="24"/>
                    <a:pt x="130" y="29"/>
                    <a:pt x="132" y="30"/>
                  </a:cubicBezTo>
                  <a:cubicBezTo>
                    <a:pt x="134" y="31"/>
                    <a:pt x="132" y="38"/>
                    <a:pt x="135" y="41"/>
                  </a:cubicBezTo>
                  <a:cubicBezTo>
                    <a:pt x="137" y="44"/>
                    <a:pt x="144" y="41"/>
                    <a:pt x="149" y="44"/>
                  </a:cubicBezTo>
                  <a:cubicBezTo>
                    <a:pt x="155" y="47"/>
                    <a:pt x="155" y="50"/>
                    <a:pt x="155" y="5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2" name="Freeform 44">
              <a:extLst>
                <a:ext uri="{FF2B5EF4-FFF2-40B4-BE49-F238E27FC236}">
                  <a16:creationId xmlns:a16="http://schemas.microsoft.com/office/drawing/2014/main" id="{37BEB28A-E43B-4E08-87FF-2DE407D381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388" y="2544"/>
              <a:ext cx="357" cy="176"/>
            </a:xfrm>
            <a:custGeom>
              <a:avLst/>
              <a:gdLst>
                <a:gd name="T0" fmla="*/ 1222 w 191"/>
                <a:gd name="T1" fmla="*/ 105 h 94"/>
                <a:gd name="T2" fmla="*/ 1247 w 191"/>
                <a:gd name="T3" fmla="*/ 270 h 94"/>
                <a:gd name="T4" fmla="*/ 1174 w 191"/>
                <a:gd name="T5" fmla="*/ 369 h 94"/>
                <a:gd name="T6" fmla="*/ 1105 w 191"/>
                <a:gd name="T7" fmla="*/ 526 h 94"/>
                <a:gd name="T8" fmla="*/ 1024 w 191"/>
                <a:gd name="T9" fmla="*/ 539 h 94"/>
                <a:gd name="T10" fmla="*/ 856 w 191"/>
                <a:gd name="T11" fmla="*/ 558 h 94"/>
                <a:gd name="T12" fmla="*/ 776 w 191"/>
                <a:gd name="T13" fmla="*/ 603 h 94"/>
                <a:gd name="T14" fmla="*/ 675 w 191"/>
                <a:gd name="T15" fmla="*/ 592 h 94"/>
                <a:gd name="T16" fmla="*/ 647 w 191"/>
                <a:gd name="T17" fmla="*/ 595 h 94"/>
                <a:gd name="T18" fmla="*/ 594 w 191"/>
                <a:gd name="T19" fmla="*/ 564 h 94"/>
                <a:gd name="T20" fmla="*/ 458 w 191"/>
                <a:gd name="T21" fmla="*/ 511 h 94"/>
                <a:gd name="T22" fmla="*/ 419 w 191"/>
                <a:gd name="T23" fmla="*/ 434 h 94"/>
                <a:gd name="T24" fmla="*/ 301 w 191"/>
                <a:gd name="T25" fmla="*/ 427 h 94"/>
                <a:gd name="T26" fmla="*/ 224 w 191"/>
                <a:gd name="T27" fmla="*/ 474 h 94"/>
                <a:gd name="T28" fmla="*/ 150 w 191"/>
                <a:gd name="T29" fmla="*/ 446 h 94"/>
                <a:gd name="T30" fmla="*/ 144 w 191"/>
                <a:gd name="T31" fmla="*/ 421 h 94"/>
                <a:gd name="T32" fmla="*/ 52 w 191"/>
                <a:gd name="T33" fmla="*/ 421 h 94"/>
                <a:gd name="T34" fmla="*/ 0 w 191"/>
                <a:gd name="T35" fmla="*/ 354 h 94"/>
                <a:gd name="T36" fmla="*/ 21 w 191"/>
                <a:gd name="T37" fmla="*/ 288 h 94"/>
                <a:gd name="T38" fmla="*/ 73 w 191"/>
                <a:gd name="T39" fmla="*/ 249 h 94"/>
                <a:gd name="T40" fmla="*/ 136 w 191"/>
                <a:gd name="T41" fmla="*/ 322 h 94"/>
                <a:gd name="T42" fmla="*/ 209 w 191"/>
                <a:gd name="T43" fmla="*/ 288 h 94"/>
                <a:gd name="T44" fmla="*/ 314 w 191"/>
                <a:gd name="T45" fmla="*/ 316 h 94"/>
                <a:gd name="T46" fmla="*/ 458 w 191"/>
                <a:gd name="T47" fmla="*/ 285 h 94"/>
                <a:gd name="T48" fmla="*/ 548 w 191"/>
                <a:gd name="T49" fmla="*/ 333 h 94"/>
                <a:gd name="T50" fmla="*/ 615 w 191"/>
                <a:gd name="T51" fmla="*/ 333 h 94"/>
                <a:gd name="T52" fmla="*/ 600 w 191"/>
                <a:gd name="T53" fmla="*/ 234 h 94"/>
                <a:gd name="T54" fmla="*/ 563 w 191"/>
                <a:gd name="T55" fmla="*/ 172 h 94"/>
                <a:gd name="T56" fmla="*/ 744 w 191"/>
                <a:gd name="T57" fmla="*/ 60 h 94"/>
                <a:gd name="T58" fmla="*/ 856 w 191"/>
                <a:gd name="T59" fmla="*/ 92 h 94"/>
                <a:gd name="T60" fmla="*/ 940 w 191"/>
                <a:gd name="T61" fmla="*/ 0 h 94"/>
                <a:gd name="T62" fmla="*/ 1222 w 191"/>
                <a:gd name="T63" fmla="*/ 77 h 94"/>
                <a:gd name="T64" fmla="*/ 1222 w 191"/>
                <a:gd name="T65" fmla="*/ 77 h 94"/>
                <a:gd name="T66" fmla="*/ 1222 w 191"/>
                <a:gd name="T67" fmla="*/ 105 h 9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91" h="94">
                  <a:moveTo>
                    <a:pt x="187" y="16"/>
                  </a:moveTo>
                  <a:cubicBezTo>
                    <a:pt x="187" y="18"/>
                    <a:pt x="191" y="35"/>
                    <a:pt x="191" y="41"/>
                  </a:cubicBezTo>
                  <a:cubicBezTo>
                    <a:pt x="191" y="47"/>
                    <a:pt x="184" y="51"/>
                    <a:pt x="180" y="56"/>
                  </a:cubicBezTo>
                  <a:cubicBezTo>
                    <a:pt x="176" y="62"/>
                    <a:pt x="171" y="72"/>
                    <a:pt x="169" y="80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1" y="81"/>
                    <a:pt x="136" y="82"/>
                    <a:pt x="131" y="85"/>
                  </a:cubicBezTo>
                  <a:cubicBezTo>
                    <a:pt x="127" y="88"/>
                    <a:pt x="123" y="94"/>
                    <a:pt x="119" y="92"/>
                  </a:cubicBezTo>
                  <a:cubicBezTo>
                    <a:pt x="114" y="89"/>
                    <a:pt x="108" y="88"/>
                    <a:pt x="103" y="90"/>
                  </a:cubicBezTo>
                  <a:cubicBezTo>
                    <a:pt x="101" y="90"/>
                    <a:pt x="100" y="90"/>
                    <a:pt x="99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1" y="86"/>
                    <a:pt x="75" y="79"/>
                    <a:pt x="70" y="78"/>
                  </a:cubicBezTo>
                  <a:cubicBezTo>
                    <a:pt x="65" y="76"/>
                    <a:pt x="68" y="66"/>
                    <a:pt x="64" y="66"/>
                  </a:cubicBezTo>
                  <a:cubicBezTo>
                    <a:pt x="61" y="65"/>
                    <a:pt x="46" y="65"/>
                    <a:pt x="46" y="65"/>
                  </a:cubicBezTo>
                  <a:cubicBezTo>
                    <a:pt x="46" y="65"/>
                    <a:pt x="37" y="73"/>
                    <a:pt x="34" y="72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6"/>
                    <a:pt x="23" y="65"/>
                    <a:pt x="22" y="64"/>
                  </a:cubicBezTo>
                  <a:cubicBezTo>
                    <a:pt x="20" y="62"/>
                    <a:pt x="13" y="66"/>
                    <a:pt x="8" y="64"/>
                  </a:cubicBezTo>
                  <a:cubicBezTo>
                    <a:pt x="4" y="61"/>
                    <a:pt x="0" y="60"/>
                    <a:pt x="0" y="54"/>
                  </a:cubicBezTo>
                  <a:cubicBezTo>
                    <a:pt x="1" y="49"/>
                    <a:pt x="4" y="46"/>
                    <a:pt x="3" y="44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9"/>
                    <a:pt x="16" y="49"/>
                    <a:pt x="21" y="49"/>
                  </a:cubicBezTo>
                  <a:cubicBezTo>
                    <a:pt x="26" y="49"/>
                    <a:pt x="28" y="43"/>
                    <a:pt x="32" y="44"/>
                  </a:cubicBezTo>
                  <a:cubicBezTo>
                    <a:pt x="36" y="44"/>
                    <a:pt x="44" y="49"/>
                    <a:pt x="48" y="48"/>
                  </a:cubicBezTo>
                  <a:cubicBezTo>
                    <a:pt x="51" y="46"/>
                    <a:pt x="66" y="43"/>
                    <a:pt x="70" y="43"/>
                  </a:cubicBezTo>
                  <a:cubicBezTo>
                    <a:pt x="75" y="43"/>
                    <a:pt x="80" y="50"/>
                    <a:pt x="84" y="51"/>
                  </a:cubicBezTo>
                  <a:cubicBezTo>
                    <a:pt x="88" y="52"/>
                    <a:pt x="92" y="53"/>
                    <a:pt x="94" y="51"/>
                  </a:cubicBezTo>
                  <a:cubicBezTo>
                    <a:pt x="94" y="48"/>
                    <a:pt x="94" y="39"/>
                    <a:pt x="92" y="36"/>
                  </a:cubicBezTo>
                  <a:cubicBezTo>
                    <a:pt x="90" y="33"/>
                    <a:pt x="84" y="27"/>
                    <a:pt x="86" y="26"/>
                  </a:cubicBezTo>
                  <a:cubicBezTo>
                    <a:pt x="88" y="26"/>
                    <a:pt x="110" y="10"/>
                    <a:pt x="114" y="9"/>
                  </a:cubicBezTo>
                  <a:cubicBezTo>
                    <a:pt x="116" y="8"/>
                    <a:pt x="126" y="16"/>
                    <a:pt x="131" y="14"/>
                  </a:cubicBezTo>
                  <a:cubicBezTo>
                    <a:pt x="136" y="13"/>
                    <a:pt x="141" y="1"/>
                    <a:pt x="144" y="0"/>
                  </a:cubicBezTo>
                  <a:cubicBezTo>
                    <a:pt x="147" y="0"/>
                    <a:pt x="182" y="12"/>
                    <a:pt x="187" y="12"/>
                  </a:cubicBezTo>
                  <a:cubicBezTo>
                    <a:pt x="187" y="12"/>
                    <a:pt x="187" y="12"/>
                    <a:pt x="187" y="12"/>
                  </a:cubicBezTo>
                  <a:lnTo>
                    <a:pt x="187" y="1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3" name="Freeform 45">
              <a:extLst>
                <a:ext uri="{FF2B5EF4-FFF2-40B4-BE49-F238E27FC236}">
                  <a16:creationId xmlns:a16="http://schemas.microsoft.com/office/drawing/2014/main" id="{6CFEE66E-A351-494E-A674-1CBE2A7975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5" y="2106"/>
              <a:ext cx="399" cy="537"/>
            </a:xfrm>
            <a:custGeom>
              <a:avLst/>
              <a:gdLst>
                <a:gd name="T0" fmla="*/ 1342 w 214"/>
                <a:gd name="T1" fmla="*/ 1095 h 288"/>
                <a:gd name="T2" fmla="*/ 1141 w 214"/>
                <a:gd name="T3" fmla="*/ 1109 h 288"/>
                <a:gd name="T4" fmla="*/ 929 w 214"/>
                <a:gd name="T5" fmla="*/ 1199 h 288"/>
                <a:gd name="T6" fmla="*/ 966 w 214"/>
                <a:gd name="T7" fmla="*/ 1356 h 288"/>
                <a:gd name="T8" fmla="*/ 1109 w 214"/>
                <a:gd name="T9" fmla="*/ 1508 h 288"/>
                <a:gd name="T10" fmla="*/ 984 w 214"/>
                <a:gd name="T11" fmla="*/ 1693 h 288"/>
                <a:gd name="T12" fmla="*/ 1037 w 214"/>
                <a:gd name="T13" fmla="*/ 1853 h 288"/>
                <a:gd name="T14" fmla="*/ 884 w 214"/>
                <a:gd name="T15" fmla="*/ 1801 h 288"/>
                <a:gd name="T16" fmla="*/ 636 w 214"/>
                <a:gd name="T17" fmla="*/ 1809 h 288"/>
                <a:gd name="T18" fmla="*/ 500 w 214"/>
                <a:gd name="T19" fmla="*/ 1769 h 288"/>
                <a:gd name="T20" fmla="*/ 442 w 214"/>
                <a:gd name="T21" fmla="*/ 1790 h 288"/>
                <a:gd name="T22" fmla="*/ 166 w 214"/>
                <a:gd name="T23" fmla="*/ 1717 h 288"/>
                <a:gd name="T24" fmla="*/ 254 w 214"/>
                <a:gd name="T25" fmla="*/ 1425 h 288"/>
                <a:gd name="T26" fmla="*/ 0 w 214"/>
                <a:gd name="T27" fmla="*/ 1283 h 288"/>
                <a:gd name="T28" fmla="*/ 84 w 214"/>
                <a:gd name="T29" fmla="*/ 1169 h 288"/>
                <a:gd name="T30" fmla="*/ 13 w 214"/>
                <a:gd name="T31" fmla="*/ 1050 h 288"/>
                <a:gd name="T32" fmla="*/ 39 w 214"/>
                <a:gd name="T33" fmla="*/ 914 h 288"/>
                <a:gd name="T34" fmla="*/ 45 w 214"/>
                <a:gd name="T35" fmla="*/ 712 h 288"/>
                <a:gd name="T36" fmla="*/ 164 w 214"/>
                <a:gd name="T37" fmla="*/ 668 h 288"/>
                <a:gd name="T38" fmla="*/ 188 w 214"/>
                <a:gd name="T39" fmla="*/ 546 h 288"/>
                <a:gd name="T40" fmla="*/ 265 w 214"/>
                <a:gd name="T41" fmla="*/ 479 h 288"/>
                <a:gd name="T42" fmla="*/ 298 w 214"/>
                <a:gd name="T43" fmla="*/ 369 h 288"/>
                <a:gd name="T44" fmla="*/ 317 w 214"/>
                <a:gd name="T45" fmla="*/ 345 h 288"/>
                <a:gd name="T46" fmla="*/ 317 w 214"/>
                <a:gd name="T47" fmla="*/ 278 h 288"/>
                <a:gd name="T48" fmla="*/ 442 w 214"/>
                <a:gd name="T49" fmla="*/ 313 h 288"/>
                <a:gd name="T50" fmla="*/ 459 w 214"/>
                <a:gd name="T51" fmla="*/ 362 h 288"/>
                <a:gd name="T52" fmla="*/ 531 w 214"/>
                <a:gd name="T53" fmla="*/ 254 h 288"/>
                <a:gd name="T54" fmla="*/ 615 w 214"/>
                <a:gd name="T55" fmla="*/ 270 h 288"/>
                <a:gd name="T56" fmla="*/ 591 w 214"/>
                <a:gd name="T57" fmla="*/ 188 h 288"/>
                <a:gd name="T58" fmla="*/ 539 w 214"/>
                <a:gd name="T59" fmla="*/ 142 h 288"/>
                <a:gd name="T60" fmla="*/ 571 w 214"/>
                <a:gd name="T61" fmla="*/ 39 h 288"/>
                <a:gd name="T62" fmla="*/ 623 w 214"/>
                <a:gd name="T63" fmla="*/ 21 h 288"/>
                <a:gd name="T64" fmla="*/ 751 w 214"/>
                <a:gd name="T65" fmla="*/ 21 h 288"/>
                <a:gd name="T66" fmla="*/ 751 w 214"/>
                <a:gd name="T67" fmla="*/ 90 h 288"/>
                <a:gd name="T68" fmla="*/ 824 w 214"/>
                <a:gd name="T69" fmla="*/ 181 h 288"/>
                <a:gd name="T70" fmla="*/ 886 w 214"/>
                <a:gd name="T71" fmla="*/ 142 h 288"/>
                <a:gd name="T72" fmla="*/ 893 w 214"/>
                <a:gd name="T73" fmla="*/ 201 h 288"/>
                <a:gd name="T74" fmla="*/ 837 w 214"/>
                <a:gd name="T75" fmla="*/ 254 h 288"/>
                <a:gd name="T76" fmla="*/ 929 w 214"/>
                <a:gd name="T77" fmla="*/ 293 h 288"/>
                <a:gd name="T78" fmla="*/ 1029 w 214"/>
                <a:gd name="T79" fmla="*/ 241 h 288"/>
                <a:gd name="T80" fmla="*/ 1178 w 214"/>
                <a:gd name="T81" fmla="*/ 209 h 288"/>
                <a:gd name="T82" fmla="*/ 1219 w 214"/>
                <a:gd name="T83" fmla="*/ 142 h 288"/>
                <a:gd name="T84" fmla="*/ 1251 w 214"/>
                <a:gd name="T85" fmla="*/ 216 h 288"/>
                <a:gd name="T86" fmla="*/ 1199 w 214"/>
                <a:gd name="T87" fmla="*/ 241 h 288"/>
                <a:gd name="T88" fmla="*/ 1266 w 214"/>
                <a:gd name="T89" fmla="*/ 293 h 288"/>
                <a:gd name="T90" fmla="*/ 1348 w 214"/>
                <a:gd name="T91" fmla="*/ 323 h 288"/>
                <a:gd name="T92" fmla="*/ 1283 w 214"/>
                <a:gd name="T93" fmla="*/ 578 h 288"/>
                <a:gd name="T94" fmla="*/ 1348 w 214"/>
                <a:gd name="T95" fmla="*/ 796 h 288"/>
                <a:gd name="T96" fmla="*/ 1387 w 214"/>
                <a:gd name="T97" fmla="*/ 1042 h 2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14" h="288">
                  <a:moveTo>
                    <a:pt x="214" y="161"/>
                  </a:moveTo>
                  <a:cubicBezTo>
                    <a:pt x="207" y="169"/>
                    <a:pt x="207" y="169"/>
                    <a:pt x="207" y="169"/>
                  </a:cubicBezTo>
                  <a:cubicBezTo>
                    <a:pt x="203" y="171"/>
                    <a:pt x="199" y="159"/>
                    <a:pt x="195" y="159"/>
                  </a:cubicBezTo>
                  <a:cubicBezTo>
                    <a:pt x="192" y="160"/>
                    <a:pt x="179" y="170"/>
                    <a:pt x="176" y="171"/>
                  </a:cubicBezTo>
                  <a:cubicBezTo>
                    <a:pt x="173" y="171"/>
                    <a:pt x="157" y="178"/>
                    <a:pt x="152" y="179"/>
                  </a:cubicBezTo>
                  <a:cubicBezTo>
                    <a:pt x="147" y="179"/>
                    <a:pt x="143" y="182"/>
                    <a:pt x="143" y="185"/>
                  </a:cubicBezTo>
                  <a:cubicBezTo>
                    <a:pt x="143" y="189"/>
                    <a:pt x="149" y="192"/>
                    <a:pt x="151" y="196"/>
                  </a:cubicBezTo>
                  <a:cubicBezTo>
                    <a:pt x="153" y="200"/>
                    <a:pt x="145" y="204"/>
                    <a:pt x="149" y="209"/>
                  </a:cubicBezTo>
                  <a:cubicBezTo>
                    <a:pt x="152" y="215"/>
                    <a:pt x="159" y="221"/>
                    <a:pt x="161" y="223"/>
                  </a:cubicBezTo>
                  <a:cubicBezTo>
                    <a:pt x="164" y="225"/>
                    <a:pt x="171" y="233"/>
                    <a:pt x="171" y="233"/>
                  </a:cubicBezTo>
                  <a:cubicBezTo>
                    <a:pt x="180" y="244"/>
                    <a:pt x="180" y="244"/>
                    <a:pt x="180" y="244"/>
                  </a:cubicBezTo>
                  <a:cubicBezTo>
                    <a:pt x="176" y="245"/>
                    <a:pt x="154" y="261"/>
                    <a:pt x="152" y="261"/>
                  </a:cubicBezTo>
                  <a:cubicBezTo>
                    <a:pt x="150" y="262"/>
                    <a:pt x="156" y="268"/>
                    <a:pt x="158" y="271"/>
                  </a:cubicBezTo>
                  <a:cubicBezTo>
                    <a:pt x="160" y="274"/>
                    <a:pt x="160" y="283"/>
                    <a:pt x="160" y="286"/>
                  </a:cubicBezTo>
                  <a:cubicBezTo>
                    <a:pt x="158" y="288"/>
                    <a:pt x="154" y="287"/>
                    <a:pt x="150" y="286"/>
                  </a:cubicBezTo>
                  <a:cubicBezTo>
                    <a:pt x="146" y="285"/>
                    <a:pt x="141" y="278"/>
                    <a:pt x="136" y="278"/>
                  </a:cubicBezTo>
                  <a:cubicBezTo>
                    <a:pt x="132" y="278"/>
                    <a:pt x="117" y="281"/>
                    <a:pt x="114" y="283"/>
                  </a:cubicBezTo>
                  <a:cubicBezTo>
                    <a:pt x="110" y="284"/>
                    <a:pt x="102" y="279"/>
                    <a:pt x="98" y="279"/>
                  </a:cubicBezTo>
                  <a:cubicBezTo>
                    <a:pt x="94" y="278"/>
                    <a:pt x="92" y="284"/>
                    <a:pt x="87" y="284"/>
                  </a:cubicBezTo>
                  <a:cubicBezTo>
                    <a:pt x="82" y="284"/>
                    <a:pt x="80" y="274"/>
                    <a:pt x="77" y="273"/>
                  </a:cubicBezTo>
                  <a:cubicBezTo>
                    <a:pt x="69" y="279"/>
                    <a:pt x="69" y="279"/>
                    <a:pt x="69" y="279"/>
                  </a:cubicBezTo>
                  <a:cubicBezTo>
                    <a:pt x="69" y="278"/>
                    <a:pt x="69" y="277"/>
                    <a:pt x="68" y="276"/>
                  </a:cubicBezTo>
                  <a:cubicBezTo>
                    <a:pt x="64" y="272"/>
                    <a:pt x="55" y="266"/>
                    <a:pt x="50" y="266"/>
                  </a:cubicBezTo>
                  <a:cubicBezTo>
                    <a:pt x="46" y="266"/>
                    <a:pt x="26" y="265"/>
                    <a:pt x="26" y="265"/>
                  </a:cubicBezTo>
                  <a:cubicBezTo>
                    <a:pt x="17" y="263"/>
                    <a:pt x="17" y="263"/>
                    <a:pt x="17" y="263"/>
                  </a:cubicBezTo>
                  <a:cubicBezTo>
                    <a:pt x="19" y="257"/>
                    <a:pt x="37" y="222"/>
                    <a:pt x="39" y="220"/>
                  </a:cubicBezTo>
                  <a:cubicBezTo>
                    <a:pt x="41" y="218"/>
                    <a:pt x="18" y="213"/>
                    <a:pt x="11" y="207"/>
                  </a:cubicBezTo>
                  <a:cubicBezTo>
                    <a:pt x="6" y="204"/>
                    <a:pt x="3" y="201"/>
                    <a:pt x="0" y="198"/>
                  </a:cubicBezTo>
                  <a:cubicBezTo>
                    <a:pt x="0" y="198"/>
                    <a:pt x="3" y="191"/>
                    <a:pt x="5" y="190"/>
                  </a:cubicBezTo>
                  <a:cubicBezTo>
                    <a:pt x="7" y="188"/>
                    <a:pt x="13" y="182"/>
                    <a:pt x="13" y="180"/>
                  </a:cubicBezTo>
                  <a:cubicBezTo>
                    <a:pt x="13" y="179"/>
                    <a:pt x="7" y="176"/>
                    <a:pt x="6" y="17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0"/>
                    <a:pt x="7" y="159"/>
                    <a:pt x="9" y="158"/>
                  </a:cubicBezTo>
                  <a:cubicBezTo>
                    <a:pt x="12" y="156"/>
                    <a:pt x="8" y="147"/>
                    <a:pt x="6" y="141"/>
                  </a:cubicBezTo>
                  <a:cubicBezTo>
                    <a:pt x="5" y="135"/>
                    <a:pt x="10" y="128"/>
                    <a:pt x="11" y="124"/>
                  </a:cubicBezTo>
                  <a:cubicBezTo>
                    <a:pt x="13" y="121"/>
                    <a:pt x="8" y="113"/>
                    <a:pt x="7" y="110"/>
                  </a:cubicBezTo>
                  <a:cubicBezTo>
                    <a:pt x="6" y="108"/>
                    <a:pt x="9" y="104"/>
                    <a:pt x="11" y="103"/>
                  </a:cubicBezTo>
                  <a:cubicBezTo>
                    <a:pt x="14" y="102"/>
                    <a:pt x="22" y="103"/>
                    <a:pt x="25" y="103"/>
                  </a:cubicBezTo>
                  <a:cubicBezTo>
                    <a:pt x="28" y="104"/>
                    <a:pt x="33" y="95"/>
                    <a:pt x="37" y="91"/>
                  </a:cubicBezTo>
                  <a:cubicBezTo>
                    <a:pt x="40" y="87"/>
                    <a:pt x="29" y="84"/>
                    <a:pt x="29" y="8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40" y="76"/>
                    <a:pt x="41" y="74"/>
                  </a:cubicBezTo>
                  <a:cubicBezTo>
                    <a:pt x="42" y="73"/>
                    <a:pt x="46" y="62"/>
                    <a:pt x="46" y="58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7" y="57"/>
                    <a:pt x="47" y="57"/>
                  </a:cubicBezTo>
                  <a:cubicBezTo>
                    <a:pt x="50" y="57"/>
                    <a:pt x="52" y="55"/>
                    <a:pt x="49" y="53"/>
                  </a:cubicBezTo>
                  <a:cubicBezTo>
                    <a:pt x="46" y="51"/>
                    <a:pt x="44" y="51"/>
                    <a:pt x="45" y="49"/>
                  </a:cubicBezTo>
                  <a:cubicBezTo>
                    <a:pt x="46" y="46"/>
                    <a:pt x="48" y="43"/>
                    <a:pt x="49" y="43"/>
                  </a:cubicBezTo>
                  <a:cubicBezTo>
                    <a:pt x="50" y="42"/>
                    <a:pt x="65" y="42"/>
                    <a:pt x="66" y="43"/>
                  </a:cubicBezTo>
                  <a:cubicBezTo>
                    <a:pt x="67" y="43"/>
                    <a:pt x="69" y="47"/>
                    <a:pt x="68" y="48"/>
                  </a:cubicBezTo>
                  <a:cubicBezTo>
                    <a:pt x="68" y="50"/>
                    <a:pt x="65" y="51"/>
                    <a:pt x="66" y="52"/>
                  </a:cubicBezTo>
                  <a:cubicBezTo>
                    <a:pt x="66" y="54"/>
                    <a:pt x="69" y="57"/>
                    <a:pt x="71" y="56"/>
                  </a:cubicBezTo>
                  <a:cubicBezTo>
                    <a:pt x="81" y="53"/>
                    <a:pt x="74" y="45"/>
                    <a:pt x="75" y="44"/>
                  </a:cubicBezTo>
                  <a:cubicBezTo>
                    <a:pt x="76" y="43"/>
                    <a:pt x="82" y="38"/>
                    <a:pt x="82" y="39"/>
                  </a:cubicBezTo>
                  <a:cubicBezTo>
                    <a:pt x="84" y="39"/>
                    <a:pt x="86" y="43"/>
                    <a:pt x="88" y="43"/>
                  </a:cubicBezTo>
                  <a:cubicBezTo>
                    <a:pt x="90" y="43"/>
                    <a:pt x="94" y="43"/>
                    <a:pt x="95" y="42"/>
                  </a:cubicBezTo>
                  <a:cubicBezTo>
                    <a:pt x="95" y="40"/>
                    <a:pt x="87" y="35"/>
                    <a:pt x="87" y="33"/>
                  </a:cubicBezTo>
                  <a:cubicBezTo>
                    <a:pt x="87" y="31"/>
                    <a:pt x="92" y="31"/>
                    <a:pt x="91" y="29"/>
                  </a:cubicBezTo>
                  <a:cubicBezTo>
                    <a:pt x="90" y="27"/>
                    <a:pt x="87" y="25"/>
                    <a:pt x="85" y="25"/>
                  </a:cubicBezTo>
                  <a:cubicBezTo>
                    <a:pt x="83" y="24"/>
                    <a:pt x="82" y="24"/>
                    <a:pt x="83" y="22"/>
                  </a:cubicBezTo>
                  <a:cubicBezTo>
                    <a:pt x="84" y="20"/>
                    <a:pt x="91" y="19"/>
                    <a:pt x="92" y="18"/>
                  </a:cubicBezTo>
                  <a:cubicBezTo>
                    <a:pt x="93" y="17"/>
                    <a:pt x="89" y="9"/>
                    <a:pt x="88" y="6"/>
                  </a:cubicBezTo>
                  <a:cubicBezTo>
                    <a:pt x="87" y="4"/>
                    <a:pt x="86" y="2"/>
                    <a:pt x="87" y="0"/>
                  </a:cubicBezTo>
                  <a:cubicBezTo>
                    <a:pt x="90" y="1"/>
                    <a:pt x="94" y="2"/>
                    <a:pt x="96" y="3"/>
                  </a:cubicBezTo>
                  <a:cubicBezTo>
                    <a:pt x="101" y="5"/>
                    <a:pt x="105" y="5"/>
                    <a:pt x="108" y="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7" y="7"/>
                    <a:pt x="117" y="11"/>
                    <a:pt x="116" y="14"/>
                  </a:cubicBezTo>
                  <a:cubicBezTo>
                    <a:pt x="115" y="16"/>
                    <a:pt x="110" y="19"/>
                    <a:pt x="114" y="21"/>
                  </a:cubicBezTo>
                  <a:cubicBezTo>
                    <a:pt x="117" y="22"/>
                    <a:pt x="127" y="26"/>
                    <a:pt x="127" y="28"/>
                  </a:cubicBezTo>
                  <a:cubicBezTo>
                    <a:pt x="128" y="29"/>
                    <a:pt x="132" y="28"/>
                    <a:pt x="133" y="27"/>
                  </a:cubicBezTo>
                  <a:cubicBezTo>
                    <a:pt x="134" y="26"/>
                    <a:pt x="136" y="22"/>
                    <a:pt x="137" y="22"/>
                  </a:cubicBezTo>
                  <a:cubicBezTo>
                    <a:pt x="138" y="22"/>
                    <a:pt x="144" y="25"/>
                    <a:pt x="142" y="27"/>
                  </a:cubicBezTo>
                  <a:cubicBezTo>
                    <a:pt x="141" y="29"/>
                    <a:pt x="138" y="29"/>
                    <a:pt x="138" y="31"/>
                  </a:cubicBezTo>
                  <a:cubicBezTo>
                    <a:pt x="138" y="33"/>
                    <a:pt x="137" y="36"/>
                    <a:pt x="135" y="36"/>
                  </a:cubicBezTo>
                  <a:cubicBezTo>
                    <a:pt x="133" y="37"/>
                    <a:pt x="129" y="37"/>
                    <a:pt x="129" y="39"/>
                  </a:cubicBezTo>
                  <a:cubicBezTo>
                    <a:pt x="129" y="44"/>
                    <a:pt x="136" y="41"/>
                    <a:pt x="137" y="43"/>
                  </a:cubicBezTo>
                  <a:cubicBezTo>
                    <a:pt x="139" y="44"/>
                    <a:pt x="140" y="46"/>
                    <a:pt x="143" y="45"/>
                  </a:cubicBezTo>
                  <a:cubicBezTo>
                    <a:pt x="145" y="44"/>
                    <a:pt x="147" y="38"/>
                    <a:pt x="149" y="38"/>
                  </a:cubicBezTo>
                  <a:cubicBezTo>
                    <a:pt x="150" y="38"/>
                    <a:pt x="158" y="38"/>
                    <a:pt x="159" y="37"/>
                  </a:cubicBezTo>
                  <a:cubicBezTo>
                    <a:pt x="160" y="36"/>
                    <a:pt x="166" y="29"/>
                    <a:pt x="168" y="28"/>
                  </a:cubicBezTo>
                  <a:cubicBezTo>
                    <a:pt x="169" y="28"/>
                    <a:pt x="181" y="34"/>
                    <a:pt x="182" y="32"/>
                  </a:cubicBezTo>
                  <a:cubicBezTo>
                    <a:pt x="184" y="30"/>
                    <a:pt x="182" y="27"/>
                    <a:pt x="183" y="26"/>
                  </a:cubicBezTo>
                  <a:cubicBezTo>
                    <a:pt x="184" y="25"/>
                    <a:pt x="187" y="21"/>
                    <a:pt x="188" y="22"/>
                  </a:cubicBezTo>
                  <a:cubicBezTo>
                    <a:pt x="190" y="23"/>
                    <a:pt x="194" y="26"/>
                    <a:pt x="193" y="28"/>
                  </a:cubicBezTo>
                  <a:cubicBezTo>
                    <a:pt x="192" y="31"/>
                    <a:pt x="191" y="32"/>
                    <a:pt x="193" y="33"/>
                  </a:cubicBezTo>
                  <a:cubicBezTo>
                    <a:pt x="195" y="35"/>
                    <a:pt x="196" y="38"/>
                    <a:pt x="194" y="38"/>
                  </a:cubicBezTo>
                  <a:cubicBezTo>
                    <a:pt x="192" y="37"/>
                    <a:pt x="185" y="35"/>
                    <a:pt x="185" y="37"/>
                  </a:cubicBezTo>
                  <a:cubicBezTo>
                    <a:pt x="184" y="40"/>
                    <a:pt x="186" y="44"/>
                    <a:pt x="187" y="44"/>
                  </a:cubicBezTo>
                  <a:cubicBezTo>
                    <a:pt x="188" y="45"/>
                    <a:pt x="194" y="44"/>
                    <a:pt x="195" y="45"/>
                  </a:cubicBezTo>
                  <a:cubicBezTo>
                    <a:pt x="196" y="46"/>
                    <a:pt x="201" y="50"/>
                    <a:pt x="203" y="51"/>
                  </a:cubicBezTo>
                  <a:cubicBezTo>
                    <a:pt x="204" y="51"/>
                    <a:pt x="206" y="50"/>
                    <a:pt x="208" y="50"/>
                  </a:cubicBezTo>
                  <a:cubicBezTo>
                    <a:pt x="207" y="59"/>
                    <a:pt x="206" y="72"/>
                    <a:pt x="206" y="76"/>
                  </a:cubicBezTo>
                  <a:cubicBezTo>
                    <a:pt x="206" y="81"/>
                    <a:pt x="200" y="85"/>
                    <a:pt x="198" y="89"/>
                  </a:cubicBezTo>
                  <a:cubicBezTo>
                    <a:pt x="196" y="92"/>
                    <a:pt x="203" y="95"/>
                    <a:pt x="208" y="99"/>
                  </a:cubicBezTo>
                  <a:cubicBezTo>
                    <a:pt x="212" y="103"/>
                    <a:pt x="208" y="116"/>
                    <a:pt x="208" y="123"/>
                  </a:cubicBezTo>
                  <a:cubicBezTo>
                    <a:pt x="208" y="130"/>
                    <a:pt x="212" y="141"/>
                    <a:pt x="212" y="144"/>
                  </a:cubicBezTo>
                  <a:cubicBezTo>
                    <a:pt x="214" y="148"/>
                    <a:pt x="210" y="158"/>
                    <a:pt x="214" y="16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4" name="Group 46">
              <a:extLst>
                <a:ext uri="{FF2B5EF4-FFF2-40B4-BE49-F238E27FC236}">
                  <a16:creationId xmlns:a16="http://schemas.microsoft.com/office/drawing/2014/main" id="{1D42946F-9BB0-4432-AA81-85D6078D9036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564" y="2716"/>
              <a:ext cx="274" cy="257"/>
              <a:chOff x="2564" y="2716"/>
              <a:chExt cx="274" cy="257"/>
            </a:xfrm>
            <a:grpFill/>
          </p:grpSpPr>
          <p:sp>
            <p:nvSpPr>
              <p:cNvPr id="619" name="Freeform 47">
                <a:extLst>
                  <a:ext uri="{FF2B5EF4-FFF2-40B4-BE49-F238E27FC236}">
                    <a16:creationId xmlns:a16="http://schemas.microsoft.com/office/drawing/2014/main" id="{2D0811E5-DE59-44CA-A6FF-BD19BD0D08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87" y="2942"/>
                <a:ext cx="33" cy="13"/>
              </a:xfrm>
              <a:custGeom>
                <a:avLst/>
                <a:gdLst>
                  <a:gd name="T0" fmla="*/ 57 w 18"/>
                  <a:gd name="T1" fmla="*/ 0 h 7"/>
                  <a:gd name="T2" fmla="*/ 112 w 18"/>
                  <a:gd name="T3" fmla="*/ 32 h 7"/>
                  <a:gd name="T4" fmla="*/ 61 w 18"/>
                  <a:gd name="T5" fmla="*/ 45 h 7"/>
                  <a:gd name="T6" fmla="*/ 7 w 18"/>
                  <a:gd name="T7" fmla="*/ 24 h 7"/>
                  <a:gd name="T8" fmla="*/ 13 w 18"/>
                  <a:gd name="T9" fmla="*/ 7 h 7"/>
                  <a:gd name="T10" fmla="*/ 57 w 18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7">
                    <a:moveTo>
                      <a:pt x="9" y="0"/>
                    </a:moveTo>
                    <a:cubicBezTo>
                      <a:pt x="11" y="0"/>
                      <a:pt x="18" y="4"/>
                      <a:pt x="18" y="5"/>
                    </a:cubicBezTo>
                    <a:cubicBezTo>
                      <a:pt x="18" y="7"/>
                      <a:pt x="13" y="7"/>
                      <a:pt x="10" y="7"/>
                    </a:cubicBezTo>
                    <a:cubicBezTo>
                      <a:pt x="7" y="7"/>
                      <a:pt x="2" y="5"/>
                      <a:pt x="1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6" y="0"/>
                      <a:pt x="9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0" name="Freeform 48">
                <a:extLst>
                  <a:ext uri="{FF2B5EF4-FFF2-40B4-BE49-F238E27FC236}">
                    <a16:creationId xmlns:a16="http://schemas.microsoft.com/office/drawing/2014/main" id="{3FF5F0FE-D858-4377-A839-7B6CA7513C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99" y="2811"/>
                <a:ext cx="17" cy="50"/>
              </a:xfrm>
              <a:custGeom>
                <a:avLst/>
                <a:gdLst>
                  <a:gd name="T0" fmla="*/ 32 w 9"/>
                  <a:gd name="T1" fmla="*/ 20 h 27"/>
                  <a:gd name="T2" fmla="*/ 53 w 9"/>
                  <a:gd name="T3" fmla="*/ 44 h 27"/>
                  <a:gd name="T4" fmla="*/ 47 w 9"/>
                  <a:gd name="T5" fmla="*/ 120 h 27"/>
                  <a:gd name="T6" fmla="*/ 40 w 9"/>
                  <a:gd name="T7" fmla="*/ 165 h 27"/>
                  <a:gd name="T8" fmla="*/ 8 w 9"/>
                  <a:gd name="T9" fmla="*/ 133 h 27"/>
                  <a:gd name="T10" fmla="*/ 8 w 9"/>
                  <a:gd name="T11" fmla="*/ 69 h 27"/>
                  <a:gd name="T12" fmla="*/ 32 w 9"/>
                  <a:gd name="T13" fmla="*/ 2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27">
                    <a:moveTo>
                      <a:pt x="5" y="3"/>
                    </a:moveTo>
                    <a:cubicBezTo>
                      <a:pt x="7" y="0"/>
                      <a:pt x="9" y="4"/>
                      <a:pt x="8" y="7"/>
                    </a:cubicBezTo>
                    <a:cubicBezTo>
                      <a:pt x="7" y="9"/>
                      <a:pt x="6" y="16"/>
                      <a:pt x="7" y="19"/>
                    </a:cubicBezTo>
                    <a:cubicBezTo>
                      <a:pt x="7" y="22"/>
                      <a:pt x="7" y="25"/>
                      <a:pt x="6" y="26"/>
                    </a:cubicBezTo>
                    <a:cubicBezTo>
                      <a:pt x="5" y="27"/>
                      <a:pt x="1" y="22"/>
                      <a:pt x="1" y="21"/>
                    </a:cubicBezTo>
                    <a:cubicBezTo>
                      <a:pt x="0" y="20"/>
                      <a:pt x="1" y="14"/>
                      <a:pt x="1" y="11"/>
                    </a:cubicBezTo>
                    <a:cubicBezTo>
                      <a:pt x="2" y="8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21" name="Freeform 49">
                <a:extLst>
                  <a:ext uri="{FF2B5EF4-FFF2-40B4-BE49-F238E27FC236}">
                    <a16:creationId xmlns:a16="http://schemas.microsoft.com/office/drawing/2014/main" id="{6A44758E-4264-4B98-9DA4-22E117C189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4" y="2716"/>
                <a:ext cx="274" cy="257"/>
              </a:xfrm>
              <a:custGeom>
                <a:avLst/>
                <a:gdLst>
                  <a:gd name="T0" fmla="*/ 60 w 147"/>
                  <a:gd name="T1" fmla="*/ 194 h 138"/>
                  <a:gd name="T2" fmla="*/ 97 w 147"/>
                  <a:gd name="T3" fmla="*/ 201 h 138"/>
                  <a:gd name="T4" fmla="*/ 265 w 147"/>
                  <a:gd name="T5" fmla="*/ 218 h 138"/>
                  <a:gd name="T6" fmla="*/ 345 w 147"/>
                  <a:gd name="T7" fmla="*/ 194 h 138"/>
                  <a:gd name="T8" fmla="*/ 369 w 147"/>
                  <a:gd name="T9" fmla="*/ 97 h 138"/>
                  <a:gd name="T10" fmla="*/ 447 w 147"/>
                  <a:gd name="T11" fmla="*/ 37 h 138"/>
                  <a:gd name="T12" fmla="*/ 511 w 147"/>
                  <a:gd name="T13" fmla="*/ 0 h 138"/>
                  <a:gd name="T14" fmla="*/ 570 w 147"/>
                  <a:gd name="T15" fmla="*/ 52 h 138"/>
                  <a:gd name="T16" fmla="*/ 744 w 147"/>
                  <a:gd name="T17" fmla="*/ 181 h 138"/>
                  <a:gd name="T18" fmla="*/ 906 w 147"/>
                  <a:gd name="T19" fmla="*/ 166 h 138"/>
                  <a:gd name="T20" fmla="*/ 921 w 147"/>
                  <a:gd name="T21" fmla="*/ 233 h 138"/>
                  <a:gd name="T22" fmla="*/ 952 w 147"/>
                  <a:gd name="T23" fmla="*/ 337 h 138"/>
                  <a:gd name="T24" fmla="*/ 928 w 147"/>
                  <a:gd name="T25" fmla="*/ 406 h 138"/>
                  <a:gd name="T26" fmla="*/ 861 w 147"/>
                  <a:gd name="T27" fmla="*/ 389 h 138"/>
                  <a:gd name="T28" fmla="*/ 727 w 147"/>
                  <a:gd name="T29" fmla="*/ 361 h 138"/>
                  <a:gd name="T30" fmla="*/ 570 w 147"/>
                  <a:gd name="T31" fmla="*/ 322 h 138"/>
                  <a:gd name="T32" fmla="*/ 486 w 147"/>
                  <a:gd name="T33" fmla="*/ 374 h 138"/>
                  <a:gd name="T34" fmla="*/ 395 w 147"/>
                  <a:gd name="T35" fmla="*/ 322 h 138"/>
                  <a:gd name="T36" fmla="*/ 382 w 147"/>
                  <a:gd name="T37" fmla="*/ 426 h 138"/>
                  <a:gd name="T38" fmla="*/ 472 w 147"/>
                  <a:gd name="T39" fmla="*/ 587 h 138"/>
                  <a:gd name="T40" fmla="*/ 643 w 147"/>
                  <a:gd name="T41" fmla="*/ 743 h 138"/>
                  <a:gd name="T42" fmla="*/ 699 w 147"/>
                  <a:gd name="T43" fmla="*/ 825 h 138"/>
                  <a:gd name="T44" fmla="*/ 652 w 147"/>
                  <a:gd name="T45" fmla="*/ 892 h 138"/>
                  <a:gd name="T46" fmla="*/ 555 w 147"/>
                  <a:gd name="T47" fmla="*/ 868 h 138"/>
                  <a:gd name="T48" fmla="*/ 555 w 147"/>
                  <a:gd name="T49" fmla="*/ 840 h 138"/>
                  <a:gd name="T50" fmla="*/ 600 w 147"/>
                  <a:gd name="T51" fmla="*/ 832 h 138"/>
                  <a:gd name="T52" fmla="*/ 550 w 147"/>
                  <a:gd name="T53" fmla="*/ 773 h 138"/>
                  <a:gd name="T54" fmla="*/ 472 w 147"/>
                  <a:gd name="T55" fmla="*/ 743 h 138"/>
                  <a:gd name="T56" fmla="*/ 395 w 147"/>
                  <a:gd name="T57" fmla="*/ 736 h 138"/>
                  <a:gd name="T58" fmla="*/ 358 w 147"/>
                  <a:gd name="T59" fmla="*/ 683 h 138"/>
                  <a:gd name="T60" fmla="*/ 309 w 147"/>
                  <a:gd name="T61" fmla="*/ 635 h 138"/>
                  <a:gd name="T62" fmla="*/ 246 w 147"/>
                  <a:gd name="T63" fmla="*/ 531 h 138"/>
                  <a:gd name="T64" fmla="*/ 216 w 147"/>
                  <a:gd name="T65" fmla="*/ 406 h 138"/>
                  <a:gd name="T66" fmla="*/ 216 w 147"/>
                  <a:gd name="T67" fmla="*/ 350 h 138"/>
                  <a:gd name="T68" fmla="*/ 142 w 147"/>
                  <a:gd name="T69" fmla="*/ 270 h 138"/>
                  <a:gd name="T70" fmla="*/ 104 w 147"/>
                  <a:gd name="T71" fmla="*/ 354 h 138"/>
                  <a:gd name="T72" fmla="*/ 76 w 147"/>
                  <a:gd name="T73" fmla="*/ 374 h 138"/>
                  <a:gd name="T74" fmla="*/ 73 w 147"/>
                  <a:gd name="T75" fmla="*/ 399 h 138"/>
                  <a:gd name="T76" fmla="*/ 39 w 147"/>
                  <a:gd name="T77" fmla="*/ 395 h 138"/>
                  <a:gd name="T78" fmla="*/ 0 w 147"/>
                  <a:gd name="T79" fmla="*/ 298 h 138"/>
                  <a:gd name="T80" fmla="*/ 0 w 147"/>
                  <a:gd name="T81" fmla="*/ 225 h 138"/>
                  <a:gd name="T82" fmla="*/ 52 w 147"/>
                  <a:gd name="T83" fmla="*/ 209 h 138"/>
                  <a:gd name="T84" fmla="*/ 60 w 147"/>
                  <a:gd name="T85" fmla="*/ 194 h 1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7" h="138">
                    <a:moveTo>
                      <a:pt x="9" y="30"/>
                    </a:moveTo>
                    <a:cubicBezTo>
                      <a:pt x="15" y="31"/>
                      <a:pt x="15" y="31"/>
                      <a:pt x="15" y="31"/>
                    </a:cubicBezTo>
                    <a:cubicBezTo>
                      <a:pt x="20" y="30"/>
                      <a:pt x="37" y="33"/>
                      <a:pt x="41" y="34"/>
                    </a:cubicBezTo>
                    <a:cubicBezTo>
                      <a:pt x="46" y="34"/>
                      <a:pt x="51" y="35"/>
                      <a:pt x="53" y="30"/>
                    </a:cubicBezTo>
                    <a:cubicBezTo>
                      <a:pt x="55" y="26"/>
                      <a:pt x="59" y="18"/>
                      <a:pt x="57" y="15"/>
                    </a:cubicBezTo>
                    <a:cubicBezTo>
                      <a:pt x="54" y="12"/>
                      <a:pt x="69" y="6"/>
                      <a:pt x="69" y="6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3"/>
                      <a:pt x="85" y="6"/>
                      <a:pt x="88" y="8"/>
                    </a:cubicBezTo>
                    <a:cubicBezTo>
                      <a:pt x="93" y="14"/>
                      <a:pt x="110" y="23"/>
                      <a:pt x="115" y="28"/>
                    </a:cubicBezTo>
                    <a:cubicBezTo>
                      <a:pt x="119" y="31"/>
                      <a:pt x="132" y="28"/>
                      <a:pt x="140" y="26"/>
                    </a:cubicBezTo>
                    <a:cubicBezTo>
                      <a:pt x="142" y="36"/>
                      <a:pt x="142" y="36"/>
                      <a:pt x="142" y="36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3" y="63"/>
                      <a:pt x="143" y="63"/>
                      <a:pt x="143" y="63"/>
                    </a:cubicBezTo>
                    <a:cubicBezTo>
                      <a:pt x="140" y="63"/>
                      <a:pt x="136" y="62"/>
                      <a:pt x="133" y="60"/>
                    </a:cubicBezTo>
                    <a:cubicBezTo>
                      <a:pt x="128" y="55"/>
                      <a:pt x="119" y="56"/>
                      <a:pt x="112" y="56"/>
                    </a:cubicBezTo>
                    <a:cubicBezTo>
                      <a:pt x="105" y="56"/>
                      <a:pt x="95" y="50"/>
                      <a:pt x="88" y="50"/>
                    </a:cubicBezTo>
                    <a:cubicBezTo>
                      <a:pt x="81" y="50"/>
                      <a:pt x="77" y="56"/>
                      <a:pt x="75" y="58"/>
                    </a:cubicBezTo>
                    <a:cubicBezTo>
                      <a:pt x="74" y="60"/>
                      <a:pt x="68" y="47"/>
                      <a:pt x="61" y="50"/>
                    </a:cubicBezTo>
                    <a:cubicBezTo>
                      <a:pt x="53" y="52"/>
                      <a:pt x="59" y="59"/>
                      <a:pt x="59" y="66"/>
                    </a:cubicBezTo>
                    <a:cubicBezTo>
                      <a:pt x="60" y="72"/>
                      <a:pt x="69" y="83"/>
                      <a:pt x="73" y="91"/>
                    </a:cubicBezTo>
                    <a:cubicBezTo>
                      <a:pt x="78" y="99"/>
                      <a:pt x="93" y="110"/>
                      <a:pt x="99" y="115"/>
                    </a:cubicBezTo>
                    <a:cubicBezTo>
                      <a:pt x="105" y="120"/>
                      <a:pt x="108" y="125"/>
                      <a:pt x="108" y="128"/>
                    </a:cubicBezTo>
                    <a:cubicBezTo>
                      <a:pt x="108" y="130"/>
                      <a:pt x="104" y="135"/>
                      <a:pt x="101" y="138"/>
                    </a:cubicBezTo>
                    <a:cubicBezTo>
                      <a:pt x="95" y="136"/>
                      <a:pt x="89" y="135"/>
                      <a:pt x="86" y="134"/>
                    </a:cubicBezTo>
                    <a:cubicBezTo>
                      <a:pt x="84" y="132"/>
                      <a:pt x="86" y="130"/>
                      <a:pt x="86" y="130"/>
                    </a:cubicBezTo>
                    <a:cubicBezTo>
                      <a:pt x="86" y="130"/>
                      <a:pt x="92" y="131"/>
                      <a:pt x="93" y="129"/>
                    </a:cubicBezTo>
                    <a:cubicBezTo>
                      <a:pt x="94" y="128"/>
                      <a:pt x="87" y="121"/>
                      <a:pt x="85" y="120"/>
                    </a:cubicBezTo>
                    <a:cubicBezTo>
                      <a:pt x="82" y="118"/>
                      <a:pt x="75" y="115"/>
                      <a:pt x="73" y="115"/>
                    </a:cubicBezTo>
                    <a:cubicBezTo>
                      <a:pt x="70" y="114"/>
                      <a:pt x="65" y="116"/>
                      <a:pt x="61" y="114"/>
                    </a:cubicBezTo>
                    <a:cubicBezTo>
                      <a:pt x="57" y="111"/>
                      <a:pt x="60" y="108"/>
                      <a:pt x="55" y="106"/>
                    </a:cubicBezTo>
                    <a:cubicBezTo>
                      <a:pt x="50" y="103"/>
                      <a:pt x="52" y="102"/>
                      <a:pt x="48" y="98"/>
                    </a:cubicBezTo>
                    <a:cubicBezTo>
                      <a:pt x="44" y="95"/>
                      <a:pt x="38" y="86"/>
                      <a:pt x="38" y="82"/>
                    </a:cubicBezTo>
                    <a:cubicBezTo>
                      <a:pt x="37" y="79"/>
                      <a:pt x="32" y="67"/>
                      <a:pt x="33" y="63"/>
                    </a:cubicBezTo>
                    <a:cubicBezTo>
                      <a:pt x="34" y="59"/>
                      <a:pt x="36" y="58"/>
                      <a:pt x="33" y="54"/>
                    </a:cubicBezTo>
                    <a:cubicBezTo>
                      <a:pt x="30" y="50"/>
                      <a:pt x="25" y="42"/>
                      <a:pt x="22" y="42"/>
                    </a:cubicBezTo>
                    <a:cubicBezTo>
                      <a:pt x="20" y="42"/>
                      <a:pt x="18" y="53"/>
                      <a:pt x="16" y="55"/>
                    </a:cubicBezTo>
                    <a:cubicBezTo>
                      <a:pt x="15" y="57"/>
                      <a:pt x="13" y="56"/>
                      <a:pt x="12" y="58"/>
                    </a:cubicBezTo>
                    <a:cubicBezTo>
                      <a:pt x="12" y="59"/>
                      <a:pt x="12" y="62"/>
                      <a:pt x="11" y="62"/>
                    </a:cubicBezTo>
                    <a:cubicBezTo>
                      <a:pt x="9" y="62"/>
                      <a:pt x="8" y="63"/>
                      <a:pt x="6" y="61"/>
                    </a:cubicBezTo>
                    <a:cubicBezTo>
                      <a:pt x="5" y="58"/>
                      <a:pt x="0" y="49"/>
                      <a:pt x="0" y="46"/>
                    </a:cubicBezTo>
                    <a:cubicBezTo>
                      <a:pt x="0" y="44"/>
                      <a:pt x="0" y="36"/>
                      <a:pt x="0" y="35"/>
                    </a:cubicBezTo>
                    <a:cubicBezTo>
                      <a:pt x="2" y="34"/>
                      <a:pt x="8" y="34"/>
                      <a:pt x="8" y="32"/>
                    </a:cubicBezTo>
                    <a:cubicBezTo>
                      <a:pt x="9" y="31"/>
                      <a:pt x="9" y="30"/>
                      <a:pt x="9" y="3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5" name="Freeform 50">
              <a:extLst>
                <a:ext uri="{FF2B5EF4-FFF2-40B4-BE49-F238E27FC236}">
                  <a16:creationId xmlns:a16="http://schemas.microsoft.com/office/drawing/2014/main" id="{A9770B48-7B80-44DC-A643-B9B886A4DE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67" y="2694"/>
              <a:ext cx="144" cy="87"/>
            </a:xfrm>
            <a:custGeom>
              <a:avLst/>
              <a:gdLst>
                <a:gd name="T0" fmla="*/ 21 w 77"/>
                <a:gd name="T1" fmla="*/ 233 h 47"/>
                <a:gd name="T2" fmla="*/ 0 w 77"/>
                <a:gd name="T3" fmla="*/ 241 h 47"/>
                <a:gd name="T4" fmla="*/ 7 w 77"/>
                <a:gd name="T5" fmla="*/ 178 h 47"/>
                <a:gd name="T6" fmla="*/ 7 w 77"/>
                <a:gd name="T7" fmla="*/ 106 h 47"/>
                <a:gd name="T8" fmla="*/ 21 w 77"/>
                <a:gd name="T9" fmla="*/ 68 h 47"/>
                <a:gd name="T10" fmla="*/ 45 w 77"/>
                <a:gd name="T11" fmla="*/ 65 h 47"/>
                <a:gd name="T12" fmla="*/ 150 w 77"/>
                <a:gd name="T13" fmla="*/ 76 h 47"/>
                <a:gd name="T14" fmla="*/ 228 w 77"/>
                <a:gd name="T15" fmla="*/ 31 h 47"/>
                <a:gd name="T16" fmla="*/ 398 w 77"/>
                <a:gd name="T17" fmla="*/ 13 h 47"/>
                <a:gd name="T18" fmla="*/ 479 w 77"/>
                <a:gd name="T19" fmla="*/ 0 h 47"/>
                <a:gd name="T20" fmla="*/ 503 w 77"/>
                <a:gd name="T21" fmla="*/ 76 h 47"/>
                <a:gd name="T22" fmla="*/ 438 w 77"/>
                <a:gd name="T23" fmla="*/ 113 h 47"/>
                <a:gd name="T24" fmla="*/ 361 w 77"/>
                <a:gd name="T25" fmla="*/ 172 h 47"/>
                <a:gd name="T26" fmla="*/ 333 w 77"/>
                <a:gd name="T27" fmla="*/ 267 h 47"/>
                <a:gd name="T28" fmla="*/ 256 w 77"/>
                <a:gd name="T29" fmla="*/ 291 h 47"/>
                <a:gd name="T30" fmla="*/ 84 w 77"/>
                <a:gd name="T31" fmla="*/ 274 h 47"/>
                <a:gd name="T32" fmla="*/ 45 w 77"/>
                <a:gd name="T33" fmla="*/ 267 h 47"/>
                <a:gd name="T34" fmla="*/ 21 w 77"/>
                <a:gd name="T35" fmla="*/ 233 h 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7" h="47">
                  <a:moveTo>
                    <a:pt x="3" y="37"/>
                  </a:moveTo>
                  <a:cubicBezTo>
                    <a:pt x="2" y="37"/>
                    <a:pt x="1" y="37"/>
                    <a:pt x="0" y="3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2" y="21"/>
                    <a:pt x="1" y="17"/>
                  </a:cubicBezTo>
                  <a:cubicBezTo>
                    <a:pt x="0" y="14"/>
                    <a:pt x="0" y="12"/>
                    <a:pt x="3" y="11"/>
                  </a:cubicBezTo>
                  <a:cubicBezTo>
                    <a:pt x="4" y="10"/>
                    <a:pt x="5" y="10"/>
                    <a:pt x="7" y="10"/>
                  </a:cubicBezTo>
                  <a:cubicBezTo>
                    <a:pt x="12" y="8"/>
                    <a:pt x="18" y="9"/>
                    <a:pt x="23" y="12"/>
                  </a:cubicBezTo>
                  <a:cubicBezTo>
                    <a:pt x="27" y="14"/>
                    <a:pt x="31" y="8"/>
                    <a:pt x="35" y="5"/>
                  </a:cubicBezTo>
                  <a:cubicBezTo>
                    <a:pt x="40" y="2"/>
                    <a:pt x="55" y="1"/>
                    <a:pt x="61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4"/>
                    <a:pt x="73" y="8"/>
                    <a:pt x="77" y="12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52" y="24"/>
                    <a:pt x="55" y="27"/>
                  </a:cubicBezTo>
                  <a:cubicBezTo>
                    <a:pt x="57" y="30"/>
                    <a:pt x="53" y="38"/>
                    <a:pt x="51" y="42"/>
                  </a:cubicBezTo>
                  <a:cubicBezTo>
                    <a:pt x="49" y="47"/>
                    <a:pt x="44" y="46"/>
                    <a:pt x="39" y="46"/>
                  </a:cubicBezTo>
                  <a:cubicBezTo>
                    <a:pt x="35" y="45"/>
                    <a:pt x="18" y="42"/>
                    <a:pt x="13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0"/>
                    <a:pt x="4" y="38"/>
                    <a:pt x="3" y="37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6" name="Group 51">
              <a:extLst>
                <a:ext uri="{FF2B5EF4-FFF2-40B4-BE49-F238E27FC236}">
                  <a16:creationId xmlns:a16="http://schemas.microsoft.com/office/drawing/2014/main" id="{B0B1761C-9BE9-4848-8CF7-F3F3B1B1F9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413" y="1923"/>
              <a:ext cx="177" cy="230"/>
              <a:chOff x="2413" y="1923"/>
              <a:chExt cx="177" cy="230"/>
            </a:xfrm>
            <a:grpFill/>
          </p:grpSpPr>
          <p:sp>
            <p:nvSpPr>
              <p:cNvPr id="617" name="Freeform 52">
                <a:extLst>
                  <a:ext uri="{FF2B5EF4-FFF2-40B4-BE49-F238E27FC236}">
                    <a16:creationId xmlns:a16="http://schemas.microsoft.com/office/drawing/2014/main" id="{438E9456-F7AF-4149-8C88-871CD622F4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9" y="2046"/>
                <a:ext cx="71" cy="107"/>
              </a:xfrm>
              <a:custGeom>
                <a:avLst/>
                <a:gdLst>
                  <a:gd name="T0" fmla="*/ 234 w 38"/>
                  <a:gd name="T1" fmla="*/ 68 h 57"/>
                  <a:gd name="T2" fmla="*/ 241 w 38"/>
                  <a:gd name="T3" fmla="*/ 113 h 57"/>
                  <a:gd name="T4" fmla="*/ 189 w 38"/>
                  <a:gd name="T5" fmla="*/ 145 h 57"/>
                  <a:gd name="T6" fmla="*/ 224 w 38"/>
                  <a:gd name="T7" fmla="*/ 180 h 57"/>
                  <a:gd name="T8" fmla="*/ 181 w 38"/>
                  <a:gd name="T9" fmla="*/ 218 h 57"/>
                  <a:gd name="T10" fmla="*/ 196 w 38"/>
                  <a:gd name="T11" fmla="*/ 250 h 57"/>
                  <a:gd name="T12" fmla="*/ 234 w 38"/>
                  <a:gd name="T13" fmla="*/ 285 h 57"/>
                  <a:gd name="T14" fmla="*/ 202 w 38"/>
                  <a:gd name="T15" fmla="*/ 297 h 57"/>
                  <a:gd name="T16" fmla="*/ 172 w 38"/>
                  <a:gd name="T17" fmla="*/ 302 h 57"/>
                  <a:gd name="T18" fmla="*/ 144 w 38"/>
                  <a:gd name="T19" fmla="*/ 349 h 57"/>
                  <a:gd name="T20" fmla="*/ 129 w 38"/>
                  <a:gd name="T21" fmla="*/ 370 h 57"/>
                  <a:gd name="T22" fmla="*/ 77 w 38"/>
                  <a:gd name="T23" fmla="*/ 338 h 57"/>
                  <a:gd name="T24" fmla="*/ 13 w 38"/>
                  <a:gd name="T25" fmla="*/ 302 h 57"/>
                  <a:gd name="T26" fmla="*/ 13 w 38"/>
                  <a:gd name="T27" fmla="*/ 278 h 57"/>
                  <a:gd name="T28" fmla="*/ 60 w 38"/>
                  <a:gd name="T29" fmla="*/ 272 h 57"/>
                  <a:gd name="T30" fmla="*/ 97 w 38"/>
                  <a:gd name="T31" fmla="*/ 293 h 57"/>
                  <a:gd name="T32" fmla="*/ 136 w 38"/>
                  <a:gd name="T33" fmla="*/ 257 h 57"/>
                  <a:gd name="T34" fmla="*/ 105 w 38"/>
                  <a:gd name="T35" fmla="*/ 212 h 57"/>
                  <a:gd name="T36" fmla="*/ 52 w 38"/>
                  <a:gd name="T37" fmla="*/ 190 h 57"/>
                  <a:gd name="T38" fmla="*/ 39 w 38"/>
                  <a:gd name="T39" fmla="*/ 84 h 57"/>
                  <a:gd name="T40" fmla="*/ 52 w 38"/>
                  <a:gd name="T41" fmla="*/ 53 h 57"/>
                  <a:gd name="T42" fmla="*/ 120 w 38"/>
                  <a:gd name="T43" fmla="*/ 32 h 57"/>
                  <a:gd name="T44" fmla="*/ 189 w 38"/>
                  <a:gd name="T45" fmla="*/ 0 h 57"/>
                  <a:gd name="T46" fmla="*/ 234 w 38"/>
                  <a:gd name="T47" fmla="*/ 21 h 57"/>
                  <a:gd name="T48" fmla="*/ 234 w 38"/>
                  <a:gd name="T49" fmla="*/ 68 h 5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8" h="57">
                    <a:moveTo>
                      <a:pt x="36" y="10"/>
                    </a:moveTo>
                    <a:cubicBezTo>
                      <a:pt x="36" y="12"/>
                      <a:pt x="38" y="15"/>
                      <a:pt x="37" y="17"/>
                    </a:cubicBezTo>
                    <a:cubicBezTo>
                      <a:pt x="36" y="18"/>
                      <a:pt x="29" y="19"/>
                      <a:pt x="29" y="22"/>
                    </a:cubicBezTo>
                    <a:cubicBezTo>
                      <a:pt x="30" y="25"/>
                      <a:pt x="34" y="25"/>
                      <a:pt x="34" y="27"/>
                    </a:cubicBezTo>
                    <a:cubicBezTo>
                      <a:pt x="34" y="33"/>
                      <a:pt x="28" y="31"/>
                      <a:pt x="28" y="33"/>
                    </a:cubicBezTo>
                    <a:cubicBezTo>
                      <a:pt x="28" y="35"/>
                      <a:pt x="28" y="38"/>
                      <a:pt x="30" y="38"/>
                    </a:cubicBezTo>
                    <a:cubicBezTo>
                      <a:pt x="33" y="39"/>
                      <a:pt x="36" y="41"/>
                      <a:pt x="36" y="43"/>
                    </a:cubicBezTo>
                    <a:cubicBezTo>
                      <a:pt x="36" y="45"/>
                      <a:pt x="33" y="46"/>
                      <a:pt x="31" y="45"/>
                    </a:cubicBezTo>
                    <a:cubicBezTo>
                      <a:pt x="29" y="44"/>
                      <a:pt x="28" y="44"/>
                      <a:pt x="26" y="46"/>
                    </a:cubicBezTo>
                    <a:cubicBezTo>
                      <a:pt x="25" y="47"/>
                      <a:pt x="22" y="52"/>
                      <a:pt x="22" y="53"/>
                    </a:cubicBezTo>
                    <a:cubicBezTo>
                      <a:pt x="22" y="54"/>
                      <a:pt x="22" y="57"/>
                      <a:pt x="20" y="56"/>
                    </a:cubicBezTo>
                    <a:cubicBezTo>
                      <a:pt x="18" y="55"/>
                      <a:pt x="15" y="52"/>
                      <a:pt x="12" y="51"/>
                    </a:cubicBezTo>
                    <a:cubicBezTo>
                      <a:pt x="9" y="50"/>
                      <a:pt x="3" y="48"/>
                      <a:pt x="2" y="46"/>
                    </a:cubicBezTo>
                    <a:cubicBezTo>
                      <a:pt x="0" y="44"/>
                      <a:pt x="2" y="42"/>
                      <a:pt x="2" y="42"/>
                    </a:cubicBezTo>
                    <a:cubicBezTo>
                      <a:pt x="4" y="40"/>
                      <a:pt x="8" y="39"/>
                      <a:pt x="9" y="41"/>
                    </a:cubicBezTo>
                    <a:cubicBezTo>
                      <a:pt x="10" y="42"/>
                      <a:pt x="13" y="44"/>
                      <a:pt x="15" y="44"/>
                    </a:cubicBezTo>
                    <a:cubicBezTo>
                      <a:pt x="18" y="43"/>
                      <a:pt x="22" y="42"/>
                      <a:pt x="21" y="39"/>
                    </a:cubicBezTo>
                    <a:cubicBezTo>
                      <a:pt x="20" y="36"/>
                      <a:pt x="18" y="33"/>
                      <a:pt x="16" y="32"/>
                    </a:cubicBezTo>
                    <a:cubicBezTo>
                      <a:pt x="14" y="31"/>
                      <a:pt x="8" y="32"/>
                      <a:pt x="8" y="29"/>
                    </a:cubicBezTo>
                    <a:cubicBezTo>
                      <a:pt x="8" y="26"/>
                      <a:pt x="8" y="15"/>
                      <a:pt x="6" y="13"/>
                    </a:cubicBezTo>
                    <a:cubicBezTo>
                      <a:pt x="5" y="11"/>
                      <a:pt x="3" y="9"/>
                      <a:pt x="8" y="8"/>
                    </a:cubicBezTo>
                    <a:cubicBezTo>
                      <a:pt x="13" y="7"/>
                      <a:pt x="14" y="7"/>
                      <a:pt x="18" y="5"/>
                    </a:cubicBezTo>
                    <a:cubicBezTo>
                      <a:pt x="22" y="4"/>
                      <a:pt x="27" y="1"/>
                      <a:pt x="29" y="0"/>
                    </a:cubicBezTo>
                    <a:cubicBezTo>
                      <a:pt x="31" y="0"/>
                      <a:pt x="36" y="1"/>
                      <a:pt x="36" y="3"/>
                    </a:cubicBezTo>
                    <a:cubicBezTo>
                      <a:pt x="36" y="5"/>
                      <a:pt x="35" y="7"/>
                      <a:pt x="36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8" name="Freeform 53">
                <a:extLst>
                  <a:ext uri="{FF2B5EF4-FFF2-40B4-BE49-F238E27FC236}">
                    <a16:creationId xmlns:a16="http://schemas.microsoft.com/office/drawing/2014/main" id="{2A6A541A-23CA-44E4-98F2-ED76789D4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13" y="1923"/>
                <a:ext cx="125" cy="192"/>
              </a:xfrm>
              <a:custGeom>
                <a:avLst/>
                <a:gdLst>
                  <a:gd name="T0" fmla="*/ 435 w 67"/>
                  <a:gd name="T1" fmla="*/ 13 h 103"/>
                  <a:gd name="T2" fmla="*/ 397 w 67"/>
                  <a:gd name="T3" fmla="*/ 52 h 103"/>
                  <a:gd name="T4" fmla="*/ 397 w 67"/>
                  <a:gd name="T5" fmla="*/ 129 h 103"/>
                  <a:gd name="T6" fmla="*/ 358 w 67"/>
                  <a:gd name="T7" fmla="*/ 181 h 103"/>
                  <a:gd name="T8" fmla="*/ 351 w 67"/>
                  <a:gd name="T9" fmla="*/ 278 h 103"/>
                  <a:gd name="T10" fmla="*/ 375 w 67"/>
                  <a:gd name="T11" fmla="*/ 298 h 103"/>
                  <a:gd name="T12" fmla="*/ 414 w 67"/>
                  <a:gd name="T13" fmla="*/ 306 h 103"/>
                  <a:gd name="T14" fmla="*/ 414 w 67"/>
                  <a:gd name="T15" fmla="*/ 350 h 103"/>
                  <a:gd name="T16" fmla="*/ 375 w 67"/>
                  <a:gd name="T17" fmla="*/ 397 h 103"/>
                  <a:gd name="T18" fmla="*/ 345 w 67"/>
                  <a:gd name="T19" fmla="*/ 369 h 103"/>
                  <a:gd name="T20" fmla="*/ 317 w 67"/>
                  <a:gd name="T21" fmla="*/ 403 h 103"/>
                  <a:gd name="T22" fmla="*/ 306 w 67"/>
                  <a:gd name="T23" fmla="*/ 451 h 103"/>
                  <a:gd name="T24" fmla="*/ 265 w 67"/>
                  <a:gd name="T25" fmla="*/ 479 h 103"/>
                  <a:gd name="T26" fmla="*/ 226 w 67"/>
                  <a:gd name="T27" fmla="*/ 479 h 103"/>
                  <a:gd name="T28" fmla="*/ 241 w 67"/>
                  <a:gd name="T29" fmla="*/ 524 h 103"/>
                  <a:gd name="T30" fmla="*/ 272 w 67"/>
                  <a:gd name="T31" fmla="*/ 524 h 103"/>
                  <a:gd name="T32" fmla="*/ 317 w 67"/>
                  <a:gd name="T33" fmla="*/ 511 h 103"/>
                  <a:gd name="T34" fmla="*/ 369 w 67"/>
                  <a:gd name="T35" fmla="*/ 576 h 103"/>
                  <a:gd name="T36" fmla="*/ 345 w 67"/>
                  <a:gd name="T37" fmla="*/ 643 h 103"/>
                  <a:gd name="T38" fmla="*/ 293 w 67"/>
                  <a:gd name="T39" fmla="*/ 643 h 103"/>
                  <a:gd name="T40" fmla="*/ 246 w 67"/>
                  <a:gd name="T41" fmla="*/ 591 h 103"/>
                  <a:gd name="T42" fmla="*/ 241 w 67"/>
                  <a:gd name="T43" fmla="*/ 555 h 103"/>
                  <a:gd name="T44" fmla="*/ 209 w 67"/>
                  <a:gd name="T45" fmla="*/ 555 h 103"/>
                  <a:gd name="T46" fmla="*/ 188 w 67"/>
                  <a:gd name="T47" fmla="*/ 615 h 103"/>
                  <a:gd name="T48" fmla="*/ 241 w 67"/>
                  <a:gd name="T49" fmla="*/ 652 h 103"/>
                  <a:gd name="T50" fmla="*/ 188 w 67"/>
                  <a:gd name="T51" fmla="*/ 667 h 103"/>
                  <a:gd name="T52" fmla="*/ 112 w 67"/>
                  <a:gd name="T53" fmla="*/ 652 h 103"/>
                  <a:gd name="T54" fmla="*/ 52 w 67"/>
                  <a:gd name="T55" fmla="*/ 636 h 103"/>
                  <a:gd name="T56" fmla="*/ 52 w 67"/>
                  <a:gd name="T57" fmla="*/ 636 h 103"/>
                  <a:gd name="T58" fmla="*/ 73 w 67"/>
                  <a:gd name="T59" fmla="*/ 524 h 103"/>
                  <a:gd name="T60" fmla="*/ 7 w 67"/>
                  <a:gd name="T61" fmla="*/ 487 h 103"/>
                  <a:gd name="T62" fmla="*/ 0 w 67"/>
                  <a:gd name="T63" fmla="*/ 459 h 103"/>
                  <a:gd name="T64" fmla="*/ 24 w 67"/>
                  <a:gd name="T65" fmla="*/ 414 h 103"/>
                  <a:gd name="T66" fmla="*/ 45 w 67"/>
                  <a:gd name="T67" fmla="*/ 246 h 103"/>
                  <a:gd name="T68" fmla="*/ 91 w 67"/>
                  <a:gd name="T69" fmla="*/ 164 h 103"/>
                  <a:gd name="T70" fmla="*/ 129 w 67"/>
                  <a:gd name="T71" fmla="*/ 112 h 103"/>
                  <a:gd name="T72" fmla="*/ 170 w 67"/>
                  <a:gd name="T73" fmla="*/ 121 h 103"/>
                  <a:gd name="T74" fmla="*/ 226 w 67"/>
                  <a:gd name="T75" fmla="*/ 121 h 103"/>
                  <a:gd name="T76" fmla="*/ 306 w 67"/>
                  <a:gd name="T77" fmla="*/ 32 h 103"/>
                  <a:gd name="T78" fmla="*/ 351 w 67"/>
                  <a:gd name="T79" fmla="*/ 32 h 103"/>
                  <a:gd name="T80" fmla="*/ 403 w 67"/>
                  <a:gd name="T81" fmla="*/ 0 h 103"/>
                  <a:gd name="T82" fmla="*/ 435 w 67"/>
                  <a:gd name="T83" fmla="*/ 13 h 10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67" h="103">
                    <a:moveTo>
                      <a:pt x="67" y="2"/>
                    </a:moveTo>
                    <a:cubicBezTo>
                      <a:pt x="67" y="4"/>
                      <a:pt x="61" y="6"/>
                      <a:pt x="61" y="8"/>
                    </a:cubicBezTo>
                    <a:cubicBezTo>
                      <a:pt x="61" y="10"/>
                      <a:pt x="62" y="18"/>
                      <a:pt x="61" y="20"/>
                    </a:cubicBezTo>
                    <a:cubicBezTo>
                      <a:pt x="60" y="22"/>
                      <a:pt x="57" y="25"/>
                      <a:pt x="55" y="28"/>
                    </a:cubicBezTo>
                    <a:cubicBezTo>
                      <a:pt x="53" y="32"/>
                      <a:pt x="53" y="41"/>
                      <a:pt x="54" y="43"/>
                    </a:cubicBezTo>
                    <a:cubicBezTo>
                      <a:pt x="55" y="45"/>
                      <a:pt x="55" y="46"/>
                      <a:pt x="58" y="46"/>
                    </a:cubicBezTo>
                    <a:cubicBezTo>
                      <a:pt x="60" y="46"/>
                      <a:pt x="62" y="46"/>
                      <a:pt x="64" y="47"/>
                    </a:cubicBezTo>
                    <a:cubicBezTo>
                      <a:pt x="65" y="48"/>
                      <a:pt x="65" y="53"/>
                      <a:pt x="64" y="54"/>
                    </a:cubicBezTo>
                    <a:cubicBezTo>
                      <a:pt x="63" y="56"/>
                      <a:pt x="58" y="61"/>
                      <a:pt x="58" y="61"/>
                    </a:cubicBezTo>
                    <a:cubicBezTo>
                      <a:pt x="57" y="61"/>
                      <a:pt x="54" y="58"/>
                      <a:pt x="53" y="57"/>
                    </a:cubicBezTo>
                    <a:cubicBezTo>
                      <a:pt x="51" y="55"/>
                      <a:pt x="49" y="58"/>
                      <a:pt x="49" y="62"/>
                    </a:cubicBezTo>
                    <a:cubicBezTo>
                      <a:pt x="49" y="66"/>
                      <a:pt x="48" y="68"/>
                      <a:pt x="47" y="70"/>
                    </a:cubicBezTo>
                    <a:cubicBezTo>
                      <a:pt x="46" y="71"/>
                      <a:pt x="43" y="74"/>
                      <a:pt x="41" y="74"/>
                    </a:cubicBezTo>
                    <a:cubicBezTo>
                      <a:pt x="38" y="73"/>
                      <a:pt x="36" y="72"/>
                      <a:pt x="35" y="74"/>
                    </a:cubicBezTo>
                    <a:cubicBezTo>
                      <a:pt x="35" y="76"/>
                      <a:pt x="36" y="80"/>
                      <a:pt x="37" y="81"/>
                    </a:cubicBezTo>
                    <a:cubicBezTo>
                      <a:pt x="38" y="82"/>
                      <a:pt x="40" y="82"/>
                      <a:pt x="42" y="81"/>
                    </a:cubicBezTo>
                    <a:cubicBezTo>
                      <a:pt x="44" y="80"/>
                      <a:pt x="48" y="77"/>
                      <a:pt x="49" y="79"/>
                    </a:cubicBezTo>
                    <a:cubicBezTo>
                      <a:pt x="51" y="80"/>
                      <a:pt x="57" y="86"/>
                      <a:pt x="57" y="89"/>
                    </a:cubicBezTo>
                    <a:cubicBezTo>
                      <a:pt x="57" y="92"/>
                      <a:pt x="55" y="99"/>
                      <a:pt x="53" y="99"/>
                    </a:cubicBezTo>
                    <a:cubicBezTo>
                      <a:pt x="51" y="99"/>
                      <a:pt x="47" y="101"/>
                      <a:pt x="45" y="99"/>
                    </a:cubicBezTo>
                    <a:cubicBezTo>
                      <a:pt x="43" y="97"/>
                      <a:pt x="39" y="93"/>
                      <a:pt x="38" y="91"/>
                    </a:cubicBezTo>
                    <a:cubicBezTo>
                      <a:pt x="37" y="89"/>
                      <a:pt x="38" y="87"/>
                      <a:pt x="37" y="86"/>
                    </a:cubicBezTo>
                    <a:cubicBezTo>
                      <a:pt x="35" y="85"/>
                      <a:pt x="32" y="85"/>
                      <a:pt x="32" y="86"/>
                    </a:cubicBezTo>
                    <a:cubicBezTo>
                      <a:pt x="31" y="87"/>
                      <a:pt x="30" y="93"/>
                      <a:pt x="29" y="95"/>
                    </a:cubicBezTo>
                    <a:cubicBezTo>
                      <a:pt x="29" y="96"/>
                      <a:pt x="35" y="99"/>
                      <a:pt x="37" y="101"/>
                    </a:cubicBezTo>
                    <a:cubicBezTo>
                      <a:pt x="29" y="103"/>
                      <a:pt x="29" y="103"/>
                      <a:pt x="29" y="103"/>
                    </a:cubicBezTo>
                    <a:cubicBezTo>
                      <a:pt x="26" y="103"/>
                      <a:pt x="22" y="103"/>
                      <a:pt x="17" y="101"/>
                    </a:cubicBezTo>
                    <a:cubicBezTo>
                      <a:pt x="15" y="100"/>
                      <a:pt x="11" y="99"/>
                      <a:pt x="8" y="98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95"/>
                      <a:pt x="13" y="83"/>
                      <a:pt x="11" y="81"/>
                    </a:cubicBezTo>
                    <a:cubicBezTo>
                      <a:pt x="8" y="79"/>
                      <a:pt x="2" y="78"/>
                      <a:pt x="1" y="75"/>
                    </a:cubicBezTo>
                    <a:cubicBezTo>
                      <a:pt x="0" y="73"/>
                      <a:pt x="0" y="71"/>
                      <a:pt x="0" y="71"/>
                    </a:cubicBezTo>
                    <a:cubicBezTo>
                      <a:pt x="1" y="71"/>
                      <a:pt x="4" y="68"/>
                      <a:pt x="4" y="64"/>
                    </a:cubicBezTo>
                    <a:cubicBezTo>
                      <a:pt x="4" y="60"/>
                      <a:pt x="6" y="42"/>
                      <a:pt x="7" y="38"/>
                    </a:cubicBezTo>
                    <a:cubicBezTo>
                      <a:pt x="8" y="35"/>
                      <a:pt x="13" y="27"/>
                      <a:pt x="14" y="25"/>
                    </a:cubicBezTo>
                    <a:cubicBezTo>
                      <a:pt x="15" y="23"/>
                      <a:pt x="18" y="18"/>
                      <a:pt x="20" y="17"/>
                    </a:cubicBezTo>
                    <a:cubicBezTo>
                      <a:pt x="22" y="17"/>
                      <a:pt x="25" y="20"/>
                      <a:pt x="26" y="19"/>
                    </a:cubicBezTo>
                    <a:cubicBezTo>
                      <a:pt x="28" y="19"/>
                      <a:pt x="33" y="19"/>
                      <a:pt x="35" y="19"/>
                    </a:cubicBezTo>
                    <a:cubicBezTo>
                      <a:pt x="40" y="17"/>
                      <a:pt x="46" y="7"/>
                      <a:pt x="47" y="5"/>
                    </a:cubicBezTo>
                    <a:cubicBezTo>
                      <a:pt x="49" y="4"/>
                      <a:pt x="53" y="5"/>
                      <a:pt x="54" y="5"/>
                    </a:cubicBezTo>
                    <a:cubicBezTo>
                      <a:pt x="56" y="5"/>
                      <a:pt x="60" y="0"/>
                      <a:pt x="62" y="0"/>
                    </a:cubicBezTo>
                    <a:cubicBezTo>
                      <a:pt x="64" y="0"/>
                      <a:pt x="67" y="0"/>
                      <a:pt x="6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77" name="Freeform 54">
              <a:extLst>
                <a:ext uri="{FF2B5EF4-FFF2-40B4-BE49-F238E27FC236}">
                  <a16:creationId xmlns:a16="http://schemas.microsoft.com/office/drawing/2014/main" id="{7DAF1440-9908-43BE-9488-078E6666978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1" y="2597"/>
              <a:ext cx="220" cy="136"/>
            </a:xfrm>
            <a:custGeom>
              <a:avLst/>
              <a:gdLst>
                <a:gd name="T0" fmla="*/ 757 w 118"/>
                <a:gd name="T1" fmla="*/ 233 h 73"/>
                <a:gd name="T2" fmla="*/ 764 w 118"/>
                <a:gd name="T3" fmla="*/ 261 h 73"/>
                <a:gd name="T4" fmla="*/ 705 w 118"/>
                <a:gd name="T5" fmla="*/ 343 h 73"/>
                <a:gd name="T6" fmla="*/ 643 w 118"/>
                <a:gd name="T7" fmla="*/ 367 h 73"/>
                <a:gd name="T8" fmla="*/ 563 w 118"/>
                <a:gd name="T9" fmla="*/ 317 h 73"/>
                <a:gd name="T10" fmla="*/ 518 w 118"/>
                <a:gd name="T11" fmla="*/ 451 h 73"/>
                <a:gd name="T12" fmla="*/ 474 w 118"/>
                <a:gd name="T13" fmla="*/ 471 h 73"/>
                <a:gd name="T14" fmla="*/ 449 w 118"/>
                <a:gd name="T15" fmla="*/ 382 h 73"/>
                <a:gd name="T16" fmla="*/ 434 w 118"/>
                <a:gd name="T17" fmla="*/ 309 h 73"/>
                <a:gd name="T18" fmla="*/ 390 w 118"/>
                <a:gd name="T19" fmla="*/ 298 h 73"/>
                <a:gd name="T20" fmla="*/ 306 w 118"/>
                <a:gd name="T21" fmla="*/ 395 h 73"/>
                <a:gd name="T22" fmla="*/ 241 w 118"/>
                <a:gd name="T23" fmla="*/ 402 h 73"/>
                <a:gd name="T24" fmla="*/ 181 w 118"/>
                <a:gd name="T25" fmla="*/ 389 h 73"/>
                <a:gd name="T26" fmla="*/ 181 w 118"/>
                <a:gd name="T27" fmla="*/ 389 h 73"/>
                <a:gd name="T28" fmla="*/ 173 w 118"/>
                <a:gd name="T29" fmla="*/ 374 h 73"/>
                <a:gd name="T30" fmla="*/ 129 w 118"/>
                <a:gd name="T31" fmla="*/ 270 h 73"/>
                <a:gd name="T32" fmla="*/ 24 w 118"/>
                <a:gd name="T33" fmla="*/ 285 h 73"/>
                <a:gd name="T34" fmla="*/ 39 w 118"/>
                <a:gd name="T35" fmla="*/ 209 h 73"/>
                <a:gd name="T36" fmla="*/ 24 w 118"/>
                <a:gd name="T37" fmla="*/ 209 h 73"/>
                <a:gd name="T38" fmla="*/ 39 w 118"/>
                <a:gd name="T39" fmla="*/ 194 h 73"/>
                <a:gd name="T40" fmla="*/ 194 w 118"/>
                <a:gd name="T41" fmla="*/ 32 h 73"/>
                <a:gd name="T42" fmla="*/ 298 w 118"/>
                <a:gd name="T43" fmla="*/ 0 h 73"/>
                <a:gd name="T44" fmla="*/ 358 w 118"/>
                <a:gd name="T45" fmla="*/ 13 h 73"/>
                <a:gd name="T46" fmla="*/ 511 w 118"/>
                <a:gd name="T47" fmla="*/ 20 h 73"/>
                <a:gd name="T48" fmla="*/ 628 w 118"/>
                <a:gd name="T49" fmla="*/ 84 h 73"/>
                <a:gd name="T50" fmla="*/ 636 w 118"/>
                <a:gd name="T51" fmla="*/ 104 h 73"/>
                <a:gd name="T52" fmla="*/ 615 w 118"/>
                <a:gd name="T53" fmla="*/ 166 h 73"/>
                <a:gd name="T54" fmla="*/ 667 w 118"/>
                <a:gd name="T55" fmla="*/ 233 h 73"/>
                <a:gd name="T56" fmla="*/ 757 w 118"/>
                <a:gd name="T57" fmla="*/ 233 h 7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18" h="73">
                  <a:moveTo>
                    <a:pt x="117" y="36"/>
                  </a:moveTo>
                  <a:cubicBezTo>
                    <a:pt x="118" y="37"/>
                    <a:pt x="118" y="38"/>
                    <a:pt x="118" y="40"/>
                  </a:cubicBezTo>
                  <a:cubicBezTo>
                    <a:pt x="117" y="45"/>
                    <a:pt x="113" y="51"/>
                    <a:pt x="109" y="53"/>
                  </a:cubicBezTo>
                  <a:cubicBezTo>
                    <a:pt x="105" y="55"/>
                    <a:pt x="101" y="55"/>
                    <a:pt x="99" y="57"/>
                  </a:cubicBezTo>
                  <a:cubicBezTo>
                    <a:pt x="97" y="58"/>
                    <a:pt x="90" y="50"/>
                    <a:pt x="87" y="49"/>
                  </a:cubicBezTo>
                  <a:cubicBezTo>
                    <a:pt x="85" y="48"/>
                    <a:pt x="80" y="70"/>
                    <a:pt x="80" y="70"/>
                  </a:cubicBezTo>
                  <a:cubicBezTo>
                    <a:pt x="80" y="70"/>
                    <a:pt x="75" y="73"/>
                    <a:pt x="73" y="73"/>
                  </a:cubicBezTo>
                  <a:cubicBezTo>
                    <a:pt x="71" y="73"/>
                    <a:pt x="69" y="62"/>
                    <a:pt x="69" y="59"/>
                  </a:cubicBezTo>
                  <a:cubicBezTo>
                    <a:pt x="67" y="55"/>
                    <a:pt x="69" y="49"/>
                    <a:pt x="67" y="48"/>
                  </a:cubicBezTo>
                  <a:cubicBezTo>
                    <a:pt x="64" y="47"/>
                    <a:pt x="63" y="46"/>
                    <a:pt x="60" y="46"/>
                  </a:cubicBezTo>
                  <a:cubicBezTo>
                    <a:pt x="57" y="46"/>
                    <a:pt x="49" y="59"/>
                    <a:pt x="47" y="61"/>
                  </a:cubicBezTo>
                  <a:cubicBezTo>
                    <a:pt x="45" y="63"/>
                    <a:pt x="41" y="62"/>
                    <a:pt x="37" y="6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4" y="52"/>
                    <a:pt x="23" y="43"/>
                    <a:pt x="20" y="42"/>
                  </a:cubicBezTo>
                  <a:cubicBezTo>
                    <a:pt x="18" y="40"/>
                    <a:pt x="8" y="49"/>
                    <a:pt x="4" y="44"/>
                  </a:cubicBezTo>
                  <a:cubicBezTo>
                    <a:pt x="0" y="40"/>
                    <a:pt x="2" y="36"/>
                    <a:pt x="6" y="32"/>
                  </a:cubicBezTo>
                  <a:cubicBezTo>
                    <a:pt x="9" y="28"/>
                    <a:pt x="5" y="32"/>
                    <a:pt x="4" y="32"/>
                  </a:cubicBezTo>
                  <a:cubicBezTo>
                    <a:pt x="5" y="32"/>
                    <a:pt x="5" y="31"/>
                    <a:pt x="6" y="30"/>
                  </a:cubicBezTo>
                  <a:cubicBezTo>
                    <a:pt x="12" y="24"/>
                    <a:pt x="25" y="7"/>
                    <a:pt x="30" y="5"/>
                  </a:cubicBezTo>
                  <a:cubicBezTo>
                    <a:pt x="36" y="3"/>
                    <a:pt x="44" y="5"/>
                    <a:pt x="46" y="0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75" y="3"/>
                    <a:pt x="79" y="3"/>
                  </a:cubicBezTo>
                  <a:cubicBezTo>
                    <a:pt x="84" y="3"/>
                    <a:pt x="93" y="9"/>
                    <a:pt x="97" y="13"/>
                  </a:cubicBezTo>
                  <a:cubicBezTo>
                    <a:pt x="98" y="14"/>
                    <a:pt x="98" y="15"/>
                    <a:pt x="98" y="16"/>
                  </a:cubicBezTo>
                  <a:cubicBezTo>
                    <a:pt x="99" y="18"/>
                    <a:pt x="96" y="21"/>
                    <a:pt x="95" y="26"/>
                  </a:cubicBezTo>
                  <a:cubicBezTo>
                    <a:pt x="95" y="32"/>
                    <a:pt x="99" y="33"/>
                    <a:pt x="103" y="36"/>
                  </a:cubicBezTo>
                  <a:cubicBezTo>
                    <a:pt x="108" y="38"/>
                    <a:pt x="115" y="34"/>
                    <a:pt x="117" y="3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78" name="Freeform 55">
              <a:extLst>
                <a:ext uri="{FF2B5EF4-FFF2-40B4-BE49-F238E27FC236}">
                  <a16:creationId xmlns:a16="http://schemas.microsoft.com/office/drawing/2014/main" id="{C072DC0E-96EA-4791-9EED-2A09C8056E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1" y="2190"/>
              <a:ext cx="170" cy="179"/>
            </a:xfrm>
            <a:custGeom>
              <a:avLst/>
              <a:gdLst>
                <a:gd name="T0" fmla="*/ 594 w 91"/>
                <a:gd name="T1" fmla="*/ 76 h 96"/>
                <a:gd name="T2" fmla="*/ 594 w 91"/>
                <a:gd name="T3" fmla="*/ 84 h 96"/>
                <a:gd name="T4" fmla="*/ 562 w 91"/>
                <a:gd name="T5" fmla="*/ 188 h 96"/>
                <a:gd name="T6" fmla="*/ 503 w 91"/>
                <a:gd name="T7" fmla="*/ 194 h 96"/>
                <a:gd name="T8" fmla="*/ 482 w 91"/>
                <a:gd name="T9" fmla="*/ 254 h 96"/>
                <a:gd name="T10" fmla="*/ 534 w 91"/>
                <a:gd name="T11" fmla="*/ 298 h 96"/>
                <a:gd name="T12" fmla="*/ 458 w 91"/>
                <a:gd name="T13" fmla="*/ 375 h 96"/>
                <a:gd name="T14" fmla="*/ 366 w 91"/>
                <a:gd name="T15" fmla="*/ 375 h 96"/>
                <a:gd name="T16" fmla="*/ 338 w 91"/>
                <a:gd name="T17" fmla="*/ 421 h 96"/>
                <a:gd name="T18" fmla="*/ 366 w 91"/>
                <a:gd name="T19" fmla="*/ 511 h 96"/>
                <a:gd name="T20" fmla="*/ 331 w 91"/>
                <a:gd name="T21" fmla="*/ 623 h 96"/>
                <a:gd name="T22" fmla="*/ 269 w 91"/>
                <a:gd name="T23" fmla="*/ 623 h 96"/>
                <a:gd name="T24" fmla="*/ 241 w 91"/>
                <a:gd name="T25" fmla="*/ 584 h 96"/>
                <a:gd name="T26" fmla="*/ 262 w 91"/>
                <a:gd name="T27" fmla="*/ 503 h 96"/>
                <a:gd name="T28" fmla="*/ 224 w 91"/>
                <a:gd name="T29" fmla="*/ 474 h 96"/>
                <a:gd name="T30" fmla="*/ 149 w 91"/>
                <a:gd name="T31" fmla="*/ 434 h 96"/>
                <a:gd name="T32" fmla="*/ 39 w 91"/>
                <a:gd name="T33" fmla="*/ 414 h 96"/>
                <a:gd name="T34" fmla="*/ 0 w 91"/>
                <a:gd name="T35" fmla="*/ 358 h 96"/>
                <a:gd name="T36" fmla="*/ 84 w 91"/>
                <a:gd name="T37" fmla="*/ 298 h 96"/>
                <a:gd name="T38" fmla="*/ 189 w 91"/>
                <a:gd name="T39" fmla="*/ 188 h 96"/>
                <a:gd name="T40" fmla="*/ 226 w 91"/>
                <a:gd name="T41" fmla="*/ 76 h 96"/>
                <a:gd name="T42" fmla="*/ 248 w 91"/>
                <a:gd name="T43" fmla="*/ 32 h 96"/>
                <a:gd name="T44" fmla="*/ 273 w 91"/>
                <a:gd name="T45" fmla="*/ 39 h 96"/>
                <a:gd name="T46" fmla="*/ 269 w 91"/>
                <a:gd name="T47" fmla="*/ 90 h 96"/>
                <a:gd name="T48" fmla="*/ 293 w 91"/>
                <a:gd name="T49" fmla="*/ 121 h 96"/>
                <a:gd name="T50" fmla="*/ 293 w 91"/>
                <a:gd name="T51" fmla="*/ 168 h 96"/>
                <a:gd name="T52" fmla="*/ 262 w 91"/>
                <a:gd name="T53" fmla="*/ 173 h 96"/>
                <a:gd name="T54" fmla="*/ 248 w 91"/>
                <a:gd name="T55" fmla="*/ 226 h 96"/>
                <a:gd name="T56" fmla="*/ 269 w 91"/>
                <a:gd name="T57" fmla="*/ 233 h 96"/>
                <a:gd name="T58" fmla="*/ 346 w 91"/>
                <a:gd name="T59" fmla="*/ 188 h 96"/>
                <a:gd name="T60" fmla="*/ 366 w 91"/>
                <a:gd name="T61" fmla="*/ 129 h 96"/>
                <a:gd name="T62" fmla="*/ 325 w 91"/>
                <a:gd name="T63" fmla="*/ 117 h 96"/>
                <a:gd name="T64" fmla="*/ 353 w 91"/>
                <a:gd name="T65" fmla="*/ 39 h 96"/>
                <a:gd name="T66" fmla="*/ 422 w 91"/>
                <a:gd name="T67" fmla="*/ 13 h 96"/>
                <a:gd name="T68" fmla="*/ 489 w 91"/>
                <a:gd name="T69" fmla="*/ 21 h 96"/>
                <a:gd name="T70" fmla="*/ 542 w 91"/>
                <a:gd name="T71" fmla="*/ 13 h 96"/>
                <a:gd name="T72" fmla="*/ 594 w 91"/>
                <a:gd name="T73" fmla="*/ 76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1" h="96">
                  <a:moveTo>
                    <a:pt x="91" y="12"/>
                  </a:moveTo>
                  <a:cubicBezTo>
                    <a:pt x="91" y="13"/>
                    <a:pt x="91" y="13"/>
                    <a:pt x="91" y="13"/>
                  </a:cubicBezTo>
                  <a:cubicBezTo>
                    <a:pt x="91" y="17"/>
                    <a:pt x="87" y="28"/>
                    <a:pt x="86" y="29"/>
                  </a:cubicBezTo>
                  <a:cubicBezTo>
                    <a:pt x="85" y="31"/>
                    <a:pt x="77" y="30"/>
                    <a:pt x="77" y="3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85" y="42"/>
                    <a:pt x="82" y="46"/>
                  </a:cubicBezTo>
                  <a:cubicBezTo>
                    <a:pt x="78" y="50"/>
                    <a:pt x="73" y="59"/>
                    <a:pt x="70" y="58"/>
                  </a:cubicBezTo>
                  <a:cubicBezTo>
                    <a:pt x="67" y="58"/>
                    <a:pt x="59" y="57"/>
                    <a:pt x="56" y="58"/>
                  </a:cubicBezTo>
                  <a:cubicBezTo>
                    <a:pt x="54" y="59"/>
                    <a:pt x="51" y="63"/>
                    <a:pt x="52" y="65"/>
                  </a:cubicBezTo>
                  <a:cubicBezTo>
                    <a:pt x="53" y="68"/>
                    <a:pt x="58" y="76"/>
                    <a:pt x="56" y="79"/>
                  </a:cubicBezTo>
                  <a:cubicBezTo>
                    <a:pt x="55" y="83"/>
                    <a:pt x="50" y="90"/>
                    <a:pt x="51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39" y="94"/>
                    <a:pt x="35" y="94"/>
                    <a:pt x="37" y="90"/>
                  </a:cubicBezTo>
                  <a:cubicBezTo>
                    <a:pt x="39" y="86"/>
                    <a:pt x="40" y="81"/>
                    <a:pt x="40" y="78"/>
                  </a:cubicBezTo>
                  <a:cubicBezTo>
                    <a:pt x="39" y="75"/>
                    <a:pt x="39" y="76"/>
                    <a:pt x="34" y="73"/>
                  </a:cubicBezTo>
                  <a:cubicBezTo>
                    <a:pt x="29" y="70"/>
                    <a:pt x="26" y="67"/>
                    <a:pt x="23" y="67"/>
                  </a:cubicBezTo>
                  <a:cubicBezTo>
                    <a:pt x="20" y="67"/>
                    <a:pt x="10" y="67"/>
                    <a:pt x="6" y="64"/>
                  </a:cubicBezTo>
                  <a:cubicBezTo>
                    <a:pt x="4" y="63"/>
                    <a:pt x="2" y="59"/>
                    <a:pt x="0" y="55"/>
                  </a:cubicBezTo>
                  <a:cubicBezTo>
                    <a:pt x="3" y="53"/>
                    <a:pt x="9" y="50"/>
                    <a:pt x="13" y="46"/>
                  </a:cubicBezTo>
                  <a:cubicBezTo>
                    <a:pt x="15" y="43"/>
                    <a:pt x="27" y="35"/>
                    <a:pt x="29" y="29"/>
                  </a:cubicBezTo>
                  <a:cubicBezTo>
                    <a:pt x="31" y="23"/>
                    <a:pt x="35" y="13"/>
                    <a:pt x="35" y="12"/>
                  </a:cubicBezTo>
                  <a:cubicBezTo>
                    <a:pt x="35" y="11"/>
                    <a:pt x="37" y="5"/>
                    <a:pt x="38" y="5"/>
                  </a:cubicBezTo>
                  <a:cubicBezTo>
                    <a:pt x="39" y="4"/>
                    <a:pt x="42" y="3"/>
                    <a:pt x="42" y="6"/>
                  </a:cubicBezTo>
                  <a:cubicBezTo>
                    <a:pt x="42" y="10"/>
                    <a:pt x="41" y="12"/>
                    <a:pt x="41" y="14"/>
                  </a:cubicBezTo>
                  <a:cubicBezTo>
                    <a:pt x="41" y="15"/>
                    <a:pt x="43" y="16"/>
                    <a:pt x="45" y="19"/>
                  </a:cubicBezTo>
                  <a:cubicBezTo>
                    <a:pt x="45" y="22"/>
                    <a:pt x="47" y="25"/>
                    <a:pt x="45" y="26"/>
                  </a:cubicBezTo>
                  <a:cubicBezTo>
                    <a:pt x="43" y="27"/>
                    <a:pt x="40" y="26"/>
                    <a:pt x="40" y="27"/>
                  </a:cubicBezTo>
                  <a:cubicBezTo>
                    <a:pt x="40" y="28"/>
                    <a:pt x="37" y="33"/>
                    <a:pt x="38" y="35"/>
                  </a:cubicBezTo>
                  <a:cubicBezTo>
                    <a:pt x="39" y="36"/>
                    <a:pt x="39" y="36"/>
                    <a:pt x="41" y="36"/>
                  </a:cubicBezTo>
                  <a:cubicBezTo>
                    <a:pt x="42" y="36"/>
                    <a:pt x="53" y="30"/>
                    <a:pt x="53" y="29"/>
                  </a:cubicBezTo>
                  <a:cubicBezTo>
                    <a:pt x="54" y="29"/>
                    <a:pt x="57" y="21"/>
                    <a:pt x="56" y="20"/>
                  </a:cubicBezTo>
                  <a:cubicBezTo>
                    <a:pt x="56" y="19"/>
                    <a:pt x="50" y="20"/>
                    <a:pt x="50" y="18"/>
                  </a:cubicBezTo>
                  <a:cubicBezTo>
                    <a:pt x="50" y="16"/>
                    <a:pt x="52" y="7"/>
                    <a:pt x="54" y="6"/>
                  </a:cubicBezTo>
                  <a:cubicBezTo>
                    <a:pt x="55" y="5"/>
                    <a:pt x="63" y="2"/>
                    <a:pt x="65" y="2"/>
                  </a:cubicBezTo>
                  <a:cubicBezTo>
                    <a:pt x="68" y="2"/>
                    <a:pt x="72" y="3"/>
                    <a:pt x="75" y="3"/>
                  </a:cubicBezTo>
                  <a:cubicBezTo>
                    <a:pt x="79" y="3"/>
                    <a:pt x="81" y="0"/>
                    <a:pt x="83" y="2"/>
                  </a:cubicBezTo>
                  <a:cubicBezTo>
                    <a:pt x="85" y="3"/>
                    <a:pt x="82" y="12"/>
                    <a:pt x="91" y="1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79" name="Group 56">
              <a:extLst>
                <a:ext uri="{FF2B5EF4-FFF2-40B4-BE49-F238E27FC236}">
                  <a16:creationId xmlns:a16="http://schemas.microsoft.com/office/drawing/2014/main" id="{62BE42A6-BD7C-45C6-BB81-CA27C39DFD1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233" y="2666"/>
              <a:ext cx="1111" cy="770"/>
              <a:chOff x="2233" y="2666"/>
              <a:chExt cx="1111" cy="770"/>
            </a:xfrm>
            <a:grpFill/>
          </p:grpSpPr>
          <p:sp>
            <p:nvSpPr>
              <p:cNvPr id="613" name="Freeform 57">
                <a:extLst>
                  <a:ext uri="{FF2B5EF4-FFF2-40B4-BE49-F238E27FC236}">
                    <a16:creationId xmlns:a16="http://schemas.microsoft.com/office/drawing/2014/main" id="{947C73E1-F07D-4715-899A-0E48AAC5B4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8" y="3395"/>
                <a:ext cx="36" cy="41"/>
              </a:xfrm>
              <a:custGeom>
                <a:avLst/>
                <a:gdLst>
                  <a:gd name="T0" fmla="*/ 116 w 19"/>
                  <a:gd name="T1" fmla="*/ 13 h 22"/>
                  <a:gd name="T2" fmla="*/ 100 w 19"/>
                  <a:gd name="T3" fmla="*/ 76 h 22"/>
                  <a:gd name="T4" fmla="*/ 28 w 19"/>
                  <a:gd name="T5" fmla="*/ 136 h 22"/>
                  <a:gd name="T6" fmla="*/ 15 w 19"/>
                  <a:gd name="T7" fmla="*/ 89 h 22"/>
                  <a:gd name="T8" fmla="*/ 32 w 19"/>
                  <a:gd name="T9" fmla="*/ 32 h 22"/>
                  <a:gd name="T10" fmla="*/ 116 w 19"/>
                  <a:gd name="T11" fmla="*/ 13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2">
                    <a:moveTo>
                      <a:pt x="17" y="2"/>
                    </a:moveTo>
                    <a:cubicBezTo>
                      <a:pt x="19" y="4"/>
                      <a:pt x="17" y="9"/>
                      <a:pt x="15" y="12"/>
                    </a:cubicBezTo>
                    <a:cubicBezTo>
                      <a:pt x="13" y="15"/>
                      <a:pt x="8" y="22"/>
                      <a:pt x="4" y="21"/>
                    </a:cubicBezTo>
                    <a:cubicBezTo>
                      <a:pt x="0" y="20"/>
                      <a:pt x="4" y="16"/>
                      <a:pt x="2" y="14"/>
                    </a:cubicBezTo>
                    <a:cubicBezTo>
                      <a:pt x="0" y="11"/>
                      <a:pt x="1" y="9"/>
                      <a:pt x="5" y="5"/>
                    </a:cubicBezTo>
                    <a:cubicBezTo>
                      <a:pt x="5" y="5"/>
                      <a:pt x="14" y="0"/>
                      <a:pt x="17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4" name="Freeform 58">
                <a:extLst>
                  <a:ext uri="{FF2B5EF4-FFF2-40B4-BE49-F238E27FC236}">
                    <a16:creationId xmlns:a16="http://schemas.microsoft.com/office/drawing/2014/main" id="{2F71156F-C045-43F0-BBD2-3384A9332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3" y="3279"/>
                <a:ext cx="173" cy="118"/>
              </a:xfrm>
              <a:custGeom>
                <a:avLst/>
                <a:gdLst>
                  <a:gd name="T0" fmla="*/ 579 w 93"/>
                  <a:gd name="T1" fmla="*/ 32 h 63"/>
                  <a:gd name="T2" fmla="*/ 532 w 93"/>
                  <a:gd name="T3" fmla="*/ 125 h 63"/>
                  <a:gd name="T4" fmla="*/ 502 w 93"/>
                  <a:gd name="T5" fmla="*/ 204 h 63"/>
                  <a:gd name="T6" fmla="*/ 502 w 93"/>
                  <a:gd name="T7" fmla="*/ 249 h 63"/>
                  <a:gd name="T8" fmla="*/ 532 w 93"/>
                  <a:gd name="T9" fmla="*/ 270 h 63"/>
                  <a:gd name="T10" fmla="*/ 539 w 93"/>
                  <a:gd name="T11" fmla="*/ 322 h 63"/>
                  <a:gd name="T12" fmla="*/ 508 w 93"/>
                  <a:gd name="T13" fmla="*/ 347 h 63"/>
                  <a:gd name="T14" fmla="*/ 502 w 93"/>
                  <a:gd name="T15" fmla="*/ 406 h 63"/>
                  <a:gd name="T16" fmla="*/ 471 w 93"/>
                  <a:gd name="T17" fmla="*/ 414 h 63"/>
                  <a:gd name="T18" fmla="*/ 433 w 93"/>
                  <a:gd name="T19" fmla="*/ 390 h 63"/>
                  <a:gd name="T20" fmla="*/ 374 w 93"/>
                  <a:gd name="T21" fmla="*/ 361 h 63"/>
                  <a:gd name="T22" fmla="*/ 335 w 93"/>
                  <a:gd name="T23" fmla="*/ 294 h 63"/>
                  <a:gd name="T24" fmla="*/ 262 w 93"/>
                  <a:gd name="T25" fmla="*/ 288 h 63"/>
                  <a:gd name="T26" fmla="*/ 89 w 93"/>
                  <a:gd name="T27" fmla="*/ 165 h 63"/>
                  <a:gd name="T28" fmla="*/ 32 w 93"/>
                  <a:gd name="T29" fmla="*/ 157 h 63"/>
                  <a:gd name="T30" fmla="*/ 7 w 93"/>
                  <a:gd name="T31" fmla="*/ 84 h 63"/>
                  <a:gd name="T32" fmla="*/ 24 w 93"/>
                  <a:gd name="T33" fmla="*/ 32 h 63"/>
                  <a:gd name="T34" fmla="*/ 69 w 93"/>
                  <a:gd name="T35" fmla="*/ 0 h 63"/>
                  <a:gd name="T36" fmla="*/ 104 w 93"/>
                  <a:gd name="T37" fmla="*/ 52 h 63"/>
                  <a:gd name="T38" fmla="*/ 136 w 93"/>
                  <a:gd name="T39" fmla="*/ 39 h 63"/>
                  <a:gd name="T40" fmla="*/ 136 w 93"/>
                  <a:gd name="T41" fmla="*/ 0 h 63"/>
                  <a:gd name="T42" fmla="*/ 186 w 93"/>
                  <a:gd name="T43" fmla="*/ 7 h 63"/>
                  <a:gd name="T44" fmla="*/ 253 w 93"/>
                  <a:gd name="T45" fmla="*/ 67 h 63"/>
                  <a:gd name="T46" fmla="*/ 374 w 93"/>
                  <a:gd name="T47" fmla="*/ 67 h 63"/>
                  <a:gd name="T48" fmla="*/ 443 w 93"/>
                  <a:gd name="T49" fmla="*/ 32 h 63"/>
                  <a:gd name="T50" fmla="*/ 484 w 93"/>
                  <a:gd name="T51" fmla="*/ 24 h 63"/>
                  <a:gd name="T52" fmla="*/ 515 w 93"/>
                  <a:gd name="T53" fmla="*/ 45 h 63"/>
                  <a:gd name="T54" fmla="*/ 547 w 93"/>
                  <a:gd name="T55" fmla="*/ 24 h 63"/>
                  <a:gd name="T56" fmla="*/ 579 w 93"/>
                  <a:gd name="T57" fmla="*/ 32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3" h="63">
                    <a:moveTo>
                      <a:pt x="90" y="5"/>
                    </a:moveTo>
                    <a:cubicBezTo>
                      <a:pt x="93" y="7"/>
                      <a:pt x="84" y="17"/>
                      <a:pt x="83" y="19"/>
                    </a:cubicBezTo>
                    <a:cubicBezTo>
                      <a:pt x="80" y="23"/>
                      <a:pt x="79" y="29"/>
                      <a:pt x="78" y="31"/>
                    </a:cubicBezTo>
                    <a:cubicBezTo>
                      <a:pt x="78" y="33"/>
                      <a:pt x="77" y="37"/>
                      <a:pt x="78" y="38"/>
                    </a:cubicBezTo>
                    <a:cubicBezTo>
                      <a:pt x="80" y="38"/>
                      <a:pt x="82" y="39"/>
                      <a:pt x="83" y="41"/>
                    </a:cubicBezTo>
                    <a:cubicBezTo>
                      <a:pt x="83" y="42"/>
                      <a:pt x="83" y="47"/>
                      <a:pt x="84" y="49"/>
                    </a:cubicBezTo>
                    <a:cubicBezTo>
                      <a:pt x="84" y="50"/>
                      <a:pt x="80" y="50"/>
                      <a:pt x="79" y="53"/>
                    </a:cubicBezTo>
                    <a:cubicBezTo>
                      <a:pt x="77" y="56"/>
                      <a:pt x="79" y="61"/>
                      <a:pt x="78" y="62"/>
                    </a:cubicBezTo>
                    <a:cubicBezTo>
                      <a:pt x="77" y="63"/>
                      <a:pt x="74" y="63"/>
                      <a:pt x="73" y="63"/>
                    </a:cubicBezTo>
                    <a:cubicBezTo>
                      <a:pt x="72" y="62"/>
                      <a:pt x="71" y="61"/>
                      <a:pt x="67" y="59"/>
                    </a:cubicBezTo>
                    <a:cubicBezTo>
                      <a:pt x="64" y="58"/>
                      <a:pt x="60" y="57"/>
                      <a:pt x="58" y="55"/>
                    </a:cubicBezTo>
                    <a:cubicBezTo>
                      <a:pt x="56" y="54"/>
                      <a:pt x="57" y="48"/>
                      <a:pt x="52" y="45"/>
                    </a:cubicBezTo>
                    <a:cubicBezTo>
                      <a:pt x="47" y="43"/>
                      <a:pt x="44" y="45"/>
                      <a:pt x="41" y="44"/>
                    </a:cubicBezTo>
                    <a:cubicBezTo>
                      <a:pt x="39" y="43"/>
                      <a:pt x="19" y="25"/>
                      <a:pt x="14" y="25"/>
                    </a:cubicBezTo>
                    <a:cubicBezTo>
                      <a:pt x="8" y="24"/>
                      <a:pt x="7" y="26"/>
                      <a:pt x="5" y="24"/>
                    </a:cubicBezTo>
                    <a:cubicBezTo>
                      <a:pt x="3" y="22"/>
                      <a:pt x="1" y="16"/>
                      <a:pt x="1" y="13"/>
                    </a:cubicBezTo>
                    <a:cubicBezTo>
                      <a:pt x="0" y="11"/>
                      <a:pt x="2" y="6"/>
                      <a:pt x="4" y="5"/>
                    </a:cubicBezTo>
                    <a:cubicBezTo>
                      <a:pt x="6" y="4"/>
                      <a:pt x="9" y="0"/>
                      <a:pt x="11" y="0"/>
                    </a:cubicBezTo>
                    <a:cubicBezTo>
                      <a:pt x="13" y="0"/>
                      <a:pt x="14" y="8"/>
                      <a:pt x="16" y="8"/>
                    </a:cubicBezTo>
                    <a:cubicBezTo>
                      <a:pt x="18" y="8"/>
                      <a:pt x="21" y="6"/>
                      <a:pt x="21" y="6"/>
                    </a:cubicBezTo>
                    <a:cubicBezTo>
                      <a:pt x="21" y="6"/>
                      <a:pt x="20" y="1"/>
                      <a:pt x="21" y="0"/>
                    </a:cubicBezTo>
                    <a:cubicBezTo>
                      <a:pt x="23" y="0"/>
                      <a:pt x="27" y="0"/>
                      <a:pt x="29" y="1"/>
                    </a:cubicBezTo>
                    <a:cubicBezTo>
                      <a:pt x="32" y="2"/>
                      <a:pt x="36" y="10"/>
                      <a:pt x="39" y="10"/>
                    </a:cubicBezTo>
                    <a:cubicBezTo>
                      <a:pt x="42" y="10"/>
                      <a:pt x="53" y="10"/>
                      <a:pt x="58" y="10"/>
                    </a:cubicBezTo>
                    <a:cubicBezTo>
                      <a:pt x="63" y="10"/>
                      <a:pt x="67" y="5"/>
                      <a:pt x="69" y="5"/>
                    </a:cubicBezTo>
                    <a:cubicBezTo>
                      <a:pt x="70" y="5"/>
                      <a:pt x="73" y="4"/>
                      <a:pt x="75" y="4"/>
                    </a:cubicBezTo>
                    <a:cubicBezTo>
                      <a:pt x="76" y="4"/>
                      <a:pt x="78" y="8"/>
                      <a:pt x="80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7" y="4"/>
                      <a:pt x="88" y="4"/>
                      <a:pt x="90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5" name="Freeform 59">
                <a:extLst>
                  <a:ext uri="{FF2B5EF4-FFF2-40B4-BE49-F238E27FC236}">
                    <a16:creationId xmlns:a16="http://schemas.microsoft.com/office/drawing/2014/main" id="{DCAAA82B-3739-4774-A4CA-CCB078EF7B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33" y="2666"/>
                <a:ext cx="568" cy="647"/>
              </a:xfrm>
              <a:custGeom>
                <a:avLst/>
                <a:gdLst>
                  <a:gd name="T0" fmla="*/ 691 w 304"/>
                  <a:gd name="T1" fmla="*/ 21 h 347"/>
                  <a:gd name="T2" fmla="*/ 841 w 304"/>
                  <a:gd name="T3" fmla="*/ 0 h 347"/>
                  <a:gd name="T4" fmla="*/ 998 w 304"/>
                  <a:gd name="T5" fmla="*/ 84 h 347"/>
                  <a:gd name="T6" fmla="*/ 1186 w 304"/>
                  <a:gd name="T7" fmla="*/ 166 h 347"/>
                  <a:gd name="T8" fmla="*/ 1173 w 304"/>
                  <a:gd name="T9" fmla="*/ 278 h 347"/>
                  <a:gd name="T10" fmla="*/ 1097 w 304"/>
                  <a:gd name="T11" fmla="*/ 358 h 347"/>
                  <a:gd name="T12" fmla="*/ 953 w 304"/>
                  <a:gd name="T13" fmla="*/ 459 h 347"/>
                  <a:gd name="T14" fmla="*/ 953 w 304"/>
                  <a:gd name="T15" fmla="*/ 550 h 347"/>
                  <a:gd name="T16" fmla="*/ 945 w 304"/>
                  <a:gd name="T17" fmla="*/ 699 h 347"/>
                  <a:gd name="T18" fmla="*/ 1129 w 304"/>
                  <a:gd name="T19" fmla="*/ 856 h 347"/>
                  <a:gd name="T20" fmla="*/ 1338 w 304"/>
                  <a:gd name="T21" fmla="*/ 1238 h 347"/>
                  <a:gd name="T22" fmla="*/ 1560 w 304"/>
                  <a:gd name="T23" fmla="*/ 1283 h 347"/>
                  <a:gd name="T24" fmla="*/ 1512 w 304"/>
                  <a:gd name="T25" fmla="*/ 1367 h 347"/>
                  <a:gd name="T26" fmla="*/ 1809 w 304"/>
                  <a:gd name="T27" fmla="*/ 1553 h 347"/>
                  <a:gd name="T28" fmla="*/ 1910 w 304"/>
                  <a:gd name="T29" fmla="*/ 1641 h 347"/>
                  <a:gd name="T30" fmla="*/ 1962 w 304"/>
                  <a:gd name="T31" fmla="*/ 1809 h 347"/>
                  <a:gd name="T32" fmla="*/ 1885 w 304"/>
                  <a:gd name="T33" fmla="*/ 1756 h 347"/>
                  <a:gd name="T34" fmla="*/ 1801 w 304"/>
                  <a:gd name="T35" fmla="*/ 1686 h 347"/>
                  <a:gd name="T36" fmla="*/ 1652 w 304"/>
                  <a:gd name="T37" fmla="*/ 1704 h 347"/>
                  <a:gd name="T38" fmla="*/ 1605 w 304"/>
                  <a:gd name="T39" fmla="*/ 1809 h 347"/>
                  <a:gd name="T40" fmla="*/ 1721 w 304"/>
                  <a:gd name="T41" fmla="*/ 1891 h 347"/>
                  <a:gd name="T42" fmla="*/ 1736 w 304"/>
                  <a:gd name="T43" fmla="*/ 1989 h 347"/>
                  <a:gd name="T44" fmla="*/ 1644 w 304"/>
                  <a:gd name="T45" fmla="*/ 2023 h 347"/>
                  <a:gd name="T46" fmla="*/ 1605 w 304"/>
                  <a:gd name="T47" fmla="*/ 2139 h 347"/>
                  <a:gd name="T48" fmla="*/ 1527 w 304"/>
                  <a:gd name="T49" fmla="*/ 2196 h 347"/>
                  <a:gd name="T50" fmla="*/ 1427 w 304"/>
                  <a:gd name="T51" fmla="*/ 2236 h 347"/>
                  <a:gd name="T52" fmla="*/ 1463 w 304"/>
                  <a:gd name="T53" fmla="*/ 2152 h 347"/>
                  <a:gd name="T54" fmla="*/ 1463 w 304"/>
                  <a:gd name="T55" fmla="*/ 2068 h 347"/>
                  <a:gd name="T56" fmla="*/ 1532 w 304"/>
                  <a:gd name="T57" fmla="*/ 2040 h 347"/>
                  <a:gd name="T58" fmla="*/ 1519 w 304"/>
                  <a:gd name="T59" fmla="*/ 1963 h 347"/>
                  <a:gd name="T60" fmla="*/ 1467 w 304"/>
                  <a:gd name="T61" fmla="*/ 1777 h 347"/>
                  <a:gd name="T62" fmla="*/ 1403 w 304"/>
                  <a:gd name="T63" fmla="*/ 1745 h 347"/>
                  <a:gd name="T64" fmla="*/ 1315 w 304"/>
                  <a:gd name="T65" fmla="*/ 1673 h 347"/>
                  <a:gd name="T66" fmla="*/ 1291 w 304"/>
                  <a:gd name="T67" fmla="*/ 1568 h 347"/>
                  <a:gd name="T68" fmla="*/ 1226 w 304"/>
                  <a:gd name="T69" fmla="*/ 1544 h 347"/>
                  <a:gd name="T70" fmla="*/ 1142 w 304"/>
                  <a:gd name="T71" fmla="*/ 1464 h 347"/>
                  <a:gd name="T72" fmla="*/ 998 w 304"/>
                  <a:gd name="T73" fmla="*/ 1411 h 347"/>
                  <a:gd name="T74" fmla="*/ 863 w 304"/>
                  <a:gd name="T75" fmla="*/ 1275 h 347"/>
                  <a:gd name="T76" fmla="*/ 632 w 304"/>
                  <a:gd name="T77" fmla="*/ 990 h 347"/>
                  <a:gd name="T78" fmla="*/ 579 w 304"/>
                  <a:gd name="T79" fmla="*/ 856 h 347"/>
                  <a:gd name="T80" fmla="*/ 475 w 304"/>
                  <a:gd name="T81" fmla="*/ 668 h 347"/>
                  <a:gd name="T82" fmla="*/ 306 w 304"/>
                  <a:gd name="T83" fmla="*/ 563 h 347"/>
                  <a:gd name="T84" fmla="*/ 202 w 304"/>
                  <a:gd name="T85" fmla="*/ 660 h 347"/>
                  <a:gd name="T86" fmla="*/ 73 w 304"/>
                  <a:gd name="T87" fmla="*/ 688 h 347"/>
                  <a:gd name="T88" fmla="*/ 136 w 304"/>
                  <a:gd name="T89" fmla="*/ 591 h 347"/>
                  <a:gd name="T90" fmla="*/ 13 w 304"/>
                  <a:gd name="T91" fmla="*/ 358 h 347"/>
                  <a:gd name="T92" fmla="*/ 45 w 304"/>
                  <a:gd name="T93" fmla="*/ 188 h 347"/>
                  <a:gd name="T94" fmla="*/ 164 w 304"/>
                  <a:gd name="T95" fmla="*/ 164 h 347"/>
                  <a:gd name="T96" fmla="*/ 314 w 304"/>
                  <a:gd name="T97" fmla="*/ 60 h 347"/>
                  <a:gd name="T98" fmla="*/ 374 w 304"/>
                  <a:gd name="T99" fmla="*/ 142 h 347"/>
                  <a:gd name="T100" fmla="*/ 443 w 304"/>
                  <a:gd name="T101" fmla="*/ 216 h 347"/>
                  <a:gd name="T102" fmla="*/ 570 w 304"/>
                  <a:gd name="T103" fmla="*/ 129 h 3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04" h="347">
                    <a:moveTo>
                      <a:pt x="97" y="16"/>
                    </a:moveTo>
                    <a:cubicBezTo>
                      <a:pt x="101" y="14"/>
                      <a:pt x="105" y="8"/>
                      <a:pt x="106" y="3"/>
                    </a:cubicBezTo>
                    <a:cubicBezTo>
                      <a:pt x="117" y="7"/>
                      <a:pt x="117" y="7"/>
                      <a:pt x="117" y="7"/>
                    </a:cubicBezTo>
                    <a:cubicBezTo>
                      <a:pt x="120" y="8"/>
                      <a:pt x="129" y="0"/>
                      <a:pt x="129" y="0"/>
                    </a:cubicBezTo>
                    <a:cubicBezTo>
                      <a:pt x="129" y="0"/>
                      <a:pt x="144" y="0"/>
                      <a:pt x="147" y="1"/>
                    </a:cubicBezTo>
                    <a:cubicBezTo>
                      <a:pt x="151" y="1"/>
                      <a:pt x="148" y="11"/>
                      <a:pt x="153" y="13"/>
                    </a:cubicBezTo>
                    <a:cubicBezTo>
                      <a:pt x="158" y="14"/>
                      <a:pt x="174" y="21"/>
                      <a:pt x="174" y="21"/>
                    </a:cubicBezTo>
                    <a:cubicBezTo>
                      <a:pt x="182" y="26"/>
                      <a:pt x="182" y="26"/>
                      <a:pt x="182" y="26"/>
                    </a:cubicBezTo>
                    <a:cubicBezTo>
                      <a:pt x="179" y="27"/>
                      <a:pt x="179" y="29"/>
                      <a:pt x="180" y="32"/>
                    </a:cubicBezTo>
                    <a:cubicBezTo>
                      <a:pt x="181" y="36"/>
                      <a:pt x="180" y="43"/>
                      <a:pt x="180" y="43"/>
                    </a:cubicBezTo>
                    <a:cubicBezTo>
                      <a:pt x="179" y="53"/>
                      <a:pt x="179" y="53"/>
                      <a:pt x="179" y="53"/>
                    </a:cubicBezTo>
                    <a:cubicBezTo>
                      <a:pt x="176" y="53"/>
                      <a:pt x="171" y="54"/>
                      <a:pt x="168" y="55"/>
                    </a:cubicBezTo>
                    <a:cubicBezTo>
                      <a:pt x="165" y="56"/>
                      <a:pt x="151" y="60"/>
                      <a:pt x="148" y="62"/>
                    </a:cubicBezTo>
                    <a:cubicBezTo>
                      <a:pt x="146" y="64"/>
                      <a:pt x="145" y="70"/>
                      <a:pt x="146" y="71"/>
                    </a:cubicBezTo>
                    <a:cubicBezTo>
                      <a:pt x="146" y="73"/>
                      <a:pt x="151" y="77"/>
                      <a:pt x="151" y="79"/>
                    </a:cubicBezTo>
                    <a:cubicBezTo>
                      <a:pt x="150" y="81"/>
                      <a:pt x="148" y="85"/>
                      <a:pt x="146" y="85"/>
                    </a:cubicBezTo>
                    <a:cubicBezTo>
                      <a:pt x="145" y="85"/>
                      <a:pt x="142" y="84"/>
                      <a:pt x="142" y="88"/>
                    </a:cubicBezTo>
                    <a:cubicBezTo>
                      <a:pt x="141" y="91"/>
                      <a:pt x="143" y="106"/>
                      <a:pt x="145" y="108"/>
                    </a:cubicBezTo>
                    <a:cubicBezTo>
                      <a:pt x="147" y="110"/>
                      <a:pt x="157" y="119"/>
                      <a:pt x="161" y="122"/>
                    </a:cubicBezTo>
                    <a:cubicBezTo>
                      <a:pt x="164" y="125"/>
                      <a:pt x="172" y="130"/>
                      <a:pt x="173" y="132"/>
                    </a:cubicBezTo>
                    <a:cubicBezTo>
                      <a:pt x="175" y="135"/>
                      <a:pt x="180" y="158"/>
                      <a:pt x="181" y="163"/>
                    </a:cubicBezTo>
                    <a:cubicBezTo>
                      <a:pt x="183" y="168"/>
                      <a:pt x="201" y="189"/>
                      <a:pt x="205" y="191"/>
                    </a:cubicBezTo>
                    <a:cubicBezTo>
                      <a:pt x="208" y="194"/>
                      <a:pt x="215" y="197"/>
                      <a:pt x="221" y="197"/>
                    </a:cubicBezTo>
                    <a:cubicBezTo>
                      <a:pt x="228" y="197"/>
                      <a:pt x="237" y="197"/>
                      <a:pt x="239" y="198"/>
                    </a:cubicBezTo>
                    <a:cubicBezTo>
                      <a:pt x="241" y="199"/>
                      <a:pt x="243" y="203"/>
                      <a:pt x="241" y="205"/>
                    </a:cubicBezTo>
                    <a:cubicBezTo>
                      <a:pt x="240" y="206"/>
                      <a:pt x="232" y="207"/>
                      <a:pt x="232" y="211"/>
                    </a:cubicBezTo>
                    <a:cubicBezTo>
                      <a:pt x="232" y="214"/>
                      <a:pt x="253" y="227"/>
                      <a:pt x="260" y="229"/>
                    </a:cubicBezTo>
                    <a:cubicBezTo>
                      <a:pt x="267" y="231"/>
                      <a:pt x="273" y="238"/>
                      <a:pt x="277" y="240"/>
                    </a:cubicBezTo>
                    <a:cubicBezTo>
                      <a:pt x="280" y="242"/>
                      <a:pt x="285" y="245"/>
                      <a:pt x="289" y="246"/>
                    </a:cubicBezTo>
                    <a:cubicBezTo>
                      <a:pt x="292" y="248"/>
                      <a:pt x="290" y="251"/>
                      <a:pt x="293" y="253"/>
                    </a:cubicBezTo>
                    <a:cubicBezTo>
                      <a:pt x="297" y="256"/>
                      <a:pt x="304" y="263"/>
                      <a:pt x="304" y="267"/>
                    </a:cubicBezTo>
                    <a:cubicBezTo>
                      <a:pt x="304" y="270"/>
                      <a:pt x="301" y="277"/>
                      <a:pt x="301" y="279"/>
                    </a:cubicBezTo>
                    <a:cubicBezTo>
                      <a:pt x="301" y="281"/>
                      <a:pt x="297" y="281"/>
                      <a:pt x="295" y="279"/>
                    </a:cubicBezTo>
                    <a:cubicBezTo>
                      <a:pt x="293" y="277"/>
                      <a:pt x="289" y="275"/>
                      <a:pt x="289" y="271"/>
                    </a:cubicBezTo>
                    <a:cubicBezTo>
                      <a:pt x="289" y="267"/>
                      <a:pt x="287" y="264"/>
                      <a:pt x="286" y="262"/>
                    </a:cubicBezTo>
                    <a:cubicBezTo>
                      <a:pt x="285" y="261"/>
                      <a:pt x="280" y="262"/>
                      <a:pt x="276" y="260"/>
                    </a:cubicBezTo>
                    <a:cubicBezTo>
                      <a:pt x="272" y="258"/>
                      <a:pt x="268" y="252"/>
                      <a:pt x="265" y="252"/>
                    </a:cubicBezTo>
                    <a:cubicBezTo>
                      <a:pt x="262" y="251"/>
                      <a:pt x="255" y="259"/>
                      <a:pt x="253" y="263"/>
                    </a:cubicBezTo>
                    <a:cubicBezTo>
                      <a:pt x="252" y="267"/>
                      <a:pt x="251" y="270"/>
                      <a:pt x="249" y="272"/>
                    </a:cubicBezTo>
                    <a:cubicBezTo>
                      <a:pt x="249" y="274"/>
                      <a:pt x="246" y="275"/>
                      <a:pt x="246" y="279"/>
                    </a:cubicBezTo>
                    <a:cubicBezTo>
                      <a:pt x="246" y="282"/>
                      <a:pt x="250" y="284"/>
                      <a:pt x="254" y="284"/>
                    </a:cubicBezTo>
                    <a:cubicBezTo>
                      <a:pt x="257" y="284"/>
                      <a:pt x="262" y="290"/>
                      <a:pt x="264" y="292"/>
                    </a:cubicBezTo>
                    <a:cubicBezTo>
                      <a:pt x="266" y="295"/>
                      <a:pt x="263" y="298"/>
                      <a:pt x="263" y="301"/>
                    </a:cubicBezTo>
                    <a:cubicBezTo>
                      <a:pt x="264" y="304"/>
                      <a:pt x="265" y="305"/>
                      <a:pt x="266" y="307"/>
                    </a:cubicBezTo>
                    <a:cubicBezTo>
                      <a:pt x="267" y="308"/>
                      <a:pt x="264" y="313"/>
                      <a:pt x="262" y="312"/>
                    </a:cubicBezTo>
                    <a:cubicBezTo>
                      <a:pt x="261" y="311"/>
                      <a:pt x="257" y="309"/>
                      <a:pt x="252" y="312"/>
                    </a:cubicBezTo>
                    <a:cubicBezTo>
                      <a:pt x="246" y="316"/>
                      <a:pt x="247" y="316"/>
                      <a:pt x="247" y="321"/>
                    </a:cubicBezTo>
                    <a:cubicBezTo>
                      <a:pt x="247" y="326"/>
                      <a:pt x="248" y="328"/>
                      <a:pt x="246" y="330"/>
                    </a:cubicBezTo>
                    <a:cubicBezTo>
                      <a:pt x="244" y="332"/>
                      <a:pt x="241" y="331"/>
                      <a:pt x="239" y="333"/>
                    </a:cubicBezTo>
                    <a:cubicBezTo>
                      <a:pt x="237" y="336"/>
                      <a:pt x="235" y="336"/>
                      <a:pt x="234" y="339"/>
                    </a:cubicBezTo>
                    <a:cubicBezTo>
                      <a:pt x="233" y="342"/>
                      <a:pt x="233" y="346"/>
                      <a:pt x="231" y="346"/>
                    </a:cubicBezTo>
                    <a:cubicBezTo>
                      <a:pt x="228" y="347"/>
                      <a:pt x="221" y="347"/>
                      <a:pt x="219" y="345"/>
                    </a:cubicBezTo>
                    <a:cubicBezTo>
                      <a:pt x="217" y="342"/>
                      <a:pt x="218" y="336"/>
                      <a:pt x="219" y="335"/>
                    </a:cubicBezTo>
                    <a:cubicBezTo>
                      <a:pt x="221" y="334"/>
                      <a:pt x="223" y="334"/>
                      <a:pt x="224" y="332"/>
                    </a:cubicBezTo>
                    <a:cubicBezTo>
                      <a:pt x="225" y="331"/>
                      <a:pt x="229" y="325"/>
                      <a:pt x="227" y="324"/>
                    </a:cubicBezTo>
                    <a:cubicBezTo>
                      <a:pt x="226" y="322"/>
                      <a:pt x="224" y="320"/>
                      <a:pt x="224" y="319"/>
                    </a:cubicBezTo>
                    <a:cubicBezTo>
                      <a:pt x="224" y="318"/>
                      <a:pt x="229" y="316"/>
                      <a:pt x="231" y="316"/>
                    </a:cubicBezTo>
                    <a:cubicBezTo>
                      <a:pt x="232" y="316"/>
                      <a:pt x="233" y="317"/>
                      <a:pt x="235" y="315"/>
                    </a:cubicBezTo>
                    <a:cubicBezTo>
                      <a:pt x="237" y="314"/>
                      <a:pt x="239" y="311"/>
                      <a:pt x="237" y="308"/>
                    </a:cubicBezTo>
                    <a:cubicBezTo>
                      <a:pt x="234" y="306"/>
                      <a:pt x="233" y="306"/>
                      <a:pt x="233" y="303"/>
                    </a:cubicBezTo>
                    <a:cubicBezTo>
                      <a:pt x="233" y="300"/>
                      <a:pt x="231" y="290"/>
                      <a:pt x="229" y="287"/>
                    </a:cubicBezTo>
                    <a:cubicBezTo>
                      <a:pt x="227" y="283"/>
                      <a:pt x="226" y="278"/>
                      <a:pt x="225" y="274"/>
                    </a:cubicBezTo>
                    <a:cubicBezTo>
                      <a:pt x="225" y="269"/>
                      <a:pt x="223" y="265"/>
                      <a:pt x="220" y="266"/>
                    </a:cubicBezTo>
                    <a:cubicBezTo>
                      <a:pt x="216" y="266"/>
                      <a:pt x="218" y="270"/>
                      <a:pt x="215" y="269"/>
                    </a:cubicBezTo>
                    <a:cubicBezTo>
                      <a:pt x="212" y="269"/>
                      <a:pt x="213" y="270"/>
                      <a:pt x="210" y="267"/>
                    </a:cubicBezTo>
                    <a:cubicBezTo>
                      <a:pt x="207" y="264"/>
                      <a:pt x="202" y="262"/>
                      <a:pt x="202" y="258"/>
                    </a:cubicBezTo>
                    <a:cubicBezTo>
                      <a:pt x="202" y="255"/>
                      <a:pt x="205" y="255"/>
                      <a:pt x="204" y="252"/>
                    </a:cubicBezTo>
                    <a:cubicBezTo>
                      <a:pt x="203" y="249"/>
                      <a:pt x="200" y="242"/>
                      <a:pt x="198" y="242"/>
                    </a:cubicBezTo>
                    <a:cubicBezTo>
                      <a:pt x="196" y="243"/>
                      <a:pt x="188" y="248"/>
                      <a:pt x="186" y="245"/>
                    </a:cubicBezTo>
                    <a:cubicBezTo>
                      <a:pt x="184" y="243"/>
                      <a:pt x="191" y="241"/>
                      <a:pt x="188" y="238"/>
                    </a:cubicBezTo>
                    <a:cubicBezTo>
                      <a:pt x="185" y="235"/>
                      <a:pt x="184" y="236"/>
                      <a:pt x="181" y="236"/>
                    </a:cubicBezTo>
                    <a:cubicBezTo>
                      <a:pt x="177" y="236"/>
                      <a:pt x="178" y="231"/>
                      <a:pt x="175" y="226"/>
                    </a:cubicBezTo>
                    <a:cubicBezTo>
                      <a:pt x="173" y="221"/>
                      <a:pt x="168" y="218"/>
                      <a:pt x="163" y="218"/>
                    </a:cubicBezTo>
                    <a:cubicBezTo>
                      <a:pt x="159" y="217"/>
                      <a:pt x="154" y="217"/>
                      <a:pt x="153" y="218"/>
                    </a:cubicBezTo>
                    <a:cubicBezTo>
                      <a:pt x="152" y="218"/>
                      <a:pt x="151" y="214"/>
                      <a:pt x="145" y="211"/>
                    </a:cubicBezTo>
                    <a:cubicBezTo>
                      <a:pt x="140" y="207"/>
                      <a:pt x="135" y="203"/>
                      <a:pt x="132" y="197"/>
                    </a:cubicBezTo>
                    <a:cubicBezTo>
                      <a:pt x="129" y="192"/>
                      <a:pt x="115" y="173"/>
                      <a:pt x="113" y="172"/>
                    </a:cubicBezTo>
                    <a:cubicBezTo>
                      <a:pt x="111" y="171"/>
                      <a:pt x="99" y="156"/>
                      <a:pt x="97" y="153"/>
                    </a:cubicBezTo>
                    <a:cubicBezTo>
                      <a:pt x="93" y="150"/>
                      <a:pt x="89" y="152"/>
                      <a:pt x="88" y="148"/>
                    </a:cubicBezTo>
                    <a:cubicBezTo>
                      <a:pt x="87" y="143"/>
                      <a:pt x="91" y="140"/>
                      <a:pt x="89" y="132"/>
                    </a:cubicBezTo>
                    <a:cubicBezTo>
                      <a:pt x="87" y="123"/>
                      <a:pt x="88" y="112"/>
                      <a:pt x="85" y="108"/>
                    </a:cubicBezTo>
                    <a:cubicBezTo>
                      <a:pt x="81" y="105"/>
                      <a:pt x="76" y="107"/>
                      <a:pt x="73" y="103"/>
                    </a:cubicBezTo>
                    <a:cubicBezTo>
                      <a:pt x="70" y="98"/>
                      <a:pt x="64" y="93"/>
                      <a:pt x="59" y="90"/>
                    </a:cubicBezTo>
                    <a:cubicBezTo>
                      <a:pt x="55" y="88"/>
                      <a:pt x="51" y="86"/>
                      <a:pt x="47" y="87"/>
                    </a:cubicBezTo>
                    <a:cubicBezTo>
                      <a:pt x="43" y="88"/>
                      <a:pt x="43" y="89"/>
                      <a:pt x="39" y="94"/>
                    </a:cubicBezTo>
                    <a:cubicBezTo>
                      <a:pt x="35" y="98"/>
                      <a:pt x="34" y="100"/>
                      <a:pt x="31" y="102"/>
                    </a:cubicBezTo>
                    <a:cubicBezTo>
                      <a:pt x="27" y="104"/>
                      <a:pt x="17" y="105"/>
                      <a:pt x="13" y="106"/>
                    </a:cubicBezTo>
                    <a:cubicBezTo>
                      <a:pt x="12" y="106"/>
                      <a:pt x="12" y="106"/>
                      <a:pt x="11" y="106"/>
                    </a:cubicBezTo>
                    <a:cubicBezTo>
                      <a:pt x="11" y="104"/>
                      <a:pt x="12" y="103"/>
                      <a:pt x="13" y="102"/>
                    </a:cubicBezTo>
                    <a:cubicBezTo>
                      <a:pt x="17" y="99"/>
                      <a:pt x="26" y="94"/>
                      <a:pt x="21" y="91"/>
                    </a:cubicBezTo>
                    <a:cubicBezTo>
                      <a:pt x="16" y="87"/>
                      <a:pt x="3" y="88"/>
                      <a:pt x="2" y="80"/>
                    </a:cubicBezTo>
                    <a:cubicBezTo>
                      <a:pt x="2" y="72"/>
                      <a:pt x="0" y="59"/>
                      <a:pt x="2" y="55"/>
                    </a:cubicBezTo>
                    <a:cubicBezTo>
                      <a:pt x="5" y="51"/>
                      <a:pt x="15" y="47"/>
                      <a:pt x="14" y="44"/>
                    </a:cubicBezTo>
                    <a:cubicBezTo>
                      <a:pt x="14" y="41"/>
                      <a:pt x="6" y="31"/>
                      <a:pt x="7" y="29"/>
                    </a:cubicBezTo>
                    <a:cubicBezTo>
                      <a:pt x="8" y="26"/>
                      <a:pt x="16" y="27"/>
                      <a:pt x="16" y="23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9" y="25"/>
                      <a:pt x="33" y="26"/>
                      <a:pt x="35" y="24"/>
                    </a:cubicBezTo>
                    <a:cubicBezTo>
                      <a:pt x="37" y="22"/>
                      <a:pt x="45" y="9"/>
                      <a:pt x="48" y="9"/>
                    </a:cubicBezTo>
                    <a:cubicBezTo>
                      <a:pt x="51" y="9"/>
                      <a:pt x="52" y="10"/>
                      <a:pt x="55" y="11"/>
                    </a:cubicBezTo>
                    <a:cubicBezTo>
                      <a:pt x="57" y="12"/>
                      <a:pt x="55" y="18"/>
                      <a:pt x="57" y="22"/>
                    </a:cubicBezTo>
                    <a:cubicBezTo>
                      <a:pt x="57" y="25"/>
                      <a:pt x="59" y="36"/>
                      <a:pt x="61" y="36"/>
                    </a:cubicBezTo>
                    <a:cubicBezTo>
                      <a:pt x="63" y="36"/>
                      <a:pt x="68" y="33"/>
                      <a:pt x="68" y="33"/>
                    </a:cubicBezTo>
                    <a:cubicBezTo>
                      <a:pt x="68" y="33"/>
                      <a:pt x="73" y="11"/>
                      <a:pt x="75" y="12"/>
                    </a:cubicBezTo>
                    <a:cubicBezTo>
                      <a:pt x="78" y="13"/>
                      <a:pt x="85" y="21"/>
                      <a:pt x="87" y="20"/>
                    </a:cubicBezTo>
                    <a:cubicBezTo>
                      <a:pt x="89" y="18"/>
                      <a:pt x="93" y="18"/>
                      <a:pt x="97" y="1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6" name="Freeform 60">
                <a:extLst>
                  <a:ext uri="{FF2B5EF4-FFF2-40B4-BE49-F238E27FC236}">
                    <a16:creationId xmlns:a16="http://schemas.microsoft.com/office/drawing/2014/main" id="{4C34EC1A-8E16-446D-BE53-98CA64B69E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6" y="3050"/>
                <a:ext cx="86" cy="160"/>
              </a:xfrm>
              <a:custGeom>
                <a:avLst/>
                <a:gdLst>
                  <a:gd name="T0" fmla="*/ 286 w 46"/>
                  <a:gd name="T1" fmla="*/ 60 h 86"/>
                  <a:gd name="T2" fmla="*/ 301 w 46"/>
                  <a:gd name="T3" fmla="*/ 186 h 86"/>
                  <a:gd name="T4" fmla="*/ 254 w 46"/>
                  <a:gd name="T5" fmla="*/ 238 h 86"/>
                  <a:gd name="T6" fmla="*/ 277 w 46"/>
                  <a:gd name="T7" fmla="*/ 322 h 86"/>
                  <a:gd name="T8" fmla="*/ 224 w 46"/>
                  <a:gd name="T9" fmla="*/ 508 h 86"/>
                  <a:gd name="T10" fmla="*/ 157 w 46"/>
                  <a:gd name="T11" fmla="*/ 471 h 86"/>
                  <a:gd name="T12" fmla="*/ 112 w 46"/>
                  <a:gd name="T13" fmla="*/ 534 h 86"/>
                  <a:gd name="T14" fmla="*/ 24 w 46"/>
                  <a:gd name="T15" fmla="*/ 534 h 86"/>
                  <a:gd name="T16" fmla="*/ 0 w 46"/>
                  <a:gd name="T17" fmla="*/ 471 h 86"/>
                  <a:gd name="T18" fmla="*/ 13 w 46"/>
                  <a:gd name="T19" fmla="*/ 381 h 86"/>
                  <a:gd name="T20" fmla="*/ 39 w 46"/>
                  <a:gd name="T21" fmla="*/ 208 h 86"/>
                  <a:gd name="T22" fmla="*/ 7 w 46"/>
                  <a:gd name="T23" fmla="*/ 112 h 86"/>
                  <a:gd name="T24" fmla="*/ 39 w 46"/>
                  <a:gd name="T25" fmla="*/ 20 h 86"/>
                  <a:gd name="T26" fmla="*/ 92 w 46"/>
                  <a:gd name="T27" fmla="*/ 69 h 86"/>
                  <a:gd name="T28" fmla="*/ 224 w 46"/>
                  <a:gd name="T29" fmla="*/ 0 h 86"/>
                  <a:gd name="T30" fmla="*/ 286 w 46"/>
                  <a:gd name="T31" fmla="*/ 60 h 8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" h="86">
                    <a:moveTo>
                      <a:pt x="44" y="9"/>
                    </a:moveTo>
                    <a:cubicBezTo>
                      <a:pt x="46" y="17"/>
                      <a:pt x="46" y="24"/>
                      <a:pt x="46" y="29"/>
                    </a:cubicBezTo>
                    <a:cubicBezTo>
                      <a:pt x="46" y="33"/>
                      <a:pt x="39" y="33"/>
                      <a:pt x="39" y="37"/>
                    </a:cubicBezTo>
                    <a:cubicBezTo>
                      <a:pt x="39" y="41"/>
                      <a:pt x="44" y="44"/>
                      <a:pt x="42" y="50"/>
                    </a:cubicBezTo>
                    <a:cubicBezTo>
                      <a:pt x="40" y="56"/>
                      <a:pt x="37" y="79"/>
                      <a:pt x="34" y="79"/>
                    </a:cubicBezTo>
                    <a:cubicBezTo>
                      <a:pt x="32" y="80"/>
                      <a:pt x="28" y="73"/>
                      <a:pt x="24" y="73"/>
                    </a:cubicBezTo>
                    <a:cubicBezTo>
                      <a:pt x="14" y="72"/>
                      <a:pt x="22" y="83"/>
                      <a:pt x="17" y="83"/>
                    </a:cubicBezTo>
                    <a:cubicBezTo>
                      <a:pt x="12" y="83"/>
                      <a:pt x="9" y="86"/>
                      <a:pt x="4" y="83"/>
                    </a:cubicBezTo>
                    <a:cubicBezTo>
                      <a:pt x="0" y="81"/>
                      <a:pt x="0" y="73"/>
                      <a:pt x="0" y="73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4" y="55"/>
                      <a:pt x="7" y="38"/>
                      <a:pt x="6" y="32"/>
                    </a:cubicBezTo>
                    <a:cubicBezTo>
                      <a:pt x="6" y="26"/>
                      <a:pt x="1" y="17"/>
                      <a:pt x="1" y="17"/>
                    </a:cubicBezTo>
                    <a:cubicBezTo>
                      <a:pt x="1" y="17"/>
                      <a:pt x="2" y="5"/>
                      <a:pt x="6" y="3"/>
                    </a:cubicBezTo>
                    <a:cubicBezTo>
                      <a:pt x="11" y="2"/>
                      <a:pt x="8" y="13"/>
                      <a:pt x="14" y="11"/>
                    </a:cubicBezTo>
                    <a:cubicBezTo>
                      <a:pt x="20" y="9"/>
                      <a:pt x="29" y="0"/>
                      <a:pt x="34" y="0"/>
                    </a:cubicBezTo>
                    <a:cubicBezTo>
                      <a:pt x="38" y="0"/>
                      <a:pt x="41" y="2"/>
                      <a:pt x="44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0" name="Freeform 61">
              <a:extLst>
                <a:ext uri="{FF2B5EF4-FFF2-40B4-BE49-F238E27FC236}">
                  <a16:creationId xmlns:a16="http://schemas.microsoft.com/office/drawing/2014/main" id="{430AE2F5-56A4-483C-9C6A-8A903002B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" y="2408"/>
              <a:ext cx="56" cy="67"/>
            </a:xfrm>
            <a:custGeom>
              <a:avLst/>
              <a:gdLst>
                <a:gd name="T0" fmla="*/ 149 w 30"/>
                <a:gd name="T1" fmla="*/ 60 h 36"/>
                <a:gd name="T2" fmla="*/ 196 w 30"/>
                <a:gd name="T3" fmla="*/ 117 h 36"/>
                <a:gd name="T4" fmla="*/ 144 w 30"/>
                <a:gd name="T5" fmla="*/ 181 h 36"/>
                <a:gd name="T6" fmla="*/ 112 w 30"/>
                <a:gd name="T7" fmla="*/ 233 h 36"/>
                <a:gd name="T8" fmla="*/ 65 w 30"/>
                <a:gd name="T9" fmla="*/ 208 h 36"/>
                <a:gd name="T10" fmla="*/ 0 w 30"/>
                <a:gd name="T11" fmla="*/ 188 h 36"/>
                <a:gd name="T12" fmla="*/ 45 w 30"/>
                <a:gd name="T13" fmla="*/ 128 h 36"/>
                <a:gd name="T14" fmla="*/ 52 w 30"/>
                <a:gd name="T15" fmla="*/ 97 h 36"/>
                <a:gd name="T16" fmla="*/ 77 w 30"/>
                <a:gd name="T17" fmla="*/ 24 h 36"/>
                <a:gd name="T18" fmla="*/ 121 w 30"/>
                <a:gd name="T19" fmla="*/ 0 h 36"/>
                <a:gd name="T20" fmla="*/ 149 w 30"/>
                <a:gd name="T21" fmla="*/ 6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" h="36">
                  <a:moveTo>
                    <a:pt x="23" y="9"/>
                  </a:moveTo>
                  <a:cubicBezTo>
                    <a:pt x="24" y="14"/>
                    <a:pt x="30" y="17"/>
                    <a:pt x="30" y="18"/>
                  </a:cubicBezTo>
                  <a:cubicBezTo>
                    <a:pt x="30" y="20"/>
                    <a:pt x="24" y="26"/>
                    <a:pt x="22" y="28"/>
                  </a:cubicBezTo>
                  <a:cubicBezTo>
                    <a:pt x="20" y="29"/>
                    <a:pt x="17" y="36"/>
                    <a:pt x="17" y="36"/>
                  </a:cubicBezTo>
                  <a:cubicBezTo>
                    <a:pt x="15" y="35"/>
                    <a:pt x="13" y="33"/>
                    <a:pt x="10" y="32"/>
                  </a:cubicBezTo>
                  <a:cubicBezTo>
                    <a:pt x="6" y="30"/>
                    <a:pt x="3" y="30"/>
                    <a:pt x="0" y="2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17"/>
                    <a:pt x="8" y="15"/>
                  </a:cubicBezTo>
                  <a:cubicBezTo>
                    <a:pt x="8" y="12"/>
                    <a:pt x="8" y="9"/>
                    <a:pt x="12" y="4"/>
                  </a:cubicBezTo>
                  <a:cubicBezTo>
                    <a:pt x="14" y="2"/>
                    <a:pt x="16" y="1"/>
                    <a:pt x="19" y="0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1" name="Group 62">
              <a:extLst>
                <a:ext uri="{FF2B5EF4-FFF2-40B4-BE49-F238E27FC236}">
                  <a16:creationId xmlns:a16="http://schemas.microsoft.com/office/drawing/2014/main" id="{9D381D85-A9D7-44B3-9AF3-70CB6E5E0F1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48" y="2319"/>
              <a:ext cx="601" cy="718"/>
              <a:chOff x="1748" y="2319"/>
              <a:chExt cx="601" cy="718"/>
            </a:xfrm>
            <a:grpFill/>
          </p:grpSpPr>
          <p:sp>
            <p:nvSpPr>
              <p:cNvPr id="611" name="Freeform 63">
                <a:extLst>
                  <a:ext uri="{FF2B5EF4-FFF2-40B4-BE49-F238E27FC236}">
                    <a16:creationId xmlns:a16="http://schemas.microsoft.com/office/drawing/2014/main" id="{8241456E-8354-4A1A-9407-3AE266CDDE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5" y="2925"/>
                <a:ext cx="54" cy="112"/>
              </a:xfrm>
              <a:custGeom>
                <a:avLst/>
                <a:gdLst>
                  <a:gd name="T0" fmla="*/ 173 w 29"/>
                  <a:gd name="T1" fmla="*/ 77 h 60"/>
                  <a:gd name="T2" fmla="*/ 173 w 29"/>
                  <a:gd name="T3" fmla="*/ 217 h 60"/>
                  <a:gd name="T4" fmla="*/ 136 w 29"/>
                  <a:gd name="T5" fmla="*/ 286 h 60"/>
                  <a:gd name="T6" fmla="*/ 84 w 29"/>
                  <a:gd name="T7" fmla="*/ 390 h 60"/>
                  <a:gd name="T8" fmla="*/ 32 w 29"/>
                  <a:gd name="T9" fmla="*/ 353 h 60"/>
                  <a:gd name="T10" fmla="*/ 13 w 29"/>
                  <a:gd name="T11" fmla="*/ 314 h 60"/>
                  <a:gd name="T12" fmla="*/ 45 w 29"/>
                  <a:gd name="T13" fmla="*/ 254 h 60"/>
                  <a:gd name="T14" fmla="*/ 7 w 29"/>
                  <a:gd name="T15" fmla="*/ 189 h 60"/>
                  <a:gd name="T16" fmla="*/ 60 w 29"/>
                  <a:gd name="T17" fmla="*/ 91 h 60"/>
                  <a:gd name="T18" fmla="*/ 117 w 29"/>
                  <a:gd name="T19" fmla="*/ 73 h 60"/>
                  <a:gd name="T20" fmla="*/ 149 w 29"/>
                  <a:gd name="T21" fmla="*/ 0 h 60"/>
                  <a:gd name="T22" fmla="*/ 173 w 29"/>
                  <a:gd name="T23" fmla="*/ 77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60">
                    <a:moveTo>
                      <a:pt x="27" y="12"/>
                    </a:moveTo>
                    <a:cubicBezTo>
                      <a:pt x="28" y="18"/>
                      <a:pt x="29" y="27"/>
                      <a:pt x="27" y="33"/>
                    </a:cubicBezTo>
                    <a:cubicBezTo>
                      <a:pt x="26" y="39"/>
                      <a:pt x="21" y="42"/>
                      <a:pt x="21" y="44"/>
                    </a:cubicBezTo>
                    <a:cubicBezTo>
                      <a:pt x="21" y="47"/>
                      <a:pt x="17" y="60"/>
                      <a:pt x="13" y="60"/>
                    </a:cubicBezTo>
                    <a:cubicBezTo>
                      <a:pt x="9" y="60"/>
                      <a:pt x="7" y="56"/>
                      <a:pt x="5" y="54"/>
                    </a:cubicBezTo>
                    <a:cubicBezTo>
                      <a:pt x="2" y="51"/>
                      <a:pt x="2" y="48"/>
                      <a:pt x="2" y="48"/>
                    </a:cubicBezTo>
                    <a:cubicBezTo>
                      <a:pt x="2" y="42"/>
                      <a:pt x="9" y="42"/>
                      <a:pt x="7" y="39"/>
                    </a:cubicBezTo>
                    <a:cubicBezTo>
                      <a:pt x="5" y="36"/>
                      <a:pt x="0" y="32"/>
                      <a:pt x="1" y="29"/>
                    </a:cubicBezTo>
                    <a:cubicBezTo>
                      <a:pt x="3" y="26"/>
                      <a:pt x="5" y="15"/>
                      <a:pt x="9" y="14"/>
                    </a:cubicBezTo>
                    <a:cubicBezTo>
                      <a:pt x="14" y="12"/>
                      <a:pt x="17" y="14"/>
                      <a:pt x="18" y="11"/>
                    </a:cubicBezTo>
                    <a:cubicBezTo>
                      <a:pt x="19" y="8"/>
                      <a:pt x="17" y="1"/>
                      <a:pt x="23" y="0"/>
                    </a:cubicBezTo>
                    <a:cubicBezTo>
                      <a:pt x="28" y="0"/>
                      <a:pt x="27" y="5"/>
                      <a:pt x="27" y="1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2" name="Freeform 64">
                <a:extLst>
                  <a:ext uri="{FF2B5EF4-FFF2-40B4-BE49-F238E27FC236}">
                    <a16:creationId xmlns:a16="http://schemas.microsoft.com/office/drawing/2014/main" id="{5FD03645-9723-4D3B-B995-EE6A27AC90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8" y="2319"/>
                <a:ext cx="594" cy="589"/>
              </a:xfrm>
              <a:custGeom>
                <a:avLst/>
                <a:gdLst>
                  <a:gd name="T0" fmla="*/ 1653 w 318"/>
                  <a:gd name="T1" fmla="*/ 1171 h 316"/>
                  <a:gd name="T2" fmla="*/ 1748 w 318"/>
                  <a:gd name="T3" fmla="*/ 1238 h 316"/>
                  <a:gd name="T4" fmla="*/ 1801 w 318"/>
                  <a:gd name="T5" fmla="*/ 1355 h 316"/>
                  <a:gd name="T6" fmla="*/ 1741 w 318"/>
                  <a:gd name="T7" fmla="*/ 1392 h 316"/>
                  <a:gd name="T8" fmla="*/ 1705 w 318"/>
                  <a:gd name="T9" fmla="*/ 1560 h 316"/>
                  <a:gd name="T10" fmla="*/ 1832 w 318"/>
                  <a:gd name="T11" fmla="*/ 1793 h 316"/>
                  <a:gd name="T12" fmla="*/ 1765 w 318"/>
                  <a:gd name="T13" fmla="*/ 1890 h 316"/>
                  <a:gd name="T14" fmla="*/ 1608 w 318"/>
                  <a:gd name="T15" fmla="*/ 2002 h 316"/>
                  <a:gd name="T16" fmla="*/ 1388 w 318"/>
                  <a:gd name="T17" fmla="*/ 1955 h 316"/>
                  <a:gd name="T18" fmla="*/ 1263 w 318"/>
                  <a:gd name="T19" fmla="*/ 1897 h 316"/>
                  <a:gd name="T20" fmla="*/ 1149 w 318"/>
                  <a:gd name="T21" fmla="*/ 1845 h 316"/>
                  <a:gd name="T22" fmla="*/ 960 w 318"/>
                  <a:gd name="T23" fmla="*/ 2015 h 316"/>
                  <a:gd name="T24" fmla="*/ 861 w 318"/>
                  <a:gd name="T25" fmla="*/ 2039 h 316"/>
                  <a:gd name="T26" fmla="*/ 594 w 318"/>
                  <a:gd name="T27" fmla="*/ 1851 h 316"/>
                  <a:gd name="T28" fmla="*/ 405 w 318"/>
                  <a:gd name="T29" fmla="*/ 1838 h 316"/>
                  <a:gd name="T30" fmla="*/ 196 w 318"/>
                  <a:gd name="T31" fmla="*/ 1620 h 316"/>
                  <a:gd name="T32" fmla="*/ 338 w 318"/>
                  <a:gd name="T33" fmla="*/ 1366 h 316"/>
                  <a:gd name="T34" fmla="*/ 458 w 318"/>
                  <a:gd name="T35" fmla="*/ 1223 h 316"/>
                  <a:gd name="T36" fmla="*/ 489 w 318"/>
                  <a:gd name="T37" fmla="*/ 1213 h 316"/>
                  <a:gd name="T38" fmla="*/ 422 w 318"/>
                  <a:gd name="T39" fmla="*/ 1081 h 316"/>
                  <a:gd name="T40" fmla="*/ 467 w 318"/>
                  <a:gd name="T41" fmla="*/ 1062 h 316"/>
                  <a:gd name="T42" fmla="*/ 377 w 318"/>
                  <a:gd name="T43" fmla="*/ 900 h 316"/>
                  <a:gd name="T44" fmla="*/ 383 w 318"/>
                  <a:gd name="T45" fmla="*/ 757 h 316"/>
                  <a:gd name="T46" fmla="*/ 321 w 318"/>
                  <a:gd name="T47" fmla="*/ 652 h 316"/>
                  <a:gd name="T48" fmla="*/ 73 w 318"/>
                  <a:gd name="T49" fmla="*/ 479 h 316"/>
                  <a:gd name="T50" fmla="*/ 7 w 318"/>
                  <a:gd name="T51" fmla="*/ 382 h 316"/>
                  <a:gd name="T52" fmla="*/ 92 w 318"/>
                  <a:gd name="T53" fmla="*/ 337 h 316"/>
                  <a:gd name="T54" fmla="*/ 84 w 318"/>
                  <a:gd name="T55" fmla="*/ 265 h 316"/>
                  <a:gd name="T56" fmla="*/ 241 w 318"/>
                  <a:gd name="T57" fmla="*/ 306 h 316"/>
                  <a:gd name="T58" fmla="*/ 346 w 318"/>
                  <a:gd name="T59" fmla="*/ 278 h 316"/>
                  <a:gd name="T60" fmla="*/ 467 w 318"/>
                  <a:gd name="T61" fmla="*/ 375 h 316"/>
                  <a:gd name="T62" fmla="*/ 579 w 318"/>
                  <a:gd name="T63" fmla="*/ 345 h 316"/>
                  <a:gd name="T64" fmla="*/ 562 w 318"/>
                  <a:gd name="T65" fmla="*/ 216 h 316"/>
                  <a:gd name="T66" fmla="*/ 594 w 318"/>
                  <a:gd name="T67" fmla="*/ 129 h 316"/>
                  <a:gd name="T68" fmla="*/ 684 w 318"/>
                  <a:gd name="T69" fmla="*/ 173 h 316"/>
                  <a:gd name="T70" fmla="*/ 764 w 318"/>
                  <a:gd name="T71" fmla="*/ 278 h 316"/>
                  <a:gd name="T72" fmla="*/ 900 w 318"/>
                  <a:gd name="T73" fmla="*/ 306 h 316"/>
                  <a:gd name="T74" fmla="*/ 908 w 318"/>
                  <a:gd name="T75" fmla="*/ 233 h 316"/>
                  <a:gd name="T76" fmla="*/ 1074 w 318"/>
                  <a:gd name="T77" fmla="*/ 209 h 316"/>
                  <a:gd name="T78" fmla="*/ 1179 w 318"/>
                  <a:gd name="T79" fmla="*/ 13 h 316"/>
                  <a:gd name="T80" fmla="*/ 1330 w 318"/>
                  <a:gd name="T81" fmla="*/ 0 h 316"/>
                  <a:gd name="T82" fmla="*/ 1459 w 318"/>
                  <a:gd name="T83" fmla="*/ 216 h 316"/>
                  <a:gd name="T84" fmla="*/ 1605 w 318"/>
                  <a:gd name="T85" fmla="*/ 345 h 316"/>
                  <a:gd name="T86" fmla="*/ 1696 w 318"/>
                  <a:gd name="T87" fmla="*/ 500 h 316"/>
                  <a:gd name="T88" fmla="*/ 1804 w 318"/>
                  <a:gd name="T89" fmla="*/ 546 h 316"/>
                  <a:gd name="T90" fmla="*/ 2058 w 318"/>
                  <a:gd name="T91" fmla="*/ 688 h 316"/>
                  <a:gd name="T92" fmla="*/ 1810 w 318"/>
                  <a:gd name="T93" fmla="*/ 997 h 316"/>
                  <a:gd name="T94" fmla="*/ 1644 w 318"/>
                  <a:gd name="T95" fmla="*/ 1171 h 3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18" h="316">
                    <a:moveTo>
                      <a:pt x="252" y="181"/>
                    </a:moveTo>
                    <a:cubicBezTo>
                      <a:pt x="253" y="181"/>
                      <a:pt x="257" y="177"/>
                      <a:pt x="254" y="181"/>
                    </a:cubicBezTo>
                    <a:cubicBezTo>
                      <a:pt x="250" y="185"/>
                      <a:pt x="248" y="189"/>
                      <a:pt x="252" y="193"/>
                    </a:cubicBezTo>
                    <a:cubicBezTo>
                      <a:pt x="256" y="198"/>
                      <a:pt x="266" y="189"/>
                      <a:pt x="268" y="191"/>
                    </a:cubicBezTo>
                    <a:cubicBezTo>
                      <a:pt x="271" y="192"/>
                      <a:pt x="272" y="201"/>
                      <a:pt x="275" y="207"/>
                    </a:cubicBezTo>
                    <a:cubicBezTo>
                      <a:pt x="275" y="208"/>
                      <a:pt x="276" y="208"/>
                      <a:pt x="276" y="209"/>
                    </a:cubicBezTo>
                    <a:cubicBezTo>
                      <a:pt x="276" y="209"/>
                      <a:pt x="276" y="209"/>
                      <a:pt x="276" y="209"/>
                    </a:cubicBezTo>
                    <a:cubicBezTo>
                      <a:pt x="276" y="213"/>
                      <a:pt x="268" y="212"/>
                      <a:pt x="267" y="215"/>
                    </a:cubicBezTo>
                    <a:cubicBezTo>
                      <a:pt x="266" y="217"/>
                      <a:pt x="274" y="227"/>
                      <a:pt x="274" y="230"/>
                    </a:cubicBezTo>
                    <a:cubicBezTo>
                      <a:pt x="275" y="233"/>
                      <a:pt x="265" y="237"/>
                      <a:pt x="262" y="241"/>
                    </a:cubicBezTo>
                    <a:cubicBezTo>
                      <a:pt x="260" y="245"/>
                      <a:pt x="262" y="258"/>
                      <a:pt x="262" y="266"/>
                    </a:cubicBezTo>
                    <a:cubicBezTo>
                      <a:pt x="263" y="274"/>
                      <a:pt x="276" y="273"/>
                      <a:pt x="281" y="277"/>
                    </a:cubicBezTo>
                    <a:cubicBezTo>
                      <a:pt x="286" y="280"/>
                      <a:pt x="277" y="285"/>
                      <a:pt x="273" y="288"/>
                    </a:cubicBezTo>
                    <a:cubicBezTo>
                      <a:pt x="272" y="289"/>
                      <a:pt x="271" y="290"/>
                      <a:pt x="271" y="292"/>
                    </a:cubicBezTo>
                    <a:cubicBezTo>
                      <a:pt x="266" y="294"/>
                      <a:pt x="256" y="299"/>
                      <a:pt x="253" y="301"/>
                    </a:cubicBezTo>
                    <a:cubicBezTo>
                      <a:pt x="249" y="303"/>
                      <a:pt x="249" y="306"/>
                      <a:pt x="247" y="309"/>
                    </a:cubicBezTo>
                    <a:cubicBezTo>
                      <a:pt x="244" y="311"/>
                      <a:pt x="235" y="311"/>
                      <a:pt x="232" y="311"/>
                    </a:cubicBezTo>
                    <a:cubicBezTo>
                      <a:pt x="229" y="311"/>
                      <a:pt x="215" y="304"/>
                      <a:pt x="213" y="302"/>
                    </a:cubicBezTo>
                    <a:cubicBezTo>
                      <a:pt x="211" y="300"/>
                      <a:pt x="217" y="295"/>
                      <a:pt x="211" y="295"/>
                    </a:cubicBezTo>
                    <a:cubicBezTo>
                      <a:pt x="205" y="295"/>
                      <a:pt x="198" y="293"/>
                      <a:pt x="194" y="293"/>
                    </a:cubicBezTo>
                    <a:cubicBezTo>
                      <a:pt x="188" y="294"/>
                      <a:pt x="196" y="291"/>
                      <a:pt x="192" y="288"/>
                    </a:cubicBezTo>
                    <a:cubicBezTo>
                      <a:pt x="190" y="286"/>
                      <a:pt x="184" y="283"/>
                      <a:pt x="176" y="285"/>
                    </a:cubicBezTo>
                    <a:cubicBezTo>
                      <a:pt x="169" y="288"/>
                      <a:pt x="165" y="286"/>
                      <a:pt x="157" y="291"/>
                    </a:cubicBezTo>
                    <a:cubicBezTo>
                      <a:pt x="147" y="296"/>
                      <a:pt x="147" y="307"/>
                      <a:pt x="147" y="311"/>
                    </a:cubicBezTo>
                    <a:cubicBezTo>
                      <a:pt x="148" y="313"/>
                      <a:pt x="147" y="315"/>
                      <a:pt x="147" y="316"/>
                    </a:cubicBezTo>
                    <a:cubicBezTo>
                      <a:pt x="140" y="316"/>
                      <a:pt x="134" y="316"/>
                      <a:pt x="132" y="315"/>
                    </a:cubicBezTo>
                    <a:cubicBezTo>
                      <a:pt x="128" y="315"/>
                      <a:pt x="116" y="308"/>
                      <a:pt x="110" y="303"/>
                    </a:cubicBezTo>
                    <a:cubicBezTo>
                      <a:pt x="105" y="297"/>
                      <a:pt x="94" y="288"/>
                      <a:pt x="91" y="286"/>
                    </a:cubicBezTo>
                    <a:cubicBezTo>
                      <a:pt x="88" y="284"/>
                      <a:pt x="85" y="293"/>
                      <a:pt x="80" y="292"/>
                    </a:cubicBezTo>
                    <a:cubicBezTo>
                      <a:pt x="74" y="291"/>
                      <a:pt x="70" y="288"/>
                      <a:pt x="62" y="284"/>
                    </a:cubicBezTo>
                    <a:cubicBezTo>
                      <a:pt x="54" y="280"/>
                      <a:pt x="36" y="261"/>
                      <a:pt x="34" y="259"/>
                    </a:cubicBezTo>
                    <a:cubicBezTo>
                      <a:pt x="34" y="258"/>
                      <a:pt x="32" y="254"/>
                      <a:pt x="30" y="250"/>
                    </a:cubicBezTo>
                    <a:cubicBezTo>
                      <a:pt x="31" y="250"/>
                      <a:pt x="31" y="250"/>
                      <a:pt x="31" y="250"/>
                    </a:cubicBezTo>
                    <a:cubicBezTo>
                      <a:pt x="36" y="248"/>
                      <a:pt x="50" y="220"/>
                      <a:pt x="52" y="211"/>
                    </a:cubicBezTo>
                    <a:cubicBezTo>
                      <a:pt x="54" y="203"/>
                      <a:pt x="61" y="179"/>
                      <a:pt x="62" y="179"/>
                    </a:cubicBezTo>
                    <a:cubicBezTo>
                      <a:pt x="63" y="178"/>
                      <a:pt x="70" y="187"/>
                      <a:pt x="70" y="189"/>
                    </a:cubicBezTo>
                    <a:cubicBezTo>
                      <a:pt x="70" y="191"/>
                      <a:pt x="70" y="195"/>
                      <a:pt x="73" y="195"/>
                    </a:cubicBezTo>
                    <a:cubicBezTo>
                      <a:pt x="75" y="195"/>
                      <a:pt x="75" y="191"/>
                      <a:pt x="75" y="187"/>
                    </a:cubicBezTo>
                    <a:cubicBezTo>
                      <a:pt x="75" y="184"/>
                      <a:pt x="75" y="180"/>
                      <a:pt x="71" y="177"/>
                    </a:cubicBezTo>
                    <a:cubicBezTo>
                      <a:pt x="69" y="174"/>
                      <a:pt x="66" y="169"/>
                      <a:pt x="65" y="167"/>
                    </a:cubicBezTo>
                    <a:cubicBezTo>
                      <a:pt x="62" y="165"/>
                      <a:pt x="61" y="162"/>
                      <a:pt x="63" y="160"/>
                    </a:cubicBezTo>
                    <a:cubicBezTo>
                      <a:pt x="65" y="158"/>
                      <a:pt x="71" y="166"/>
                      <a:pt x="72" y="164"/>
                    </a:cubicBezTo>
                    <a:cubicBezTo>
                      <a:pt x="73" y="162"/>
                      <a:pt x="74" y="157"/>
                      <a:pt x="70" y="151"/>
                    </a:cubicBezTo>
                    <a:cubicBezTo>
                      <a:pt x="66" y="145"/>
                      <a:pt x="59" y="144"/>
                      <a:pt x="58" y="139"/>
                    </a:cubicBezTo>
                    <a:cubicBezTo>
                      <a:pt x="57" y="134"/>
                      <a:pt x="52" y="129"/>
                      <a:pt x="52" y="125"/>
                    </a:cubicBezTo>
                    <a:cubicBezTo>
                      <a:pt x="51" y="121"/>
                      <a:pt x="59" y="121"/>
                      <a:pt x="59" y="117"/>
                    </a:cubicBezTo>
                    <a:cubicBezTo>
                      <a:pt x="58" y="113"/>
                      <a:pt x="60" y="111"/>
                      <a:pt x="55" y="108"/>
                    </a:cubicBezTo>
                    <a:cubicBezTo>
                      <a:pt x="51" y="105"/>
                      <a:pt x="49" y="104"/>
                      <a:pt x="49" y="101"/>
                    </a:cubicBezTo>
                    <a:cubicBezTo>
                      <a:pt x="50" y="92"/>
                      <a:pt x="28" y="77"/>
                      <a:pt x="21" y="74"/>
                    </a:cubicBezTo>
                    <a:cubicBezTo>
                      <a:pt x="18" y="73"/>
                      <a:pt x="13" y="74"/>
                      <a:pt x="11" y="74"/>
                    </a:cubicBezTo>
                    <a:cubicBezTo>
                      <a:pt x="9" y="73"/>
                      <a:pt x="13" y="66"/>
                      <a:pt x="10" y="65"/>
                    </a:cubicBezTo>
                    <a:cubicBezTo>
                      <a:pt x="7" y="63"/>
                      <a:pt x="0" y="64"/>
                      <a:pt x="1" y="59"/>
                    </a:cubicBezTo>
                    <a:cubicBezTo>
                      <a:pt x="1" y="56"/>
                      <a:pt x="15" y="60"/>
                      <a:pt x="15" y="57"/>
                    </a:cubicBezTo>
                    <a:cubicBezTo>
                      <a:pt x="15" y="53"/>
                      <a:pt x="15" y="52"/>
                      <a:pt x="14" y="52"/>
                    </a:cubicBezTo>
                    <a:cubicBezTo>
                      <a:pt x="13" y="51"/>
                      <a:pt x="7" y="52"/>
                      <a:pt x="7" y="48"/>
                    </a:cubicBezTo>
                    <a:cubicBezTo>
                      <a:pt x="7" y="44"/>
                      <a:pt x="9" y="42"/>
                      <a:pt x="13" y="41"/>
                    </a:cubicBezTo>
                    <a:cubicBezTo>
                      <a:pt x="17" y="40"/>
                      <a:pt x="27" y="41"/>
                      <a:pt x="29" y="42"/>
                    </a:cubicBezTo>
                    <a:cubicBezTo>
                      <a:pt x="31" y="43"/>
                      <a:pt x="33" y="47"/>
                      <a:pt x="37" y="47"/>
                    </a:cubicBezTo>
                    <a:cubicBezTo>
                      <a:pt x="41" y="47"/>
                      <a:pt x="39" y="42"/>
                      <a:pt x="41" y="41"/>
                    </a:cubicBezTo>
                    <a:cubicBezTo>
                      <a:pt x="43" y="41"/>
                      <a:pt x="49" y="41"/>
                      <a:pt x="53" y="43"/>
                    </a:cubicBezTo>
                    <a:cubicBezTo>
                      <a:pt x="55" y="45"/>
                      <a:pt x="57" y="59"/>
                      <a:pt x="59" y="59"/>
                    </a:cubicBezTo>
                    <a:cubicBezTo>
                      <a:pt x="61" y="59"/>
                      <a:pt x="70" y="58"/>
                      <a:pt x="72" y="58"/>
                    </a:cubicBezTo>
                    <a:cubicBezTo>
                      <a:pt x="74" y="58"/>
                      <a:pt x="91" y="66"/>
                      <a:pt x="91" y="64"/>
                    </a:cubicBezTo>
                    <a:cubicBezTo>
                      <a:pt x="92" y="62"/>
                      <a:pt x="88" y="59"/>
                      <a:pt x="89" y="53"/>
                    </a:cubicBezTo>
                    <a:cubicBezTo>
                      <a:pt x="91" y="47"/>
                      <a:pt x="91" y="46"/>
                      <a:pt x="91" y="43"/>
                    </a:cubicBezTo>
                    <a:cubicBezTo>
                      <a:pt x="90" y="39"/>
                      <a:pt x="86" y="38"/>
                      <a:pt x="86" y="33"/>
                    </a:cubicBezTo>
                    <a:cubicBezTo>
                      <a:pt x="87" y="27"/>
                      <a:pt x="89" y="27"/>
                      <a:pt x="87" y="25"/>
                    </a:cubicBezTo>
                    <a:cubicBezTo>
                      <a:pt x="85" y="22"/>
                      <a:pt x="89" y="21"/>
                      <a:pt x="91" y="20"/>
                    </a:cubicBezTo>
                    <a:cubicBezTo>
                      <a:pt x="91" y="19"/>
                      <a:pt x="94" y="25"/>
                      <a:pt x="98" y="25"/>
                    </a:cubicBezTo>
                    <a:cubicBezTo>
                      <a:pt x="102" y="25"/>
                      <a:pt x="105" y="24"/>
                      <a:pt x="105" y="27"/>
                    </a:cubicBezTo>
                    <a:cubicBezTo>
                      <a:pt x="105" y="31"/>
                      <a:pt x="101" y="38"/>
                      <a:pt x="104" y="39"/>
                    </a:cubicBezTo>
                    <a:cubicBezTo>
                      <a:pt x="107" y="40"/>
                      <a:pt x="114" y="42"/>
                      <a:pt x="117" y="43"/>
                    </a:cubicBezTo>
                    <a:cubicBezTo>
                      <a:pt x="119" y="45"/>
                      <a:pt x="123" y="49"/>
                      <a:pt x="127" y="49"/>
                    </a:cubicBezTo>
                    <a:cubicBezTo>
                      <a:pt x="130" y="49"/>
                      <a:pt x="137" y="49"/>
                      <a:pt x="138" y="47"/>
                    </a:cubicBezTo>
                    <a:cubicBezTo>
                      <a:pt x="139" y="45"/>
                      <a:pt x="132" y="43"/>
                      <a:pt x="133" y="41"/>
                    </a:cubicBezTo>
                    <a:cubicBezTo>
                      <a:pt x="135" y="38"/>
                      <a:pt x="136" y="37"/>
                      <a:pt x="139" y="36"/>
                    </a:cubicBezTo>
                    <a:cubicBezTo>
                      <a:pt x="142" y="35"/>
                      <a:pt x="147" y="33"/>
                      <a:pt x="150" y="33"/>
                    </a:cubicBezTo>
                    <a:cubicBezTo>
                      <a:pt x="153" y="33"/>
                      <a:pt x="161" y="34"/>
                      <a:pt x="165" y="32"/>
                    </a:cubicBezTo>
                    <a:cubicBezTo>
                      <a:pt x="169" y="30"/>
                      <a:pt x="175" y="25"/>
                      <a:pt x="176" y="17"/>
                    </a:cubicBezTo>
                    <a:cubicBezTo>
                      <a:pt x="177" y="10"/>
                      <a:pt x="179" y="4"/>
                      <a:pt x="181" y="2"/>
                    </a:cubicBezTo>
                    <a:cubicBezTo>
                      <a:pt x="182" y="0"/>
                      <a:pt x="186" y="0"/>
                      <a:pt x="189" y="0"/>
                    </a:cubicBezTo>
                    <a:cubicBezTo>
                      <a:pt x="192" y="0"/>
                      <a:pt x="199" y="0"/>
                      <a:pt x="204" y="0"/>
                    </a:cubicBezTo>
                    <a:cubicBezTo>
                      <a:pt x="206" y="9"/>
                      <a:pt x="210" y="18"/>
                      <a:pt x="213" y="19"/>
                    </a:cubicBezTo>
                    <a:cubicBezTo>
                      <a:pt x="223" y="23"/>
                      <a:pt x="222" y="27"/>
                      <a:pt x="224" y="33"/>
                    </a:cubicBezTo>
                    <a:cubicBezTo>
                      <a:pt x="227" y="39"/>
                      <a:pt x="234" y="47"/>
                      <a:pt x="234" y="47"/>
                    </a:cubicBezTo>
                    <a:cubicBezTo>
                      <a:pt x="234" y="47"/>
                      <a:pt x="250" y="48"/>
                      <a:pt x="246" y="53"/>
                    </a:cubicBezTo>
                    <a:cubicBezTo>
                      <a:pt x="243" y="59"/>
                      <a:pt x="248" y="64"/>
                      <a:pt x="252" y="71"/>
                    </a:cubicBezTo>
                    <a:cubicBezTo>
                      <a:pt x="255" y="75"/>
                      <a:pt x="257" y="76"/>
                      <a:pt x="260" y="77"/>
                    </a:cubicBezTo>
                    <a:cubicBezTo>
                      <a:pt x="263" y="78"/>
                      <a:pt x="266" y="78"/>
                      <a:pt x="270" y="80"/>
                    </a:cubicBezTo>
                    <a:cubicBezTo>
                      <a:pt x="273" y="81"/>
                      <a:pt x="275" y="83"/>
                      <a:pt x="277" y="84"/>
                    </a:cubicBezTo>
                    <a:cubicBezTo>
                      <a:pt x="280" y="87"/>
                      <a:pt x="283" y="90"/>
                      <a:pt x="288" y="93"/>
                    </a:cubicBezTo>
                    <a:cubicBezTo>
                      <a:pt x="295" y="99"/>
                      <a:pt x="318" y="104"/>
                      <a:pt x="316" y="106"/>
                    </a:cubicBezTo>
                    <a:cubicBezTo>
                      <a:pt x="314" y="108"/>
                      <a:pt x="296" y="143"/>
                      <a:pt x="294" y="149"/>
                    </a:cubicBezTo>
                    <a:cubicBezTo>
                      <a:pt x="292" y="154"/>
                      <a:pt x="284" y="152"/>
                      <a:pt x="278" y="154"/>
                    </a:cubicBezTo>
                    <a:cubicBezTo>
                      <a:pt x="273" y="156"/>
                      <a:pt x="260" y="173"/>
                      <a:pt x="254" y="179"/>
                    </a:cubicBezTo>
                    <a:cubicBezTo>
                      <a:pt x="253" y="180"/>
                      <a:pt x="253" y="181"/>
                      <a:pt x="252" y="18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sp>
          <p:nvSpPr>
            <p:cNvPr id="582" name="Freeform 65">
              <a:extLst>
                <a:ext uri="{FF2B5EF4-FFF2-40B4-BE49-F238E27FC236}">
                  <a16:creationId xmlns:a16="http://schemas.microsoft.com/office/drawing/2014/main" id="{3817FE2B-31C9-4736-ABD9-C9C0293B49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9" y="2292"/>
              <a:ext cx="159" cy="170"/>
            </a:xfrm>
            <a:custGeom>
              <a:avLst/>
              <a:gdLst>
                <a:gd name="T0" fmla="*/ 210 w 85"/>
                <a:gd name="T1" fmla="*/ 73 h 91"/>
                <a:gd name="T2" fmla="*/ 172 w 85"/>
                <a:gd name="T3" fmla="*/ 13 h 91"/>
                <a:gd name="T4" fmla="*/ 181 w 85"/>
                <a:gd name="T5" fmla="*/ 0 h 91"/>
                <a:gd name="T6" fmla="*/ 224 w 85"/>
                <a:gd name="T7" fmla="*/ 60 h 91"/>
                <a:gd name="T8" fmla="*/ 333 w 85"/>
                <a:gd name="T9" fmla="*/ 77 h 91"/>
                <a:gd name="T10" fmla="*/ 406 w 85"/>
                <a:gd name="T11" fmla="*/ 120 h 91"/>
                <a:gd name="T12" fmla="*/ 445 w 85"/>
                <a:gd name="T13" fmla="*/ 149 h 91"/>
                <a:gd name="T14" fmla="*/ 426 w 85"/>
                <a:gd name="T15" fmla="*/ 226 h 91"/>
                <a:gd name="T16" fmla="*/ 451 w 85"/>
                <a:gd name="T17" fmla="*/ 269 h 91"/>
                <a:gd name="T18" fmla="*/ 518 w 85"/>
                <a:gd name="T19" fmla="*/ 269 h 91"/>
                <a:gd name="T20" fmla="*/ 535 w 85"/>
                <a:gd name="T21" fmla="*/ 377 h 91"/>
                <a:gd name="T22" fmla="*/ 490 w 85"/>
                <a:gd name="T23" fmla="*/ 405 h 91"/>
                <a:gd name="T24" fmla="*/ 445 w 85"/>
                <a:gd name="T25" fmla="*/ 430 h 91"/>
                <a:gd name="T26" fmla="*/ 419 w 85"/>
                <a:gd name="T27" fmla="*/ 503 h 91"/>
                <a:gd name="T28" fmla="*/ 413 w 85"/>
                <a:gd name="T29" fmla="*/ 534 h 91"/>
                <a:gd name="T30" fmla="*/ 367 w 85"/>
                <a:gd name="T31" fmla="*/ 594 h 91"/>
                <a:gd name="T32" fmla="*/ 314 w 85"/>
                <a:gd name="T33" fmla="*/ 555 h 91"/>
                <a:gd name="T34" fmla="*/ 277 w 85"/>
                <a:gd name="T35" fmla="*/ 437 h 91"/>
                <a:gd name="T36" fmla="*/ 196 w 85"/>
                <a:gd name="T37" fmla="*/ 398 h 91"/>
                <a:gd name="T38" fmla="*/ 129 w 85"/>
                <a:gd name="T39" fmla="*/ 306 h 91"/>
                <a:gd name="T40" fmla="*/ 60 w 85"/>
                <a:gd name="T41" fmla="*/ 217 h 91"/>
                <a:gd name="T42" fmla="*/ 0 w 85"/>
                <a:gd name="T43" fmla="*/ 92 h 91"/>
                <a:gd name="T44" fmla="*/ 21 w 85"/>
                <a:gd name="T45" fmla="*/ 84 h 91"/>
                <a:gd name="T46" fmla="*/ 105 w 85"/>
                <a:gd name="T47" fmla="*/ 52 h 91"/>
                <a:gd name="T48" fmla="*/ 150 w 85"/>
                <a:gd name="T49" fmla="*/ 65 h 91"/>
                <a:gd name="T50" fmla="*/ 210 w 85"/>
                <a:gd name="T51" fmla="*/ 73 h 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85" h="91">
                  <a:moveTo>
                    <a:pt x="32" y="11"/>
                  </a:moveTo>
                  <a:cubicBezTo>
                    <a:pt x="33" y="10"/>
                    <a:pt x="26" y="3"/>
                    <a:pt x="26" y="2"/>
                  </a:cubicBezTo>
                  <a:cubicBezTo>
                    <a:pt x="26" y="1"/>
                    <a:pt x="27" y="1"/>
                    <a:pt x="28" y="0"/>
                  </a:cubicBezTo>
                  <a:cubicBezTo>
                    <a:pt x="30" y="4"/>
                    <a:pt x="32" y="8"/>
                    <a:pt x="34" y="9"/>
                  </a:cubicBezTo>
                  <a:cubicBezTo>
                    <a:pt x="38" y="12"/>
                    <a:pt x="48" y="12"/>
                    <a:pt x="51" y="12"/>
                  </a:cubicBezTo>
                  <a:cubicBezTo>
                    <a:pt x="54" y="12"/>
                    <a:pt x="57" y="15"/>
                    <a:pt x="62" y="18"/>
                  </a:cubicBezTo>
                  <a:cubicBezTo>
                    <a:pt x="67" y="21"/>
                    <a:pt x="67" y="20"/>
                    <a:pt x="68" y="23"/>
                  </a:cubicBezTo>
                  <a:cubicBezTo>
                    <a:pt x="68" y="26"/>
                    <a:pt x="67" y="31"/>
                    <a:pt x="65" y="35"/>
                  </a:cubicBezTo>
                  <a:cubicBezTo>
                    <a:pt x="63" y="39"/>
                    <a:pt x="67" y="39"/>
                    <a:pt x="6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1" y="47"/>
                    <a:pt x="85" y="56"/>
                    <a:pt x="82" y="58"/>
                  </a:cubicBezTo>
                  <a:cubicBezTo>
                    <a:pt x="80" y="59"/>
                    <a:pt x="77" y="60"/>
                    <a:pt x="75" y="62"/>
                  </a:cubicBezTo>
                  <a:cubicBezTo>
                    <a:pt x="72" y="63"/>
                    <a:pt x="70" y="64"/>
                    <a:pt x="68" y="66"/>
                  </a:cubicBezTo>
                  <a:cubicBezTo>
                    <a:pt x="64" y="71"/>
                    <a:pt x="64" y="74"/>
                    <a:pt x="64" y="77"/>
                  </a:cubicBezTo>
                  <a:cubicBezTo>
                    <a:pt x="64" y="79"/>
                    <a:pt x="63" y="82"/>
                    <a:pt x="63" y="82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3" y="90"/>
                    <a:pt x="51" y="89"/>
                    <a:pt x="48" y="85"/>
                  </a:cubicBezTo>
                  <a:cubicBezTo>
                    <a:pt x="44" y="78"/>
                    <a:pt x="39" y="73"/>
                    <a:pt x="42" y="67"/>
                  </a:cubicBezTo>
                  <a:cubicBezTo>
                    <a:pt x="46" y="62"/>
                    <a:pt x="30" y="61"/>
                    <a:pt x="30" y="61"/>
                  </a:cubicBezTo>
                  <a:cubicBezTo>
                    <a:pt x="30" y="61"/>
                    <a:pt x="23" y="53"/>
                    <a:pt x="20" y="47"/>
                  </a:cubicBezTo>
                  <a:cubicBezTo>
                    <a:pt x="18" y="41"/>
                    <a:pt x="19" y="37"/>
                    <a:pt x="9" y="33"/>
                  </a:cubicBezTo>
                  <a:cubicBezTo>
                    <a:pt x="6" y="32"/>
                    <a:pt x="2" y="23"/>
                    <a:pt x="0" y="14"/>
                  </a:cubicBezTo>
                  <a:cubicBezTo>
                    <a:pt x="1" y="13"/>
                    <a:pt x="3" y="13"/>
                    <a:pt x="3" y="13"/>
                  </a:cubicBezTo>
                  <a:cubicBezTo>
                    <a:pt x="8" y="11"/>
                    <a:pt x="13" y="9"/>
                    <a:pt x="16" y="8"/>
                  </a:cubicBezTo>
                  <a:cubicBezTo>
                    <a:pt x="19" y="8"/>
                    <a:pt x="22" y="9"/>
                    <a:pt x="23" y="10"/>
                  </a:cubicBezTo>
                  <a:cubicBezTo>
                    <a:pt x="24" y="11"/>
                    <a:pt x="31" y="13"/>
                    <a:pt x="32" y="11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3" name="Freeform 66">
              <a:extLst>
                <a:ext uri="{FF2B5EF4-FFF2-40B4-BE49-F238E27FC236}">
                  <a16:creationId xmlns:a16="http://schemas.microsoft.com/office/drawing/2014/main" id="{2AA37A70-3250-4A50-B04D-96DE2A21B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620" y="1914"/>
              <a:ext cx="225" cy="224"/>
            </a:xfrm>
            <a:custGeom>
              <a:avLst/>
              <a:gdLst>
                <a:gd name="T0" fmla="*/ 777 w 121"/>
                <a:gd name="T1" fmla="*/ 366 h 120"/>
                <a:gd name="T2" fmla="*/ 725 w 121"/>
                <a:gd name="T3" fmla="*/ 383 h 120"/>
                <a:gd name="T4" fmla="*/ 701 w 121"/>
                <a:gd name="T5" fmla="*/ 610 h 120"/>
                <a:gd name="T6" fmla="*/ 584 w 121"/>
                <a:gd name="T7" fmla="*/ 773 h 120"/>
                <a:gd name="T8" fmla="*/ 418 w 121"/>
                <a:gd name="T9" fmla="*/ 721 h 120"/>
                <a:gd name="T10" fmla="*/ 257 w 121"/>
                <a:gd name="T11" fmla="*/ 773 h 120"/>
                <a:gd name="T12" fmla="*/ 52 w 121"/>
                <a:gd name="T13" fmla="*/ 735 h 120"/>
                <a:gd name="T14" fmla="*/ 113 w 121"/>
                <a:gd name="T15" fmla="*/ 691 h 120"/>
                <a:gd name="T16" fmla="*/ 32 w 121"/>
                <a:gd name="T17" fmla="*/ 638 h 120"/>
                <a:gd name="T18" fmla="*/ 121 w 121"/>
                <a:gd name="T19" fmla="*/ 599 h 120"/>
                <a:gd name="T20" fmla="*/ 76 w 121"/>
                <a:gd name="T21" fmla="*/ 526 h 120"/>
                <a:gd name="T22" fmla="*/ 173 w 121"/>
                <a:gd name="T23" fmla="*/ 511 h 120"/>
                <a:gd name="T24" fmla="*/ 298 w 121"/>
                <a:gd name="T25" fmla="*/ 502 h 120"/>
                <a:gd name="T26" fmla="*/ 141 w 121"/>
                <a:gd name="T27" fmla="*/ 482 h 120"/>
                <a:gd name="T28" fmla="*/ 257 w 121"/>
                <a:gd name="T29" fmla="*/ 414 h 120"/>
                <a:gd name="T30" fmla="*/ 342 w 121"/>
                <a:gd name="T31" fmla="*/ 411 h 120"/>
                <a:gd name="T32" fmla="*/ 245 w 121"/>
                <a:gd name="T33" fmla="*/ 353 h 120"/>
                <a:gd name="T34" fmla="*/ 210 w 121"/>
                <a:gd name="T35" fmla="*/ 248 h 120"/>
                <a:gd name="T36" fmla="*/ 301 w 121"/>
                <a:gd name="T37" fmla="*/ 241 h 120"/>
                <a:gd name="T38" fmla="*/ 270 w 121"/>
                <a:gd name="T39" fmla="*/ 174 h 120"/>
                <a:gd name="T40" fmla="*/ 301 w 121"/>
                <a:gd name="T41" fmla="*/ 91 h 120"/>
                <a:gd name="T42" fmla="*/ 381 w 121"/>
                <a:gd name="T43" fmla="*/ 129 h 120"/>
                <a:gd name="T44" fmla="*/ 426 w 121"/>
                <a:gd name="T45" fmla="*/ 149 h 120"/>
                <a:gd name="T46" fmla="*/ 502 w 121"/>
                <a:gd name="T47" fmla="*/ 170 h 120"/>
                <a:gd name="T48" fmla="*/ 567 w 121"/>
                <a:gd name="T49" fmla="*/ 121 h 120"/>
                <a:gd name="T50" fmla="*/ 547 w 121"/>
                <a:gd name="T51" fmla="*/ 52 h 120"/>
                <a:gd name="T52" fmla="*/ 643 w 121"/>
                <a:gd name="T53" fmla="*/ 0 h 120"/>
                <a:gd name="T54" fmla="*/ 748 w 121"/>
                <a:gd name="T55" fmla="*/ 7 h 120"/>
                <a:gd name="T56" fmla="*/ 720 w 121"/>
                <a:gd name="T57" fmla="*/ 65 h 120"/>
                <a:gd name="T58" fmla="*/ 708 w 121"/>
                <a:gd name="T59" fmla="*/ 91 h 120"/>
                <a:gd name="T60" fmla="*/ 591 w 121"/>
                <a:gd name="T61" fmla="*/ 233 h 120"/>
                <a:gd name="T62" fmla="*/ 712 w 121"/>
                <a:gd name="T63" fmla="*/ 261 h 12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1" h="120">
                  <a:moveTo>
                    <a:pt x="111" y="40"/>
                  </a:moveTo>
                  <a:cubicBezTo>
                    <a:pt x="112" y="42"/>
                    <a:pt x="117" y="50"/>
                    <a:pt x="121" y="56"/>
                  </a:cubicBezTo>
                  <a:cubicBezTo>
                    <a:pt x="118" y="55"/>
                    <a:pt x="116" y="54"/>
                    <a:pt x="114" y="55"/>
                  </a:cubicBezTo>
                  <a:cubicBezTo>
                    <a:pt x="112" y="57"/>
                    <a:pt x="113" y="56"/>
                    <a:pt x="113" y="59"/>
                  </a:cubicBezTo>
                  <a:cubicBezTo>
                    <a:pt x="113" y="61"/>
                    <a:pt x="115" y="66"/>
                    <a:pt x="114" y="70"/>
                  </a:cubicBezTo>
                  <a:cubicBezTo>
                    <a:pt x="113" y="74"/>
                    <a:pt x="109" y="92"/>
                    <a:pt x="109" y="94"/>
                  </a:cubicBezTo>
                  <a:cubicBezTo>
                    <a:pt x="108" y="96"/>
                    <a:pt x="93" y="112"/>
                    <a:pt x="92" y="114"/>
                  </a:cubicBezTo>
                  <a:cubicBezTo>
                    <a:pt x="92" y="116"/>
                    <a:pt x="93" y="119"/>
                    <a:pt x="91" y="119"/>
                  </a:cubicBezTo>
                  <a:cubicBezTo>
                    <a:pt x="90" y="120"/>
                    <a:pt x="86" y="118"/>
                    <a:pt x="83" y="116"/>
                  </a:cubicBezTo>
                  <a:cubicBezTo>
                    <a:pt x="80" y="115"/>
                    <a:pt x="67" y="110"/>
                    <a:pt x="65" y="111"/>
                  </a:cubicBezTo>
                  <a:cubicBezTo>
                    <a:pt x="63" y="112"/>
                    <a:pt x="63" y="117"/>
                    <a:pt x="58" y="117"/>
                  </a:cubicBezTo>
                  <a:cubicBezTo>
                    <a:pt x="53" y="118"/>
                    <a:pt x="45" y="119"/>
                    <a:pt x="40" y="119"/>
                  </a:cubicBezTo>
                  <a:cubicBezTo>
                    <a:pt x="35" y="119"/>
                    <a:pt x="16" y="118"/>
                    <a:pt x="14" y="117"/>
                  </a:cubicBezTo>
                  <a:cubicBezTo>
                    <a:pt x="11" y="117"/>
                    <a:pt x="8" y="115"/>
                    <a:pt x="8" y="113"/>
                  </a:cubicBezTo>
                  <a:cubicBezTo>
                    <a:pt x="9" y="111"/>
                    <a:pt x="16" y="112"/>
                    <a:pt x="18" y="111"/>
                  </a:cubicBezTo>
                  <a:cubicBezTo>
                    <a:pt x="21" y="110"/>
                    <a:pt x="19" y="106"/>
                    <a:pt x="18" y="106"/>
                  </a:cubicBezTo>
                  <a:cubicBezTo>
                    <a:pt x="17" y="105"/>
                    <a:pt x="4" y="106"/>
                    <a:pt x="2" y="105"/>
                  </a:cubicBezTo>
                  <a:cubicBezTo>
                    <a:pt x="0" y="103"/>
                    <a:pt x="5" y="100"/>
                    <a:pt x="5" y="98"/>
                  </a:cubicBezTo>
                  <a:cubicBezTo>
                    <a:pt x="5" y="96"/>
                    <a:pt x="4" y="92"/>
                    <a:pt x="8" y="92"/>
                  </a:cubicBezTo>
                  <a:cubicBezTo>
                    <a:pt x="12" y="92"/>
                    <a:pt x="18" y="94"/>
                    <a:pt x="19" y="92"/>
                  </a:cubicBezTo>
                  <a:cubicBezTo>
                    <a:pt x="21" y="90"/>
                    <a:pt x="4" y="87"/>
                    <a:pt x="3" y="85"/>
                  </a:cubicBezTo>
                  <a:cubicBezTo>
                    <a:pt x="3" y="82"/>
                    <a:pt x="9" y="81"/>
                    <a:pt x="12" y="81"/>
                  </a:cubicBezTo>
                  <a:cubicBezTo>
                    <a:pt x="14" y="81"/>
                    <a:pt x="17" y="85"/>
                    <a:pt x="19" y="85"/>
                  </a:cubicBezTo>
                  <a:cubicBezTo>
                    <a:pt x="20" y="84"/>
                    <a:pt x="25" y="79"/>
                    <a:pt x="27" y="79"/>
                  </a:cubicBezTo>
                  <a:cubicBezTo>
                    <a:pt x="29" y="79"/>
                    <a:pt x="37" y="81"/>
                    <a:pt x="41" y="81"/>
                  </a:cubicBezTo>
                  <a:cubicBezTo>
                    <a:pt x="44" y="81"/>
                    <a:pt x="46" y="79"/>
                    <a:pt x="46" y="77"/>
                  </a:cubicBezTo>
                  <a:cubicBezTo>
                    <a:pt x="46" y="75"/>
                    <a:pt x="45" y="75"/>
                    <a:pt x="43" y="75"/>
                  </a:cubicBezTo>
                  <a:cubicBezTo>
                    <a:pt x="41" y="75"/>
                    <a:pt x="23" y="75"/>
                    <a:pt x="22" y="74"/>
                  </a:cubicBezTo>
                  <a:cubicBezTo>
                    <a:pt x="20" y="73"/>
                    <a:pt x="31" y="70"/>
                    <a:pt x="34" y="69"/>
                  </a:cubicBezTo>
                  <a:cubicBezTo>
                    <a:pt x="37" y="68"/>
                    <a:pt x="37" y="67"/>
                    <a:pt x="40" y="64"/>
                  </a:cubicBezTo>
                  <a:cubicBezTo>
                    <a:pt x="43" y="61"/>
                    <a:pt x="43" y="61"/>
                    <a:pt x="45" y="62"/>
                  </a:cubicBezTo>
                  <a:cubicBezTo>
                    <a:pt x="48" y="64"/>
                    <a:pt x="52" y="65"/>
                    <a:pt x="53" y="63"/>
                  </a:cubicBezTo>
                  <a:cubicBezTo>
                    <a:pt x="54" y="61"/>
                    <a:pt x="54" y="57"/>
                    <a:pt x="51" y="57"/>
                  </a:cubicBezTo>
                  <a:cubicBezTo>
                    <a:pt x="48" y="56"/>
                    <a:pt x="41" y="56"/>
                    <a:pt x="38" y="54"/>
                  </a:cubicBezTo>
                  <a:cubicBezTo>
                    <a:pt x="35" y="52"/>
                    <a:pt x="31" y="46"/>
                    <a:pt x="31" y="43"/>
                  </a:cubicBezTo>
                  <a:cubicBezTo>
                    <a:pt x="30" y="40"/>
                    <a:pt x="31" y="38"/>
                    <a:pt x="33" y="38"/>
                  </a:cubicBezTo>
                  <a:cubicBezTo>
                    <a:pt x="35" y="37"/>
                    <a:pt x="39" y="35"/>
                    <a:pt x="41" y="35"/>
                  </a:cubicBezTo>
                  <a:cubicBezTo>
                    <a:pt x="43" y="35"/>
                    <a:pt x="45" y="37"/>
                    <a:pt x="47" y="37"/>
                  </a:cubicBezTo>
                  <a:cubicBezTo>
                    <a:pt x="49" y="36"/>
                    <a:pt x="50" y="35"/>
                    <a:pt x="50" y="32"/>
                  </a:cubicBezTo>
                  <a:cubicBezTo>
                    <a:pt x="50" y="30"/>
                    <a:pt x="43" y="29"/>
                    <a:pt x="42" y="27"/>
                  </a:cubicBezTo>
                  <a:cubicBezTo>
                    <a:pt x="42" y="25"/>
                    <a:pt x="44" y="22"/>
                    <a:pt x="44" y="20"/>
                  </a:cubicBezTo>
                  <a:cubicBezTo>
                    <a:pt x="44" y="18"/>
                    <a:pt x="44" y="14"/>
                    <a:pt x="47" y="14"/>
                  </a:cubicBezTo>
                  <a:cubicBezTo>
                    <a:pt x="49" y="14"/>
                    <a:pt x="51" y="14"/>
                    <a:pt x="53" y="15"/>
                  </a:cubicBezTo>
                  <a:cubicBezTo>
                    <a:pt x="54" y="16"/>
                    <a:pt x="58" y="18"/>
                    <a:pt x="59" y="20"/>
                  </a:cubicBezTo>
                  <a:cubicBezTo>
                    <a:pt x="61" y="22"/>
                    <a:pt x="58" y="26"/>
                    <a:pt x="62" y="28"/>
                  </a:cubicBezTo>
                  <a:cubicBezTo>
                    <a:pt x="65" y="29"/>
                    <a:pt x="65" y="23"/>
                    <a:pt x="66" y="23"/>
                  </a:cubicBezTo>
                  <a:cubicBezTo>
                    <a:pt x="68" y="23"/>
                    <a:pt x="72" y="28"/>
                    <a:pt x="73" y="28"/>
                  </a:cubicBezTo>
                  <a:cubicBezTo>
                    <a:pt x="74" y="29"/>
                    <a:pt x="77" y="27"/>
                    <a:pt x="78" y="26"/>
                  </a:cubicBezTo>
                  <a:cubicBezTo>
                    <a:pt x="79" y="25"/>
                    <a:pt x="82" y="22"/>
                    <a:pt x="83" y="22"/>
                  </a:cubicBezTo>
                  <a:cubicBezTo>
                    <a:pt x="85" y="22"/>
                    <a:pt x="88" y="19"/>
                    <a:pt x="88" y="19"/>
                  </a:cubicBezTo>
                  <a:cubicBezTo>
                    <a:pt x="88" y="19"/>
                    <a:pt x="75" y="16"/>
                    <a:pt x="75" y="12"/>
                  </a:cubicBezTo>
                  <a:cubicBezTo>
                    <a:pt x="76" y="8"/>
                    <a:pt x="84" y="8"/>
                    <a:pt x="85" y="8"/>
                  </a:cubicBezTo>
                  <a:cubicBezTo>
                    <a:pt x="87" y="8"/>
                    <a:pt x="87" y="2"/>
                    <a:pt x="89" y="1"/>
                  </a:cubicBezTo>
                  <a:cubicBezTo>
                    <a:pt x="90" y="0"/>
                    <a:pt x="97" y="0"/>
                    <a:pt x="100" y="0"/>
                  </a:cubicBezTo>
                  <a:cubicBezTo>
                    <a:pt x="103" y="0"/>
                    <a:pt x="108" y="0"/>
                    <a:pt x="110" y="0"/>
                  </a:cubicBezTo>
                  <a:cubicBezTo>
                    <a:pt x="111" y="0"/>
                    <a:pt x="115" y="0"/>
                    <a:pt x="116" y="1"/>
                  </a:cubicBezTo>
                  <a:cubicBezTo>
                    <a:pt x="117" y="2"/>
                    <a:pt x="119" y="5"/>
                    <a:pt x="119" y="6"/>
                  </a:cubicBezTo>
                  <a:cubicBezTo>
                    <a:pt x="119" y="7"/>
                    <a:pt x="114" y="9"/>
                    <a:pt x="112" y="10"/>
                  </a:cubicBezTo>
                  <a:cubicBezTo>
                    <a:pt x="109" y="11"/>
                    <a:pt x="106" y="13"/>
                    <a:pt x="110" y="14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08" y="17"/>
                    <a:pt x="106" y="22"/>
                    <a:pt x="104" y="23"/>
                  </a:cubicBezTo>
                  <a:cubicBezTo>
                    <a:pt x="102" y="25"/>
                    <a:pt x="92" y="32"/>
                    <a:pt x="92" y="36"/>
                  </a:cubicBezTo>
                  <a:cubicBezTo>
                    <a:pt x="92" y="39"/>
                    <a:pt x="96" y="45"/>
                    <a:pt x="98" y="45"/>
                  </a:cubicBezTo>
                  <a:cubicBezTo>
                    <a:pt x="101" y="45"/>
                    <a:pt x="110" y="38"/>
                    <a:pt x="111" y="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sp>
          <p:nvSpPr>
            <p:cNvPr id="584" name="Freeform 67">
              <a:extLst>
                <a:ext uri="{FF2B5EF4-FFF2-40B4-BE49-F238E27FC236}">
                  <a16:creationId xmlns:a16="http://schemas.microsoft.com/office/drawing/2014/main" id="{5C0C22C1-9382-4A3C-957D-5179B0170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310" y="2761"/>
              <a:ext cx="246" cy="350"/>
            </a:xfrm>
            <a:custGeom>
              <a:avLst/>
              <a:gdLst>
                <a:gd name="T0" fmla="*/ 785 w 132"/>
                <a:gd name="T1" fmla="*/ 156 h 188"/>
                <a:gd name="T2" fmla="*/ 824 w 132"/>
                <a:gd name="T3" fmla="*/ 263 h 188"/>
                <a:gd name="T4" fmla="*/ 675 w 132"/>
                <a:gd name="T5" fmla="*/ 361 h 188"/>
                <a:gd name="T6" fmla="*/ 576 w 132"/>
                <a:gd name="T7" fmla="*/ 614 h 188"/>
                <a:gd name="T8" fmla="*/ 458 w 132"/>
                <a:gd name="T9" fmla="*/ 627 h 188"/>
                <a:gd name="T10" fmla="*/ 499 w 132"/>
                <a:gd name="T11" fmla="*/ 780 h 188"/>
                <a:gd name="T12" fmla="*/ 421 w 132"/>
                <a:gd name="T13" fmla="*/ 864 h 188"/>
                <a:gd name="T14" fmla="*/ 447 w 132"/>
                <a:gd name="T15" fmla="*/ 949 h 188"/>
                <a:gd name="T16" fmla="*/ 434 w 132"/>
                <a:gd name="T17" fmla="*/ 1005 h 188"/>
                <a:gd name="T18" fmla="*/ 330 w 132"/>
                <a:gd name="T19" fmla="*/ 1070 h 188"/>
                <a:gd name="T20" fmla="*/ 285 w 132"/>
                <a:gd name="T21" fmla="*/ 1190 h 188"/>
                <a:gd name="T22" fmla="*/ 261 w 132"/>
                <a:gd name="T23" fmla="*/ 1190 h 188"/>
                <a:gd name="T24" fmla="*/ 188 w 132"/>
                <a:gd name="T25" fmla="*/ 1206 h 188"/>
                <a:gd name="T26" fmla="*/ 117 w 132"/>
                <a:gd name="T27" fmla="*/ 1147 h 188"/>
                <a:gd name="T28" fmla="*/ 45 w 132"/>
                <a:gd name="T29" fmla="*/ 1123 h 188"/>
                <a:gd name="T30" fmla="*/ 7 w 132"/>
                <a:gd name="T31" fmla="*/ 1123 h 188"/>
                <a:gd name="T32" fmla="*/ 0 w 132"/>
                <a:gd name="T33" fmla="*/ 1102 h 188"/>
                <a:gd name="T34" fmla="*/ 45 w 132"/>
                <a:gd name="T35" fmla="*/ 1057 h 188"/>
                <a:gd name="T36" fmla="*/ 97 w 132"/>
                <a:gd name="T37" fmla="*/ 957 h 188"/>
                <a:gd name="T38" fmla="*/ 112 w 132"/>
                <a:gd name="T39" fmla="*/ 890 h 188"/>
                <a:gd name="T40" fmla="*/ 136 w 132"/>
                <a:gd name="T41" fmla="*/ 801 h 188"/>
                <a:gd name="T42" fmla="*/ 73 w 132"/>
                <a:gd name="T43" fmla="*/ 788 h 188"/>
                <a:gd name="T44" fmla="*/ 89 w 132"/>
                <a:gd name="T45" fmla="*/ 728 h 188"/>
                <a:gd name="T46" fmla="*/ 39 w 132"/>
                <a:gd name="T47" fmla="*/ 696 h 188"/>
                <a:gd name="T48" fmla="*/ 117 w 132"/>
                <a:gd name="T49" fmla="*/ 586 h 188"/>
                <a:gd name="T50" fmla="*/ 112 w 132"/>
                <a:gd name="T51" fmla="*/ 547 h 188"/>
                <a:gd name="T52" fmla="*/ 181 w 132"/>
                <a:gd name="T53" fmla="*/ 531 h 188"/>
                <a:gd name="T54" fmla="*/ 375 w 132"/>
                <a:gd name="T55" fmla="*/ 225 h 188"/>
                <a:gd name="T56" fmla="*/ 421 w 132"/>
                <a:gd name="T57" fmla="*/ 7 h 188"/>
                <a:gd name="T58" fmla="*/ 539 w 132"/>
                <a:gd name="T59" fmla="*/ 13 h 188"/>
                <a:gd name="T60" fmla="*/ 563 w 132"/>
                <a:gd name="T61" fmla="*/ 76 h 188"/>
                <a:gd name="T62" fmla="*/ 785 w 132"/>
                <a:gd name="T63" fmla="*/ 156 h 1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32" h="188">
                  <a:moveTo>
                    <a:pt x="121" y="24"/>
                  </a:moveTo>
                  <a:cubicBezTo>
                    <a:pt x="121" y="24"/>
                    <a:pt x="132" y="40"/>
                    <a:pt x="127" y="41"/>
                  </a:cubicBezTo>
                  <a:cubicBezTo>
                    <a:pt x="121" y="42"/>
                    <a:pt x="107" y="52"/>
                    <a:pt x="104" y="56"/>
                  </a:cubicBezTo>
                  <a:cubicBezTo>
                    <a:pt x="101" y="60"/>
                    <a:pt x="93" y="91"/>
                    <a:pt x="89" y="95"/>
                  </a:cubicBezTo>
                  <a:cubicBezTo>
                    <a:pt x="86" y="99"/>
                    <a:pt x="74" y="92"/>
                    <a:pt x="71" y="97"/>
                  </a:cubicBezTo>
                  <a:cubicBezTo>
                    <a:pt x="69" y="102"/>
                    <a:pt x="78" y="118"/>
                    <a:pt x="77" y="121"/>
                  </a:cubicBezTo>
                  <a:cubicBezTo>
                    <a:pt x="77" y="124"/>
                    <a:pt x="71" y="127"/>
                    <a:pt x="65" y="134"/>
                  </a:cubicBezTo>
                  <a:cubicBezTo>
                    <a:pt x="60" y="140"/>
                    <a:pt x="70" y="145"/>
                    <a:pt x="69" y="147"/>
                  </a:cubicBezTo>
                  <a:cubicBezTo>
                    <a:pt x="69" y="149"/>
                    <a:pt x="68" y="152"/>
                    <a:pt x="67" y="156"/>
                  </a:cubicBezTo>
                  <a:cubicBezTo>
                    <a:pt x="65" y="160"/>
                    <a:pt x="55" y="162"/>
                    <a:pt x="51" y="166"/>
                  </a:cubicBezTo>
                  <a:cubicBezTo>
                    <a:pt x="49" y="168"/>
                    <a:pt x="46" y="176"/>
                    <a:pt x="44" y="184"/>
                  </a:cubicBezTo>
                  <a:cubicBezTo>
                    <a:pt x="42" y="184"/>
                    <a:pt x="41" y="184"/>
                    <a:pt x="40" y="184"/>
                  </a:cubicBezTo>
                  <a:cubicBezTo>
                    <a:pt x="36" y="184"/>
                    <a:pt x="31" y="188"/>
                    <a:pt x="29" y="187"/>
                  </a:cubicBezTo>
                  <a:cubicBezTo>
                    <a:pt x="26" y="185"/>
                    <a:pt x="28" y="182"/>
                    <a:pt x="18" y="178"/>
                  </a:cubicBezTo>
                  <a:cubicBezTo>
                    <a:pt x="9" y="174"/>
                    <a:pt x="10" y="174"/>
                    <a:pt x="7" y="174"/>
                  </a:cubicBezTo>
                  <a:cubicBezTo>
                    <a:pt x="4" y="174"/>
                    <a:pt x="2" y="174"/>
                    <a:pt x="1" y="174"/>
                  </a:cubicBezTo>
                  <a:cubicBezTo>
                    <a:pt x="0" y="174"/>
                    <a:pt x="0" y="173"/>
                    <a:pt x="0" y="171"/>
                  </a:cubicBezTo>
                  <a:cubicBezTo>
                    <a:pt x="1" y="168"/>
                    <a:pt x="4" y="168"/>
                    <a:pt x="7" y="164"/>
                  </a:cubicBezTo>
                  <a:cubicBezTo>
                    <a:pt x="10" y="161"/>
                    <a:pt x="15" y="150"/>
                    <a:pt x="15" y="148"/>
                  </a:cubicBezTo>
                  <a:cubicBezTo>
                    <a:pt x="16" y="145"/>
                    <a:pt x="15" y="141"/>
                    <a:pt x="17" y="138"/>
                  </a:cubicBezTo>
                  <a:cubicBezTo>
                    <a:pt x="18" y="136"/>
                    <a:pt x="24" y="127"/>
                    <a:pt x="21" y="124"/>
                  </a:cubicBezTo>
                  <a:cubicBezTo>
                    <a:pt x="18" y="120"/>
                    <a:pt x="13" y="124"/>
                    <a:pt x="11" y="122"/>
                  </a:cubicBezTo>
                  <a:cubicBezTo>
                    <a:pt x="9" y="119"/>
                    <a:pt x="15" y="115"/>
                    <a:pt x="14" y="113"/>
                  </a:cubicBezTo>
                  <a:cubicBezTo>
                    <a:pt x="12" y="110"/>
                    <a:pt x="6" y="112"/>
                    <a:pt x="6" y="108"/>
                  </a:cubicBezTo>
                  <a:cubicBezTo>
                    <a:pt x="6" y="104"/>
                    <a:pt x="18" y="93"/>
                    <a:pt x="18" y="91"/>
                  </a:cubicBezTo>
                  <a:cubicBezTo>
                    <a:pt x="18" y="89"/>
                    <a:pt x="16" y="87"/>
                    <a:pt x="17" y="85"/>
                  </a:cubicBezTo>
                  <a:cubicBezTo>
                    <a:pt x="18" y="83"/>
                    <a:pt x="23" y="86"/>
                    <a:pt x="28" y="82"/>
                  </a:cubicBezTo>
                  <a:cubicBezTo>
                    <a:pt x="32" y="77"/>
                    <a:pt x="58" y="40"/>
                    <a:pt x="58" y="35"/>
                  </a:cubicBezTo>
                  <a:cubicBezTo>
                    <a:pt x="59" y="32"/>
                    <a:pt x="63" y="8"/>
                    <a:pt x="65" y="1"/>
                  </a:cubicBezTo>
                  <a:cubicBezTo>
                    <a:pt x="73" y="1"/>
                    <a:pt x="81" y="0"/>
                    <a:pt x="83" y="2"/>
                  </a:cubicBezTo>
                  <a:cubicBezTo>
                    <a:pt x="87" y="4"/>
                    <a:pt x="81" y="10"/>
                    <a:pt x="87" y="12"/>
                  </a:cubicBezTo>
                  <a:cubicBezTo>
                    <a:pt x="92" y="14"/>
                    <a:pt x="121" y="24"/>
                    <a:pt x="121" y="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de-DE" sz="2400" dirty="0"/>
            </a:p>
          </p:txBody>
        </p:sp>
        <p:grpSp>
          <p:nvGrpSpPr>
            <p:cNvPr id="585" name="Group 68">
              <a:extLst>
                <a:ext uri="{FF2B5EF4-FFF2-40B4-BE49-F238E27FC236}">
                  <a16:creationId xmlns:a16="http://schemas.microsoft.com/office/drawing/2014/main" id="{B02EE65D-6D2C-48BE-91D7-D17BBBFC3B47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392" y="2660"/>
              <a:ext cx="661" cy="569"/>
              <a:chOff x="1392" y="2660"/>
              <a:chExt cx="661" cy="569"/>
            </a:xfrm>
            <a:grpFill/>
          </p:grpSpPr>
          <p:sp>
            <p:nvSpPr>
              <p:cNvPr id="607" name="Freeform 69">
                <a:extLst>
                  <a:ext uri="{FF2B5EF4-FFF2-40B4-BE49-F238E27FC236}">
                    <a16:creationId xmlns:a16="http://schemas.microsoft.com/office/drawing/2014/main" id="{BC643E15-41BF-472F-887F-447BFB546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2" y="2660"/>
                <a:ext cx="644" cy="569"/>
              </a:xfrm>
              <a:custGeom>
                <a:avLst/>
                <a:gdLst>
                  <a:gd name="T0" fmla="*/ 2236 w 345"/>
                  <a:gd name="T1" fmla="*/ 916 h 305"/>
                  <a:gd name="T2" fmla="*/ 2191 w 345"/>
                  <a:gd name="T3" fmla="*/ 1006 h 305"/>
                  <a:gd name="T4" fmla="*/ 1951 w 345"/>
                  <a:gd name="T5" fmla="*/ 1110 h 305"/>
                  <a:gd name="T6" fmla="*/ 1697 w 345"/>
                  <a:gd name="T7" fmla="*/ 1155 h 305"/>
                  <a:gd name="T8" fmla="*/ 1665 w 345"/>
                  <a:gd name="T9" fmla="*/ 1222 h 305"/>
                  <a:gd name="T10" fmla="*/ 1443 w 345"/>
                  <a:gd name="T11" fmla="*/ 1416 h 305"/>
                  <a:gd name="T12" fmla="*/ 1488 w 345"/>
                  <a:gd name="T13" fmla="*/ 1591 h 305"/>
                  <a:gd name="T14" fmla="*/ 1424 w 345"/>
                  <a:gd name="T15" fmla="*/ 1657 h 305"/>
                  <a:gd name="T16" fmla="*/ 1282 w 345"/>
                  <a:gd name="T17" fmla="*/ 1761 h 305"/>
                  <a:gd name="T18" fmla="*/ 1139 w 345"/>
                  <a:gd name="T19" fmla="*/ 1817 h 305"/>
                  <a:gd name="T20" fmla="*/ 937 w 345"/>
                  <a:gd name="T21" fmla="*/ 1974 h 305"/>
                  <a:gd name="T22" fmla="*/ 857 w 345"/>
                  <a:gd name="T23" fmla="*/ 1935 h 305"/>
                  <a:gd name="T24" fmla="*/ 767 w 345"/>
                  <a:gd name="T25" fmla="*/ 1907 h 305"/>
                  <a:gd name="T26" fmla="*/ 450 w 345"/>
                  <a:gd name="T27" fmla="*/ 1869 h 305"/>
                  <a:gd name="T28" fmla="*/ 306 w 345"/>
                  <a:gd name="T29" fmla="*/ 1914 h 305"/>
                  <a:gd name="T30" fmla="*/ 226 w 345"/>
                  <a:gd name="T31" fmla="*/ 1869 h 305"/>
                  <a:gd name="T32" fmla="*/ 157 w 345"/>
                  <a:gd name="T33" fmla="*/ 1716 h 305"/>
                  <a:gd name="T34" fmla="*/ 91 w 345"/>
                  <a:gd name="T35" fmla="*/ 1569 h 305"/>
                  <a:gd name="T36" fmla="*/ 45 w 345"/>
                  <a:gd name="T37" fmla="*/ 1427 h 305"/>
                  <a:gd name="T38" fmla="*/ 164 w 345"/>
                  <a:gd name="T39" fmla="*/ 1306 h 305"/>
                  <a:gd name="T40" fmla="*/ 217 w 345"/>
                  <a:gd name="T41" fmla="*/ 1134 h 305"/>
                  <a:gd name="T42" fmla="*/ 293 w 345"/>
                  <a:gd name="T43" fmla="*/ 968 h 305"/>
                  <a:gd name="T44" fmla="*/ 539 w 345"/>
                  <a:gd name="T45" fmla="*/ 616 h 305"/>
                  <a:gd name="T46" fmla="*/ 278 w 345"/>
                  <a:gd name="T47" fmla="*/ 427 h 305"/>
                  <a:gd name="T48" fmla="*/ 136 w 345"/>
                  <a:gd name="T49" fmla="*/ 358 h 305"/>
                  <a:gd name="T50" fmla="*/ 196 w 345"/>
                  <a:gd name="T51" fmla="*/ 293 h 305"/>
                  <a:gd name="T52" fmla="*/ 209 w 345"/>
                  <a:gd name="T53" fmla="*/ 209 h 305"/>
                  <a:gd name="T54" fmla="*/ 174 w 345"/>
                  <a:gd name="T55" fmla="*/ 118 h 305"/>
                  <a:gd name="T56" fmla="*/ 174 w 345"/>
                  <a:gd name="T57" fmla="*/ 39 h 305"/>
                  <a:gd name="T58" fmla="*/ 261 w 345"/>
                  <a:gd name="T59" fmla="*/ 39 h 305"/>
                  <a:gd name="T60" fmla="*/ 353 w 345"/>
                  <a:gd name="T61" fmla="*/ 60 h 305"/>
                  <a:gd name="T62" fmla="*/ 450 w 345"/>
                  <a:gd name="T63" fmla="*/ 0 h 305"/>
                  <a:gd name="T64" fmla="*/ 547 w 345"/>
                  <a:gd name="T65" fmla="*/ 97 h 305"/>
                  <a:gd name="T66" fmla="*/ 767 w 345"/>
                  <a:gd name="T67" fmla="*/ 142 h 305"/>
                  <a:gd name="T68" fmla="*/ 1029 w 345"/>
                  <a:gd name="T69" fmla="*/ 298 h 305"/>
                  <a:gd name="T70" fmla="*/ 1185 w 345"/>
                  <a:gd name="T71" fmla="*/ 390 h 305"/>
                  <a:gd name="T72" fmla="*/ 1327 w 345"/>
                  <a:gd name="T73" fmla="*/ 422 h 305"/>
                  <a:gd name="T74" fmla="*/ 1463 w 345"/>
                  <a:gd name="T75" fmla="*/ 494 h 305"/>
                  <a:gd name="T76" fmla="*/ 1764 w 345"/>
                  <a:gd name="T77" fmla="*/ 707 h 305"/>
                  <a:gd name="T78" fmla="*/ 1958 w 345"/>
                  <a:gd name="T79" fmla="*/ 780 h 305"/>
                  <a:gd name="T80" fmla="*/ 2199 w 345"/>
                  <a:gd name="T81" fmla="*/ 864 h 30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345" h="305">
                    <a:moveTo>
                      <a:pt x="340" y="136"/>
                    </a:moveTo>
                    <a:cubicBezTo>
                      <a:pt x="345" y="138"/>
                      <a:pt x="345" y="138"/>
                      <a:pt x="344" y="141"/>
                    </a:cubicBezTo>
                    <a:cubicBezTo>
                      <a:pt x="344" y="143"/>
                      <a:pt x="337" y="141"/>
                      <a:pt x="337" y="144"/>
                    </a:cubicBezTo>
                    <a:cubicBezTo>
                      <a:pt x="337" y="148"/>
                      <a:pt x="342" y="154"/>
                      <a:pt x="337" y="155"/>
                    </a:cubicBezTo>
                    <a:cubicBezTo>
                      <a:pt x="333" y="157"/>
                      <a:pt x="311" y="162"/>
                      <a:pt x="308" y="165"/>
                    </a:cubicBezTo>
                    <a:cubicBezTo>
                      <a:pt x="306" y="168"/>
                      <a:pt x="302" y="171"/>
                      <a:pt x="300" y="171"/>
                    </a:cubicBezTo>
                    <a:cubicBezTo>
                      <a:pt x="297" y="171"/>
                      <a:pt x="274" y="171"/>
                      <a:pt x="271" y="172"/>
                    </a:cubicBezTo>
                    <a:cubicBezTo>
                      <a:pt x="268" y="174"/>
                      <a:pt x="262" y="176"/>
                      <a:pt x="261" y="178"/>
                    </a:cubicBezTo>
                    <a:cubicBezTo>
                      <a:pt x="260" y="179"/>
                      <a:pt x="269" y="181"/>
                      <a:pt x="267" y="183"/>
                    </a:cubicBezTo>
                    <a:cubicBezTo>
                      <a:pt x="266" y="185"/>
                      <a:pt x="258" y="187"/>
                      <a:pt x="256" y="188"/>
                    </a:cubicBezTo>
                    <a:cubicBezTo>
                      <a:pt x="254" y="188"/>
                      <a:pt x="252" y="188"/>
                      <a:pt x="249" y="191"/>
                    </a:cubicBezTo>
                    <a:cubicBezTo>
                      <a:pt x="246" y="195"/>
                      <a:pt x="225" y="211"/>
                      <a:pt x="222" y="218"/>
                    </a:cubicBezTo>
                    <a:cubicBezTo>
                      <a:pt x="219" y="225"/>
                      <a:pt x="220" y="233"/>
                      <a:pt x="221" y="237"/>
                    </a:cubicBezTo>
                    <a:cubicBezTo>
                      <a:pt x="222" y="241"/>
                      <a:pt x="227" y="243"/>
                      <a:pt x="229" y="245"/>
                    </a:cubicBezTo>
                    <a:cubicBezTo>
                      <a:pt x="231" y="246"/>
                      <a:pt x="231" y="248"/>
                      <a:pt x="231" y="250"/>
                    </a:cubicBezTo>
                    <a:cubicBezTo>
                      <a:pt x="231" y="251"/>
                      <a:pt x="224" y="254"/>
                      <a:pt x="219" y="255"/>
                    </a:cubicBezTo>
                    <a:cubicBezTo>
                      <a:pt x="215" y="255"/>
                      <a:pt x="212" y="254"/>
                      <a:pt x="207" y="259"/>
                    </a:cubicBezTo>
                    <a:cubicBezTo>
                      <a:pt x="202" y="263"/>
                      <a:pt x="199" y="266"/>
                      <a:pt x="197" y="271"/>
                    </a:cubicBezTo>
                    <a:cubicBezTo>
                      <a:pt x="194" y="276"/>
                      <a:pt x="196" y="281"/>
                      <a:pt x="194" y="283"/>
                    </a:cubicBezTo>
                    <a:cubicBezTo>
                      <a:pt x="192" y="284"/>
                      <a:pt x="178" y="279"/>
                      <a:pt x="175" y="280"/>
                    </a:cubicBezTo>
                    <a:cubicBezTo>
                      <a:pt x="172" y="281"/>
                      <a:pt x="163" y="284"/>
                      <a:pt x="160" y="287"/>
                    </a:cubicBezTo>
                    <a:cubicBezTo>
                      <a:pt x="158" y="291"/>
                      <a:pt x="149" y="305"/>
                      <a:pt x="144" y="304"/>
                    </a:cubicBezTo>
                    <a:cubicBezTo>
                      <a:pt x="139" y="303"/>
                      <a:pt x="144" y="297"/>
                      <a:pt x="140" y="297"/>
                    </a:cubicBezTo>
                    <a:cubicBezTo>
                      <a:pt x="136" y="297"/>
                      <a:pt x="134" y="295"/>
                      <a:pt x="132" y="298"/>
                    </a:cubicBezTo>
                    <a:cubicBezTo>
                      <a:pt x="129" y="301"/>
                      <a:pt x="123" y="301"/>
                      <a:pt x="122" y="299"/>
                    </a:cubicBezTo>
                    <a:cubicBezTo>
                      <a:pt x="120" y="298"/>
                      <a:pt x="122" y="296"/>
                      <a:pt x="118" y="294"/>
                    </a:cubicBezTo>
                    <a:cubicBezTo>
                      <a:pt x="113" y="292"/>
                      <a:pt x="85" y="283"/>
                      <a:pt x="81" y="284"/>
                    </a:cubicBezTo>
                    <a:cubicBezTo>
                      <a:pt x="78" y="285"/>
                      <a:pt x="72" y="290"/>
                      <a:pt x="69" y="288"/>
                    </a:cubicBezTo>
                    <a:cubicBezTo>
                      <a:pt x="66" y="287"/>
                      <a:pt x="60" y="286"/>
                      <a:pt x="56" y="287"/>
                    </a:cubicBezTo>
                    <a:cubicBezTo>
                      <a:pt x="50" y="288"/>
                      <a:pt x="50" y="295"/>
                      <a:pt x="47" y="295"/>
                    </a:cubicBezTo>
                    <a:cubicBezTo>
                      <a:pt x="44" y="295"/>
                      <a:pt x="40" y="299"/>
                      <a:pt x="38" y="296"/>
                    </a:cubicBezTo>
                    <a:cubicBezTo>
                      <a:pt x="36" y="293"/>
                      <a:pt x="36" y="290"/>
                      <a:pt x="35" y="288"/>
                    </a:cubicBezTo>
                    <a:cubicBezTo>
                      <a:pt x="34" y="285"/>
                      <a:pt x="27" y="290"/>
                      <a:pt x="26" y="285"/>
                    </a:cubicBezTo>
                    <a:cubicBezTo>
                      <a:pt x="26" y="280"/>
                      <a:pt x="24" y="266"/>
                      <a:pt x="24" y="264"/>
                    </a:cubicBezTo>
                    <a:cubicBezTo>
                      <a:pt x="24" y="262"/>
                      <a:pt x="26" y="260"/>
                      <a:pt x="26" y="258"/>
                    </a:cubicBezTo>
                    <a:cubicBezTo>
                      <a:pt x="26" y="256"/>
                      <a:pt x="17" y="244"/>
                      <a:pt x="14" y="242"/>
                    </a:cubicBezTo>
                    <a:cubicBezTo>
                      <a:pt x="12" y="240"/>
                      <a:pt x="5" y="238"/>
                      <a:pt x="0" y="238"/>
                    </a:cubicBezTo>
                    <a:cubicBezTo>
                      <a:pt x="2" y="230"/>
                      <a:pt x="5" y="222"/>
                      <a:pt x="7" y="220"/>
                    </a:cubicBezTo>
                    <a:cubicBezTo>
                      <a:pt x="11" y="216"/>
                      <a:pt x="21" y="214"/>
                      <a:pt x="23" y="210"/>
                    </a:cubicBezTo>
                    <a:cubicBezTo>
                      <a:pt x="24" y="206"/>
                      <a:pt x="25" y="203"/>
                      <a:pt x="25" y="201"/>
                    </a:cubicBezTo>
                    <a:cubicBezTo>
                      <a:pt x="26" y="199"/>
                      <a:pt x="16" y="194"/>
                      <a:pt x="21" y="188"/>
                    </a:cubicBezTo>
                    <a:cubicBezTo>
                      <a:pt x="27" y="181"/>
                      <a:pt x="33" y="178"/>
                      <a:pt x="33" y="175"/>
                    </a:cubicBezTo>
                    <a:cubicBezTo>
                      <a:pt x="34" y="172"/>
                      <a:pt x="25" y="156"/>
                      <a:pt x="27" y="151"/>
                    </a:cubicBezTo>
                    <a:cubicBezTo>
                      <a:pt x="30" y="146"/>
                      <a:pt x="42" y="153"/>
                      <a:pt x="45" y="149"/>
                    </a:cubicBezTo>
                    <a:cubicBezTo>
                      <a:pt x="49" y="145"/>
                      <a:pt x="57" y="114"/>
                      <a:pt x="60" y="110"/>
                    </a:cubicBezTo>
                    <a:cubicBezTo>
                      <a:pt x="63" y="106"/>
                      <a:pt x="77" y="96"/>
                      <a:pt x="83" y="95"/>
                    </a:cubicBezTo>
                    <a:cubicBezTo>
                      <a:pt x="88" y="94"/>
                      <a:pt x="77" y="78"/>
                      <a:pt x="77" y="78"/>
                    </a:cubicBezTo>
                    <a:cubicBezTo>
                      <a:pt x="77" y="78"/>
                      <a:pt x="48" y="68"/>
                      <a:pt x="43" y="66"/>
                    </a:cubicBezTo>
                    <a:cubicBezTo>
                      <a:pt x="37" y="64"/>
                      <a:pt x="43" y="58"/>
                      <a:pt x="39" y="56"/>
                    </a:cubicBezTo>
                    <a:cubicBezTo>
                      <a:pt x="37" y="54"/>
                      <a:pt x="29" y="55"/>
                      <a:pt x="21" y="55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2" y="50"/>
                      <a:pt x="29" y="48"/>
                      <a:pt x="30" y="45"/>
                    </a:cubicBezTo>
                    <a:cubicBezTo>
                      <a:pt x="31" y="43"/>
                      <a:pt x="25" y="42"/>
                      <a:pt x="25" y="40"/>
                    </a:cubicBezTo>
                    <a:cubicBezTo>
                      <a:pt x="26" y="37"/>
                      <a:pt x="32" y="37"/>
                      <a:pt x="32" y="32"/>
                    </a:cubicBezTo>
                    <a:cubicBezTo>
                      <a:pt x="32" y="28"/>
                      <a:pt x="24" y="34"/>
                      <a:pt x="24" y="31"/>
                    </a:cubicBezTo>
                    <a:cubicBezTo>
                      <a:pt x="24" y="28"/>
                      <a:pt x="28" y="21"/>
                      <a:pt x="27" y="18"/>
                    </a:cubicBezTo>
                    <a:cubicBezTo>
                      <a:pt x="27" y="16"/>
                      <a:pt x="20" y="19"/>
                      <a:pt x="22" y="15"/>
                    </a:cubicBezTo>
                    <a:cubicBezTo>
                      <a:pt x="24" y="12"/>
                      <a:pt x="25" y="7"/>
                      <a:pt x="27" y="6"/>
                    </a:cubicBezTo>
                    <a:cubicBezTo>
                      <a:pt x="30" y="5"/>
                      <a:pt x="31" y="10"/>
                      <a:pt x="33" y="9"/>
                    </a:cubicBezTo>
                    <a:cubicBezTo>
                      <a:pt x="36" y="9"/>
                      <a:pt x="39" y="6"/>
                      <a:pt x="40" y="6"/>
                    </a:cubicBezTo>
                    <a:cubicBezTo>
                      <a:pt x="40" y="6"/>
                      <a:pt x="44" y="9"/>
                      <a:pt x="47" y="9"/>
                    </a:cubicBezTo>
                    <a:cubicBezTo>
                      <a:pt x="50" y="9"/>
                      <a:pt x="54" y="10"/>
                      <a:pt x="54" y="9"/>
                    </a:cubicBezTo>
                    <a:cubicBezTo>
                      <a:pt x="55" y="8"/>
                      <a:pt x="52" y="3"/>
                      <a:pt x="55" y="2"/>
                    </a:cubicBezTo>
                    <a:cubicBezTo>
                      <a:pt x="58" y="1"/>
                      <a:pt x="64" y="0"/>
                      <a:pt x="69" y="0"/>
                    </a:cubicBezTo>
                    <a:cubicBezTo>
                      <a:pt x="74" y="0"/>
                      <a:pt x="79" y="7"/>
                      <a:pt x="80" y="8"/>
                    </a:cubicBezTo>
                    <a:cubicBezTo>
                      <a:pt x="82" y="10"/>
                      <a:pt x="82" y="15"/>
                      <a:pt x="84" y="15"/>
                    </a:cubicBezTo>
                    <a:cubicBezTo>
                      <a:pt x="86" y="15"/>
                      <a:pt x="108" y="24"/>
                      <a:pt x="110" y="24"/>
                    </a:cubicBezTo>
                    <a:cubicBezTo>
                      <a:pt x="113" y="24"/>
                      <a:pt x="115" y="21"/>
                      <a:pt x="118" y="22"/>
                    </a:cubicBezTo>
                    <a:cubicBezTo>
                      <a:pt x="121" y="23"/>
                      <a:pt x="119" y="28"/>
                      <a:pt x="121" y="29"/>
                    </a:cubicBezTo>
                    <a:cubicBezTo>
                      <a:pt x="124" y="29"/>
                      <a:pt x="150" y="46"/>
                      <a:pt x="158" y="46"/>
                    </a:cubicBezTo>
                    <a:cubicBezTo>
                      <a:pt x="167" y="46"/>
                      <a:pt x="171" y="46"/>
                      <a:pt x="174" y="48"/>
                    </a:cubicBezTo>
                    <a:cubicBezTo>
                      <a:pt x="177" y="49"/>
                      <a:pt x="180" y="59"/>
                      <a:pt x="182" y="60"/>
                    </a:cubicBezTo>
                    <a:cubicBezTo>
                      <a:pt x="185" y="60"/>
                      <a:pt x="188" y="55"/>
                      <a:pt x="190" y="56"/>
                    </a:cubicBezTo>
                    <a:cubicBezTo>
                      <a:pt x="193" y="56"/>
                      <a:pt x="201" y="64"/>
                      <a:pt x="204" y="65"/>
                    </a:cubicBezTo>
                    <a:cubicBezTo>
                      <a:pt x="207" y="67"/>
                      <a:pt x="216" y="68"/>
                      <a:pt x="221" y="67"/>
                    </a:cubicBezTo>
                    <a:cubicBezTo>
                      <a:pt x="223" y="71"/>
                      <a:pt x="225" y="75"/>
                      <a:pt x="225" y="76"/>
                    </a:cubicBezTo>
                    <a:cubicBezTo>
                      <a:pt x="227" y="78"/>
                      <a:pt x="245" y="97"/>
                      <a:pt x="253" y="101"/>
                    </a:cubicBezTo>
                    <a:cubicBezTo>
                      <a:pt x="261" y="105"/>
                      <a:pt x="265" y="108"/>
                      <a:pt x="271" y="109"/>
                    </a:cubicBezTo>
                    <a:cubicBezTo>
                      <a:pt x="276" y="110"/>
                      <a:pt x="279" y="101"/>
                      <a:pt x="282" y="103"/>
                    </a:cubicBezTo>
                    <a:cubicBezTo>
                      <a:pt x="285" y="105"/>
                      <a:pt x="296" y="114"/>
                      <a:pt x="301" y="120"/>
                    </a:cubicBezTo>
                    <a:cubicBezTo>
                      <a:pt x="307" y="125"/>
                      <a:pt x="319" y="132"/>
                      <a:pt x="323" y="132"/>
                    </a:cubicBezTo>
                    <a:cubicBezTo>
                      <a:pt x="325" y="133"/>
                      <a:pt x="331" y="133"/>
                      <a:pt x="338" y="133"/>
                    </a:cubicBezTo>
                    <a:cubicBezTo>
                      <a:pt x="338" y="134"/>
                      <a:pt x="339" y="135"/>
                      <a:pt x="340" y="13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8" name="Freeform 70">
                <a:extLst>
                  <a:ext uri="{FF2B5EF4-FFF2-40B4-BE49-F238E27FC236}">
                    <a16:creationId xmlns:a16="http://schemas.microsoft.com/office/drawing/2014/main" id="{4C13B94C-BA2A-4D2B-9281-9C475A8675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35" y="3072"/>
                <a:ext cx="69" cy="58"/>
              </a:xfrm>
              <a:custGeom>
                <a:avLst/>
                <a:gdLst>
                  <a:gd name="T0" fmla="*/ 194 w 37"/>
                  <a:gd name="T1" fmla="*/ 67 h 31"/>
                  <a:gd name="T2" fmla="*/ 241 w 37"/>
                  <a:gd name="T3" fmla="*/ 92 h 31"/>
                  <a:gd name="T4" fmla="*/ 188 w 37"/>
                  <a:gd name="T5" fmla="*/ 178 h 31"/>
                  <a:gd name="T6" fmla="*/ 117 w 37"/>
                  <a:gd name="T7" fmla="*/ 178 h 31"/>
                  <a:gd name="T8" fmla="*/ 104 w 37"/>
                  <a:gd name="T9" fmla="*/ 112 h 31"/>
                  <a:gd name="T10" fmla="*/ 45 w 37"/>
                  <a:gd name="T11" fmla="*/ 125 h 31"/>
                  <a:gd name="T12" fmla="*/ 7 w 37"/>
                  <a:gd name="T13" fmla="*/ 73 h 31"/>
                  <a:gd name="T14" fmla="*/ 121 w 37"/>
                  <a:gd name="T15" fmla="*/ 32 h 31"/>
                  <a:gd name="T16" fmla="*/ 194 w 37"/>
                  <a:gd name="T17" fmla="*/ 21 h 31"/>
                  <a:gd name="T18" fmla="*/ 194 w 37"/>
                  <a:gd name="T19" fmla="*/ 67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31">
                    <a:moveTo>
                      <a:pt x="30" y="10"/>
                    </a:moveTo>
                    <a:cubicBezTo>
                      <a:pt x="34" y="11"/>
                      <a:pt x="37" y="8"/>
                      <a:pt x="37" y="14"/>
                    </a:cubicBezTo>
                    <a:cubicBezTo>
                      <a:pt x="37" y="20"/>
                      <a:pt x="29" y="27"/>
                      <a:pt x="29" y="27"/>
                    </a:cubicBezTo>
                    <a:cubicBezTo>
                      <a:pt x="26" y="29"/>
                      <a:pt x="20" y="31"/>
                      <a:pt x="18" y="27"/>
                    </a:cubicBezTo>
                    <a:cubicBezTo>
                      <a:pt x="16" y="24"/>
                      <a:pt x="18" y="19"/>
                      <a:pt x="16" y="17"/>
                    </a:cubicBezTo>
                    <a:cubicBezTo>
                      <a:pt x="14" y="15"/>
                      <a:pt x="10" y="20"/>
                      <a:pt x="7" y="19"/>
                    </a:cubicBezTo>
                    <a:cubicBezTo>
                      <a:pt x="4" y="19"/>
                      <a:pt x="0" y="13"/>
                      <a:pt x="1" y="11"/>
                    </a:cubicBezTo>
                    <a:cubicBezTo>
                      <a:pt x="2" y="9"/>
                      <a:pt x="15" y="6"/>
                      <a:pt x="19" y="5"/>
                    </a:cubicBezTo>
                    <a:cubicBezTo>
                      <a:pt x="23" y="3"/>
                      <a:pt x="30" y="0"/>
                      <a:pt x="30" y="3"/>
                    </a:cubicBezTo>
                    <a:cubicBezTo>
                      <a:pt x="31" y="5"/>
                      <a:pt x="26" y="9"/>
                      <a:pt x="30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9" name="Freeform 71">
                <a:extLst>
                  <a:ext uri="{FF2B5EF4-FFF2-40B4-BE49-F238E27FC236}">
                    <a16:creationId xmlns:a16="http://schemas.microsoft.com/office/drawing/2014/main" id="{8E5114EA-0DAE-441F-8349-3A6603A462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72" y="3115"/>
                <a:ext cx="28" cy="24"/>
              </a:xfrm>
              <a:custGeom>
                <a:avLst/>
                <a:gdLst>
                  <a:gd name="T0" fmla="*/ 52 w 15"/>
                  <a:gd name="T1" fmla="*/ 0 h 13"/>
                  <a:gd name="T2" fmla="*/ 91 w 15"/>
                  <a:gd name="T3" fmla="*/ 7 h 13"/>
                  <a:gd name="T4" fmla="*/ 91 w 15"/>
                  <a:gd name="T5" fmla="*/ 37 h 13"/>
                  <a:gd name="T6" fmla="*/ 52 w 15"/>
                  <a:gd name="T7" fmla="*/ 61 h 13"/>
                  <a:gd name="T8" fmla="*/ 39 w 15"/>
                  <a:gd name="T9" fmla="*/ 81 h 13"/>
                  <a:gd name="T10" fmla="*/ 13 w 15"/>
                  <a:gd name="T11" fmla="*/ 57 h 13"/>
                  <a:gd name="T12" fmla="*/ 7 w 15"/>
                  <a:gd name="T13" fmla="*/ 31 h 13"/>
                  <a:gd name="T14" fmla="*/ 32 w 15"/>
                  <a:gd name="T15" fmla="*/ 24 h 13"/>
                  <a:gd name="T16" fmla="*/ 52 w 15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" h="13">
                    <a:moveTo>
                      <a:pt x="8" y="0"/>
                    </a:moveTo>
                    <a:cubicBezTo>
                      <a:pt x="10" y="0"/>
                      <a:pt x="13" y="0"/>
                      <a:pt x="14" y="1"/>
                    </a:cubicBezTo>
                    <a:cubicBezTo>
                      <a:pt x="15" y="2"/>
                      <a:pt x="15" y="5"/>
                      <a:pt x="14" y="6"/>
                    </a:cubicBezTo>
                    <a:cubicBezTo>
                      <a:pt x="13" y="7"/>
                      <a:pt x="9" y="9"/>
                      <a:pt x="8" y="10"/>
                    </a:cubicBezTo>
                    <a:cubicBezTo>
                      <a:pt x="8" y="11"/>
                      <a:pt x="8" y="13"/>
                      <a:pt x="6" y="13"/>
                    </a:cubicBezTo>
                    <a:cubicBezTo>
                      <a:pt x="5" y="13"/>
                      <a:pt x="4" y="10"/>
                      <a:pt x="2" y="9"/>
                    </a:cubicBezTo>
                    <a:cubicBezTo>
                      <a:pt x="0" y="9"/>
                      <a:pt x="0" y="7"/>
                      <a:pt x="1" y="5"/>
                    </a:cubicBezTo>
                    <a:cubicBezTo>
                      <a:pt x="1" y="3"/>
                      <a:pt x="4" y="5"/>
                      <a:pt x="5" y="4"/>
                    </a:cubicBezTo>
                    <a:cubicBezTo>
                      <a:pt x="6" y="4"/>
                      <a:pt x="6" y="0"/>
                      <a:pt x="8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10" name="Freeform 72">
                <a:extLst>
                  <a:ext uri="{FF2B5EF4-FFF2-40B4-BE49-F238E27FC236}">
                    <a16:creationId xmlns:a16="http://schemas.microsoft.com/office/drawing/2014/main" id="{04432815-6358-4621-BCFE-7EB46FD23D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21" y="3078"/>
                <a:ext cx="32" cy="28"/>
              </a:xfrm>
              <a:custGeom>
                <a:avLst/>
                <a:gdLst>
                  <a:gd name="T0" fmla="*/ 21 w 17"/>
                  <a:gd name="T1" fmla="*/ 7 h 15"/>
                  <a:gd name="T2" fmla="*/ 68 w 17"/>
                  <a:gd name="T3" fmla="*/ 7 h 15"/>
                  <a:gd name="T4" fmla="*/ 105 w 17"/>
                  <a:gd name="T5" fmla="*/ 45 h 15"/>
                  <a:gd name="T6" fmla="*/ 100 w 17"/>
                  <a:gd name="T7" fmla="*/ 91 h 15"/>
                  <a:gd name="T8" fmla="*/ 45 w 17"/>
                  <a:gd name="T9" fmla="*/ 60 h 15"/>
                  <a:gd name="T10" fmla="*/ 8 w 17"/>
                  <a:gd name="T11" fmla="*/ 52 h 15"/>
                  <a:gd name="T12" fmla="*/ 8 w 17"/>
                  <a:gd name="T13" fmla="*/ 13 h 15"/>
                  <a:gd name="T14" fmla="*/ 21 w 17"/>
                  <a:gd name="T15" fmla="*/ 7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15">
                    <a:moveTo>
                      <a:pt x="3" y="1"/>
                    </a:moveTo>
                    <a:cubicBezTo>
                      <a:pt x="4" y="1"/>
                      <a:pt x="8" y="0"/>
                      <a:pt x="10" y="1"/>
                    </a:cubicBezTo>
                    <a:cubicBezTo>
                      <a:pt x="11" y="1"/>
                      <a:pt x="16" y="4"/>
                      <a:pt x="16" y="7"/>
                    </a:cubicBezTo>
                    <a:cubicBezTo>
                      <a:pt x="17" y="11"/>
                      <a:pt x="17" y="15"/>
                      <a:pt x="15" y="14"/>
                    </a:cubicBezTo>
                    <a:cubicBezTo>
                      <a:pt x="12" y="14"/>
                      <a:pt x="9" y="9"/>
                      <a:pt x="7" y="9"/>
                    </a:cubicBezTo>
                    <a:cubicBezTo>
                      <a:pt x="5" y="8"/>
                      <a:pt x="1" y="8"/>
                      <a:pt x="1" y="8"/>
                    </a:cubicBezTo>
                    <a:cubicBezTo>
                      <a:pt x="0" y="8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6" name="Group 73">
              <a:extLst>
                <a:ext uri="{FF2B5EF4-FFF2-40B4-BE49-F238E27FC236}">
                  <a16:creationId xmlns:a16="http://schemas.microsoft.com/office/drawing/2014/main" id="{EE6D75C3-50E5-49D8-ABF1-988AA916A85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760" y="1626"/>
              <a:ext cx="429" cy="694"/>
              <a:chOff x="1760" y="1626"/>
              <a:chExt cx="429" cy="694"/>
            </a:xfrm>
            <a:grpFill/>
          </p:grpSpPr>
          <p:sp>
            <p:nvSpPr>
              <p:cNvPr id="601" name="Freeform 74">
                <a:extLst>
                  <a:ext uri="{FF2B5EF4-FFF2-40B4-BE49-F238E27FC236}">
                    <a16:creationId xmlns:a16="http://schemas.microsoft.com/office/drawing/2014/main" id="{519AF323-816D-463D-86A3-43F5568E26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09" y="1718"/>
                <a:ext cx="50" cy="45"/>
              </a:xfrm>
              <a:custGeom>
                <a:avLst/>
                <a:gdLst>
                  <a:gd name="T0" fmla="*/ 157 w 27"/>
                  <a:gd name="T1" fmla="*/ 8 h 24"/>
                  <a:gd name="T2" fmla="*/ 165 w 27"/>
                  <a:gd name="T3" fmla="*/ 32 h 24"/>
                  <a:gd name="T4" fmla="*/ 148 w 27"/>
                  <a:gd name="T5" fmla="*/ 73 h 24"/>
                  <a:gd name="T6" fmla="*/ 104 w 27"/>
                  <a:gd name="T7" fmla="*/ 105 h 24"/>
                  <a:gd name="T8" fmla="*/ 65 w 27"/>
                  <a:gd name="T9" fmla="*/ 137 h 24"/>
                  <a:gd name="T10" fmla="*/ 20 w 27"/>
                  <a:gd name="T11" fmla="*/ 158 h 24"/>
                  <a:gd name="T12" fmla="*/ 7 w 27"/>
                  <a:gd name="T13" fmla="*/ 113 h 24"/>
                  <a:gd name="T14" fmla="*/ 24 w 27"/>
                  <a:gd name="T15" fmla="*/ 39 h 24"/>
                  <a:gd name="T16" fmla="*/ 81 w 27"/>
                  <a:gd name="T17" fmla="*/ 32 h 24"/>
                  <a:gd name="T18" fmla="*/ 157 w 27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25" y="1"/>
                    </a:moveTo>
                    <a:cubicBezTo>
                      <a:pt x="27" y="0"/>
                      <a:pt x="27" y="3"/>
                      <a:pt x="26" y="5"/>
                    </a:cubicBezTo>
                    <a:cubicBezTo>
                      <a:pt x="26" y="8"/>
                      <a:pt x="26" y="10"/>
                      <a:pt x="23" y="11"/>
                    </a:cubicBezTo>
                    <a:cubicBezTo>
                      <a:pt x="21" y="12"/>
                      <a:pt x="17" y="13"/>
                      <a:pt x="16" y="16"/>
                    </a:cubicBezTo>
                    <a:cubicBezTo>
                      <a:pt x="15" y="18"/>
                      <a:pt x="10" y="21"/>
                      <a:pt x="10" y="21"/>
                    </a:cubicBezTo>
                    <a:cubicBezTo>
                      <a:pt x="8" y="22"/>
                      <a:pt x="4" y="23"/>
                      <a:pt x="3" y="24"/>
                    </a:cubicBezTo>
                    <a:cubicBezTo>
                      <a:pt x="2" y="24"/>
                      <a:pt x="0" y="20"/>
                      <a:pt x="1" y="17"/>
                    </a:cubicBezTo>
                    <a:cubicBezTo>
                      <a:pt x="1" y="13"/>
                      <a:pt x="1" y="7"/>
                      <a:pt x="4" y="6"/>
                    </a:cubicBezTo>
                    <a:cubicBezTo>
                      <a:pt x="7" y="5"/>
                      <a:pt x="10" y="6"/>
                      <a:pt x="13" y="5"/>
                    </a:cubicBezTo>
                    <a:cubicBezTo>
                      <a:pt x="17" y="5"/>
                      <a:pt x="23" y="1"/>
                      <a:pt x="25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2" name="Freeform 75">
                <a:extLst>
                  <a:ext uri="{FF2B5EF4-FFF2-40B4-BE49-F238E27FC236}">
                    <a16:creationId xmlns:a16="http://schemas.microsoft.com/office/drawing/2014/main" id="{38A8813E-2088-4D45-A4FC-9C77027887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0" y="1731"/>
                <a:ext cx="367" cy="589"/>
              </a:xfrm>
              <a:custGeom>
                <a:avLst/>
                <a:gdLst>
                  <a:gd name="T0" fmla="*/ 639 w 197"/>
                  <a:gd name="T1" fmla="*/ 261 h 316"/>
                  <a:gd name="T2" fmla="*/ 691 w 197"/>
                  <a:gd name="T3" fmla="*/ 142 h 316"/>
                  <a:gd name="T4" fmla="*/ 777 w 197"/>
                  <a:gd name="T5" fmla="*/ 76 h 316"/>
                  <a:gd name="T6" fmla="*/ 885 w 197"/>
                  <a:gd name="T7" fmla="*/ 45 h 316"/>
                  <a:gd name="T8" fmla="*/ 1021 w 197"/>
                  <a:gd name="T9" fmla="*/ 136 h 316"/>
                  <a:gd name="T10" fmla="*/ 905 w 197"/>
                  <a:gd name="T11" fmla="*/ 226 h 316"/>
                  <a:gd name="T12" fmla="*/ 1066 w 197"/>
                  <a:gd name="T13" fmla="*/ 322 h 316"/>
                  <a:gd name="T14" fmla="*/ 1034 w 197"/>
                  <a:gd name="T15" fmla="*/ 503 h 316"/>
                  <a:gd name="T16" fmla="*/ 840 w 197"/>
                  <a:gd name="T17" fmla="*/ 595 h 316"/>
                  <a:gd name="T18" fmla="*/ 833 w 197"/>
                  <a:gd name="T19" fmla="*/ 652 h 316"/>
                  <a:gd name="T20" fmla="*/ 848 w 197"/>
                  <a:gd name="T21" fmla="*/ 705 h 316"/>
                  <a:gd name="T22" fmla="*/ 969 w 197"/>
                  <a:gd name="T23" fmla="*/ 809 h 316"/>
                  <a:gd name="T24" fmla="*/ 1062 w 197"/>
                  <a:gd name="T25" fmla="*/ 1146 h 316"/>
                  <a:gd name="T26" fmla="*/ 1079 w 197"/>
                  <a:gd name="T27" fmla="*/ 1379 h 316"/>
                  <a:gd name="T28" fmla="*/ 1073 w 197"/>
                  <a:gd name="T29" fmla="*/ 1568 h 316"/>
                  <a:gd name="T30" fmla="*/ 1243 w 197"/>
                  <a:gd name="T31" fmla="*/ 1696 h 316"/>
                  <a:gd name="T32" fmla="*/ 1073 w 197"/>
                  <a:gd name="T33" fmla="*/ 1866 h 316"/>
                  <a:gd name="T34" fmla="*/ 1107 w 197"/>
                  <a:gd name="T35" fmla="*/ 1918 h 316"/>
                  <a:gd name="T36" fmla="*/ 1041 w 197"/>
                  <a:gd name="T37" fmla="*/ 2015 h 316"/>
                  <a:gd name="T38" fmla="*/ 853 w 197"/>
                  <a:gd name="T39" fmla="*/ 1994 h 316"/>
                  <a:gd name="T40" fmla="*/ 615 w 197"/>
                  <a:gd name="T41" fmla="*/ 1955 h 316"/>
                  <a:gd name="T42" fmla="*/ 447 w 197"/>
                  <a:gd name="T43" fmla="*/ 1903 h 316"/>
                  <a:gd name="T44" fmla="*/ 285 w 197"/>
                  <a:gd name="T45" fmla="*/ 1963 h 316"/>
                  <a:gd name="T46" fmla="*/ 112 w 197"/>
                  <a:gd name="T47" fmla="*/ 1963 h 316"/>
                  <a:gd name="T48" fmla="*/ 13 w 197"/>
                  <a:gd name="T49" fmla="*/ 1927 h 316"/>
                  <a:gd name="T50" fmla="*/ 201 w 197"/>
                  <a:gd name="T51" fmla="*/ 1821 h 316"/>
                  <a:gd name="T52" fmla="*/ 317 w 197"/>
                  <a:gd name="T53" fmla="*/ 1761 h 316"/>
                  <a:gd name="T54" fmla="*/ 494 w 197"/>
                  <a:gd name="T55" fmla="*/ 1786 h 316"/>
                  <a:gd name="T56" fmla="*/ 594 w 197"/>
                  <a:gd name="T57" fmla="*/ 1678 h 316"/>
                  <a:gd name="T58" fmla="*/ 406 w 197"/>
                  <a:gd name="T59" fmla="*/ 1650 h 316"/>
                  <a:gd name="T60" fmla="*/ 225 w 197"/>
                  <a:gd name="T61" fmla="*/ 1605 h 316"/>
                  <a:gd name="T62" fmla="*/ 240 w 197"/>
                  <a:gd name="T63" fmla="*/ 1500 h 316"/>
                  <a:gd name="T64" fmla="*/ 451 w 197"/>
                  <a:gd name="T65" fmla="*/ 1355 h 316"/>
                  <a:gd name="T66" fmla="*/ 419 w 197"/>
                  <a:gd name="T67" fmla="*/ 1215 h 316"/>
                  <a:gd name="T68" fmla="*/ 576 w 197"/>
                  <a:gd name="T69" fmla="*/ 1275 h 316"/>
                  <a:gd name="T70" fmla="*/ 691 w 197"/>
                  <a:gd name="T71" fmla="*/ 1171 h 316"/>
                  <a:gd name="T72" fmla="*/ 667 w 197"/>
                  <a:gd name="T73" fmla="*/ 1115 h 316"/>
                  <a:gd name="T74" fmla="*/ 764 w 197"/>
                  <a:gd name="T75" fmla="*/ 921 h 316"/>
                  <a:gd name="T76" fmla="*/ 615 w 197"/>
                  <a:gd name="T77" fmla="*/ 906 h 316"/>
                  <a:gd name="T78" fmla="*/ 531 w 197"/>
                  <a:gd name="T79" fmla="*/ 869 h 316"/>
                  <a:gd name="T80" fmla="*/ 531 w 197"/>
                  <a:gd name="T81" fmla="*/ 796 h 316"/>
                  <a:gd name="T82" fmla="*/ 628 w 197"/>
                  <a:gd name="T83" fmla="*/ 615 h 316"/>
                  <a:gd name="T84" fmla="*/ 486 w 197"/>
                  <a:gd name="T85" fmla="*/ 733 h 316"/>
                  <a:gd name="T86" fmla="*/ 538 w 197"/>
                  <a:gd name="T87" fmla="*/ 550 h 316"/>
                  <a:gd name="T88" fmla="*/ 620 w 197"/>
                  <a:gd name="T89" fmla="*/ 414 h 316"/>
                  <a:gd name="T90" fmla="*/ 451 w 197"/>
                  <a:gd name="T91" fmla="*/ 472 h 316"/>
                  <a:gd name="T92" fmla="*/ 496 w 197"/>
                  <a:gd name="T93" fmla="*/ 395 h 316"/>
                  <a:gd name="T94" fmla="*/ 583 w 197"/>
                  <a:gd name="T95" fmla="*/ 293 h 316"/>
                  <a:gd name="T96" fmla="*/ 542 w 197"/>
                  <a:gd name="T97" fmla="*/ 166 h 316"/>
                  <a:gd name="T98" fmla="*/ 607 w 197"/>
                  <a:gd name="T99" fmla="*/ 149 h 31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97" h="316">
                    <a:moveTo>
                      <a:pt x="94" y="23"/>
                    </a:moveTo>
                    <a:cubicBezTo>
                      <a:pt x="94" y="25"/>
                      <a:pt x="92" y="38"/>
                      <a:pt x="93" y="38"/>
                    </a:cubicBezTo>
                    <a:cubicBezTo>
                      <a:pt x="94" y="39"/>
                      <a:pt x="96" y="41"/>
                      <a:pt x="99" y="40"/>
                    </a:cubicBezTo>
                    <a:cubicBezTo>
                      <a:pt x="102" y="39"/>
                      <a:pt x="99" y="34"/>
                      <a:pt x="100" y="31"/>
                    </a:cubicBezTo>
                    <a:cubicBezTo>
                      <a:pt x="101" y="28"/>
                      <a:pt x="101" y="22"/>
                      <a:pt x="103" y="22"/>
                    </a:cubicBezTo>
                    <a:cubicBezTo>
                      <a:pt x="105" y="22"/>
                      <a:pt x="106" y="21"/>
                      <a:pt x="107" y="22"/>
                    </a:cubicBezTo>
                    <a:cubicBezTo>
                      <a:pt x="109" y="22"/>
                      <a:pt x="111" y="26"/>
                      <a:pt x="114" y="25"/>
                    </a:cubicBezTo>
                    <a:cubicBezTo>
                      <a:pt x="116" y="24"/>
                      <a:pt x="112" y="18"/>
                      <a:pt x="114" y="15"/>
                    </a:cubicBezTo>
                    <a:cubicBezTo>
                      <a:pt x="115" y="12"/>
                      <a:pt x="118" y="13"/>
                      <a:pt x="120" y="12"/>
                    </a:cubicBezTo>
                    <a:cubicBezTo>
                      <a:pt x="122" y="10"/>
                      <a:pt x="121" y="6"/>
                      <a:pt x="123" y="4"/>
                    </a:cubicBezTo>
                    <a:cubicBezTo>
                      <a:pt x="125" y="3"/>
                      <a:pt x="127" y="1"/>
                      <a:pt x="128" y="0"/>
                    </a:cubicBezTo>
                    <a:cubicBezTo>
                      <a:pt x="130" y="0"/>
                      <a:pt x="134" y="7"/>
                      <a:pt x="137" y="7"/>
                    </a:cubicBezTo>
                    <a:cubicBezTo>
                      <a:pt x="140" y="7"/>
                      <a:pt x="153" y="10"/>
                      <a:pt x="155" y="10"/>
                    </a:cubicBezTo>
                    <a:cubicBezTo>
                      <a:pt x="157" y="10"/>
                      <a:pt x="163" y="11"/>
                      <a:pt x="164" y="13"/>
                    </a:cubicBezTo>
                    <a:cubicBezTo>
                      <a:pt x="164" y="14"/>
                      <a:pt x="160" y="19"/>
                      <a:pt x="158" y="21"/>
                    </a:cubicBezTo>
                    <a:cubicBezTo>
                      <a:pt x="155" y="23"/>
                      <a:pt x="137" y="29"/>
                      <a:pt x="136" y="30"/>
                    </a:cubicBezTo>
                    <a:cubicBezTo>
                      <a:pt x="135" y="31"/>
                      <a:pt x="134" y="33"/>
                      <a:pt x="136" y="34"/>
                    </a:cubicBezTo>
                    <a:cubicBezTo>
                      <a:pt x="137" y="35"/>
                      <a:pt x="140" y="34"/>
                      <a:pt x="140" y="35"/>
                    </a:cubicBezTo>
                    <a:cubicBezTo>
                      <a:pt x="140" y="39"/>
                      <a:pt x="128" y="42"/>
                      <a:pt x="130" y="44"/>
                    </a:cubicBezTo>
                    <a:cubicBezTo>
                      <a:pt x="132" y="46"/>
                      <a:pt x="142" y="43"/>
                      <a:pt x="144" y="43"/>
                    </a:cubicBezTo>
                    <a:cubicBezTo>
                      <a:pt x="146" y="43"/>
                      <a:pt x="162" y="50"/>
                      <a:pt x="165" y="50"/>
                    </a:cubicBezTo>
                    <a:cubicBezTo>
                      <a:pt x="167" y="51"/>
                      <a:pt x="173" y="54"/>
                      <a:pt x="173" y="56"/>
                    </a:cubicBezTo>
                    <a:cubicBezTo>
                      <a:pt x="173" y="59"/>
                      <a:pt x="173" y="63"/>
                      <a:pt x="167" y="66"/>
                    </a:cubicBezTo>
                    <a:cubicBezTo>
                      <a:pt x="160" y="70"/>
                      <a:pt x="162" y="76"/>
                      <a:pt x="160" y="78"/>
                    </a:cubicBezTo>
                    <a:cubicBezTo>
                      <a:pt x="157" y="81"/>
                      <a:pt x="150" y="87"/>
                      <a:pt x="147" y="88"/>
                    </a:cubicBezTo>
                    <a:cubicBezTo>
                      <a:pt x="145" y="89"/>
                      <a:pt x="137" y="89"/>
                      <a:pt x="134" y="89"/>
                    </a:cubicBezTo>
                    <a:cubicBezTo>
                      <a:pt x="131" y="89"/>
                      <a:pt x="129" y="90"/>
                      <a:pt x="130" y="92"/>
                    </a:cubicBezTo>
                    <a:cubicBezTo>
                      <a:pt x="131" y="93"/>
                      <a:pt x="139" y="94"/>
                      <a:pt x="140" y="94"/>
                    </a:cubicBezTo>
                    <a:cubicBezTo>
                      <a:pt x="141" y="94"/>
                      <a:pt x="144" y="97"/>
                      <a:pt x="144" y="99"/>
                    </a:cubicBezTo>
                    <a:cubicBezTo>
                      <a:pt x="144" y="100"/>
                      <a:pt x="131" y="101"/>
                      <a:pt x="129" y="101"/>
                    </a:cubicBezTo>
                    <a:cubicBezTo>
                      <a:pt x="127" y="101"/>
                      <a:pt x="122" y="98"/>
                      <a:pt x="120" y="99"/>
                    </a:cubicBezTo>
                    <a:cubicBezTo>
                      <a:pt x="118" y="101"/>
                      <a:pt x="117" y="103"/>
                      <a:pt x="119" y="104"/>
                    </a:cubicBezTo>
                    <a:cubicBezTo>
                      <a:pt x="121" y="105"/>
                      <a:pt x="128" y="110"/>
                      <a:pt x="131" y="109"/>
                    </a:cubicBezTo>
                    <a:cubicBezTo>
                      <a:pt x="134" y="109"/>
                      <a:pt x="135" y="105"/>
                      <a:pt x="137" y="106"/>
                    </a:cubicBezTo>
                    <a:cubicBezTo>
                      <a:pt x="138" y="106"/>
                      <a:pt x="145" y="112"/>
                      <a:pt x="147" y="114"/>
                    </a:cubicBezTo>
                    <a:cubicBezTo>
                      <a:pt x="149" y="115"/>
                      <a:pt x="149" y="122"/>
                      <a:pt x="150" y="125"/>
                    </a:cubicBezTo>
                    <a:cubicBezTo>
                      <a:pt x="151" y="127"/>
                      <a:pt x="155" y="130"/>
                      <a:pt x="154" y="136"/>
                    </a:cubicBezTo>
                    <a:cubicBezTo>
                      <a:pt x="153" y="141"/>
                      <a:pt x="151" y="159"/>
                      <a:pt x="152" y="162"/>
                    </a:cubicBezTo>
                    <a:cubicBezTo>
                      <a:pt x="153" y="165"/>
                      <a:pt x="164" y="174"/>
                      <a:pt x="164" y="177"/>
                    </a:cubicBezTo>
                    <a:cubicBezTo>
                      <a:pt x="165" y="180"/>
                      <a:pt x="166" y="189"/>
                      <a:pt x="167" y="193"/>
                    </a:cubicBezTo>
                    <a:cubicBezTo>
                      <a:pt x="168" y="198"/>
                      <a:pt x="170" y="205"/>
                      <a:pt x="171" y="208"/>
                    </a:cubicBezTo>
                    <a:cubicBezTo>
                      <a:pt x="171" y="211"/>
                      <a:pt x="166" y="210"/>
                      <a:pt x="167" y="213"/>
                    </a:cubicBezTo>
                    <a:cubicBezTo>
                      <a:pt x="168" y="216"/>
                      <a:pt x="171" y="227"/>
                      <a:pt x="169" y="228"/>
                    </a:cubicBezTo>
                    <a:cubicBezTo>
                      <a:pt x="167" y="229"/>
                      <a:pt x="160" y="233"/>
                      <a:pt x="159" y="234"/>
                    </a:cubicBezTo>
                    <a:cubicBezTo>
                      <a:pt x="159" y="235"/>
                      <a:pt x="165" y="242"/>
                      <a:pt x="166" y="242"/>
                    </a:cubicBezTo>
                    <a:cubicBezTo>
                      <a:pt x="167" y="242"/>
                      <a:pt x="169" y="237"/>
                      <a:pt x="172" y="236"/>
                    </a:cubicBezTo>
                    <a:cubicBezTo>
                      <a:pt x="175" y="236"/>
                      <a:pt x="186" y="240"/>
                      <a:pt x="189" y="244"/>
                    </a:cubicBezTo>
                    <a:cubicBezTo>
                      <a:pt x="192" y="247"/>
                      <a:pt x="197" y="254"/>
                      <a:pt x="192" y="262"/>
                    </a:cubicBezTo>
                    <a:cubicBezTo>
                      <a:pt x="187" y="269"/>
                      <a:pt x="187" y="272"/>
                      <a:pt x="185" y="274"/>
                    </a:cubicBezTo>
                    <a:cubicBezTo>
                      <a:pt x="183" y="275"/>
                      <a:pt x="175" y="281"/>
                      <a:pt x="171" y="282"/>
                    </a:cubicBezTo>
                    <a:cubicBezTo>
                      <a:pt x="167" y="284"/>
                      <a:pt x="168" y="288"/>
                      <a:pt x="166" y="288"/>
                    </a:cubicBezTo>
                    <a:cubicBezTo>
                      <a:pt x="163" y="288"/>
                      <a:pt x="155" y="286"/>
                      <a:pt x="155" y="289"/>
                    </a:cubicBezTo>
                    <a:cubicBezTo>
                      <a:pt x="155" y="292"/>
                      <a:pt x="156" y="293"/>
                      <a:pt x="159" y="294"/>
                    </a:cubicBezTo>
                    <a:cubicBezTo>
                      <a:pt x="162" y="295"/>
                      <a:pt x="170" y="296"/>
                      <a:pt x="171" y="296"/>
                    </a:cubicBezTo>
                    <a:cubicBezTo>
                      <a:pt x="173" y="296"/>
                      <a:pt x="179" y="296"/>
                      <a:pt x="178" y="298"/>
                    </a:cubicBezTo>
                    <a:cubicBezTo>
                      <a:pt x="178" y="300"/>
                      <a:pt x="176" y="303"/>
                      <a:pt x="174" y="305"/>
                    </a:cubicBezTo>
                    <a:cubicBezTo>
                      <a:pt x="171" y="307"/>
                      <a:pt x="165" y="309"/>
                      <a:pt x="161" y="311"/>
                    </a:cubicBezTo>
                    <a:cubicBezTo>
                      <a:pt x="157" y="312"/>
                      <a:pt x="150" y="313"/>
                      <a:pt x="146" y="314"/>
                    </a:cubicBezTo>
                    <a:cubicBezTo>
                      <a:pt x="142" y="316"/>
                      <a:pt x="140" y="313"/>
                      <a:pt x="138" y="311"/>
                    </a:cubicBezTo>
                    <a:cubicBezTo>
                      <a:pt x="137" y="308"/>
                      <a:pt x="132" y="308"/>
                      <a:pt x="132" y="308"/>
                    </a:cubicBezTo>
                    <a:cubicBezTo>
                      <a:pt x="124" y="306"/>
                      <a:pt x="123" y="311"/>
                      <a:pt x="120" y="310"/>
                    </a:cubicBezTo>
                    <a:cubicBezTo>
                      <a:pt x="118" y="310"/>
                      <a:pt x="117" y="306"/>
                      <a:pt x="110" y="305"/>
                    </a:cubicBezTo>
                    <a:cubicBezTo>
                      <a:pt x="107" y="304"/>
                      <a:pt x="97" y="302"/>
                      <a:pt x="95" y="302"/>
                    </a:cubicBezTo>
                    <a:cubicBezTo>
                      <a:pt x="94" y="302"/>
                      <a:pt x="94" y="309"/>
                      <a:pt x="89" y="307"/>
                    </a:cubicBezTo>
                    <a:cubicBezTo>
                      <a:pt x="83" y="306"/>
                      <a:pt x="81" y="302"/>
                      <a:pt x="79" y="300"/>
                    </a:cubicBezTo>
                    <a:cubicBezTo>
                      <a:pt x="77" y="298"/>
                      <a:pt x="73" y="295"/>
                      <a:pt x="69" y="294"/>
                    </a:cubicBezTo>
                    <a:cubicBezTo>
                      <a:pt x="64" y="294"/>
                      <a:pt x="60" y="294"/>
                      <a:pt x="57" y="299"/>
                    </a:cubicBezTo>
                    <a:cubicBezTo>
                      <a:pt x="54" y="303"/>
                      <a:pt x="53" y="307"/>
                      <a:pt x="50" y="307"/>
                    </a:cubicBezTo>
                    <a:cubicBezTo>
                      <a:pt x="46" y="307"/>
                      <a:pt x="46" y="306"/>
                      <a:pt x="44" y="303"/>
                    </a:cubicBezTo>
                    <a:cubicBezTo>
                      <a:pt x="42" y="300"/>
                      <a:pt x="40" y="300"/>
                      <a:pt x="38" y="298"/>
                    </a:cubicBezTo>
                    <a:cubicBezTo>
                      <a:pt x="35" y="296"/>
                      <a:pt x="31" y="296"/>
                      <a:pt x="28" y="296"/>
                    </a:cubicBezTo>
                    <a:cubicBezTo>
                      <a:pt x="25" y="297"/>
                      <a:pt x="19" y="302"/>
                      <a:pt x="17" y="303"/>
                    </a:cubicBezTo>
                    <a:cubicBezTo>
                      <a:pt x="14" y="304"/>
                      <a:pt x="13" y="307"/>
                      <a:pt x="11" y="305"/>
                    </a:cubicBezTo>
                    <a:cubicBezTo>
                      <a:pt x="9" y="303"/>
                      <a:pt x="11" y="301"/>
                      <a:pt x="8" y="300"/>
                    </a:cubicBezTo>
                    <a:cubicBezTo>
                      <a:pt x="6" y="299"/>
                      <a:pt x="2" y="300"/>
                      <a:pt x="2" y="298"/>
                    </a:cubicBezTo>
                    <a:cubicBezTo>
                      <a:pt x="1" y="296"/>
                      <a:pt x="0" y="291"/>
                      <a:pt x="3" y="291"/>
                    </a:cubicBezTo>
                    <a:cubicBezTo>
                      <a:pt x="6" y="290"/>
                      <a:pt x="9" y="291"/>
                      <a:pt x="13" y="290"/>
                    </a:cubicBezTo>
                    <a:cubicBezTo>
                      <a:pt x="17" y="288"/>
                      <a:pt x="28" y="283"/>
                      <a:pt x="31" y="281"/>
                    </a:cubicBezTo>
                    <a:cubicBezTo>
                      <a:pt x="35" y="279"/>
                      <a:pt x="37" y="272"/>
                      <a:pt x="39" y="271"/>
                    </a:cubicBezTo>
                    <a:cubicBezTo>
                      <a:pt x="41" y="269"/>
                      <a:pt x="41" y="274"/>
                      <a:pt x="44" y="274"/>
                    </a:cubicBezTo>
                    <a:cubicBezTo>
                      <a:pt x="47" y="274"/>
                      <a:pt x="48" y="273"/>
                      <a:pt x="49" y="272"/>
                    </a:cubicBezTo>
                    <a:cubicBezTo>
                      <a:pt x="50" y="271"/>
                      <a:pt x="48" y="267"/>
                      <a:pt x="50" y="267"/>
                    </a:cubicBezTo>
                    <a:cubicBezTo>
                      <a:pt x="52" y="267"/>
                      <a:pt x="60" y="271"/>
                      <a:pt x="62" y="272"/>
                    </a:cubicBezTo>
                    <a:cubicBezTo>
                      <a:pt x="64" y="273"/>
                      <a:pt x="73" y="277"/>
                      <a:pt x="76" y="276"/>
                    </a:cubicBezTo>
                    <a:cubicBezTo>
                      <a:pt x="78" y="275"/>
                      <a:pt x="88" y="266"/>
                      <a:pt x="90" y="265"/>
                    </a:cubicBezTo>
                    <a:cubicBezTo>
                      <a:pt x="92" y="264"/>
                      <a:pt x="95" y="262"/>
                      <a:pt x="96" y="261"/>
                    </a:cubicBezTo>
                    <a:cubicBezTo>
                      <a:pt x="97" y="260"/>
                      <a:pt x="94" y="259"/>
                      <a:pt x="92" y="259"/>
                    </a:cubicBezTo>
                    <a:cubicBezTo>
                      <a:pt x="89" y="259"/>
                      <a:pt x="76" y="264"/>
                      <a:pt x="75" y="266"/>
                    </a:cubicBezTo>
                    <a:cubicBezTo>
                      <a:pt x="74" y="268"/>
                      <a:pt x="67" y="266"/>
                      <a:pt x="65" y="263"/>
                    </a:cubicBezTo>
                    <a:cubicBezTo>
                      <a:pt x="62" y="260"/>
                      <a:pt x="67" y="256"/>
                      <a:pt x="63" y="255"/>
                    </a:cubicBezTo>
                    <a:cubicBezTo>
                      <a:pt x="59" y="254"/>
                      <a:pt x="55" y="257"/>
                      <a:pt x="53" y="255"/>
                    </a:cubicBezTo>
                    <a:cubicBezTo>
                      <a:pt x="51" y="252"/>
                      <a:pt x="54" y="247"/>
                      <a:pt x="51" y="246"/>
                    </a:cubicBezTo>
                    <a:cubicBezTo>
                      <a:pt x="48" y="245"/>
                      <a:pt x="38" y="249"/>
                      <a:pt x="35" y="248"/>
                    </a:cubicBezTo>
                    <a:cubicBezTo>
                      <a:pt x="33" y="246"/>
                      <a:pt x="37" y="241"/>
                      <a:pt x="36" y="240"/>
                    </a:cubicBezTo>
                    <a:cubicBezTo>
                      <a:pt x="36" y="239"/>
                      <a:pt x="31" y="238"/>
                      <a:pt x="31" y="236"/>
                    </a:cubicBezTo>
                    <a:cubicBezTo>
                      <a:pt x="31" y="234"/>
                      <a:pt x="35" y="232"/>
                      <a:pt x="37" y="232"/>
                    </a:cubicBezTo>
                    <a:cubicBezTo>
                      <a:pt x="39" y="231"/>
                      <a:pt x="58" y="231"/>
                      <a:pt x="62" y="228"/>
                    </a:cubicBezTo>
                    <a:cubicBezTo>
                      <a:pt x="66" y="226"/>
                      <a:pt x="68" y="224"/>
                      <a:pt x="69" y="220"/>
                    </a:cubicBezTo>
                    <a:cubicBezTo>
                      <a:pt x="70" y="216"/>
                      <a:pt x="73" y="211"/>
                      <a:pt x="70" y="209"/>
                    </a:cubicBezTo>
                    <a:cubicBezTo>
                      <a:pt x="68" y="207"/>
                      <a:pt x="56" y="211"/>
                      <a:pt x="55" y="209"/>
                    </a:cubicBezTo>
                    <a:cubicBezTo>
                      <a:pt x="53" y="204"/>
                      <a:pt x="69" y="200"/>
                      <a:pt x="68" y="199"/>
                    </a:cubicBezTo>
                    <a:cubicBezTo>
                      <a:pt x="67" y="198"/>
                      <a:pt x="65" y="190"/>
                      <a:pt x="65" y="188"/>
                    </a:cubicBezTo>
                    <a:cubicBezTo>
                      <a:pt x="66" y="185"/>
                      <a:pt x="70" y="185"/>
                      <a:pt x="73" y="185"/>
                    </a:cubicBezTo>
                    <a:cubicBezTo>
                      <a:pt x="75" y="186"/>
                      <a:pt x="76" y="195"/>
                      <a:pt x="78" y="195"/>
                    </a:cubicBezTo>
                    <a:cubicBezTo>
                      <a:pt x="80" y="195"/>
                      <a:pt x="87" y="197"/>
                      <a:pt x="89" y="197"/>
                    </a:cubicBezTo>
                    <a:cubicBezTo>
                      <a:pt x="93" y="197"/>
                      <a:pt x="95" y="204"/>
                      <a:pt x="98" y="204"/>
                    </a:cubicBezTo>
                    <a:cubicBezTo>
                      <a:pt x="101" y="203"/>
                      <a:pt x="99" y="194"/>
                      <a:pt x="101" y="192"/>
                    </a:cubicBezTo>
                    <a:cubicBezTo>
                      <a:pt x="103" y="190"/>
                      <a:pt x="105" y="182"/>
                      <a:pt x="107" y="181"/>
                    </a:cubicBezTo>
                    <a:cubicBezTo>
                      <a:pt x="109" y="179"/>
                      <a:pt x="112" y="176"/>
                      <a:pt x="113" y="175"/>
                    </a:cubicBezTo>
                    <a:cubicBezTo>
                      <a:pt x="114" y="174"/>
                      <a:pt x="111" y="169"/>
                      <a:pt x="111" y="168"/>
                    </a:cubicBezTo>
                    <a:cubicBezTo>
                      <a:pt x="110" y="167"/>
                      <a:pt x="103" y="176"/>
                      <a:pt x="103" y="172"/>
                    </a:cubicBezTo>
                    <a:cubicBezTo>
                      <a:pt x="103" y="168"/>
                      <a:pt x="100" y="156"/>
                      <a:pt x="101" y="154"/>
                    </a:cubicBezTo>
                    <a:cubicBezTo>
                      <a:pt x="102" y="152"/>
                      <a:pt x="110" y="145"/>
                      <a:pt x="113" y="144"/>
                    </a:cubicBezTo>
                    <a:cubicBezTo>
                      <a:pt x="116" y="143"/>
                      <a:pt x="117" y="145"/>
                      <a:pt x="118" y="142"/>
                    </a:cubicBezTo>
                    <a:cubicBezTo>
                      <a:pt x="118" y="140"/>
                      <a:pt x="109" y="136"/>
                      <a:pt x="108" y="136"/>
                    </a:cubicBezTo>
                    <a:cubicBezTo>
                      <a:pt x="107" y="136"/>
                      <a:pt x="105" y="142"/>
                      <a:pt x="103" y="142"/>
                    </a:cubicBezTo>
                    <a:cubicBezTo>
                      <a:pt x="102" y="142"/>
                      <a:pt x="96" y="143"/>
                      <a:pt x="95" y="140"/>
                    </a:cubicBezTo>
                    <a:cubicBezTo>
                      <a:pt x="94" y="137"/>
                      <a:pt x="92" y="134"/>
                      <a:pt x="91" y="134"/>
                    </a:cubicBezTo>
                    <a:cubicBezTo>
                      <a:pt x="90" y="134"/>
                      <a:pt x="89" y="144"/>
                      <a:pt x="88" y="144"/>
                    </a:cubicBezTo>
                    <a:cubicBezTo>
                      <a:pt x="86" y="144"/>
                      <a:pt x="83" y="134"/>
                      <a:pt x="82" y="134"/>
                    </a:cubicBezTo>
                    <a:cubicBezTo>
                      <a:pt x="78" y="133"/>
                      <a:pt x="79" y="143"/>
                      <a:pt x="77" y="142"/>
                    </a:cubicBezTo>
                    <a:cubicBezTo>
                      <a:pt x="75" y="141"/>
                      <a:pt x="73" y="131"/>
                      <a:pt x="74" y="128"/>
                    </a:cubicBezTo>
                    <a:cubicBezTo>
                      <a:pt x="75" y="125"/>
                      <a:pt x="78" y="126"/>
                      <a:pt x="82" y="123"/>
                    </a:cubicBezTo>
                    <a:cubicBezTo>
                      <a:pt x="86" y="119"/>
                      <a:pt x="94" y="115"/>
                      <a:pt x="94" y="111"/>
                    </a:cubicBezTo>
                    <a:cubicBezTo>
                      <a:pt x="94" y="107"/>
                      <a:pt x="92" y="104"/>
                      <a:pt x="93" y="102"/>
                    </a:cubicBezTo>
                    <a:cubicBezTo>
                      <a:pt x="94" y="100"/>
                      <a:pt x="96" y="97"/>
                      <a:pt x="97" y="95"/>
                    </a:cubicBezTo>
                    <a:cubicBezTo>
                      <a:pt x="97" y="93"/>
                      <a:pt x="96" y="91"/>
                      <a:pt x="92" y="93"/>
                    </a:cubicBezTo>
                    <a:cubicBezTo>
                      <a:pt x="89" y="95"/>
                      <a:pt x="84" y="99"/>
                      <a:pt x="82" y="100"/>
                    </a:cubicBezTo>
                    <a:cubicBezTo>
                      <a:pt x="81" y="102"/>
                      <a:pt x="76" y="112"/>
                      <a:pt x="75" y="113"/>
                    </a:cubicBezTo>
                    <a:cubicBezTo>
                      <a:pt x="73" y="113"/>
                      <a:pt x="69" y="115"/>
                      <a:pt x="68" y="112"/>
                    </a:cubicBezTo>
                    <a:cubicBezTo>
                      <a:pt x="68" y="109"/>
                      <a:pt x="71" y="106"/>
                      <a:pt x="73" y="103"/>
                    </a:cubicBezTo>
                    <a:cubicBezTo>
                      <a:pt x="75" y="100"/>
                      <a:pt x="81" y="87"/>
                      <a:pt x="83" y="85"/>
                    </a:cubicBezTo>
                    <a:cubicBezTo>
                      <a:pt x="84" y="83"/>
                      <a:pt x="91" y="74"/>
                      <a:pt x="93" y="72"/>
                    </a:cubicBezTo>
                    <a:cubicBezTo>
                      <a:pt x="95" y="70"/>
                      <a:pt x="98" y="68"/>
                      <a:pt x="98" y="68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6" y="64"/>
                      <a:pt x="87" y="69"/>
                      <a:pt x="86" y="70"/>
                    </a:cubicBezTo>
                    <a:cubicBezTo>
                      <a:pt x="85" y="72"/>
                      <a:pt x="81" y="74"/>
                      <a:pt x="79" y="74"/>
                    </a:cubicBezTo>
                    <a:cubicBezTo>
                      <a:pt x="76" y="74"/>
                      <a:pt x="72" y="75"/>
                      <a:pt x="70" y="73"/>
                    </a:cubicBezTo>
                    <a:cubicBezTo>
                      <a:pt x="68" y="70"/>
                      <a:pt x="69" y="69"/>
                      <a:pt x="71" y="69"/>
                    </a:cubicBezTo>
                    <a:cubicBezTo>
                      <a:pt x="73" y="69"/>
                      <a:pt x="76" y="69"/>
                      <a:pt x="77" y="67"/>
                    </a:cubicBezTo>
                    <a:cubicBezTo>
                      <a:pt x="78" y="65"/>
                      <a:pt x="74" y="62"/>
                      <a:pt x="77" y="61"/>
                    </a:cubicBezTo>
                    <a:cubicBezTo>
                      <a:pt x="80" y="59"/>
                      <a:pt x="85" y="59"/>
                      <a:pt x="88" y="57"/>
                    </a:cubicBezTo>
                    <a:cubicBezTo>
                      <a:pt x="90" y="55"/>
                      <a:pt x="88" y="52"/>
                      <a:pt x="91" y="50"/>
                    </a:cubicBezTo>
                    <a:cubicBezTo>
                      <a:pt x="93" y="49"/>
                      <a:pt x="95" y="46"/>
                      <a:pt x="90" y="45"/>
                    </a:cubicBezTo>
                    <a:cubicBezTo>
                      <a:pt x="86" y="44"/>
                      <a:pt x="83" y="44"/>
                      <a:pt x="82" y="41"/>
                    </a:cubicBezTo>
                    <a:cubicBezTo>
                      <a:pt x="82" y="38"/>
                      <a:pt x="76" y="31"/>
                      <a:pt x="78" y="29"/>
                    </a:cubicBezTo>
                    <a:cubicBezTo>
                      <a:pt x="80" y="27"/>
                      <a:pt x="82" y="27"/>
                      <a:pt x="84" y="26"/>
                    </a:cubicBezTo>
                    <a:cubicBezTo>
                      <a:pt x="86" y="26"/>
                      <a:pt x="86" y="32"/>
                      <a:pt x="88" y="31"/>
                    </a:cubicBezTo>
                    <a:cubicBezTo>
                      <a:pt x="90" y="29"/>
                      <a:pt x="90" y="24"/>
                      <a:pt x="91" y="23"/>
                    </a:cubicBezTo>
                    <a:cubicBezTo>
                      <a:pt x="92" y="23"/>
                      <a:pt x="94" y="22"/>
                      <a:pt x="94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3" name="Freeform 76">
                <a:extLst>
                  <a:ext uri="{FF2B5EF4-FFF2-40B4-BE49-F238E27FC236}">
                    <a16:creationId xmlns:a16="http://schemas.microsoft.com/office/drawing/2014/main" id="{7030DF9E-27E3-412D-BEAB-BB5D945072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0" y="1757"/>
                <a:ext cx="45" cy="60"/>
              </a:xfrm>
              <a:custGeom>
                <a:avLst/>
                <a:gdLst>
                  <a:gd name="T0" fmla="*/ 152 w 24"/>
                  <a:gd name="T1" fmla="*/ 53 h 32"/>
                  <a:gd name="T2" fmla="*/ 99 w 24"/>
                  <a:gd name="T3" fmla="*/ 128 h 32"/>
                  <a:gd name="T4" fmla="*/ 73 w 24"/>
                  <a:gd name="T5" fmla="*/ 173 h 32"/>
                  <a:gd name="T6" fmla="*/ 15 w 24"/>
                  <a:gd name="T7" fmla="*/ 197 h 32"/>
                  <a:gd name="T8" fmla="*/ 53 w 24"/>
                  <a:gd name="T9" fmla="*/ 120 h 32"/>
                  <a:gd name="T10" fmla="*/ 81 w 24"/>
                  <a:gd name="T11" fmla="*/ 45 h 32"/>
                  <a:gd name="T12" fmla="*/ 81 w 24"/>
                  <a:gd name="T13" fmla="*/ 15 h 32"/>
                  <a:gd name="T14" fmla="*/ 113 w 24"/>
                  <a:gd name="T15" fmla="*/ 0 h 32"/>
                  <a:gd name="T16" fmla="*/ 152 w 24"/>
                  <a:gd name="T17" fmla="*/ 32 h 32"/>
                  <a:gd name="T18" fmla="*/ 152 w 24"/>
                  <a:gd name="T19" fmla="*/ 53 h 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32">
                    <a:moveTo>
                      <a:pt x="23" y="8"/>
                    </a:moveTo>
                    <a:cubicBezTo>
                      <a:pt x="21" y="9"/>
                      <a:pt x="15" y="17"/>
                      <a:pt x="15" y="19"/>
                    </a:cubicBezTo>
                    <a:cubicBezTo>
                      <a:pt x="14" y="21"/>
                      <a:pt x="12" y="25"/>
                      <a:pt x="11" y="26"/>
                    </a:cubicBezTo>
                    <a:cubicBezTo>
                      <a:pt x="10" y="27"/>
                      <a:pt x="3" y="32"/>
                      <a:pt x="2" y="30"/>
                    </a:cubicBezTo>
                    <a:cubicBezTo>
                      <a:pt x="0" y="28"/>
                      <a:pt x="7" y="21"/>
                      <a:pt x="8" y="18"/>
                    </a:cubicBezTo>
                    <a:cubicBezTo>
                      <a:pt x="9" y="16"/>
                      <a:pt x="12" y="9"/>
                      <a:pt x="12" y="7"/>
                    </a:cubicBezTo>
                    <a:cubicBezTo>
                      <a:pt x="11" y="5"/>
                      <a:pt x="10" y="3"/>
                      <a:pt x="12" y="2"/>
                    </a:cubicBezTo>
                    <a:cubicBezTo>
                      <a:pt x="13" y="0"/>
                      <a:pt x="16" y="0"/>
                      <a:pt x="17" y="0"/>
                    </a:cubicBezTo>
                    <a:cubicBezTo>
                      <a:pt x="18" y="0"/>
                      <a:pt x="23" y="3"/>
                      <a:pt x="23" y="5"/>
                    </a:cubicBezTo>
                    <a:cubicBezTo>
                      <a:pt x="24" y="6"/>
                      <a:pt x="23" y="8"/>
                      <a:pt x="23" y="8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4" name="Freeform 77">
                <a:extLst>
                  <a:ext uri="{FF2B5EF4-FFF2-40B4-BE49-F238E27FC236}">
                    <a16:creationId xmlns:a16="http://schemas.microsoft.com/office/drawing/2014/main" id="{48B863A9-4CE7-4F3C-BA20-FF6DDBC3DD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1" y="1932"/>
                <a:ext cx="90" cy="86"/>
              </a:xfrm>
              <a:custGeom>
                <a:avLst/>
                <a:gdLst>
                  <a:gd name="T0" fmla="*/ 233 w 48"/>
                  <a:gd name="T1" fmla="*/ 262 h 46"/>
                  <a:gd name="T2" fmla="*/ 204 w 48"/>
                  <a:gd name="T3" fmla="*/ 301 h 46"/>
                  <a:gd name="T4" fmla="*/ 189 w 48"/>
                  <a:gd name="T5" fmla="*/ 301 h 46"/>
                  <a:gd name="T6" fmla="*/ 128 w 48"/>
                  <a:gd name="T7" fmla="*/ 196 h 46"/>
                  <a:gd name="T8" fmla="*/ 39 w 48"/>
                  <a:gd name="T9" fmla="*/ 228 h 46"/>
                  <a:gd name="T10" fmla="*/ 0 w 48"/>
                  <a:gd name="T11" fmla="*/ 172 h 46"/>
                  <a:gd name="T12" fmla="*/ 81 w 48"/>
                  <a:gd name="T13" fmla="*/ 84 h 46"/>
                  <a:gd name="T14" fmla="*/ 120 w 48"/>
                  <a:gd name="T15" fmla="*/ 24 h 46"/>
                  <a:gd name="T16" fmla="*/ 249 w 48"/>
                  <a:gd name="T17" fmla="*/ 7 h 46"/>
                  <a:gd name="T18" fmla="*/ 293 w 48"/>
                  <a:gd name="T19" fmla="*/ 52 h 46"/>
                  <a:gd name="T20" fmla="*/ 302 w 48"/>
                  <a:gd name="T21" fmla="*/ 129 h 46"/>
                  <a:gd name="T22" fmla="*/ 257 w 48"/>
                  <a:gd name="T23" fmla="*/ 172 h 46"/>
                  <a:gd name="T24" fmla="*/ 309 w 48"/>
                  <a:gd name="T25" fmla="*/ 181 h 46"/>
                  <a:gd name="T26" fmla="*/ 293 w 48"/>
                  <a:gd name="T27" fmla="*/ 262 h 46"/>
                  <a:gd name="T28" fmla="*/ 233 w 48"/>
                  <a:gd name="T29" fmla="*/ 262 h 4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46">
                    <a:moveTo>
                      <a:pt x="35" y="40"/>
                    </a:moveTo>
                    <a:cubicBezTo>
                      <a:pt x="32" y="41"/>
                      <a:pt x="35" y="46"/>
                      <a:pt x="31" y="46"/>
                    </a:cubicBezTo>
                    <a:cubicBezTo>
                      <a:pt x="30" y="46"/>
                      <a:pt x="29" y="46"/>
                      <a:pt x="29" y="46"/>
                    </a:cubicBezTo>
                    <a:cubicBezTo>
                      <a:pt x="25" y="40"/>
                      <a:pt x="20" y="32"/>
                      <a:pt x="19" y="30"/>
                    </a:cubicBezTo>
                    <a:cubicBezTo>
                      <a:pt x="18" y="28"/>
                      <a:pt x="9" y="35"/>
                      <a:pt x="6" y="35"/>
                    </a:cubicBezTo>
                    <a:cubicBezTo>
                      <a:pt x="4" y="35"/>
                      <a:pt x="0" y="29"/>
                      <a:pt x="0" y="26"/>
                    </a:cubicBezTo>
                    <a:cubicBezTo>
                      <a:pt x="0" y="22"/>
                      <a:pt x="10" y="15"/>
                      <a:pt x="12" y="13"/>
                    </a:cubicBezTo>
                    <a:cubicBezTo>
                      <a:pt x="14" y="12"/>
                      <a:pt x="16" y="7"/>
                      <a:pt x="18" y="4"/>
                    </a:cubicBezTo>
                    <a:cubicBezTo>
                      <a:pt x="25" y="5"/>
                      <a:pt x="36" y="0"/>
                      <a:pt x="38" y="1"/>
                    </a:cubicBezTo>
                    <a:cubicBezTo>
                      <a:pt x="40" y="2"/>
                      <a:pt x="44" y="5"/>
                      <a:pt x="44" y="8"/>
                    </a:cubicBezTo>
                    <a:cubicBezTo>
                      <a:pt x="44" y="10"/>
                      <a:pt x="46" y="18"/>
                      <a:pt x="46" y="20"/>
                    </a:cubicBezTo>
                    <a:cubicBezTo>
                      <a:pt x="46" y="21"/>
                      <a:pt x="39" y="23"/>
                      <a:pt x="39" y="26"/>
                    </a:cubicBezTo>
                    <a:cubicBezTo>
                      <a:pt x="39" y="29"/>
                      <a:pt x="46" y="26"/>
                      <a:pt x="47" y="28"/>
                    </a:cubicBezTo>
                    <a:cubicBezTo>
                      <a:pt x="48" y="30"/>
                      <a:pt x="48" y="39"/>
                      <a:pt x="44" y="40"/>
                    </a:cubicBezTo>
                    <a:cubicBezTo>
                      <a:pt x="40" y="42"/>
                      <a:pt x="38" y="38"/>
                      <a:pt x="35" y="4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5" name="Freeform 78">
                <a:extLst>
                  <a:ext uri="{FF2B5EF4-FFF2-40B4-BE49-F238E27FC236}">
                    <a16:creationId xmlns:a16="http://schemas.microsoft.com/office/drawing/2014/main" id="{C2DE3FA3-5A00-4950-808A-A32395D8FF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0" y="1716"/>
                <a:ext cx="22" cy="30"/>
              </a:xfrm>
              <a:custGeom>
                <a:avLst/>
                <a:gdLst>
                  <a:gd name="T0" fmla="*/ 13 w 12"/>
                  <a:gd name="T1" fmla="*/ 68 h 16"/>
                  <a:gd name="T2" fmla="*/ 0 w 12"/>
                  <a:gd name="T3" fmla="*/ 39 h 16"/>
                  <a:gd name="T4" fmla="*/ 20 w 12"/>
                  <a:gd name="T5" fmla="*/ 8 h 16"/>
                  <a:gd name="T6" fmla="*/ 57 w 12"/>
                  <a:gd name="T7" fmla="*/ 8 h 16"/>
                  <a:gd name="T8" fmla="*/ 51 w 12"/>
                  <a:gd name="T9" fmla="*/ 45 h 16"/>
                  <a:gd name="T10" fmla="*/ 73 w 12"/>
                  <a:gd name="T11" fmla="*/ 73 h 16"/>
                  <a:gd name="T12" fmla="*/ 51 w 12"/>
                  <a:gd name="T13" fmla="*/ 105 h 16"/>
                  <a:gd name="T14" fmla="*/ 31 w 12"/>
                  <a:gd name="T15" fmla="*/ 81 h 16"/>
                  <a:gd name="T16" fmla="*/ 13 w 12"/>
                  <a:gd name="T17" fmla="*/ 68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6">
                    <a:moveTo>
                      <a:pt x="2" y="10"/>
                    </a:moveTo>
                    <a:cubicBezTo>
                      <a:pt x="1" y="9"/>
                      <a:pt x="0" y="9"/>
                      <a:pt x="0" y="6"/>
                    </a:cubicBezTo>
                    <a:cubicBezTo>
                      <a:pt x="1" y="4"/>
                      <a:pt x="1" y="1"/>
                      <a:pt x="3" y="1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3"/>
                      <a:pt x="7" y="5"/>
                      <a:pt x="8" y="7"/>
                    </a:cubicBezTo>
                    <a:cubicBezTo>
                      <a:pt x="9" y="8"/>
                      <a:pt x="12" y="10"/>
                      <a:pt x="12" y="11"/>
                    </a:cubicBezTo>
                    <a:cubicBezTo>
                      <a:pt x="12" y="13"/>
                      <a:pt x="9" y="16"/>
                      <a:pt x="8" y="16"/>
                    </a:cubicBezTo>
                    <a:cubicBezTo>
                      <a:pt x="7" y="15"/>
                      <a:pt x="6" y="12"/>
                      <a:pt x="5" y="12"/>
                    </a:cubicBezTo>
                    <a:cubicBezTo>
                      <a:pt x="4" y="12"/>
                      <a:pt x="3" y="11"/>
                      <a:pt x="2" y="1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6" name="Freeform 79">
                <a:extLst>
                  <a:ext uri="{FF2B5EF4-FFF2-40B4-BE49-F238E27FC236}">
                    <a16:creationId xmlns:a16="http://schemas.microsoft.com/office/drawing/2014/main" id="{E1311C0F-29D8-49F1-AD93-A108F0143D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2" y="1626"/>
                <a:ext cx="47" cy="55"/>
              </a:xfrm>
              <a:custGeom>
                <a:avLst/>
                <a:gdLst>
                  <a:gd name="T0" fmla="*/ 21 w 25"/>
                  <a:gd name="T1" fmla="*/ 157 h 29"/>
                  <a:gd name="T2" fmla="*/ 8 w 25"/>
                  <a:gd name="T3" fmla="*/ 121 h 29"/>
                  <a:gd name="T4" fmla="*/ 39 w 25"/>
                  <a:gd name="T5" fmla="*/ 108 h 29"/>
                  <a:gd name="T6" fmla="*/ 39 w 25"/>
                  <a:gd name="T7" fmla="*/ 83 h 29"/>
                  <a:gd name="T8" fmla="*/ 53 w 25"/>
                  <a:gd name="T9" fmla="*/ 61 h 29"/>
                  <a:gd name="T10" fmla="*/ 81 w 25"/>
                  <a:gd name="T11" fmla="*/ 47 h 29"/>
                  <a:gd name="T12" fmla="*/ 92 w 25"/>
                  <a:gd name="T13" fmla="*/ 83 h 29"/>
                  <a:gd name="T14" fmla="*/ 120 w 25"/>
                  <a:gd name="T15" fmla="*/ 28 h 29"/>
                  <a:gd name="T16" fmla="*/ 160 w 25"/>
                  <a:gd name="T17" fmla="*/ 21 h 29"/>
                  <a:gd name="T18" fmla="*/ 145 w 25"/>
                  <a:gd name="T19" fmla="*/ 76 h 29"/>
                  <a:gd name="T20" fmla="*/ 85 w 25"/>
                  <a:gd name="T21" fmla="*/ 137 h 29"/>
                  <a:gd name="T22" fmla="*/ 68 w 25"/>
                  <a:gd name="T23" fmla="*/ 192 h 29"/>
                  <a:gd name="T24" fmla="*/ 39 w 25"/>
                  <a:gd name="T25" fmla="*/ 176 h 29"/>
                  <a:gd name="T26" fmla="*/ 45 w 25"/>
                  <a:gd name="T27" fmla="*/ 152 h 29"/>
                  <a:gd name="T28" fmla="*/ 21 w 25"/>
                  <a:gd name="T29" fmla="*/ 157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5" h="29">
                    <a:moveTo>
                      <a:pt x="3" y="23"/>
                    </a:moveTo>
                    <a:cubicBezTo>
                      <a:pt x="1" y="21"/>
                      <a:pt x="0" y="19"/>
                      <a:pt x="1" y="18"/>
                    </a:cubicBezTo>
                    <a:cubicBezTo>
                      <a:pt x="2" y="16"/>
                      <a:pt x="5" y="17"/>
                      <a:pt x="6" y="16"/>
                    </a:cubicBezTo>
                    <a:cubicBezTo>
                      <a:pt x="7" y="15"/>
                      <a:pt x="8" y="13"/>
                      <a:pt x="6" y="12"/>
                    </a:cubicBezTo>
                    <a:cubicBezTo>
                      <a:pt x="5" y="11"/>
                      <a:pt x="5" y="9"/>
                      <a:pt x="8" y="9"/>
                    </a:cubicBezTo>
                    <a:cubicBezTo>
                      <a:pt x="10" y="8"/>
                      <a:pt x="11" y="6"/>
                      <a:pt x="12" y="7"/>
                    </a:cubicBezTo>
                    <a:cubicBezTo>
                      <a:pt x="13" y="8"/>
                      <a:pt x="14" y="13"/>
                      <a:pt x="14" y="12"/>
                    </a:cubicBezTo>
                    <a:cubicBezTo>
                      <a:pt x="15" y="10"/>
                      <a:pt x="16" y="6"/>
                      <a:pt x="18" y="4"/>
                    </a:cubicBezTo>
                    <a:cubicBezTo>
                      <a:pt x="20" y="2"/>
                      <a:pt x="23" y="0"/>
                      <a:pt x="24" y="3"/>
                    </a:cubicBezTo>
                    <a:cubicBezTo>
                      <a:pt x="25" y="5"/>
                      <a:pt x="23" y="9"/>
                      <a:pt x="22" y="11"/>
                    </a:cubicBezTo>
                    <a:cubicBezTo>
                      <a:pt x="21" y="12"/>
                      <a:pt x="14" y="19"/>
                      <a:pt x="13" y="20"/>
                    </a:cubicBezTo>
                    <a:cubicBezTo>
                      <a:pt x="12" y="22"/>
                      <a:pt x="12" y="26"/>
                      <a:pt x="10" y="28"/>
                    </a:cubicBezTo>
                    <a:cubicBezTo>
                      <a:pt x="8" y="29"/>
                      <a:pt x="5" y="28"/>
                      <a:pt x="6" y="26"/>
                    </a:cubicBezTo>
                    <a:cubicBezTo>
                      <a:pt x="7" y="25"/>
                      <a:pt x="8" y="23"/>
                      <a:pt x="7" y="22"/>
                    </a:cubicBezTo>
                    <a:cubicBezTo>
                      <a:pt x="6" y="22"/>
                      <a:pt x="3" y="23"/>
                      <a:pt x="3" y="2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  <p:grpSp>
          <p:nvGrpSpPr>
            <p:cNvPr id="587" name="Group 80">
              <a:extLst>
                <a:ext uri="{FF2B5EF4-FFF2-40B4-BE49-F238E27FC236}">
                  <a16:creationId xmlns:a16="http://schemas.microsoft.com/office/drawing/2014/main" id="{2C018281-980F-4A76-B594-24641E7DAEC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885" y="3031"/>
              <a:ext cx="410" cy="485"/>
              <a:chOff x="2885" y="3031"/>
              <a:chExt cx="410" cy="485"/>
            </a:xfrm>
            <a:grpFill/>
          </p:grpSpPr>
          <p:sp>
            <p:nvSpPr>
              <p:cNvPr id="588" name="Freeform 81">
                <a:extLst>
                  <a:ext uri="{FF2B5EF4-FFF2-40B4-BE49-F238E27FC236}">
                    <a16:creationId xmlns:a16="http://schemas.microsoft.com/office/drawing/2014/main" id="{5BA7234E-66C2-4872-8493-B44978863F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5" y="3305"/>
                <a:ext cx="32" cy="17"/>
              </a:xfrm>
              <a:custGeom>
                <a:avLst/>
                <a:gdLst>
                  <a:gd name="T0" fmla="*/ 105 w 17"/>
                  <a:gd name="T1" fmla="*/ 21 h 9"/>
                  <a:gd name="T2" fmla="*/ 81 w 17"/>
                  <a:gd name="T3" fmla="*/ 53 h 9"/>
                  <a:gd name="T4" fmla="*/ 45 w 17"/>
                  <a:gd name="T5" fmla="*/ 47 h 9"/>
                  <a:gd name="T6" fmla="*/ 15 w 17"/>
                  <a:gd name="T7" fmla="*/ 53 h 9"/>
                  <a:gd name="T8" fmla="*/ 15 w 17"/>
                  <a:gd name="T9" fmla="*/ 28 h 9"/>
                  <a:gd name="T10" fmla="*/ 53 w 17"/>
                  <a:gd name="T11" fmla="*/ 0 h 9"/>
                  <a:gd name="T12" fmla="*/ 81 w 17"/>
                  <a:gd name="T13" fmla="*/ 15 h 9"/>
                  <a:gd name="T14" fmla="*/ 105 w 17"/>
                  <a:gd name="T15" fmla="*/ 21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3"/>
                    </a:moveTo>
                    <a:cubicBezTo>
                      <a:pt x="17" y="4"/>
                      <a:pt x="14" y="7"/>
                      <a:pt x="12" y="8"/>
                    </a:cubicBezTo>
                    <a:cubicBezTo>
                      <a:pt x="11" y="9"/>
                      <a:pt x="8" y="7"/>
                      <a:pt x="7" y="7"/>
                    </a:cubicBezTo>
                    <a:cubicBezTo>
                      <a:pt x="5" y="6"/>
                      <a:pt x="3" y="8"/>
                      <a:pt x="2" y="8"/>
                    </a:cubicBezTo>
                    <a:cubicBezTo>
                      <a:pt x="0" y="8"/>
                      <a:pt x="0" y="6"/>
                      <a:pt x="2" y="4"/>
                    </a:cubicBezTo>
                    <a:cubicBezTo>
                      <a:pt x="3" y="2"/>
                      <a:pt x="6" y="0"/>
                      <a:pt x="8" y="0"/>
                    </a:cubicBezTo>
                    <a:cubicBezTo>
                      <a:pt x="9" y="1"/>
                      <a:pt x="10" y="1"/>
                      <a:pt x="12" y="2"/>
                    </a:cubicBezTo>
                    <a:cubicBezTo>
                      <a:pt x="13" y="3"/>
                      <a:pt x="14" y="1"/>
                      <a:pt x="16" y="3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89" name="Freeform 82">
                <a:extLst>
                  <a:ext uri="{FF2B5EF4-FFF2-40B4-BE49-F238E27FC236}">
                    <a16:creationId xmlns:a16="http://schemas.microsoft.com/office/drawing/2014/main" id="{09629EDA-7B1B-4364-AF63-8C17C135FF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7" y="3462"/>
                <a:ext cx="170" cy="54"/>
              </a:xfrm>
              <a:custGeom>
                <a:avLst/>
                <a:gdLst>
                  <a:gd name="T0" fmla="*/ 570 w 91"/>
                  <a:gd name="T1" fmla="*/ 60 h 29"/>
                  <a:gd name="T2" fmla="*/ 570 w 91"/>
                  <a:gd name="T3" fmla="*/ 117 h 29"/>
                  <a:gd name="T4" fmla="*/ 542 w 91"/>
                  <a:gd name="T5" fmla="*/ 149 h 29"/>
                  <a:gd name="T6" fmla="*/ 383 w 91"/>
                  <a:gd name="T7" fmla="*/ 166 h 29"/>
                  <a:gd name="T8" fmla="*/ 254 w 91"/>
                  <a:gd name="T9" fmla="*/ 188 h 29"/>
                  <a:gd name="T10" fmla="*/ 241 w 91"/>
                  <a:gd name="T11" fmla="*/ 142 h 29"/>
                  <a:gd name="T12" fmla="*/ 144 w 91"/>
                  <a:gd name="T13" fmla="*/ 121 h 29"/>
                  <a:gd name="T14" fmla="*/ 13 w 91"/>
                  <a:gd name="T15" fmla="*/ 112 h 29"/>
                  <a:gd name="T16" fmla="*/ 21 w 91"/>
                  <a:gd name="T17" fmla="*/ 20 h 29"/>
                  <a:gd name="T18" fmla="*/ 77 w 91"/>
                  <a:gd name="T19" fmla="*/ 45 h 29"/>
                  <a:gd name="T20" fmla="*/ 226 w 91"/>
                  <a:gd name="T21" fmla="*/ 65 h 29"/>
                  <a:gd name="T22" fmla="*/ 346 w 91"/>
                  <a:gd name="T23" fmla="*/ 60 h 29"/>
                  <a:gd name="T24" fmla="*/ 437 w 91"/>
                  <a:gd name="T25" fmla="*/ 65 h 29"/>
                  <a:gd name="T26" fmla="*/ 450 w 91"/>
                  <a:gd name="T27" fmla="*/ 112 h 29"/>
                  <a:gd name="T28" fmla="*/ 570 w 91"/>
                  <a:gd name="T29" fmla="*/ 60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91" h="29">
                    <a:moveTo>
                      <a:pt x="87" y="9"/>
                    </a:moveTo>
                    <a:cubicBezTo>
                      <a:pt x="91" y="9"/>
                      <a:pt x="89" y="15"/>
                      <a:pt x="87" y="18"/>
                    </a:cubicBezTo>
                    <a:cubicBezTo>
                      <a:pt x="85" y="21"/>
                      <a:pt x="85" y="23"/>
                      <a:pt x="83" y="23"/>
                    </a:cubicBezTo>
                    <a:cubicBezTo>
                      <a:pt x="80" y="23"/>
                      <a:pt x="63" y="25"/>
                      <a:pt x="59" y="26"/>
                    </a:cubicBezTo>
                    <a:cubicBezTo>
                      <a:pt x="55" y="28"/>
                      <a:pt x="41" y="29"/>
                      <a:pt x="39" y="29"/>
                    </a:cubicBezTo>
                    <a:cubicBezTo>
                      <a:pt x="37" y="28"/>
                      <a:pt x="41" y="23"/>
                      <a:pt x="37" y="22"/>
                    </a:cubicBezTo>
                    <a:cubicBezTo>
                      <a:pt x="33" y="21"/>
                      <a:pt x="22" y="19"/>
                      <a:pt x="22" y="19"/>
                    </a:cubicBezTo>
                    <a:cubicBezTo>
                      <a:pt x="17" y="19"/>
                      <a:pt x="4" y="20"/>
                      <a:pt x="2" y="17"/>
                    </a:cubicBezTo>
                    <a:cubicBezTo>
                      <a:pt x="0" y="14"/>
                      <a:pt x="1" y="7"/>
                      <a:pt x="3" y="3"/>
                    </a:cubicBezTo>
                    <a:cubicBezTo>
                      <a:pt x="5" y="0"/>
                      <a:pt x="9" y="7"/>
                      <a:pt x="12" y="7"/>
                    </a:cubicBezTo>
                    <a:cubicBezTo>
                      <a:pt x="15" y="7"/>
                      <a:pt x="31" y="11"/>
                      <a:pt x="35" y="10"/>
                    </a:cubicBezTo>
                    <a:cubicBezTo>
                      <a:pt x="41" y="10"/>
                      <a:pt x="50" y="9"/>
                      <a:pt x="53" y="9"/>
                    </a:cubicBezTo>
                    <a:cubicBezTo>
                      <a:pt x="56" y="9"/>
                      <a:pt x="64" y="10"/>
                      <a:pt x="67" y="10"/>
                    </a:cubicBezTo>
                    <a:cubicBezTo>
                      <a:pt x="69" y="10"/>
                      <a:pt x="66" y="18"/>
                      <a:pt x="69" y="17"/>
                    </a:cubicBezTo>
                    <a:cubicBezTo>
                      <a:pt x="73" y="16"/>
                      <a:pt x="84" y="9"/>
                      <a:pt x="87" y="9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0" name="Freeform 83">
                <a:extLst>
                  <a:ext uri="{FF2B5EF4-FFF2-40B4-BE49-F238E27FC236}">
                    <a16:creationId xmlns:a16="http://schemas.microsoft.com/office/drawing/2014/main" id="{3916A651-EED2-414C-B80F-A9CE993BD0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1" y="3208"/>
                <a:ext cx="43" cy="27"/>
              </a:xfrm>
              <a:custGeom>
                <a:avLst/>
                <a:gdLst>
                  <a:gd name="T0" fmla="*/ 144 w 23"/>
                  <a:gd name="T1" fmla="*/ 44 h 14"/>
                  <a:gd name="T2" fmla="*/ 129 w 23"/>
                  <a:gd name="T3" fmla="*/ 93 h 14"/>
                  <a:gd name="T4" fmla="*/ 39 w 23"/>
                  <a:gd name="T5" fmla="*/ 64 h 14"/>
                  <a:gd name="T6" fmla="*/ 0 w 23"/>
                  <a:gd name="T7" fmla="*/ 23 h 14"/>
                  <a:gd name="T8" fmla="*/ 52 w 23"/>
                  <a:gd name="T9" fmla="*/ 0 h 14"/>
                  <a:gd name="T10" fmla="*/ 97 w 23"/>
                  <a:gd name="T11" fmla="*/ 8 h 14"/>
                  <a:gd name="T12" fmla="*/ 144 w 23"/>
                  <a:gd name="T13" fmla="*/ 4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" h="14">
                    <a:moveTo>
                      <a:pt x="22" y="6"/>
                    </a:moveTo>
                    <a:cubicBezTo>
                      <a:pt x="23" y="9"/>
                      <a:pt x="22" y="11"/>
                      <a:pt x="20" y="13"/>
                    </a:cubicBezTo>
                    <a:cubicBezTo>
                      <a:pt x="18" y="14"/>
                      <a:pt x="9" y="10"/>
                      <a:pt x="6" y="9"/>
                    </a:cubicBezTo>
                    <a:cubicBezTo>
                      <a:pt x="3" y="9"/>
                      <a:pt x="0" y="6"/>
                      <a:pt x="0" y="3"/>
                    </a:cubicBezTo>
                    <a:cubicBezTo>
                      <a:pt x="0" y="1"/>
                      <a:pt x="8" y="0"/>
                      <a:pt x="8" y="0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21" y="4"/>
                      <a:pt x="22" y="6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1" name="Freeform 84">
                <a:extLst>
                  <a:ext uri="{FF2B5EF4-FFF2-40B4-BE49-F238E27FC236}">
                    <a16:creationId xmlns:a16="http://schemas.microsoft.com/office/drawing/2014/main" id="{D7E43307-D406-4986-AB7F-2502948466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5" y="3031"/>
                <a:ext cx="339" cy="392"/>
              </a:xfrm>
              <a:custGeom>
                <a:avLst/>
                <a:gdLst>
                  <a:gd name="T0" fmla="*/ 1138 w 182"/>
                  <a:gd name="T1" fmla="*/ 217 h 210"/>
                  <a:gd name="T2" fmla="*/ 1010 w 182"/>
                  <a:gd name="T3" fmla="*/ 248 h 210"/>
                  <a:gd name="T4" fmla="*/ 728 w 182"/>
                  <a:gd name="T5" fmla="*/ 286 h 210"/>
                  <a:gd name="T6" fmla="*/ 808 w 182"/>
                  <a:gd name="T7" fmla="*/ 422 h 210"/>
                  <a:gd name="T8" fmla="*/ 691 w 182"/>
                  <a:gd name="T9" fmla="*/ 398 h 210"/>
                  <a:gd name="T10" fmla="*/ 719 w 182"/>
                  <a:gd name="T11" fmla="*/ 510 h 210"/>
                  <a:gd name="T12" fmla="*/ 607 w 182"/>
                  <a:gd name="T13" fmla="*/ 422 h 210"/>
                  <a:gd name="T14" fmla="*/ 667 w 182"/>
                  <a:gd name="T15" fmla="*/ 526 h 210"/>
                  <a:gd name="T16" fmla="*/ 563 w 182"/>
                  <a:gd name="T17" fmla="*/ 422 h 210"/>
                  <a:gd name="T18" fmla="*/ 538 w 182"/>
                  <a:gd name="T19" fmla="*/ 358 h 210"/>
                  <a:gd name="T20" fmla="*/ 451 w 182"/>
                  <a:gd name="T21" fmla="*/ 370 h 210"/>
                  <a:gd name="T22" fmla="*/ 466 w 182"/>
                  <a:gd name="T23" fmla="*/ 487 h 210"/>
                  <a:gd name="T24" fmla="*/ 600 w 182"/>
                  <a:gd name="T25" fmla="*/ 668 h 210"/>
                  <a:gd name="T26" fmla="*/ 538 w 182"/>
                  <a:gd name="T27" fmla="*/ 651 h 210"/>
                  <a:gd name="T28" fmla="*/ 542 w 182"/>
                  <a:gd name="T29" fmla="*/ 707 h 210"/>
                  <a:gd name="T30" fmla="*/ 466 w 182"/>
                  <a:gd name="T31" fmla="*/ 760 h 210"/>
                  <a:gd name="T32" fmla="*/ 600 w 182"/>
                  <a:gd name="T33" fmla="*/ 833 h 210"/>
                  <a:gd name="T34" fmla="*/ 652 w 182"/>
                  <a:gd name="T35" fmla="*/ 812 h 210"/>
                  <a:gd name="T36" fmla="*/ 555 w 182"/>
                  <a:gd name="T37" fmla="*/ 756 h 210"/>
                  <a:gd name="T38" fmla="*/ 620 w 182"/>
                  <a:gd name="T39" fmla="*/ 735 h 210"/>
                  <a:gd name="T40" fmla="*/ 749 w 182"/>
                  <a:gd name="T41" fmla="*/ 788 h 210"/>
                  <a:gd name="T42" fmla="*/ 788 w 182"/>
                  <a:gd name="T43" fmla="*/ 833 h 210"/>
                  <a:gd name="T44" fmla="*/ 821 w 182"/>
                  <a:gd name="T45" fmla="*/ 902 h 210"/>
                  <a:gd name="T46" fmla="*/ 846 w 182"/>
                  <a:gd name="T47" fmla="*/ 961 h 210"/>
                  <a:gd name="T48" fmla="*/ 756 w 182"/>
                  <a:gd name="T49" fmla="*/ 892 h 210"/>
                  <a:gd name="T50" fmla="*/ 691 w 182"/>
                  <a:gd name="T51" fmla="*/ 864 h 210"/>
                  <a:gd name="T52" fmla="*/ 728 w 182"/>
                  <a:gd name="T53" fmla="*/ 930 h 210"/>
                  <a:gd name="T54" fmla="*/ 749 w 182"/>
                  <a:gd name="T55" fmla="*/ 1014 h 210"/>
                  <a:gd name="T56" fmla="*/ 704 w 182"/>
                  <a:gd name="T57" fmla="*/ 1021 h 210"/>
                  <a:gd name="T58" fmla="*/ 576 w 182"/>
                  <a:gd name="T59" fmla="*/ 989 h 210"/>
                  <a:gd name="T60" fmla="*/ 607 w 182"/>
                  <a:gd name="T61" fmla="*/ 1058 h 210"/>
                  <a:gd name="T62" fmla="*/ 620 w 182"/>
                  <a:gd name="T63" fmla="*/ 1118 h 210"/>
                  <a:gd name="T64" fmla="*/ 518 w 182"/>
                  <a:gd name="T65" fmla="*/ 1066 h 210"/>
                  <a:gd name="T66" fmla="*/ 568 w 182"/>
                  <a:gd name="T67" fmla="*/ 1282 h 210"/>
                  <a:gd name="T68" fmla="*/ 555 w 182"/>
                  <a:gd name="T69" fmla="*/ 1342 h 210"/>
                  <a:gd name="T70" fmla="*/ 479 w 182"/>
                  <a:gd name="T71" fmla="*/ 1267 h 210"/>
                  <a:gd name="T72" fmla="*/ 434 w 182"/>
                  <a:gd name="T73" fmla="*/ 1335 h 210"/>
                  <a:gd name="T74" fmla="*/ 389 w 182"/>
                  <a:gd name="T75" fmla="*/ 1210 h 210"/>
                  <a:gd name="T76" fmla="*/ 354 w 182"/>
                  <a:gd name="T77" fmla="*/ 1282 h 210"/>
                  <a:gd name="T78" fmla="*/ 298 w 182"/>
                  <a:gd name="T79" fmla="*/ 1215 h 210"/>
                  <a:gd name="T80" fmla="*/ 305 w 182"/>
                  <a:gd name="T81" fmla="*/ 1133 h 210"/>
                  <a:gd name="T82" fmla="*/ 194 w 182"/>
                  <a:gd name="T83" fmla="*/ 1001 h 210"/>
                  <a:gd name="T84" fmla="*/ 233 w 182"/>
                  <a:gd name="T85" fmla="*/ 969 h 210"/>
                  <a:gd name="T86" fmla="*/ 285 w 182"/>
                  <a:gd name="T87" fmla="*/ 930 h 210"/>
                  <a:gd name="T88" fmla="*/ 399 w 182"/>
                  <a:gd name="T89" fmla="*/ 930 h 210"/>
                  <a:gd name="T90" fmla="*/ 531 w 182"/>
                  <a:gd name="T91" fmla="*/ 969 h 210"/>
                  <a:gd name="T92" fmla="*/ 510 w 182"/>
                  <a:gd name="T93" fmla="*/ 902 h 210"/>
                  <a:gd name="T94" fmla="*/ 322 w 182"/>
                  <a:gd name="T95" fmla="*/ 872 h 210"/>
                  <a:gd name="T96" fmla="*/ 156 w 182"/>
                  <a:gd name="T97" fmla="*/ 795 h 210"/>
                  <a:gd name="T98" fmla="*/ 84 w 182"/>
                  <a:gd name="T99" fmla="*/ 833 h 210"/>
                  <a:gd name="T100" fmla="*/ 112 w 182"/>
                  <a:gd name="T101" fmla="*/ 715 h 210"/>
                  <a:gd name="T102" fmla="*/ 13 w 182"/>
                  <a:gd name="T103" fmla="*/ 586 h 210"/>
                  <a:gd name="T104" fmla="*/ 60 w 182"/>
                  <a:gd name="T105" fmla="*/ 502 h 210"/>
                  <a:gd name="T106" fmla="*/ 156 w 182"/>
                  <a:gd name="T107" fmla="*/ 301 h 210"/>
                  <a:gd name="T108" fmla="*/ 367 w 182"/>
                  <a:gd name="T109" fmla="*/ 217 h 210"/>
                  <a:gd name="T110" fmla="*/ 518 w 182"/>
                  <a:gd name="T111" fmla="*/ 189 h 210"/>
                  <a:gd name="T112" fmla="*/ 944 w 182"/>
                  <a:gd name="T113" fmla="*/ 144 h 210"/>
                  <a:gd name="T114" fmla="*/ 1118 w 182"/>
                  <a:gd name="T115" fmla="*/ 0 h 2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82" h="210">
                    <a:moveTo>
                      <a:pt x="182" y="17"/>
                    </a:moveTo>
                    <a:cubicBezTo>
                      <a:pt x="182" y="25"/>
                      <a:pt x="178" y="31"/>
                      <a:pt x="176" y="33"/>
                    </a:cubicBezTo>
                    <a:cubicBezTo>
                      <a:pt x="174" y="35"/>
                      <a:pt x="171" y="39"/>
                      <a:pt x="168" y="43"/>
                    </a:cubicBezTo>
                    <a:cubicBezTo>
                      <a:pt x="165" y="40"/>
                      <a:pt x="161" y="38"/>
                      <a:pt x="156" y="38"/>
                    </a:cubicBezTo>
                    <a:cubicBezTo>
                      <a:pt x="150" y="38"/>
                      <a:pt x="142" y="35"/>
                      <a:pt x="138" y="37"/>
                    </a:cubicBezTo>
                    <a:cubicBezTo>
                      <a:pt x="133" y="40"/>
                      <a:pt x="119" y="45"/>
                      <a:pt x="113" y="44"/>
                    </a:cubicBezTo>
                    <a:cubicBezTo>
                      <a:pt x="108" y="44"/>
                      <a:pt x="102" y="44"/>
                      <a:pt x="102" y="47"/>
                    </a:cubicBezTo>
                    <a:cubicBezTo>
                      <a:pt x="102" y="51"/>
                      <a:pt x="126" y="62"/>
                      <a:pt x="125" y="65"/>
                    </a:cubicBezTo>
                    <a:cubicBezTo>
                      <a:pt x="124" y="68"/>
                      <a:pt x="122" y="68"/>
                      <a:pt x="119" y="67"/>
                    </a:cubicBezTo>
                    <a:cubicBezTo>
                      <a:pt x="116" y="65"/>
                      <a:pt x="110" y="58"/>
                      <a:pt x="107" y="61"/>
                    </a:cubicBezTo>
                    <a:cubicBezTo>
                      <a:pt x="103" y="64"/>
                      <a:pt x="113" y="70"/>
                      <a:pt x="113" y="72"/>
                    </a:cubicBezTo>
                    <a:cubicBezTo>
                      <a:pt x="113" y="74"/>
                      <a:pt x="112" y="78"/>
                      <a:pt x="111" y="78"/>
                    </a:cubicBezTo>
                    <a:cubicBezTo>
                      <a:pt x="110" y="78"/>
                      <a:pt x="102" y="68"/>
                      <a:pt x="100" y="66"/>
                    </a:cubicBezTo>
                    <a:cubicBezTo>
                      <a:pt x="97" y="64"/>
                      <a:pt x="96" y="64"/>
                      <a:pt x="94" y="65"/>
                    </a:cubicBezTo>
                    <a:cubicBezTo>
                      <a:pt x="92" y="66"/>
                      <a:pt x="95" y="74"/>
                      <a:pt x="98" y="75"/>
                    </a:cubicBezTo>
                    <a:cubicBezTo>
                      <a:pt x="101" y="76"/>
                      <a:pt x="105" y="79"/>
                      <a:pt x="103" y="81"/>
                    </a:cubicBezTo>
                    <a:cubicBezTo>
                      <a:pt x="101" y="83"/>
                      <a:pt x="97" y="82"/>
                      <a:pt x="93" y="78"/>
                    </a:cubicBezTo>
                    <a:cubicBezTo>
                      <a:pt x="88" y="75"/>
                      <a:pt x="90" y="67"/>
                      <a:pt x="87" y="65"/>
                    </a:cubicBezTo>
                    <a:cubicBezTo>
                      <a:pt x="84" y="63"/>
                      <a:pt x="79" y="61"/>
                      <a:pt x="79" y="58"/>
                    </a:cubicBezTo>
                    <a:cubicBezTo>
                      <a:pt x="80" y="56"/>
                      <a:pt x="82" y="56"/>
                      <a:pt x="83" y="55"/>
                    </a:cubicBezTo>
                    <a:cubicBezTo>
                      <a:pt x="84" y="53"/>
                      <a:pt x="81" y="49"/>
                      <a:pt x="79" y="50"/>
                    </a:cubicBezTo>
                    <a:cubicBezTo>
                      <a:pt x="76" y="50"/>
                      <a:pt x="70" y="55"/>
                      <a:pt x="70" y="57"/>
                    </a:cubicBezTo>
                    <a:cubicBezTo>
                      <a:pt x="69" y="60"/>
                      <a:pt x="74" y="62"/>
                      <a:pt x="72" y="65"/>
                    </a:cubicBezTo>
                    <a:cubicBezTo>
                      <a:pt x="70" y="69"/>
                      <a:pt x="70" y="72"/>
                      <a:pt x="72" y="75"/>
                    </a:cubicBezTo>
                    <a:cubicBezTo>
                      <a:pt x="74" y="78"/>
                      <a:pt x="77" y="80"/>
                      <a:pt x="78" y="83"/>
                    </a:cubicBezTo>
                    <a:cubicBezTo>
                      <a:pt x="81" y="85"/>
                      <a:pt x="93" y="102"/>
                      <a:pt x="93" y="103"/>
                    </a:cubicBezTo>
                    <a:cubicBezTo>
                      <a:pt x="94" y="105"/>
                      <a:pt x="94" y="107"/>
                      <a:pt x="92" y="107"/>
                    </a:cubicBezTo>
                    <a:cubicBezTo>
                      <a:pt x="90" y="107"/>
                      <a:pt x="86" y="101"/>
                      <a:pt x="83" y="100"/>
                    </a:cubicBezTo>
                    <a:cubicBezTo>
                      <a:pt x="80" y="100"/>
                      <a:pt x="78" y="101"/>
                      <a:pt x="79" y="104"/>
                    </a:cubicBezTo>
                    <a:cubicBezTo>
                      <a:pt x="80" y="106"/>
                      <a:pt x="84" y="107"/>
                      <a:pt x="84" y="109"/>
                    </a:cubicBezTo>
                    <a:cubicBezTo>
                      <a:pt x="84" y="111"/>
                      <a:pt x="77" y="116"/>
                      <a:pt x="75" y="115"/>
                    </a:cubicBezTo>
                    <a:cubicBezTo>
                      <a:pt x="72" y="114"/>
                      <a:pt x="71" y="116"/>
                      <a:pt x="72" y="117"/>
                    </a:cubicBezTo>
                    <a:cubicBezTo>
                      <a:pt x="72" y="118"/>
                      <a:pt x="75" y="121"/>
                      <a:pt x="80" y="122"/>
                    </a:cubicBezTo>
                    <a:cubicBezTo>
                      <a:pt x="86" y="122"/>
                      <a:pt x="92" y="126"/>
                      <a:pt x="93" y="128"/>
                    </a:cubicBezTo>
                    <a:cubicBezTo>
                      <a:pt x="95" y="130"/>
                      <a:pt x="101" y="132"/>
                      <a:pt x="102" y="130"/>
                    </a:cubicBezTo>
                    <a:cubicBezTo>
                      <a:pt x="103" y="128"/>
                      <a:pt x="104" y="128"/>
                      <a:pt x="101" y="125"/>
                    </a:cubicBezTo>
                    <a:cubicBezTo>
                      <a:pt x="98" y="122"/>
                      <a:pt x="97" y="121"/>
                      <a:pt x="94" y="120"/>
                    </a:cubicBezTo>
                    <a:cubicBezTo>
                      <a:pt x="92" y="118"/>
                      <a:pt x="84" y="117"/>
                      <a:pt x="86" y="116"/>
                    </a:cubicBezTo>
                    <a:cubicBezTo>
                      <a:pt x="88" y="116"/>
                      <a:pt x="91" y="110"/>
                      <a:pt x="94" y="111"/>
                    </a:cubicBezTo>
                    <a:cubicBezTo>
                      <a:pt x="96" y="112"/>
                      <a:pt x="94" y="111"/>
                      <a:pt x="96" y="113"/>
                    </a:cubicBezTo>
                    <a:cubicBezTo>
                      <a:pt x="98" y="115"/>
                      <a:pt x="100" y="116"/>
                      <a:pt x="103" y="117"/>
                    </a:cubicBezTo>
                    <a:cubicBezTo>
                      <a:pt x="106" y="118"/>
                      <a:pt x="114" y="121"/>
                      <a:pt x="116" y="121"/>
                    </a:cubicBezTo>
                    <a:cubicBezTo>
                      <a:pt x="118" y="121"/>
                      <a:pt x="118" y="121"/>
                      <a:pt x="118" y="123"/>
                    </a:cubicBezTo>
                    <a:cubicBezTo>
                      <a:pt x="119" y="126"/>
                      <a:pt x="121" y="127"/>
                      <a:pt x="122" y="128"/>
                    </a:cubicBezTo>
                    <a:cubicBezTo>
                      <a:pt x="123" y="128"/>
                      <a:pt x="122" y="131"/>
                      <a:pt x="122" y="133"/>
                    </a:cubicBezTo>
                    <a:cubicBezTo>
                      <a:pt x="122" y="135"/>
                      <a:pt x="125" y="139"/>
                      <a:pt x="127" y="139"/>
                    </a:cubicBezTo>
                    <a:cubicBezTo>
                      <a:pt x="128" y="139"/>
                      <a:pt x="133" y="139"/>
                      <a:pt x="133" y="140"/>
                    </a:cubicBezTo>
                    <a:cubicBezTo>
                      <a:pt x="133" y="140"/>
                      <a:pt x="132" y="148"/>
                      <a:pt x="131" y="148"/>
                    </a:cubicBezTo>
                    <a:cubicBezTo>
                      <a:pt x="130" y="149"/>
                      <a:pt x="125" y="149"/>
                      <a:pt x="123" y="146"/>
                    </a:cubicBezTo>
                    <a:cubicBezTo>
                      <a:pt x="121" y="144"/>
                      <a:pt x="118" y="139"/>
                      <a:pt x="117" y="137"/>
                    </a:cubicBezTo>
                    <a:cubicBezTo>
                      <a:pt x="116" y="135"/>
                      <a:pt x="114" y="133"/>
                      <a:pt x="112" y="133"/>
                    </a:cubicBezTo>
                    <a:cubicBezTo>
                      <a:pt x="110" y="133"/>
                      <a:pt x="107" y="132"/>
                      <a:pt x="107" y="133"/>
                    </a:cubicBezTo>
                    <a:cubicBezTo>
                      <a:pt x="107" y="134"/>
                      <a:pt x="106" y="135"/>
                      <a:pt x="107" y="136"/>
                    </a:cubicBezTo>
                    <a:cubicBezTo>
                      <a:pt x="108" y="138"/>
                      <a:pt x="113" y="141"/>
                      <a:pt x="113" y="143"/>
                    </a:cubicBezTo>
                    <a:cubicBezTo>
                      <a:pt x="113" y="144"/>
                      <a:pt x="112" y="146"/>
                      <a:pt x="112" y="148"/>
                    </a:cubicBezTo>
                    <a:cubicBezTo>
                      <a:pt x="112" y="149"/>
                      <a:pt x="117" y="154"/>
                      <a:pt x="116" y="156"/>
                    </a:cubicBezTo>
                    <a:cubicBezTo>
                      <a:pt x="116" y="158"/>
                      <a:pt x="117" y="159"/>
                      <a:pt x="115" y="159"/>
                    </a:cubicBezTo>
                    <a:cubicBezTo>
                      <a:pt x="113" y="159"/>
                      <a:pt x="110" y="159"/>
                      <a:pt x="109" y="157"/>
                    </a:cubicBezTo>
                    <a:cubicBezTo>
                      <a:pt x="109" y="155"/>
                      <a:pt x="102" y="150"/>
                      <a:pt x="100" y="150"/>
                    </a:cubicBezTo>
                    <a:cubicBezTo>
                      <a:pt x="98" y="150"/>
                      <a:pt x="91" y="150"/>
                      <a:pt x="89" y="152"/>
                    </a:cubicBezTo>
                    <a:cubicBezTo>
                      <a:pt x="87" y="153"/>
                      <a:pt x="91" y="155"/>
                      <a:pt x="91" y="156"/>
                    </a:cubicBezTo>
                    <a:cubicBezTo>
                      <a:pt x="92" y="158"/>
                      <a:pt x="91" y="161"/>
                      <a:pt x="94" y="163"/>
                    </a:cubicBezTo>
                    <a:cubicBezTo>
                      <a:pt x="96" y="164"/>
                      <a:pt x="103" y="165"/>
                      <a:pt x="103" y="168"/>
                    </a:cubicBezTo>
                    <a:cubicBezTo>
                      <a:pt x="103" y="170"/>
                      <a:pt x="97" y="169"/>
                      <a:pt x="96" y="172"/>
                    </a:cubicBezTo>
                    <a:cubicBezTo>
                      <a:pt x="94" y="175"/>
                      <a:pt x="91" y="176"/>
                      <a:pt x="89" y="174"/>
                    </a:cubicBezTo>
                    <a:cubicBezTo>
                      <a:pt x="88" y="172"/>
                      <a:pt x="82" y="163"/>
                      <a:pt x="80" y="164"/>
                    </a:cubicBezTo>
                    <a:cubicBezTo>
                      <a:pt x="77" y="165"/>
                      <a:pt x="88" y="190"/>
                      <a:pt x="90" y="192"/>
                    </a:cubicBezTo>
                    <a:cubicBezTo>
                      <a:pt x="91" y="194"/>
                      <a:pt x="88" y="195"/>
                      <a:pt x="88" y="197"/>
                    </a:cubicBezTo>
                    <a:cubicBezTo>
                      <a:pt x="89" y="199"/>
                      <a:pt x="94" y="203"/>
                      <a:pt x="94" y="205"/>
                    </a:cubicBezTo>
                    <a:cubicBezTo>
                      <a:pt x="94" y="207"/>
                      <a:pt x="87" y="207"/>
                      <a:pt x="86" y="206"/>
                    </a:cubicBezTo>
                    <a:cubicBezTo>
                      <a:pt x="84" y="205"/>
                      <a:pt x="81" y="194"/>
                      <a:pt x="79" y="193"/>
                    </a:cubicBezTo>
                    <a:cubicBezTo>
                      <a:pt x="77" y="192"/>
                      <a:pt x="75" y="194"/>
                      <a:pt x="74" y="195"/>
                    </a:cubicBezTo>
                    <a:cubicBezTo>
                      <a:pt x="73" y="196"/>
                      <a:pt x="74" y="206"/>
                      <a:pt x="73" y="208"/>
                    </a:cubicBezTo>
                    <a:cubicBezTo>
                      <a:pt x="72" y="210"/>
                      <a:pt x="67" y="207"/>
                      <a:pt x="67" y="205"/>
                    </a:cubicBezTo>
                    <a:cubicBezTo>
                      <a:pt x="66" y="204"/>
                      <a:pt x="68" y="196"/>
                      <a:pt x="66" y="193"/>
                    </a:cubicBezTo>
                    <a:cubicBezTo>
                      <a:pt x="64" y="190"/>
                      <a:pt x="62" y="186"/>
                      <a:pt x="60" y="186"/>
                    </a:cubicBezTo>
                    <a:cubicBezTo>
                      <a:pt x="58" y="186"/>
                      <a:pt x="56" y="186"/>
                      <a:pt x="56" y="187"/>
                    </a:cubicBezTo>
                    <a:cubicBezTo>
                      <a:pt x="55" y="188"/>
                      <a:pt x="57" y="197"/>
                      <a:pt x="55" y="197"/>
                    </a:cubicBezTo>
                    <a:cubicBezTo>
                      <a:pt x="53" y="197"/>
                      <a:pt x="49" y="195"/>
                      <a:pt x="48" y="193"/>
                    </a:cubicBezTo>
                    <a:cubicBezTo>
                      <a:pt x="47" y="191"/>
                      <a:pt x="48" y="189"/>
                      <a:pt x="46" y="187"/>
                    </a:cubicBezTo>
                    <a:cubicBezTo>
                      <a:pt x="44" y="185"/>
                      <a:pt x="43" y="183"/>
                      <a:pt x="44" y="181"/>
                    </a:cubicBezTo>
                    <a:cubicBezTo>
                      <a:pt x="44" y="179"/>
                      <a:pt x="48" y="177"/>
                      <a:pt x="47" y="174"/>
                    </a:cubicBezTo>
                    <a:cubicBezTo>
                      <a:pt x="46" y="171"/>
                      <a:pt x="37" y="159"/>
                      <a:pt x="34" y="157"/>
                    </a:cubicBezTo>
                    <a:cubicBezTo>
                      <a:pt x="32" y="156"/>
                      <a:pt x="30" y="155"/>
                      <a:pt x="30" y="154"/>
                    </a:cubicBezTo>
                    <a:cubicBezTo>
                      <a:pt x="30" y="153"/>
                      <a:pt x="30" y="151"/>
                      <a:pt x="32" y="151"/>
                    </a:cubicBezTo>
                    <a:cubicBezTo>
                      <a:pt x="33" y="151"/>
                      <a:pt x="35" y="150"/>
                      <a:pt x="36" y="149"/>
                    </a:cubicBezTo>
                    <a:cubicBezTo>
                      <a:pt x="37" y="147"/>
                      <a:pt x="37" y="143"/>
                      <a:pt x="38" y="143"/>
                    </a:cubicBezTo>
                    <a:cubicBezTo>
                      <a:pt x="39" y="142"/>
                      <a:pt x="42" y="144"/>
                      <a:pt x="44" y="143"/>
                    </a:cubicBezTo>
                    <a:cubicBezTo>
                      <a:pt x="45" y="143"/>
                      <a:pt x="50" y="139"/>
                      <a:pt x="52" y="139"/>
                    </a:cubicBezTo>
                    <a:cubicBezTo>
                      <a:pt x="54" y="140"/>
                      <a:pt x="61" y="142"/>
                      <a:pt x="62" y="143"/>
                    </a:cubicBezTo>
                    <a:cubicBezTo>
                      <a:pt x="64" y="144"/>
                      <a:pt x="76" y="148"/>
                      <a:pt x="78" y="149"/>
                    </a:cubicBezTo>
                    <a:cubicBezTo>
                      <a:pt x="79" y="149"/>
                      <a:pt x="81" y="150"/>
                      <a:pt x="82" y="149"/>
                    </a:cubicBezTo>
                    <a:cubicBezTo>
                      <a:pt x="84" y="147"/>
                      <a:pt x="90" y="145"/>
                      <a:pt x="90" y="143"/>
                    </a:cubicBezTo>
                    <a:cubicBezTo>
                      <a:pt x="90" y="141"/>
                      <a:pt x="82" y="140"/>
                      <a:pt x="79" y="139"/>
                    </a:cubicBezTo>
                    <a:cubicBezTo>
                      <a:pt x="76" y="138"/>
                      <a:pt x="70" y="135"/>
                      <a:pt x="68" y="135"/>
                    </a:cubicBezTo>
                    <a:cubicBezTo>
                      <a:pt x="66" y="135"/>
                      <a:pt x="54" y="133"/>
                      <a:pt x="50" y="134"/>
                    </a:cubicBezTo>
                    <a:cubicBezTo>
                      <a:pt x="45" y="135"/>
                      <a:pt x="32" y="138"/>
                      <a:pt x="30" y="137"/>
                    </a:cubicBezTo>
                    <a:cubicBezTo>
                      <a:pt x="28" y="136"/>
                      <a:pt x="25" y="124"/>
                      <a:pt x="24" y="122"/>
                    </a:cubicBezTo>
                    <a:cubicBezTo>
                      <a:pt x="22" y="121"/>
                      <a:pt x="19" y="127"/>
                      <a:pt x="17" y="128"/>
                    </a:cubicBezTo>
                    <a:cubicBezTo>
                      <a:pt x="16" y="128"/>
                      <a:pt x="14" y="130"/>
                      <a:pt x="13" y="128"/>
                    </a:cubicBezTo>
                    <a:cubicBezTo>
                      <a:pt x="12" y="127"/>
                      <a:pt x="16" y="119"/>
                      <a:pt x="17" y="118"/>
                    </a:cubicBezTo>
                    <a:cubicBezTo>
                      <a:pt x="18" y="118"/>
                      <a:pt x="19" y="112"/>
                      <a:pt x="17" y="110"/>
                    </a:cubicBezTo>
                    <a:cubicBezTo>
                      <a:pt x="15" y="108"/>
                      <a:pt x="8" y="106"/>
                      <a:pt x="6" y="102"/>
                    </a:cubicBezTo>
                    <a:cubicBezTo>
                      <a:pt x="4" y="98"/>
                      <a:pt x="3" y="92"/>
                      <a:pt x="2" y="90"/>
                    </a:cubicBezTo>
                    <a:cubicBezTo>
                      <a:pt x="2" y="90"/>
                      <a:pt x="1" y="90"/>
                      <a:pt x="0" y="89"/>
                    </a:cubicBezTo>
                    <a:cubicBezTo>
                      <a:pt x="4" y="85"/>
                      <a:pt x="7" y="79"/>
                      <a:pt x="9" y="77"/>
                    </a:cubicBezTo>
                    <a:cubicBezTo>
                      <a:pt x="11" y="71"/>
                      <a:pt x="20" y="64"/>
                      <a:pt x="24" y="60"/>
                    </a:cubicBezTo>
                    <a:cubicBezTo>
                      <a:pt x="28" y="56"/>
                      <a:pt x="27" y="50"/>
                      <a:pt x="24" y="46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40" y="41"/>
                      <a:pt x="53" y="33"/>
                      <a:pt x="57" y="33"/>
                    </a:cubicBezTo>
                    <a:cubicBezTo>
                      <a:pt x="61" y="33"/>
                      <a:pt x="69" y="33"/>
                      <a:pt x="73" y="32"/>
                    </a:cubicBezTo>
                    <a:cubicBezTo>
                      <a:pt x="74" y="32"/>
                      <a:pt x="76" y="30"/>
                      <a:pt x="80" y="29"/>
                    </a:cubicBezTo>
                    <a:cubicBezTo>
                      <a:pt x="91" y="24"/>
                      <a:pt x="111" y="15"/>
                      <a:pt x="117" y="15"/>
                    </a:cubicBezTo>
                    <a:cubicBezTo>
                      <a:pt x="124" y="15"/>
                      <a:pt x="140" y="22"/>
                      <a:pt x="146" y="22"/>
                    </a:cubicBezTo>
                    <a:cubicBezTo>
                      <a:pt x="152" y="22"/>
                      <a:pt x="163" y="23"/>
                      <a:pt x="165" y="17"/>
                    </a:cubicBezTo>
                    <a:cubicBezTo>
                      <a:pt x="167" y="11"/>
                      <a:pt x="166" y="5"/>
                      <a:pt x="173" y="0"/>
                    </a:cubicBezTo>
                    <a:cubicBezTo>
                      <a:pt x="173" y="0"/>
                      <a:pt x="182" y="9"/>
                      <a:pt x="182" y="17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2" name="Freeform 85">
                <a:extLst>
                  <a:ext uri="{FF2B5EF4-FFF2-40B4-BE49-F238E27FC236}">
                    <a16:creationId xmlns:a16="http://schemas.microsoft.com/office/drawing/2014/main" id="{A16EF00C-2393-4643-BF86-ECCF4D53C7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6" y="3354"/>
                <a:ext cx="18" cy="21"/>
              </a:xfrm>
              <a:custGeom>
                <a:avLst/>
                <a:gdLst>
                  <a:gd name="T0" fmla="*/ 45 w 10"/>
                  <a:gd name="T1" fmla="*/ 15 h 11"/>
                  <a:gd name="T2" fmla="*/ 36 w 10"/>
                  <a:gd name="T3" fmla="*/ 69 h 11"/>
                  <a:gd name="T4" fmla="*/ 13 w 10"/>
                  <a:gd name="T5" fmla="*/ 69 h 11"/>
                  <a:gd name="T6" fmla="*/ 0 w 10"/>
                  <a:gd name="T7" fmla="*/ 29 h 11"/>
                  <a:gd name="T8" fmla="*/ 13 w 10"/>
                  <a:gd name="T9" fmla="*/ 8 h 11"/>
                  <a:gd name="T10" fmla="*/ 45 w 10"/>
                  <a:gd name="T11" fmla="*/ 15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" h="11">
                    <a:moveTo>
                      <a:pt x="8" y="2"/>
                    </a:moveTo>
                    <a:cubicBezTo>
                      <a:pt x="10" y="3"/>
                      <a:pt x="8" y="9"/>
                      <a:pt x="6" y="10"/>
                    </a:cubicBezTo>
                    <a:cubicBezTo>
                      <a:pt x="6" y="11"/>
                      <a:pt x="3" y="11"/>
                      <a:pt x="2" y="10"/>
                    </a:cubicBezTo>
                    <a:cubicBezTo>
                      <a:pt x="2" y="10"/>
                      <a:pt x="0" y="5"/>
                      <a:pt x="0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2" y="1"/>
                      <a:pt x="6" y="0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3" name="Freeform 86">
                <a:extLst>
                  <a:ext uri="{FF2B5EF4-FFF2-40B4-BE49-F238E27FC236}">
                    <a16:creationId xmlns:a16="http://schemas.microsoft.com/office/drawing/2014/main" id="{92382B56-3C8D-4D33-95A0-A995E63D35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0" y="3386"/>
                <a:ext cx="11" cy="13"/>
              </a:xfrm>
              <a:custGeom>
                <a:avLst/>
                <a:gdLst>
                  <a:gd name="T0" fmla="*/ 13 w 6"/>
                  <a:gd name="T1" fmla="*/ 0 h 7"/>
                  <a:gd name="T2" fmla="*/ 37 w 6"/>
                  <a:gd name="T3" fmla="*/ 24 h 7"/>
                  <a:gd name="T4" fmla="*/ 13 w 6"/>
                  <a:gd name="T5" fmla="*/ 37 h 7"/>
                  <a:gd name="T6" fmla="*/ 0 w 6"/>
                  <a:gd name="T7" fmla="*/ 13 h 7"/>
                  <a:gd name="T8" fmla="*/ 13 w 6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cubicBezTo>
                      <a:pt x="4" y="0"/>
                      <a:pt x="6" y="1"/>
                      <a:pt x="6" y="4"/>
                    </a:cubicBezTo>
                    <a:cubicBezTo>
                      <a:pt x="6" y="7"/>
                      <a:pt x="4" y="7"/>
                      <a:pt x="2" y="6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4" name="Freeform 87">
                <a:extLst>
                  <a:ext uri="{FF2B5EF4-FFF2-40B4-BE49-F238E27FC236}">
                    <a16:creationId xmlns:a16="http://schemas.microsoft.com/office/drawing/2014/main" id="{7A632ED4-502D-403D-84F0-02C87AFF06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4" y="3158"/>
                <a:ext cx="28" cy="24"/>
              </a:xfrm>
              <a:custGeom>
                <a:avLst/>
                <a:gdLst>
                  <a:gd name="T0" fmla="*/ 91 w 15"/>
                  <a:gd name="T1" fmla="*/ 7 h 13"/>
                  <a:gd name="T2" fmla="*/ 84 w 15"/>
                  <a:gd name="T3" fmla="*/ 52 h 13"/>
                  <a:gd name="T4" fmla="*/ 73 w 15"/>
                  <a:gd name="T5" fmla="*/ 76 h 13"/>
                  <a:gd name="T6" fmla="*/ 45 w 15"/>
                  <a:gd name="T7" fmla="*/ 68 h 13"/>
                  <a:gd name="T8" fmla="*/ 13 w 15"/>
                  <a:gd name="T9" fmla="*/ 57 h 13"/>
                  <a:gd name="T10" fmla="*/ 13 w 15"/>
                  <a:gd name="T11" fmla="*/ 20 h 13"/>
                  <a:gd name="T12" fmla="*/ 60 w 15"/>
                  <a:gd name="T13" fmla="*/ 20 h 13"/>
                  <a:gd name="T14" fmla="*/ 91 w 15"/>
                  <a:gd name="T15" fmla="*/ 7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" h="13">
                    <a:moveTo>
                      <a:pt x="14" y="1"/>
                    </a:moveTo>
                    <a:cubicBezTo>
                      <a:pt x="15" y="2"/>
                      <a:pt x="12" y="6"/>
                      <a:pt x="13" y="8"/>
                    </a:cubicBezTo>
                    <a:cubicBezTo>
                      <a:pt x="14" y="10"/>
                      <a:pt x="12" y="12"/>
                      <a:pt x="11" y="12"/>
                    </a:cubicBezTo>
                    <a:cubicBezTo>
                      <a:pt x="11" y="12"/>
                      <a:pt x="8" y="11"/>
                      <a:pt x="7" y="11"/>
                    </a:cubicBezTo>
                    <a:cubicBezTo>
                      <a:pt x="5" y="11"/>
                      <a:pt x="2" y="13"/>
                      <a:pt x="2" y="9"/>
                    </a:cubicBezTo>
                    <a:cubicBezTo>
                      <a:pt x="2" y="6"/>
                      <a:pt x="0" y="3"/>
                      <a:pt x="2" y="3"/>
                    </a:cubicBezTo>
                    <a:cubicBezTo>
                      <a:pt x="4" y="2"/>
                      <a:pt x="8" y="4"/>
                      <a:pt x="9" y="3"/>
                    </a:cubicBezTo>
                    <a:cubicBezTo>
                      <a:pt x="10" y="2"/>
                      <a:pt x="13" y="0"/>
                      <a:pt x="14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5" name="Freeform 88">
                <a:extLst>
                  <a:ext uri="{FF2B5EF4-FFF2-40B4-BE49-F238E27FC236}">
                    <a16:creationId xmlns:a16="http://schemas.microsoft.com/office/drawing/2014/main" id="{E2EA0AD1-1B38-4EE0-967F-E1345749EC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0" y="3305"/>
                <a:ext cx="21" cy="25"/>
              </a:xfrm>
              <a:custGeom>
                <a:avLst/>
                <a:gdLst>
                  <a:gd name="T0" fmla="*/ 55 w 11"/>
                  <a:gd name="T1" fmla="*/ 37 h 13"/>
                  <a:gd name="T2" fmla="*/ 76 w 11"/>
                  <a:gd name="T3" fmla="*/ 85 h 13"/>
                  <a:gd name="T4" fmla="*/ 36 w 11"/>
                  <a:gd name="T5" fmla="*/ 71 h 13"/>
                  <a:gd name="T6" fmla="*/ 8 w 11"/>
                  <a:gd name="T7" fmla="*/ 23 h 13"/>
                  <a:gd name="T8" fmla="*/ 21 w 11"/>
                  <a:gd name="T9" fmla="*/ 0 h 13"/>
                  <a:gd name="T10" fmla="*/ 48 w 11"/>
                  <a:gd name="T11" fmla="*/ 0 h 13"/>
                  <a:gd name="T12" fmla="*/ 55 w 11"/>
                  <a:gd name="T13" fmla="*/ 37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8" y="5"/>
                    </a:moveTo>
                    <a:cubicBezTo>
                      <a:pt x="8" y="6"/>
                      <a:pt x="11" y="11"/>
                      <a:pt x="11" y="12"/>
                    </a:cubicBezTo>
                    <a:cubicBezTo>
                      <a:pt x="10" y="13"/>
                      <a:pt x="6" y="11"/>
                      <a:pt x="5" y="10"/>
                    </a:cubicBezTo>
                    <a:cubicBezTo>
                      <a:pt x="4" y="10"/>
                      <a:pt x="1" y="5"/>
                      <a:pt x="1" y="3"/>
                    </a:cubicBezTo>
                    <a:cubicBezTo>
                      <a:pt x="0" y="1"/>
                      <a:pt x="1" y="1"/>
                      <a:pt x="3" y="0"/>
                    </a:cubicBezTo>
                    <a:cubicBezTo>
                      <a:pt x="3" y="0"/>
                      <a:pt x="6" y="0"/>
                      <a:pt x="7" y="0"/>
                    </a:cubicBezTo>
                    <a:cubicBezTo>
                      <a:pt x="8" y="1"/>
                      <a:pt x="8" y="3"/>
                      <a:pt x="8" y="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6" name="Freeform 89">
                <a:extLst>
                  <a:ext uri="{FF2B5EF4-FFF2-40B4-BE49-F238E27FC236}">
                    <a16:creationId xmlns:a16="http://schemas.microsoft.com/office/drawing/2014/main" id="{68D16A7B-5F1B-4FD5-9500-EB4831AFEF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6" y="3382"/>
                <a:ext cx="26" cy="19"/>
              </a:xfrm>
              <a:custGeom>
                <a:avLst/>
                <a:gdLst>
                  <a:gd name="T0" fmla="*/ 52 w 14"/>
                  <a:gd name="T1" fmla="*/ 15 h 10"/>
                  <a:gd name="T2" fmla="*/ 69 w 14"/>
                  <a:gd name="T3" fmla="*/ 15 h 10"/>
                  <a:gd name="T4" fmla="*/ 59 w 14"/>
                  <a:gd name="T5" fmla="*/ 55 h 10"/>
                  <a:gd name="T6" fmla="*/ 13 w 14"/>
                  <a:gd name="T7" fmla="*/ 61 h 10"/>
                  <a:gd name="T8" fmla="*/ 13 w 14"/>
                  <a:gd name="T9" fmla="*/ 29 h 10"/>
                  <a:gd name="T10" fmla="*/ 52 w 14"/>
                  <a:gd name="T11" fmla="*/ 15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0">
                    <a:moveTo>
                      <a:pt x="8" y="2"/>
                    </a:moveTo>
                    <a:cubicBezTo>
                      <a:pt x="8" y="2"/>
                      <a:pt x="9" y="0"/>
                      <a:pt x="11" y="2"/>
                    </a:cubicBezTo>
                    <a:cubicBezTo>
                      <a:pt x="14" y="5"/>
                      <a:pt x="11" y="7"/>
                      <a:pt x="9" y="8"/>
                    </a:cubicBezTo>
                    <a:cubicBezTo>
                      <a:pt x="7" y="9"/>
                      <a:pt x="4" y="10"/>
                      <a:pt x="2" y="9"/>
                    </a:cubicBezTo>
                    <a:cubicBezTo>
                      <a:pt x="0" y="8"/>
                      <a:pt x="2" y="4"/>
                      <a:pt x="2" y="4"/>
                    </a:cubicBezTo>
                    <a:cubicBezTo>
                      <a:pt x="2" y="4"/>
                      <a:pt x="6" y="3"/>
                      <a:pt x="8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7" name="Freeform 90">
                <a:extLst>
                  <a:ext uri="{FF2B5EF4-FFF2-40B4-BE49-F238E27FC236}">
                    <a16:creationId xmlns:a16="http://schemas.microsoft.com/office/drawing/2014/main" id="{01EF5314-48EB-4740-A3C8-2ADFABFF37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2" y="3354"/>
                <a:ext cx="13" cy="17"/>
              </a:xfrm>
              <a:custGeom>
                <a:avLst/>
                <a:gdLst>
                  <a:gd name="T0" fmla="*/ 20 w 7"/>
                  <a:gd name="T1" fmla="*/ 0 h 9"/>
                  <a:gd name="T2" fmla="*/ 45 w 7"/>
                  <a:gd name="T3" fmla="*/ 32 h 9"/>
                  <a:gd name="T4" fmla="*/ 13 w 7"/>
                  <a:gd name="T5" fmla="*/ 60 h 9"/>
                  <a:gd name="T6" fmla="*/ 0 w 7"/>
                  <a:gd name="T7" fmla="*/ 15 h 9"/>
                  <a:gd name="T8" fmla="*/ 20 w 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cubicBezTo>
                      <a:pt x="4" y="0"/>
                      <a:pt x="7" y="3"/>
                      <a:pt x="7" y="5"/>
                    </a:cubicBezTo>
                    <a:cubicBezTo>
                      <a:pt x="7" y="7"/>
                      <a:pt x="4" y="9"/>
                      <a:pt x="2" y="9"/>
                    </a:cubicBezTo>
                    <a:cubicBezTo>
                      <a:pt x="0" y="9"/>
                      <a:pt x="0" y="4"/>
                      <a:pt x="0" y="2"/>
                    </a:cubicBezTo>
                    <a:cubicBezTo>
                      <a:pt x="0" y="0"/>
                      <a:pt x="1" y="0"/>
                      <a:pt x="3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8" name="Freeform 91">
                <a:extLst>
                  <a:ext uri="{FF2B5EF4-FFF2-40B4-BE49-F238E27FC236}">
                    <a16:creationId xmlns:a16="http://schemas.microsoft.com/office/drawing/2014/main" id="{B35A2D95-9764-480A-A502-1841A0D383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8" y="3283"/>
                <a:ext cx="30" cy="30"/>
              </a:xfrm>
              <a:custGeom>
                <a:avLst/>
                <a:gdLst>
                  <a:gd name="T0" fmla="*/ 60 w 16"/>
                  <a:gd name="T1" fmla="*/ 8 h 16"/>
                  <a:gd name="T2" fmla="*/ 99 w 16"/>
                  <a:gd name="T3" fmla="*/ 99 h 16"/>
                  <a:gd name="T4" fmla="*/ 32 w 16"/>
                  <a:gd name="T5" fmla="*/ 99 h 16"/>
                  <a:gd name="T6" fmla="*/ 0 w 16"/>
                  <a:gd name="T7" fmla="*/ 45 h 16"/>
                  <a:gd name="T8" fmla="*/ 60 w 16"/>
                  <a:gd name="T9" fmla="*/ 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9" y="1"/>
                    </a:moveTo>
                    <a:cubicBezTo>
                      <a:pt x="11" y="2"/>
                      <a:pt x="16" y="14"/>
                      <a:pt x="15" y="15"/>
                    </a:cubicBezTo>
                    <a:cubicBezTo>
                      <a:pt x="14" y="16"/>
                      <a:pt x="8" y="16"/>
                      <a:pt x="5" y="15"/>
                    </a:cubicBezTo>
                    <a:cubicBezTo>
                      <a:pt x="1" y="14"/>
                      <a:pt x="0" y="10"/>
                      <a:pt x="0" y="7"/>
                    </a:cubicBezTo>
                    <a:cubicBezTo>
                      <a:pt x="0" y="3"/>
                      <a:pt x="6" y="0"/>
                      <a:pt x="9" y="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599" name="Freeform 92">
                <a:extLst>
                  <a:ext uri="{FF2B5EF4-FFF2-40B4-BE49-F238E27FC236}">
                    <a16:creationId xmlns:a16="http://schemas.microsoft.com/office/drawing/2014/main" id="{1F04CFDC-EBB4-4DA9-B047-5F813FBCAB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76" y="3432"/>
                <a:ext cx="19" cy="41"/>
              </a:xfrm>
              <a:custGeom>
                <a:avLst/>
                <a:gdLst>
                  <a:gd name="T0" fmla="*/ 21 w 10"/>
                  <a:gd name="T1" fmla="*/ 136 h 22"/>
                  <a:gd name="T2" fmla="*/ 15 w 10"/>
                  <a:gd name="T3" fmla="*/ 112 h 22"/>
                  <a:gd name="T4" fmla="*/ 0 w 10"/>
                  <a:gd name="T5" fmla="*/ 84 h 22"/>
                  <a:gd name="T6" fmla="*/ 36 w 10"/>
                  <a:gd name="T7" fmla="*/ 7 h 22"/>
                  <a:gd name="T8" fmla="*/ 48 w 10"/>
                  <a:gd name="T9" fmla="*/ 21 h 22"/>
                  <a:gd name="T10" fmla="*/ 48 w 10"/>
                  <a:gd name="T11" fmla="*/ 84 h 22"/>
                  <a:gd name="T12" fmla="*/ 55 w 10"/>
                  <a:gd name="T13" fmla="*/ 121 h 22"/>
                  <a:gd name="T14" fmla="*/ 21 w 10"/>
                  <a:gd name="T15" fmla="*/ 136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0" h="22">
                    <a:moveTo>
                      <a:pt x="3" y="21"/>
                    </a:moveTo>
                    <a:cubicBezTo>
                      <a:pt x="2" y="21"/>
                      <a:pt x="3" y="18"/>
                      <a:pt x="2" y="17"/>
                    </a:cubicBezTo>
                    <a:cubicBezTo>
                      <a:pt x="2" y="15"/>
                      <a:pt x="0" y="15"/>
                      <a:pt x="0" y="13"/>
                    </a:cubicBezTo>
                    <a:cubicBezTo>
                      <a:pt x="1" y="12"/>
                      <a:pt x="3" y="1"/>
                      <a:pt x="5" y="1"/>
                    </a:cubicBezTo>
                    <a:cubicBezTo>
                      <a:pt x="6" y="0"/>
                      <a:pt x="7" y="0"/>
                      <a:pt x="7" y="3"/>
                    </a:cubicBezTo>
                    <a:cubicBezTo>
                      <a:pt x="7" y="5"/>
                      <a:pt x="6" y="13"/>
                      <a:pt x="7" y="13"/>
                    </a:cubicBezTo>
                    <a:cubicBezTo>
                      <a:pt x="8" y="14"/>
                      <a:pt x="10" y="17"/>
                      <a:pt x="8" y="19"/>
                    </a:cubicBezTo>
                    <a:cubicBezTo>
                      <a:pt x="5" y="21"/>
                      <a:pt x="5" y="22"/>
                      <a:pt x="3" y="2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  <p:sp>
            <p:nvSpPr>
              <p:cNvPr id="600" name="Freeform 93">
                <a:extLst>
                  <a:ext uri="{FF2B5EF4-FFF2-40B4-BE49-F238E27FC236}">
                    <a16:creationId xmlns:a16="http://schemas.microsoft.com/office/drawing/2014/main" id="{EEE78D3D-5619-4102-A99E-FA88009488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6" y="3386"/>
                <a:ext cx="17" cy="17"/>
              </a:xfrm>
              <a:custGeom>
                <a:avLst/>
                <a:gdLst>
                  <a:gd name="T0" fmla="*/ 21 w 9"/>
                  <a:gd name="T1" fmla="*/ 15 h 9"/>
                  <a:gd name="T2" fmla="*/ 8 w 9"/>
                  <a:gd name="T3" fmla="*/ 40 h 9"/>
                  <a:gd name="T4" fmla="*/ 28 w 9"/>
                  <a:gd name="T5" fmla="*/ 60 h 9"/>
                  <a:gd name="T6" fmla="*/ 60 w 9"/>
                  <a:gd name="T7" fmla="*/ 40 h 9"/>
                  <a:gd name="T8" fmla="*/ 53 w 9"/>
                  <a:gd name="T9" fmla="*/ 15 h 9"/>
                  <a:gd name="T10" fmla="*/ 40 w 9"/>
                  <a:gd name="T11" fmla="*/ 8 h 9"/>
                  <a:gd name="T12" fmla="*/ 21 w 9"/>
                  <a:gd name="T13" fmla="*/ 15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3" y="2"/>
                    </a:moveTo>
                    <a:cubicBezTo>
                      <a:pt x="2" y="3"/>
                      <a:pt x="0" y="5"/>
                      <a:pt x="1" y="6"/>
                    </a:cubicBezTo>
                    <a:cubicBezTo>
                      <a:pt x="1" y="7"/>
                      <a:pt x="2" y="9"/>
                      <a:pt x="4" y="9"/>
                    </a:cubicBezTo>
                    <a:cubicBezTo>
                      <a:pt x="6" y="9"/>
                      <a:pt x="8" y="7"/>
                      <a:pt x="9" y="6"/>
                    </a:cubicBezTo>
                    <a:cubicBezTo>
                      <a:pt x="9" y="5"/>
                      <a:pt x="8" y="2"/>
                      <a:pt x="8" y="2"/>
                    </a:cubicBezTo>
                    <a:cubicBezTo>
                      <a:pt x="8" y="2"/>
                      <a:pt x="7" y="0"/>
                      <a:pt x="6" y="1"/>
                    </a:cubicBezTo>
                    <a:cubicBezTo>
                      <a:pt x="5" y="1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de-DE" sz="2400" dirty="0"/>
              </a:p>
            </p:txBody>
          </p:sp>
        </p:grp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C7F88C-BB67-4501-9914-3F84842E5E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407394799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DBDC445C-AB9E-4CD0-80ED-77195F60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39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DBDC445C-AB9E-4CD0-80ED-77195F60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3D6FCEE-914A-41EE-8230-4F844668CD8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Deutschlan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7D0BCE-1E6C-46AD-90FB-05137D65FFDF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916194D-B388-4E06-9958-E71051892422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F923FA-52A5-4ED4-97CB-48A282E47C7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8</a:t>
            </a:fld>
            <a:endParaRPr lang="de-DE" dirty="0"/>
          </a:p>
        </p:txBody>
      </p:sp>
      <p:grpSp>
        <p:nvGrpSpPr>
          <p:cNvPr id="8" name="Karte, Deutschland, Deutschlandkarte">
            <a:extLst>
              <a:ext uri="{FF2B5EF4-FFF2-40B4-BE49-F238E27FC236}">
                <a16:creationId xmlns:a16="http://schemas.microsoft.com/office/drawing/2014/main" id="{1FE36E57-DA8E-476C-A479-F3D4A89469BE}"/>
              </a:ext>
            </a:extLst>
          </p:cNvPr>
          <p:cNvGrpSpPr>
            <a:grpSpLocks/>
          </p:cNvGrpSpPr>
          <p:nvPr/>
        </p:nvGrpSpPr>
        <p:grpSpPr bwMode="gray">
          <a:xfrm>
            <a:off x="4434244" y="1645467"/>
            <a:ext cx="3323512" cy="4543098"/>
            <a:chOff x="2747966" y="76201"/>
            <a:chExt cx="3651253" cy="4991095"/>
          </a:xfrm>
          <a:solidFill>
            <a:schemeClr val="bg2"/>
          </a:solidFill>
        </p:grpSpPr>
        <p:sp>
          <p:nvSpPr>
            <p:cNvPr id="9" name="Line 104">
              <a:extLst>
                <a:ext uri="{FF2B5EF4-FFF2-40B4-BE49-F238E27FC236}">
                  <a16:creationId xmlns:a16="http://schemas.microsoft.com/office/drawing/2014/main" id="{CC6872EF-24AE-446A-8710-083A6AFC1B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Line 105">
              <a:extLst>
                <a:ext uri="{FF2B5EF4-FFF2-40B4-BE49-F238E27FC236}">
                  <a16:creationId xmlns:a16="http://schemas.microsoft.com/office/drawing/2014/main" id="{58B160E3-7229-4512-A001-E3D56BD98D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033716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106">
              <a:extLst>
                <a:ext uri="{FF2B5EF4-FFF2-40B4-BE49-F238E27FC236}">
                  <a16:creationId xmlns:a16="http://schemas.microsoft.com/office/drawing/2014/main" id="{DE4A506F-5B2A-4102-ABB0-238D0802E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6866" y="3417886"/>
              <a:ext cx="528639" cy="431799"/>
            </a:xfrm>
            <a:custGeom>
              <a:avLst/>
              <a:gdLst>
                <a:gd name="T0" fmla="*/ 221 w 227"/>
                <a:gd name="T1" fmla="*/ 159 h 185"/>
                <a:gd name="T2" fmla="*/ 227 w 227"/>
                <a:gd name="T3" fmla="*/ 72 h 185"/>
                <a:gd name="T4" fmla="*/ 159 w 227"/>
                <a:gd name="T5" fmla="*/ 2 h 185"/>
                <a:gd name="T6" fmla="*/ 60 w 227"/>
                <a:gd name="T7" fmla="*/ 13 h 185"/>
                <a:gd name="T8" fmla="*/ 17 w 227"/>
                <a:gd name="T9" fmla="*/ 40 h 185"/>
                <a:gd name="T10" fmla="*/ 1 w 227"/>
                <a:gd name="T11" fmla="*/ 52 h 185"/>
                <a:gd name="T12" fmla="*/ 0 w 227"/>
                <a:gd name="T13" fmla="*/ 64 h 185"/>
                <a:gd name="T14" fmla="*/ 6 w 227"/>
                <a:gd name="T15" fmla="*/ 70 h 185"/>
                <a:gd name="T16" fmla="*/ 20 w 227"/>
                <a:gd name="T17" fmla="*/ 79 h 185"/>
                <a:gd name="T18" fmla="*/ 33 w 227"/>
                <a:gd name="T19" fmla="*/ 87 h 185"/>
                <a:gd name="T20" fmla="*/ 42 w 227"/>
                <a:gd name="T21" fmla="*/ 96 h 185"/>
                <a:gd name="T22" fmla="*/ 54 w 227"/>
                <a:gd name="T23" fmla="*/ 103 h 185"/>
                <a:gd name="T24" fmla="*/ 58 w 227"/>
                <a:gd name="T25" fmla="*/ 115 h 185"/>
                <a:gd name="T26" fmla="*/ 50 w 227"/>
                <a:gd name="T27" fmla="*/ 128 h 185"/>
                <a:gd name="T28" fmla="*/ 56 w 227"/>
                <a:gd name="T29" fmla="*/ 151 h 185"/>
                <a:gd name="T30" fmla="*/ 66 w 227"/>
                <a:gd name="T31" fmla="*/ 164 h 185"/>
                <a:gd name="T32" fmla="*/ 75 w 227"/>
                <a:gd name="T33" fmla="*/ 168 h 185"/>
                <a:gd name="T34" fmla="*/ 81 w 227"/>
                <a:gd name="T35" fmla="*/ 164 h 185"/>
                <a:gd name="T36" fmla="*/ 87 w 227"/>
                <a:gd name="T37" fmla="*/ 151 h 185"/>
                <a:gd name="T38" fmla="*/ 105 w 227"/>
                <a:gd name="T39" fmla="*/ 151 h 185"/>
                <a:gd name="T40" fmla="*/ 106 w 227"/>
                <a:gd name="T41" fmla="*/ 159 h 185"/>
                <a:gd name="T42" fmla="*/ 113 w 227"/>
                <a:gd name="T43" fmla="*/ 161 h 185"/>
                <a:gd name="T44" fmla="*/ 126 w 227"/>
                <a:gd name="T45" fmla="*/ 153 h 185"/>
                <a:gd name="T46" fmla="*/ 132 w 227"/>
                <a:gd name="T47" fmla="*/ 164 h 185"/>
                <a:gd name="T48" fmla="*/ 129 w 227"/>
                <a:gd name="T49" fmla="*/ 170 h 185"/>
                <a:gd name="T50" fmla="*/ 145 w 227"/>
                <a:gd name="T51" fmla="*/ 174 h 185"/>
                <a:gd name="T52" fmla="*/ 149 w 227"/>
                <a:gd name="T53" fmla="*/ 179 h 185"/>
                <a:gd name="T54" fmla="*/ 155 w 227"/>
                <a:gd name="T55" fmla="*/ 184 h 185"/>
                <a:gd name="T56" fmla="*/ 164 w 227"/>
                <a:gd name="T57" fmla="*/ 185 h 185"/>
                <a:gd name="T58" fmla="*/ 167 w 227"/>
                <a:gd name="T59" fmla="*/ 175 h 185"/>
                <a:gd name="T60" fmla="*/ 173 w 227"/>
                <a:gd name="T61" fmla="*/ 169 h 185"/>
                <a:gd name="T62" fmla="*/ 185 w 227"/>
                <a:gd name="T63" fmla="*/ 163 h 185"/>
                <a:gd name="T64" fmla="*/ 190 w 227"/>
                <a:gd name="T65" fmla="*/ 163 h 185"/>
                <a:gd name="T66" fmla="*/ 217 w 227"/>
                <a:gd name="T67" fmla="*/ 164 h 185"/>
                <a:gd name="T68" fmla="*/ 221 w 227"/>
                <a:gd name="T69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7" h="185">
                  <a:moveTo>
                    <a:pt x="221" y="159"/>
                  </a:moveTo>
                  <a:cubicBezTo>
                    <a:pt x="227" y="72"/>
                    <a:pt x="227" y="72"/>
                    <a:pt x="227" y="72"/>
                  </a:cubicBezTo>
                  <a:cubicBezTo>
                    <a:pt x="227" y="72"/>
                    <a:pt x="165" y="4"/>
                    <a:pt x="159" y="2"/>
                  </a:cubicBezTo>
                  <a:cubicBezTo>
                    <a:pt x="153" y="0"/>
                    <a:pt x="68" y="10"/>
                    <a:pt x="60" y="13"/>
                  </a:cubicBezTo>
                  <a:cubicBezTo>
                    <a:pt x="51" y="17"/>
                    <a:pt x="17" y="40"/>
                    <a:pt x="17" y="40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7"/>
                    <a:pt x="6" y="70"/>
                  </a:cubicBezTo>
                  <a:cubicBezTo>
                    <a:pt x="12" y="74"/>
                    <a:pt x="19" y="79"/>
                    <a:pt x="20" y="79"/>
                  </a:cubicBezTo>
                  <a:cubicBezTo>
                    <a:pt x="22" y="80"/>
                    <a:pt x="32" y="85"/>
                    <a:pt x="33" y="87"/>
                  </a:cubicBezTo>
                  <a:cubicBezTo>
                    <a:pt x="33" y="89"/>
                    <a:pt x="39" y="94"/>
                    <a:pt x="42" y="96"/>
                  </a:cubicBezTo>
                  <a:cubicBezTo>
                    <a:pt x="45" y="97"/>
                    <a:pt x="54" y="101"/>
                    <a:pt x="54" y="103"/>
                  </a:cubicBezTo>
                  <a:cubicBezTo>
                    <a:pt x="55" y="105"/>
                    <a:pt x="58" y="115"/>
                    <a:pt x="58" y="115"/>
                  </a:cubicBezTo>
                  <a:cubicBezTo>
                    <a:pt x="58" y="115"/>
                    <a:pt x="50" y="124"/>
                    <a:pt x="50" y="128"/>
                  </a:cubicBezTo>
                  <a:cubicBezTo>
                    <a:pt x="50" y="132"/>
                    <a:pt x="54" y="148"/>
                    <a:pt x="56" y="151"/>
                  </a:cubicBezTo>
                  <a:cubicBezTo>
                    <a:pt x="57" y="153"/>
                    <a:pt x="60" y="161"/>
                    <a:pt x="66" y="164"/>
                  </a:cubicBezTo>
                  <a:cubicBezTo>
                    <a:pt x="72" y="167"/>
                    <a:pt x="74" y="171"/>
                    <a:pt x="75" y="168"/>
                  </a:cubicBezTo>
                  <a:cubicBezTo>
                    <a:pt x="76" y="166"/>
                    <a:pt x="81" y="168"/>
                    <a:pt x="81" y="164"/>
                  </a:cubicBezTo>
                  <a:cubicBezTo>
                    <a:pt x="81" y="159"/>
                    <a:pt x="84" y="151"/>
                    <a:pt x="87" y="151"/>
                  </a:cubicBezTo>
                  <a:cubicBezTo>
                    <a:pt x="89" y="151"/>
                    <a:pt x="104" y="149"/>
                    <a:pt x="105" y="151"/>
                  </a:cubicBezTo>
                  <a:cubicBezTo>
                    <a:pt x="106" y="153"/>
                    <a:pt x="106" y="159"/>
                    <a:pt x="106" y="159"/>
                  </a:cubicBezTo>
                  <a:cubicBezTo>
                    <a:pt x="106" y="159"/>
                    <a:pt x="111" y="163"/>
                    <a:pt x="113" y="161"/>
                  </a:cubicBezTo>
                  <a:cubicBezTo>
                    <a:pt x="116" y="159"/>
                    <a:pt x="126" y="153"/>
                    <a:pt x="126" y="153"/>
                  </a:cubicBezTo>
                  <a:cubicBezTo>
                    <a:pt x="126" y="153"/>
                    <a:pt x="133" y="162"/>
                    <a:pt x="132" y="164"/>
                  </a:cubicBezTo>
                  <a:cubicBezTo>
                    <a:pt x="130" y="166"/>
                    <a:pt x="124" y="166"/>
                    <a:pt x="129" y="170"/>
                  </a:cubicBezTo>
                  <a:cubicBezTo>
                    <a:pt x="133" y="174"/>
                    <a:pt x="144" y="173"/>
                    <a:pt x="145" y="174"/>
                  </a:cubicBezTo>
                  <a:cubicBezTo>
                    <a:pt x="147" y="176"/>
                    <a:pt x="147" y="176"/>
                    <a:pt x="149" y="179"/>
                  </a:cubicBezTo>
                  <a:cubicBezTo>
                    <a:pt x="150" y="182"/>
                    <a:pt x="151" y="184"/>
                    <a:pt x="155" y="184"/>
                  </a:cubicBezTo>
                  <a:cubicBezTo>
                    <a:pt x="158" y="185"/>
                    <a:pt x="164" y="185"/>
                    <a:pt x="164" y="185"/>
                  </a:cubicBezTo>
                  <a:cubicBezTo>
                    <a:pt x="164" y="185"/>
                    <a:pt x="166" y="176"/>
                    <a:pt x="167" y="175"/>
                  </a:cubicBezTo>
                  <a:cubicBezTo>
                    <a:pt x="169" y="173"/>
                    <a:pt x="173" y="169"/>
                    <a:pt x="173" y="169"/>
                  </a:cubicBezTo>
                  <a:cubicBezTo>
                    <a:pt x="173" y="169"/>
                    <a:pt x="182" y="163"/>
                    <a:pt x="185" y="163"/>
                  </a:cubicBezTo>
                  <a:cubicBezTo>
                    <a:pt x="188" y="163"/>
                    <a:pt x="188" y="163"/>
                    <a:pt x="190" y="163"/>
                  </a:cubicBezTo>
                  <a:cubicBezTo>
                    <a:pt x="192" y="164"/>
                    <a:pt x="217" y="164"/>
                    <a:pt x="217" y="164"/>
                  </a:cubicBezTo>
                  <a:lnTo>
                    <a:pt x="221" y="15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Line 107">
              <a:extLst>
                <a:ext uri="{FF2B5EF4-FFF2-40B4-BE49-F238E27FC236}">
                  <a16:creationId xmlns:a16="http://schemas.microsoft.com/office/drawing/2014/main" id="{CE7ACFE4-CE25-4327-BEC5-8933ED0599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Line 108">
              <a:extLst>
                <a:ext uri="{FF2B5EF4-FFF2-40B4-BE49-F238E27FC236}">
                  <a16:creationId xmlns:a16="http://schemas.microsoft.com/office/drawing/2014/main" id="{229AEC8F-53C6-4753-866D-E7C6C633ED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01992" y="3679822"/>
              <a:ext cx="0" cy="0"/>
            </a:xfrm>
            <a:prstGeom prst="line">
              <a:avLst/>
            </a:pr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109">
              <a:extLst>
                <a:ext uri="{FF2B5EF4-FFF2-40B4-BE49-F238E27FC236}">
                  <a16:creationId xmlns:a16="http://schemas.microsoft.com/office/drawing/2014/main" id="{4AA05247-2B13-46E1-A4CB-5102955A41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703" y="2409823"/>
              <a:ext cx="1036639" cy="1585910"/>
            </a:xfrm>
            <a:custGeom>
              <a:avLst/>
              <a:gdLst>
                <a:gd name="T0" fmla="*/ 421 w 445"/>
                <a:gd name="T1" fmla="*/ 632 h 680"/>
                <a:gd name="T2" fmla="*/ 445 w 445"/>
                <a:gd name="T3" fmla="*/ 410 h 680"/>
                <a:gd name="T4" fmla="*/ 387 w 445"/>
                <a:gd name="T5" fmla="*/ 112 h 680"/>
                <a:gd name="T6" fmla="*/ 241 w 445"/>
                <a:gd name="T7" fmla="*/ 14 h 680"/>
                <a:gd name="T8" fmla="*/ 49 w 445"/>
                <a:gd name="T9" fmla="*/ 172 h 680"/>
                <a:gd name="T10" fmla="*/ 32 w 445"/>
                <a:gd name="T11" fmla="*/ 260 h 680"/>
                <a:gd name="T12" fmla="*/ 23 w 445"/>
                <a:gd name="T13" fmla="*/ 285 h 680"/>
                <a:gd name="T14" fmla="*/ 7 w 445"/>
                <a:gd name="T15" fmla="*/ 297 h 680"/>
                <a:gd name="T16" fmla="*/ 0 w 445"/>
                <a:gd name="T17" fmla="*/ 339 h 680"/>
                <a:gd name="T18" fmla="*/ 1 w 445"/>
                <a:gd name="T19" fmla="*/ 371 h 680"/>
                <a:gd name="T20" fmla="*/ 16 w 445"/>
                <a:gd name="T21" fmla="*/ 395 h 680"/>
                <a:gd name="T22" fmla="*/ 42 w 445"/>
                <a:gd name="T23" fmla="*/ 415 h 680"/>
                <a:gd name="T24" fmla="*/ 40 w 445"/>
                <a:gd name="T25" fmla="*/ 437 h 680"/>
                <a:gd name="T26" fmla="*/ 20 w 445"/>
                <a:gd name="T27" fmla="*/ 450 h 680"/>
                <a:gd name="T28" fmla="*/ 14 w 445"/>
                <a:gd name="T29" fmla="*/ 484 h 680"/>
                <a:gd name="T30" fmla="*/ 27 w 445"/>
                <a:gd name="T31" fmla="*/ 485 h 680"/>
                <a:gd name="T32" fmla="*/ 41 w 445"/>
                <a:gd name="T33" fmla="*/ 491 h 680"/>
                <a:gd name="T34" fmla="*/ 57 w 445"/>
                <a:gd name="T35" fmla="*/ 485 h 680"/>
                <a:gd name="T36" fmla="*/ 70 w 445"/>
                <a:gd name="T37" fmla="*/ 480 h 680"/>
                <a:gd name="T38" fmla="*/ 88 w 445"/>
                <a:gd name="T39" fmla="*/ 485 h 680"/>
                <a:gd name="T40" fmla="*/ 95 w 445"/>
                <a:gd name="T41" fmla="*/ 469 h 680"/>
                <a:gd name="T42" fmla="*/ 105 w 445"/>
                <a:gd name="T43" fmla="*/ 460 h 680"/>
                <a:gd name="T44" fmla="*/ 122 w 445"/>
                <a:gd name="T45" fmla="*/ 462 h 680"/>
                <a:gd name="T46" fmla="*/ 131 w 445"/>
                <a:gd name="T47" fmla="*/ 467 h 680"/>
                <a:gd name="T48" fmla="*/ 154 w 445"/>
                <a:gd name="T49" fmla="*/ 471 h 680"/>
                <a:gd name="T50" fmla="*/ 167 w 445"/>
                <a:gd name="T51" fmla="*/ 474 h 680"/>
                <a:gd name="T52" fmla="*/ 174 w 445"/>
                <a:gd name="T53" fmla="*/ 483 h 680"/>
                <a:gd name="T54" fmla="*/ 182 w 445"/>
                <a:gd name="T55" fmla="*/ 490 h 680"/>
                <a:gd name="T56" fmla="*/ 187 w 445"/>
                <a:gd name="T57" fmla="*/ 482 h 680"/>
                <a:gd name="T58" fmla="*/ 193 w 445"/>
                <a:gd name="T59" fmla="*/ 480 h 680"/>
                <a:gd name="T60" fmla="*/ 202 w 445"/>
                <a:gd name="T61" fmla="*/ 485 h 680"/>
                <a:gd name="T62" fmla="*/ 196 w 445"/>
                <a:gd name="T63" fmla="*/ 503 h 680"/>
                <a:gd name="T64" fmla="*/ 196 w 445"/>
                <a:gd name="T65" fmla="*/ 519 h 680"/>
                <a:gd name="T66" fmla="*/ 208 w 445"/>
                <a:gd name="T67" fmla="*/ 530 h 680"/>
                <a:gd name="T68" fmla="*/ 224 w 445"/>
                <a:gd name="T69" fmla="*/ 533 h 680"/>
                <a:gd name="T70" fmla="*/ 226 w 445"/>
                <a:gd name="T71" fmla="*/ 554 h 680"/>
                <a:gd name="T72" fmla="*/ 212 w 445"/>
                <a:gd name="T73" fmla="*/ 573 h 680"/>
                <a:gd name="T74" fmla="*/ 205 w 445"/>
                <a:gd name="T75" fmla="*/ 589 h 680"/>
                <a:gd name="T76" fmla="*/ 216 w 445"/>
                <a:gd name="T77" fmla="*/ 601 h 680"/>
                <a:gd name="T78" fmla="*/ 234 w 445"/>
                <a:gd name="T79" fmla="*/ 616 h 680"/>
                <a:gd name="T80" fmla="*/ 245 w 445"/>
                <a:gd name="T81" fmla="*/ 624 h 680"/>
                <a:gd name="T82" fmla="*/ 260 w 445"/>
                <a:gd name="T83" fmla="*/ 624 h 680"/>
                <a:gd name="T84" fmla="*/ 275 w 445"/>
                <a:gd name="T85" fmla="*/ 645 h 680"/>
                <a:gd name="T86" fmla="*/ 295 w 445"/>
                <a:gd name="T87" fmla="*/ 644 h 680"/>
                <a:gd name="T88" fmla="*/ 300 w 445"/>
                <a:gd name="T89" fmla="*/ 639 h 680"/>
                <a:gd name="T90" fmla="*/ 309 w 445"/>
                <a:gd name="T91" fmla="*/ 644 h 680"/>
                <a:gd name="T92" fmla="*/ 314 w 445"/>
                <a:gd name="T93" fmla="*/ 645 h 680"/>
                <a:gd name="T94" fmla="*/ 323 w 445"/>
                <a:gd name="T95" fmla="*/ 640 h 680"/>
                <a:gd name="T96" fmla="*/ 331 w 445"/>
                <a:gd name="T97" fmla="*/ 652 h 680"/>
                <a:gd name="T98" fmla="*/ 335 w 445"/>
                <a:gd name="T99" fmla="*/ 658 h 680"/>
                <a:gd name="T100" fmla="*/ 344 w 445"/>
                <a:gd name="T101" fmla="*/ 667 h 680"/>
                <a:gd name="T102" fmla="*/ 381 w 445"/>
                <a:gd name="T103" fmla="*/ 680 h 680"/>
                <a:gd name="T104" fmla="*/ 421 w 445"/>
                <a:gd name="T105" fmla="*/ 632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5" h="680">
                  <a:moveTo>
                    <a:pt x="421" y="632"/>
                  </a:moveTo>
                  <a:cubicBezTo>
                    <a:pt x="421" y="632"/>
                    <a:pt x="445" y="416"/>
                    <a:pt x="445" y="410"/>
                  </a:cubicBezTo>
                  <a:cubicBezTo>
                    <a:pt x="445" y="404"/>
                    <a:pt x="393" y="122"/>
                    <a:pt x="387" y="112"/>
                  </a:cubicBezTo>
                  <a:cubicBezTo>
                    <a:pt x="381" y="102"/>
                    <a:pt x="259" y="0"/>
                    <a:pt x="241" y="14"/>
                  </a:cubicBezTo>
                  <a:cubicBezTo>
                    <a:pt x="223" y="28"/>
                    <a:pt x="61" y="166"/>
                    <a:pt x="49" y="172"/>
                  </a:cubicBezTo>
                  <a:cubicBezTo>
                    <a:pt x="37" y="178"/>
                    <a:pt x="32" y="260"/>
                    <a:pt x="32" y="260"/>
                  </a:cubicBezTo>
                  <a:cubicBezTo>
                    <a:pt x="32" y="260"/>
                    <a:pt x="24" y="283"/>
                    <a:pt x="23" y="285"/>
                  </a:cubicBezTo>
                  <a:cubicBezTo>
                    <a:pt x="22" y="286"/>
                    <a:pt x="7" y="295"/>
                    <a:pt x="7" y="297"/>
                  </a:cubicBezTo>
                  <a:cubicBezTo>
                    <a:pt x="7" y="299"/>
                    <a:pt x="0" y="335"/>
                    <a:pt x="0" y="339"/>
                  </a:cubicBezTo>
                  <a:cubicBezTo>
                    <a:pt x="1" y="343"/>
                    <a:pt x="1" y="371"/>
                    <a:pt x="1" y="371"/>
                  </a:cubicBezTo>
                  <a:cubicBezTo>
                    <a:pt x="1" y="371"/>
                    <a:pt x="11" y="392"/>
                    <a:pt x="16" y="395"/>
                  </a:cubicBezTo>
                  <a:cubicBezTo>
                    <a:pt x="21" y="398"/>
                    <a:pt x="42" y="415"/>
                    <a:pt x="42" y="415"/>
                  </a:cubicBezTo>
                  <a:cubicBezTo>
                    <a:pt x="42" y="415"/>
                    <a:pt x="44" y="434"/>
                    <a:pt x="40" y="437"/>
                  </a:cubicBezTo>
                  <a:cubicBezTo>
                    <a:pt x="36" y="441"/>
                    <a:pt x="20" y="448"/>
                    <a:pt x="20" y="450"/>
                  </a:cubicBezTo>
                  <a:cubicBezTo>
                    <a:pt x="20" y="453"/>
                    <a:pt x="14" y="483"/>
                    <a:pt x="14" y="484"/>
                  </a:cubicBezTo>
                  <a:cubicBezTo>
                    <a:pt x="27" y="485"/>
                    <a:pt x="27" y="485"/>
                    <a:pt x="27" y="485"/>
                  </a:cubicBezTo>
                  <a:cubicBezTo>
                    <a:pt x="27" y="485"/>
                    <a:pt x="36" y="494"/>
                    <a:pt x="41" y="491"/>
                  </a:cubicBezTo>
                  <a:cubicBezTo>
                    <a:pt x="47" y="489"/>
                    <a:pt x="53" y="488"/>
                    <a:pt x="57" y="485"/>
                  </a:cubicBezTo>
                  <a:cubicBezTo>
                    <a:pt x="61" y="483"/>
                    <a:pt x="66" y="479"/>
                    <a:pt x="70" y="480"/>
                  </a:cubicBezTo>
                  <a:cubicBezTo>
                    <a:pt x="73" y="482"/>
                    <a:pt x="88" y="485"/>
                    <a:pt x="88" y="485"/>
                  </a:cubicBezTo>
                  <a:cubicBezTo>
                    <a:pt x="95" y="469"/>
                    <a:pt x="95" y="469"/>
                    <a:pt x="95" y="469"/>
                  </a:cubicBezTo>
                  <a:cubicBezTo>
                    <a:pt x="105" y="460"/>
                    <a:pt x="105" y="460"/>
                    <a:pt x="105" y="460"/>
                  </a:cubicBezTo>
                  <a:cubicBezTo>
                    <a:pt x="105" y="460"/>
                    <a:pt x="120" y="458"/>
                    <a:pt x="122" y="462"/>
                  </a:cubicBezTo>
                  <a:cubicBezTo>
                    <a:pt x="123" y="466"/>
                    <a:pt x="128" y="466"/>
                    <a:pt x="131" y="467"/>
                  </a:cubicBezTo>
                  <a:cubicBezTo>
                    <a:pt x="134" y="468"/>
                    <a:pt x="151" y="471"/>
                    <a:pt x="154" y="471"/>
                  </a:cubicBezTo>
                  <a:cubicBezTo>
                    <a:pt x="156" y="472"/>
                    <a:pt x="166" y="469"/>
                    <a:pt x="167" y="474"/>
                  </a:cubicBezTo>
                  <a:cubicBezTo>
                    <a:pt x="174" y="483"/>
                    <a:pt x="174" y="483"/>
                    <a:pt x="174" y="483"/>
                  </a:cubicBezTo>
                  <a:cubicBezTo>
                    <a:pt x="174" y="483"/>
                    <a:pt x="179" y="493"/>
                    <a:pt x="182" y="490"/>
                  </a:cubicBezTo>
                  <a:cubicBezTo>
                    <a:pt x="184" y="488"/>
                    <a:pt x="187" y="482"/>
                    <a:pt x="187" y="482"/>
                  </a:cubicBezTo>
                  <a:cubicBezTo>
                    <a:pt x="193" y="480"/>
                    <a:pt x="193" y="480"/>
                    <a:pt x="193" y="480"/>
                  </a:cubicBezTo>
                  <a:cubicBezTo>
                    <a:pt x="193" y="480"/>
                    <a:pt x="202" y="483"/>
                    <a:pt x="202" y="485"/>
                  </a:cubicBezTo>
                  <a:cubicBezTo>
                    <a:pt x="202" y="487"/>
                    <a:pt x="196" y="497"/>
                    <a:pt x="196" y="503"/>
                  </a:cubicBezTo>
                  <a:cubicBezTo>
                    <a:pt x="196" y="509"/>
                    <a:pt x="196" y="519"/>
                    <a:pt x="196" y="519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08" y="530"/>
                    <a:pt x="221" y="530"/>
                    <a:pt x="224" y="533"/>
                  </a:cubicBezTo>
                  <a:cubicBezTo>
                    <a:pt x="227" y="536"/>
                    <a:pt x="227" y="551"/>
                    <a:pt x="226" y="554"/>
                  </a:cubicBezTo>
                  <a:cubicBezTo>
                    <a:pt x="225" y="556"/>
                    <a:pt x="213" y="568"/>
                    <a:pt x="212" y="573"/>
                  </a:cubicBezTo>
                  <a:cubicBezTo>
                    <a:pt x="212" y="578"/>
                    <a:pt x="204" y="586"/>
                    <a:pt x="205" y="589"/>
                  </a:cubicBezTo>
                  <a:cubicBezTo>
                    <a:pt x="205" y="593"/>
                    <a:pt x="214" y="600"/>
                    <a:pt x="216" y="601"/>
                  </a:cubicBezTo>
                  <a:cubicBezTo>
                    <a:pt x="217" y="602"/>
                    <a:pt x="233" y="612"/>
                    <a:pt x="234" y="616"/>
                  </a:cubicBezTo>
                  <a:cubicBezTo>
                    <a:pt x="236" y="619"/>
                    <a:pt x="242" y="623"/>
                    <a:pt x="245" y="624"/>
                  </a:cubicBezTo>
                  <a:cubicBezTo>
                    <a:pt x="248" y="626"/>
                    <a:pt x="255" y="618"/>
                    <a:pt x="260" y="624"/>
                  </a:cubicBezTo>
                  <a:cubicBezTo>
                    <a:pt x="265" y="630"/>
                    <a:pt x="275" y="645"/>
                    <a:pt x="275" y="645"/>
                  </a:cubicBezTo>
                  <a:cubicBezTo>
                    <a:pt x="295" y="644"/>
                    <a:pt x="295" y="644"/>
                    <a:pt x="295" y="644"/>
                  </a:cubicBezTo>
                  <a:cubicBezTo>
                    <a:pt x="295" y="644"/>
                    <a:pt x="297" y="638"/>
                    <a:pt x="300" y="639"/>
                  </a:cubicBezTo>
                  <a:cubicBezTo>
                    <a:pt x="302" y="639"/>
                    <a:pt x="309" y="644"/>
                    <a:pt x="309" y="644"/>
                  </a:cubicBezTo>
                  <a:cubicBezTo>
                    <a:pt x="309" y="644"/>
                    <a:pt x="311" y="647"/>
                    <a:pt x="314" y="645"/>
                  </a:cubicBezTo>
                  <a:cubicBezTo>
                    <a:pt x="317" y="643"/>
                    <a:pt x="320" y="636"/>
                    <a:pt x="323" y="640"/>
                  </a:cubicBezTo>
                  <a:cubicBezTo>
                    <a:pt x="325" y="644"/>
                    <a:pt x="327" y="650"/>
                    <a:pt x="331" y="652"/>
                  </a:cubicBezTo>
                  <a:cubicBezTo>
                    <a:pt x="331" y="652"/>
                    <a:pt x="333" y="656"/>
                    <a:pt x="335" y="658"/>
                  </a:cubicBezTo>
                  <a:cubicBezTo>
                    <a:pt x="336" y="660"/>
                    <a:pt x="344" y="667"/>
                    <a:pt x="344" y="667"/>
                  </a:cubicBezTo>
                  <a:cubicBezTo>
                    <a:pt x="381" y="680"/>
                    <a:pt x="381" y="680"/>
                    <a:pt x="381" y="680"/>
                  </a:cubicBezTo>
                  <a:lnTo>
                    <a:pt x="421" y="632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Freeform 110">
              <a:extLst>
                <a:ext uri="{FF2B5EF4-FFF2-40B4-BE49-F238E27FC236}">
                  <a16:creationId xmlns:a16="http://schemas.microsoft.com/office/drawing/2014/main" id="{F697DEEE-308F-48F1-952B-1199FDD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7966" y="1474788"/>
              <a:ext cx="1447801" cy="1600199"/>
            </a:xfrm>
            <a:custGeom>
              <a:avLst/>
              <a:gdLst>
                <a:gd name="T0" fmla="*/ 620 w 621"/>
                <a:gd name="T1" fmla="*/ 169 h 686"/>
                <a:gd name="T2" fmla="*/ 501 w 621"/>
                <a:gd name="T3" fmla="*/ 34 h 686"/>
                <a:gd name="T4" fmla="*/ 325 w 621"/>
                <a:gd name="T5" fmla="*/ 0 h 686"/>
                <a:gd name="T6" fmla="*/ 229 w 621"/>
                <a:gd name="T7" fmla="*/ 110 h 686"/>
                <a:gd name="T8" fmla="*/ 204 w 621"/>
                <a:gd name="T9" fmla="*/ 136 h 686"/>
                <a:gd name="T10" fmla="*/ 183 w 621"/>
                <a:gd name="T11" fmla="*/ 162 h 686"/>
                <a:gd name="T12" fmla="*/ 178 w 621"/>
                <a:gd name="T13" fmla="*/ 172 h 686"/>
                <a:gd name="T14" fmla="*/ 167 w 621"/>
                <a:gd name="T15" fmla="*/ 182 h 686"/>
                <a:gd name="T16" fmla="*/ 168 w 621"/>
                <a:gd name="T17" fmla="*/ 202 h 686"/>
                <a:gd name="T18" fmla="*/ 164 w 621"/>
                <a:gd name="T19" fmla="*/ 222 h 686"/>
                <a:gd name="T20" fmla="*/ 156 w 621"/>
                <a:gd name="T21" fmla="*/ 239 h 686"/>
                <a:gd name="T22" fmla="*/ 119 w 621"/>
                <a:gd name="T23" fmla="*/ 245 h 686"/>
                <a:gd name="T24" fmla="*/ 89 w 621"/>
                <a:gd name="T25" fmla="*/ 253 h 686"/>
                <a:gd name="T26" fmla="*/ 74 w 621"/>
                <a:gd name="T27" fmla="*/ 254 h 686"/>
                <a:gd name="T28" fmla="*/ 56 w 621"/>
                <a:gd name="T29" fmla="*/ 242 h 686"/>
                <a:gd name="T30" fmla="*/ 45 w 621"/>
                <a:gd name="T31" fmla="*/ 262 h 686"/>
                <a:gd name="T32" fmla="*/ 25 w 621"/>
                <a:gd name="T33" fmla="*/ 272 h 686"/>
                <a:gd name="T34" fmla="*/ 30 w 621"/>
                <a:gd name="T35" fmla="*/ 282 h 686"/>
                <a:gd name="T36" fmla="*/ 44 w 621"/>
                <a:gd name="T37" fmla="*/ 319 h 686"/>
                <a:gd name="T38" fmla="*/ 61 w 621"/>
                <a:gd name="T39" fmla="*/ 357 h 686"/>
                <a:gd name="T40" fmla="*/ 51 w 621"/>
                <a:gd name="T41" fmla="*/ 391 h 686"/>
                <a:gd name="T42" fmla="*/ 40 w 621"/>
                <a:gd name="T43" fmla="*/ 405 h 686"/>
                <a:gd name="T44" fmla="*/ 44 w 621"/>
                <a:gd name="T45" fmla="*/ 438 h 686"/>
                <a:gd name="T46" fmla="*/ 38 w 621"/>
                <a:gd name="T47" fmla="*/ 460 h 686"/>
                <a:gd name="T48" fmla="*/ 6 w 621"/>
                <a:gd name="T49" fmla="*/ 468 h 686"/>
                <a:gd name="T50" fmla="*/ 4 w 621"/>
                <a:gd name="T51" fmla="*/ 485 h 686"/>
                <a:gd name="T52" fmla="*/ 23 w 621"/>
                <a:gd name="T53" fmla="*/ 505 h 686"/>
                <a:gd name="T54" fmla="*/ 9 w 621"/>
                <a:gd name="T55" fmla="*/ 538 h 686"/>
                <a:gd name="T56" fmla="*/ 18 w 621"/>
                <a:gd name="T57" fmla="*/ 576 h 686"/>
                <a:gd name="T58" fmla="*/ 35 w 621"/>
                <a:gd name="T59" fmla="*/ 590 h 686"/>
                <a:gd name="T60" fmla="*/ 31 w 621"/>
                <a:gd name="T61" fmla="*/ 613 h 686"/>
                <a:gd name="T62" fmla="*/ 51 w 621"/>
                <a:gd name="T63" fmla="*/ 653 h 686"/>
                <a:gd name="T64" fmla="*/ 53 w 621"/>
                <a:gd name="T65" fmla="*/ 678 h 686"/>
                <a:gd name="T66" fmla="*/ 63 w 621"/>
                <a:gd name="T67" fmla="*/ 676 h 686"/>
                <a:gd name="T68" fmla="*/ 65 w 621"/>
                <a:gd name="T69" fmla="*/ 655 h 686"/>
                <a:gd name="T70" fmla="*/ 81 w 621"/>
                <a:gd name="T71" fmla="*/ 671 h 686"/>
                <a:gd name="T72" fmla="*/ 93 w 621"/>
                <a:gd name="T73" fmla="*/ 666 h 686"/>
                <a:gd name="T74" fmla="*/ 110 w 621"/>
                <a:gd name="T75" fmla="*/ 675 h 686"/>
                <a:gd name="T76" fmla="*/ 133 w 621"/>
                <a:gd name="T77" fmla="*/ 673 h 686"/>
                <a:gd name="T78" fmla="*/ 133 w 621"/>
                <a:gd name="T79" fmla="*/ 652 h 686"/>
                <a:gd name="T80" fmla="*/ 137 w 621"/>
                <a:gd name="T81" fmla="*/ 631 h 686"/>
                <a:gd name="T82" fmla="*/ 152 w 621"/>
                <a:gd name="T83" fmla="*/ 632 h 686"/>
                <a:gd name="T84" fmla="*/ 169 w 621"/>
                <a:gd name="T85" fmla="*/ 605 h 686"/>
                <a:gd name="T86" fmla="*/ 221 w 621"/>
                <a:gd name="T87" fmla="*/ 583 h 686"/>
                <a:gd name="T88" fmla="*/ 246 w 621"/>
                <a:gd name="T89" fmla="*/ 567 h 686"/>
                <a:gd name="T90" fmla="*/ 290 w 621"/>
                <a:gd name="T91" fmla="*/ 550 h 686"/>
                <a:gd name="T92" fmla="*/ 296 w 621"/>
                <a:gd name="T93" fmla="*/ 525 h 686"/>
                <a:gd name="T94" fmla="*/ 312 w 621"/>
                <a:gd name="T95" fmla="*/ 500 h 686"/>
                <a:gd name="T96" fmla="*/ 331 w 621"/>
                <a:gd name="T97" fmla="*/ 515 h 686"/>
                <a:gd name="T98" fmla="*/ 350 w 621"/>
                <a:gd name="T99" fmla="*/ 540 h 686"/>
                <a:gd name="T100" fmla="*/ 359 w 621"/>
                <a:gd name="T101" fmla="*/ 565 h 686"/>
                <a:gd name="T102" fmla="*/ 561 w 621"/>
                <a:gd name="T103" fmla="*/ 461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1" h="686">
                  <a:moveTo>
                    <a:pt x="617" y="302"/>
                  </a:moveTo>
                  <a:cubicBezTo>
                    <a:pt x="617" y="299"/>
                    <a:pt x="621" y="176"/>
                    <a:pt x="620" y="169"/>
                  </a:cubicBezTo>
                  <a:cubicBezTo>
                    <a:pt x="620" y="162"/>
                    <a:pt x="602" y="58"/>
                    <a:pt x="594" y="53"/>
                  </a:cubicBezTo>
                  <a:cubicBezTo>
                    <a:pt x="587" y="49"/>
                    <a:pt x="505" y="34"/>
                    <a:pt x="501" y="34"/>
                  </a:cubicBezTo>
                  <a:cubicBezTo>
                    <a:pt x="498" y="34"/>
                    <a:pt x="416" y="30"/>
                    <a:pt x="413" y="32"/>
                  </a:cubicBezTo>
                  <a:cubicBezTo>
                    <a:pt x="409" y="35"/>
                    <a:pt x="325" y="0"/>
                    <a:pt x="325" y="0"/>
                  </a:cubicBezTo>
                  <a:cubicBezTo>
                    <a:pt x="325" y="0"/>
                    <a:pt x="250" y="20"/>
                    <a:pt x="246" y="46"/>
                  </a:cubicBezTo>
                  <a:cubicBezTo>
                    <a:pt x="242" y="73"/>
                    <a:pt x="233" y="110"/>
                    <a:pt x="229" y="110"/>
                  </a:cubicBezTo>
                  <a:cubicBezTo>
                    <a:pt x="225" y="111"/>
                    <a:pt x="212" y="127"/>
                    <a:pt x="212" y="127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4" y="136"/>
                    <a:pt x="193" y="145"/>
                    <a:pt x="192" y="146"/>
                  </a:cubicBezTo>
                  <a:cubicBezTo>
                    <a:pt x="192" y="147"/>
                    <a:pt x="183" y="161"/>
                    <a:pt x="183" y="162"/>
                  </a:cubicBezTo>
                  <a:cubicBezTo>
                    <a:pt x="183" y="163"/>
                    <a:pt x="184" y="169"/>
                    <a:pt x="184" y="169"/>
                  </a:cubicBezTo>
                  <a:cubicBezTo>
                    <a:pt x="184" y="169"/>
                    <a:pt x="179" y="172"/>
                    <a:pt x="178" y="172"/>
                  </a:cubicBezTo>
                  <a:cubicBezTo>
                    <a:pt x="178" y="172"/>
                    <a:pt x="173" y="171"/>
                    <a:pt x="172" y="173"/>
                  </a:cubicBezTo>
                  <a:cubicBezTo>
                    <a:pt x="171" y="174"/>
                    <a:pt x="168" y="179"/>
                    <a:pt x="167" y="182"/>
                  </a:cubicBezTo>
                  <a:cubicBezTo>
                    <a:pt x="166" y="186"/>
                    <a:pt x="163" y="193"/>
                    <a:pt x="163" y="195"/>
                  </a:cubicBezTo>
                  <a:cubicBezTo>
                    <a:pt x="163" y="198"/>
                    <a:pt x="167" y="199"/>
                    <a:pt x="168" y="202"/>
                  </a:cubicBezTo>
                  <a:cubicBezTo>
                    <a:pt x="169" y="205"/>
                    <a:pt x="171" y="212"/>
                    <a:pt x="171" y="212"/>
                  </a:cubicBezTo>
                  <a:cubicBezTo>
                    <a:pt x="171" y="213"/>
                    <a:pt x="165" y="220"/>
                    <a:pt x="164" y="222"/>
                  </a:cubicBezTo>
                  <a:cubicBezTo>
                    <a:pt x="163" y="224"/>
                    <a:pt x="162" y="232"/>
                    <a:pt x="161" y="233"/>
                  </a:cubicBezTo>
                  <a:cubicBezTo>
                    <a:pt x="160" y="235"/>
                    <a:pt x="157" y="238"/>
                    <a:pt x="156" y="239"/>
                  </a:cubicBezTo>
                  <a:cubicBezTo>
                    <a:pt x="155" y="240"/>
                    <a:pt x="145" y="240"/>
                    <a:pt x="144" y="241"/>
                  </a:cubicBezTo>
                  <a:cubicBezTo>
                    <a:pt x="143" y="242"/>
                    <a:pt x="120" y="245"/>
                    <a:pt x="119" y="245"/>
                  </a:cubicBezTo>
                  <a:cubicBezTo>
                    <a:pt x="117" y="246"/>
                    <a:pt x="96" y="244"/>
                    <a:pt x="96" y="244"/>
                  </a:cubicBezTo>
                  <a:cubicBezTo>
                    <a:pt x="96" y="244"/>
                    <a:pt x="91" y="251"/>
                    <a:pt x="89" y="253"/>
                  </a:cubicBezTo>
                  <a:cubicBezTo>
                    <a:pt x="88" y="254"/>
                    <a:pt x="83" y="255"/>
                    <a:pt x="82" y="255"/>
                  </a:cubicBezTo>
                  <a:cubicBezTo>
                    <a:pt x="81" y="255"/>
                    <a:pt x="74" y="254"/>
                    <a:pt x="74" y="254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3" y="246"/>
                    <a:pt x="57" y="242"/>
                    <a:pt x="56" y="242"/>
                  </a:cubicBezTo>
                  <a:cubicBezTo>
                    <a:pt x="56" y="242"/>
                    <a:pt x="49" y="247"/>
                    <a:pt x="50" y="249"/>
                  </a:cubicBezTo>
                  <a:cubicBezTo>
                    <a:pt x="50" y="251"/>
                    <a:pt x="47" y="260"/>
                    <a:pt x="45" y="262"/>
                  </a:cubicBezTo>
                  <a:cubicBezTo>
                    <a:pt x="44" y="264"/>
                    <a:pt x="42" y="269"/>
                    <a:pt x="41" y="270"/>
                  </a:cubicBezTo>
                  <a:cubicBezTo>
                    <a:pt x="39" y="272"/>
                    <a:pt x="25" y="272"/>
                    <a:pt x="25" y="272"/>
                  </a:cubicBezTo>
                  <a:cubicBezTo>
                    <a:pt x="25" y="272"/>
                    <a:pt x="18" y="263"/>
                    <a:pt x="18" y="268"/>
                  </a:cubicBezTo>
                  <a:cubicBezTo>
                    <a:pt x="18" y="273"/>
                    <a:pt x="30" y="280"/>
                    <a:pt x="30" y="282"/>
                  </a:cubicBezTo>
                  <a:cubicBezTo>
                    <a:pt x="30" y="285"/>
                    <a:pt x="32" y="298"/>
                    <a:pt x="33" y="301"/>
                  </a:cubicBezTo>
                  <a:cubicBezTo>
                    <a:pt x="34" y="304"/>
                    <a:pt x="44" y="319"/>
                    <a:pt x="44" y="319"/>
                  </a:cubicBezTo>
                  <a:cubicBezTo>
                    <a:pt x="45" y="320"/>
                    <a:pt x="56" y="339"/>
                    <a:pt x="56" y="340"/>
                  </a:cubicBezTo>
                  <a:cubicBezTo>
                    <a:pt x="57" y="341"/>
                    <a:pt x="61" y="355"/>
                    <a:pt x="61" y="357"/>
                  </a:cubicBezTo>
                  <a:cubicBezTo>
                    <a:pt x="61" y="358"/>
                    <a:pt x="59" y="373"/>
                    <a:pt x="58" y="375"/>
                  </a:cubicBezTo>
                  <a:cubicBezTo>
                    <a:pt x="57" y="377"/>
                    <a:pt x="51" y="390"/>
                    <a:pt x="51" y="391"/>
                  </a:cubicBezTo>
                  <a:cubicBezTo>
                    <a:pt x="50" y="391"/>
                    <a:pt x="46" y="396"/>
                    <a:pt x="46" y="396"/>
                  </a:cubicBezTo>
                  <a:cubicBezTo>
                    <a:pt x="46" y="396"/>
                    <a:pt x="44" y="398"/>
                    <a:pt x="40" y="405"/>
                  </a:cubicBezTo>
                  <a:cubicBezTo>
                    <a:pt x="37" y="413"/>
                    <a:pt x="34" y="418"/>
                    <a:pt x="34" y="419"/>
                  </a:cubicBezTo>
                  <a:cubicBezTo>
                    <a:pt x="35" y="420"/>
                    <a:pt x="40" y="435"/>
                    <a:pt x="44" y="438"/>
                  </a:cubicBezTo>
                  <a:cubicBezTo>
                    <a:pt x="47" y="440"/>
                    <a:pt x="50" y="444"/>
                    <a:pt x="48" y="447"/>
                  </a:cubicBezTo>
                  <a:cubicBezTo>
                    <a:pt x="47" y="451"/>
                    <a:pt x="39" y="458"/>
                    <a:pt x="38" y="460"/>
                  </a:cubicBezTo>
                  <a:cubicBezTo>
                    <a:pt x="37" y="461"/>
                    <a:pt x="20" y="464"/>
                    <a:pt x="20" y="464"/>
                  </a:cubicBezTo>
                  <a:cubicBezTo>
                    <a:pt x="20" y="464"/>
                    <a:pt x="7" y="467"/>
                    <a:pt x="6" y="468"/>
                  </a:cubicBezTo>
                  <a:cubicBezTo>
                    <a:pt x="5" y="469"/>
                    <a:pt x="0" y="473"/>
                    <a:pt x="0" y="474"/>
                  </a:cubicBezTo>
                  <a:cubicBezTo>
                    <a:pt x="0" y="475"/>
                    <a:pt x="1" y="484"/>
                    <a:pt x="4" y="485"/>
                  </a:cubicBezTo>
                  <a:cubicBezTo>
                    <a:pt x="8" y="487"/>
                    <a:pt x="16" y="494"/>
                    <a:pt x="17" y="494"/>
                  </a:cubicBezTo>
                  <a:cubicBezTo>
                    <a:pt x="18" y="495"/>
                    <a:pt x="24" y="504"/>
                    <a:pt x="23" y="505"/>
                  </a:cubicBezTo>
                  <a:cubicBezTo>
                    <a:pt x="22" y="507"/>
                    <a:pt x="9" y="522"/>
                    <a:pt x="8" y="524"/>
                  </a:cubicBezTo>
                  <a:cubicBezTo>
                    <a:pt x="7" y="525"/>
                    <a:pt x="9" y="535"/>
                    <a:pt x="9" y="538"/>
                  </a:cubicBezTo>
                  <a:cubicBezTo>
                    <a:pt x="8" y="541"/>
                    <a:pt x="12" y="557"/>
                    <a:pt x="12" y="558"/>
                  </a:cubicBezTo>
                  <a:cubicBezTo>
                    <a:pt x="12" y="558"/>
                    <a:pt x="18" y="576"/>
                    <a:pt x="18" y="576"/>
                  </a:cubicBezTo>
                  <a:cubicBezTo>
                    <a:pt x="29" y="583"/>
                    <a:pt x="29" y="583"/>
                    <a:pt x="29" y="583"/>
                  </a:cubicBezTo>
                  <a:cubicBezTo>
                    <a:pt x="29" y="583"/>
                    <a:pt x="35" y="590"/>
                    <a:pt x="35" y="590"/>
                  </a:cubicBezTo>
                  <a:cubicBezTo>
                    <a:pt x="35" y="591"/>
                    <a:pt x="31" y="601"/>
                    <a:pt x="31" y="601"/>
                  </a:cubicBezTo>
                  <a:cubicBezTo>
                    <a:pt x="31" y="602"/>
                    <a:pt x="30" y="611"/>
                    <a:pt x="31" y="613"/>
                  </a:cubicBezTo>
                  <a:cubicBezTo>
                    <a:pt x="33" y="615"/>
                    <a:pt x="42" y="633"/>
                    <a:pt x="43" y="635"/>
                  </a:cubicBezTo>
                  <a:cubicBezTo>
                    <a:pt x="44" y="637"/>
                    <a:pt x="51" y="650"/>
                    <a:pt x="51" y="653"/>
                  </a:cubicBezTo>
                  <a:cubicBezTo>
                    <a:pt x="51" y="655"/>
                    <a:pt x="53" y="664"/>
                    <a:pt x="52" y="667"/>
                  </a:cubicBezTo>
                  <a:cubicBezTo>
                    <a:pt x="52" y="670"/>
                    <a:pt x="53" y="677"/>
                    <a:pt x="53" y="678"/>
                  </a:cubicBezTo>
                  <a:cubicBezTo>
                    <a:pt x="52" y="679"/>
                    <a:pt x="50" y="685"/>
                    <a:pt x="52" y="685"/>
                  </a:cubicBezTo>
                  <a:cubicBezTo>
                    <a:pt x="53" y="686"/>
                    <a:pt x="63" y="677"/>
                    <a:pt x="63" y="676"/>
                  </a:cubicBezTo>
                  <a:cubicBezTo>
                    <a:pt x="63" y="675"/>
                    <a:pt x="62" y="659"/>
                    <a:pt x="62" y="659"/>
                  </a:cubicBezTo>
                  <a:cubicBezTo>
                    <a:pt x="62" y="659"/>
                    <a:pt x="64" y="654"/>
                    <a:pt x="65" y="655"/>
                  </a:cubicBezTo>
                  <a:cubicBezTo>
                    <a:pt x="66" y="657"/>
                    <a:pt x="73" y="677"/>
                    <a:pt x="73" y="678"/>
                  </a:cubicBezTo>
                  <a:cubicBezTo>
                    <a:pt x="73" y="678"/>
                    <a:pt x="80" y="673"/>
                    <a:pt x="81" y="671"/>
                  </a:cubicBezTo>
                  <a:cubicBezTo>
                    <a:pt x="82" y="669"/>
                    <a:pt x="82" y="668"/>
                    <a:pt x="84" y="667"/>
                  </a:cubicBezTo>
                  <a:cubicBezTo>
                    <a:pt x="85" y="666"/>
                    <a:pt x="86" y="665"/>
                    <a:pt x="93" y="666"/>
                  </a:cubicBezTo>
                  <a:cubicBezTo>
                    <a:pt x="99" y="667"/>
                    <a:pt x="104" y="663"/>
                    <a:pt x="106" y="667"/>
                  </a:cubicBezTo>
                  <a:cubicBezTo>
                    <a:pt x="108" y="671"/>
                    <a:pt x="108" y="674"/>
                    <a:pt x="110" y="675"/>
                  </a:cubicBezTo>
                  <a:cubicBezTo>
                    <a:pt x="113" y="676"/>
                    <a:pt x="121" y="677"/>
                    <a:pt x="121" y="677"/>
                  </a:cubicBezTo>
                  <a:cubicBezTo>
                    <a:pt x="121" y="677"/>
                    <a:pt x="132" y="674"/>
                    <a:pt x="133" y="673"/>
                  </a:cubicBezTo>
                  <a:cubicBezTo>
                    <a:pt x="134" y="673"/>
                    <a:pt x="139" y="668"/>
                    <a:pt x="137" y="664"/>
                  </a:cubicBezTo>
                  <a:cubicBezTo>
                    <a:pt x="136" y="659"/>
                    <a:pt x="134" y="654"/>
                    <a:pt x="133" y="652"/>
                  </a:cubicBezTo>
                  <a:cubicBezTo>
                    <a:pt x="131" y="650"/>
                    <a:pt x="126" y="643"/>
                    <a:pt x="126" y="641"/>
                  </a:cubicBezTo>
                  <a:cubicBezTo>
                    <a:pt x="126" y="639"/>
                    <a:pt x="137" y="630"/>
                    <a:pt x="137" y="631"/>
                  </a:cubicBezTo>
                  <a:cubicBezTo>
                    <a:pt x="137" y="631"/>
                    <a:pt x="146" y="635"/>
                    <a:pt x="147" y="635"/>
                  </a:cubicBezTo>
                  <a:cubicBezTo>
                    <a:pt x="149" y="635"/>
                    <a:pt x="151" y="636"/>
                    <a:pt x="152" y="632"/>
                  </a:cubicBezTo>
                  <a:cubicBezTo>
                    <a:pt x="152" y="629"/>
                    <a:pt x="155" y="619"/>
                    <a:pt x="155" y="619"/>
                  </a:cubicBezTo>
                  <a:cubicBezTo>
                    <a:pt x="155" y="619"/>
                    <a:pt x="168" y="605"/>
                    <a:pt x="169" y="605"/>
                  </a:cubicBezTo>
                  <a:cubicBezTo>
                    <a:pt x="169" y="605"/>
                    <a:pt x="193" y="598"/>
                    <a:pt x="193" y="598"/>
                  </a:cubicBezTo>
                  <a:cubicBezTo>
                    <a:pt x="221" y="583"/>
                    <a:pt x="221" y="583"/>
                    <a:pt x="221" y="583"/>
                  </a:cubicBezTo>
                  <a:cubicBezTo>
                    <a:pt x="221" y="583"/>
                    <a:pt x="243" y="582"/>
                    <a:pt x="244" y="581"/>
                  </a:cubicBezTo>
                  <a:cubicBezTo>
                    <a:pt x="245" y="579"/>
                    <a:pt x="244" y="569"/>
                    <a:pt x="246" y="567"/>
                  </a:cubicBezTo>
                  <a:cubicBezTo>
                    <a:pt x="248" y="565"/>
                    <a:pt x="257" y="558"/>
                    <a:pt x="260" y="558"/>
                  </a:cubicBezTo>
                  <a:cubicBezTo>
                    <a:pt x="263" y="559"/>
                    <a:pt x="290" y="550"/>
                    <a:pt x="290" y="550"/>
                  </a:cubicBezTo>
                  <a:cubicBezTo>
                    <a:pt x="290" y="550"/>
                    <a:pt x="298" y="536"/>
                    <a:pt x="298" y="534"/>
                  </a:cubicBezTo>
                  <a:cubicBezTo>
                    <a:pt x="298" y="533"/>
                    <a:pt x="294" y="528"/>
                    <a:pt x="296" y="525"/>
                  </a:cubicBezTo>
                  <a:cubicBezTo>
                    <a:pt x="298" y="523"/>
                    <a:pt x="310" y="518"/>
                    <a:pt x="310" y="518"/>
                  </a:cubicBezTo>
                  <a:cubicBezTo>
                    <a:pt x="310" y="518"/>
                    <a:pt x="312" y="501"/>
                    <a:pt x="312" y="500"/>
                  </a:cubicBezTo>
                  <a:cubicBezTo>
                    <a:pt x="312" y="500"/>
                    <a:pt x="314" y="490"/>
                    <a:pt x="315" y="493"/>
                  </a:cubicBezTo>
                  <a:cubicBezTo>
                    <a:pt x="317" y="495"/>
                    <a:pt x="329" y="510"/>
                    <a:pt x="331" y="515"/>
                  </a:cubicBezTo>
                  <a:cubicBezTo>
                    <a:pt x="332" y="520"/>
                    <a:pt x="337" y="526"/>
                    <a:pt x="339" y="528"/>
                  </a:cubicBezTo>
                  <a:cubicBezTo>
                    <a:pt x="341" y="529"/>
                    <a:pt x="349" y="533"/>
                    <a:pt x="350" y="540"/>
                  </a:cubicBezTo>
                  <a:cubicBezTo>
                    <a:pt x="350" y="547"/>
                    <a:pt x="352" y="553"/>
                    <a:pt x="353" y="555"/>
                  </a:cubicBezTo>
                  <a:cubicBezTo>
                    <a:pt x="353" y="557"/>
                    <a:pt x="359" y="565"/>
                    <a:pt x="359" y="565"/>
                  </a:cubicBezTo>
                  <a:cubicBezTo>
                    <a:pt x="360" y="566"/>
                    <a:pt x="450" y="608"/>
                    <a:pt x="450" y="608"/>
                  </a:cubicBezTo>
                  <a:cubicBezTo>
                    <a:pt x="450" y="608"/>
                    <a:pt x="559" y="465"/>
                    <a:pt x="561" y="461"/>
                  </a:cubicBezTo>
                  <a:cubicBezTo>
                    <a:pt x="563" y="457"/>
                    <a:pt x="617" y="302"/>
                    <a:pt x="617" y="302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111">
              <a:extLst>
                <a:ext uri="{FF2B5EF4-FFF2-40B4-BE49-F238E27FC236}">
                  <a16:creationId xmlns:a16="http://schemas.microsoft.com/office/drawing/2014/main" id="{D784D840-0D96-4733-9D9A-2E902F2325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95DCB9BE-371E-4F7D-9694-C2CC86E985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76579" y="746125"/>
              <a:ext cx="2028826" cy="1852611"/>
            </a:xfrm>
            <a:custGeom>
              <a:avLst/>
              <a:gdLst>
                <a:gd name="T0" fmla="*/ 500 w 870"/>
                <a:gd name="T1" fmla="*/ 89 h 795"/>
                <a:gd name="T2" fmla="*/ 441 w 870"/>
                <a:gd name="T3" fmla="*/ 24 h 795"/>
                <a:gd name="T4" fmla="*/ 351 w 870"/>
                <a:gd name="T5" fmla="*/ 9 h 795"/>
                <a:gd name="T6" fmla="*/ 313 w 870"/>
                <a:gd name="T7" fmla="*/ 45 h 795"/>
                <a:gd name="T8" fmla="*/ 343 w 870"/>
                <a:gd name="T9" fmla="*/ 69 h 795"/>
                <a:gd name="T10" fmla="*/ 348 w 870"/>
                <a:gd name="T11" fmla="*/ 101 h 795"/>
                <a:gd name="T12" fmla="*/ 326 w 870"/>
                <a:gd name="T13" fmla="*/ 117 h 795"/>
                <a:gd name="T14" fmla="*/ 313 w 870"/>
                <a:gd name="T15" fmla="*/ 152 h 795"/>
                <a:gd name="T16" fmla="*/ 341 w 870"/>
                <a:gd name="T17" fmla="*/ 208 h 795"/>
                <a:gd name="T18" fmla="*/ 302 w 870"/>
                <a:gd name="T19" fmla="*/ 192 h 795"/>
                <a:gd name="T20" fmla="*/ 302 w 870"/>
                <a:gd name="T21" fmla="*/ 130 h 795"/>
                <a:gd name="T22" fmla="*/ 290 w 870"/>
                <a:gd name="T23" fmla="*/ 87 h 795"/>
                <a:gd name="T24" fmla="*/ 261 w 870"/>
                <a:gd name="T25" fmla="*/ 101 h 795"/>
                <a:gd name="T26" fmla="*/ 265 w 870"/>
                <a:gd name="T27" fmla="*/ 134 h 795"/>
                <a:gd name="T28" fmla="*/ 240 w 870"/>
                <a:gd name="T29" fmla="*/ 116 h 795"/>
                <a:gd name="T30" fmla="*/ 248 w 870"/>
                <a:gd name="T31" fmla="*/ 77 h 795"/>
                <a:gd name="T32" fmla="*/ 225 w 870"/>
                <a:gd name="T33" fmla="*/ 35 h 795"/>
                <a:gd name="T34" fmla="*/ 159 w 870"/>
                <a:gd name="T35" fmla="*/ 51 h 795"/>
                <a:gd name="T36" fmla="*/ 97 w 870"/>
                <a:gd name="T37" fmla="*/ 56 h 795"/>
                <a:gd name="T38" fmla="*/ 80 w 870"/>
                <a:gd name="T39" fmla="*/ 95 h 795"/>
                <a:gd name="T40" fmla="*/ 64 w 870"/>
                <a:gd name="T41" fmla="*/ 139 h 795"/>
                <a:gd name="T42" fmla="*/ 110 w 870"/>
                <a:gd name="T43" fmla="*/ 151 h 795"/>
                <a:gd name="T44" fmla="*/ 123 w 870"/>
                <a:gd name="T45" fmla="*/ 185 h 795"/>
                <a:gd name="T46" fmla="*/ 90 w 870"/>
                <a:gd name="T47" fmla="*/ 164 h 795"/>
                <a:gd name="T48" fmla="*/ 94 w 870"/>
                <a:gd name="T49" fmla="*/ 245 h 795"/>
                <a:gd name="T50" fmla="*/ 73 w 870"/>
                <a:gd name="T51" fmla="*/ 327 h 795"/>
                <a:gd name="T52" fmla="*/ 28 w 870"/>
                <a:gd name="T53" fmla="*/ 344 h 795"/>
                <a:gd name="T54" fmla="*/ 13 w 870"/>
                <a:gd name="T55" fmla="*/ 398 h 795"/>
                <a:gd name="T56" fmla="*/ 52 w 870"/>
                <a:gd name="T57" fmla="*/ 395 h 795"/>
                <a:gd name="T58" fmla="*/ 68 w 870"/>
                <a:gd name="T59" fmla="*/ 438 h 795"/>
                <a:gd name="T60" fmla="*/ 132 w 870"/>
                <a:gd name="T61" fmla="*/ 415 h 795"/>
                <a:gd name="T62" fmla="*/ 134 w 870"/>
                <a:gd name="T63" fmla="*/ 378 h 795"/>
                <a:gd name="T64" fmla="*/ 178 w 870"/>
                <a:gd name="T65" fmla="*/ 385 h 795"/>
                <a:gd name="T66" fmla="*/ 201 w 870"/>
                <a:gd name="T67" fmla="*/ 442 h 795"/>
                <a:gd name="T68" fmla="*/ 189 w 870"/>
                <a:gd name="T69" fmla="*/ 481 h 795"/>
                <a:gd name="T70" fmla="*/ 240 w 870"/>
                <a:gd name="T71" fmla="*/ 489 h 795"/>
                <a:gd name="T72" fmla="*/ 285 w 870"/>
                <a:gd name="T73" fmla="*/ 478 h 795"/>
                <a:gd name="T74" fmla="*/ 309 w 870"/>
                <a:gd name="T75" fmla="*/ 451 h 795"/>
                <a:gd name="T76" fmla="*/ 297 w 870"/>
                <a:gd name="T77" fmla="*/ 415 h 795"/>
                <a:gd name="T78" fmla="*/ 288 w 870"/>
                <a:gd name="T79" fmla="*/ 382 h 795"/>
                <a:gd name="T80" fmla="*/ 306 w 870"/>
                <a:gd name="T81" fmla="*/ 370 h 795"/>
                <a:gd name="T82" fmla="*/ 333 w 870"/>
                <a:gd name="T83" fmla="*/ 385 h 795"/>
                <a:gd name="T84" fmla="*/ 371 w 870"/>
                <a:gd name="T85" fmla="*/ 398 h 795"/>
                <a:gd name="T86" fmla="*/ 400 w 870"/>
                <a:gd name="T87" fmla="*/ 366 h 795"/>
                <a:gd name="T88" fmla="*/ 390 w 870"/>
                <a:gd name="T89" fmla="*/ 432 h 795"/>
                <a:gd name="T90" fmla="*/ 407 w 870"/>
                <a:gd name="T91" fmla="*/ 479 h 795"/>
                <a:gd name="T92" fmla="*/ 424 w 870"/>
                <a:gd name="T93" fmla="*/ 515 h 795"/>
                <a:gd name="T94" fmla="*/ 439 w 870"/>
                <a:gd name="T95" fmla="*/ 568 h 795"/>
                <a:gd name="T96" fmla="*/ 436 w 870"/>
                <a:gd name="T97" fmla="*/ 614 h 795"/>
                <a:gd name="T98" fmla="*/ 674 w 870"/>
                <a:gd name="T99" fmla="*/ 706 h 795"/>
                <a:gd name="T100" fmla="*/ 835 w 870"/>
                <a:gd name="T101" fmla="*/ 24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0" h="795">
                  <a:moveTo>
                    <a:pt x="559" y="111"/>
                  </a:moveTo>
                  <a:cubicBezTo>
                    <a:pt x="559" y="111"/>
                    <a:pt x="537" y="119"/>
                    <a:pt x="536" y="119"/>
                  </a:cubicBezTo>
                  <a:cubicBezTo>
                    <a:pt x="535" y="119"/>
                    <a:pt x="514" y="111"/>
                    <a:pt x="514" y="111"/>
                  </a:cubicBezTo>
                  <a:cubicBezTo>
                    <a:pt x="505" y="101"/>
                    <a:pt x="505" y="101"/>
                    <a:pt x="505" y="101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500" y="89"/>
                    <a:pt x="487" y="88"/>
                    <a:pt x="485" y="85"/>
                  </a:cubicBezTo>
                  <a:cubicBezTo>
                    <a:pt x="483" y="83"/>
                    <a:pt x="475" y="66"/>
                    <a:pt x="475" y="66"/>
                  </a:cubicBezTo>
                  <a:cubicBezTo>
                    <a:pt x="475" y="66"/>
                    <a:pt x="470" y="57"/>
                    <a:pt x="468" y="54"/>
                  </a:cubicBezTo>
                  <a:cubicBezTo>
                    <a:pt x="466" y="51"/>
                    <a:pt x="446" y="37"/>
                    <a:pt x="446" y="37"/>
                  </a:cubicBezTo>
                  <a:cubicBezTo>
                    <a:pt x="441" y="24"/>
                    <a:pt x="441" y="24"/>
                    <a:pt x="441" y="24"/>
                  </a:cubicBezTo>
                  <a:cubicBezTo>
                    <a:pt x="421" y="16"/>
                    <a:pt x="421" y="16"/>
                    <a:pt x="421" y="16"/>
                  </a:cubicBezTo>
                  <a:cubicBezTo>
                    <a:pt x="421" y="16"/>
                    <a:pt x="406" y="12"/>
                    <a:pt x="402" y="14"/>
                  </a:cubicBezTo>
                  <a:cubicBezTo>
                    <a:pt x="398" y="16"/>
                    <a:pt x="382" y="18"/>
                    <a:pt x="382" y="18"/>
                  </a:cubicBezTo>
                  <a:cubicBezTo>
                    <a:pt x="366" y="17"/>
                    <a:pt x="366" y="17"/>
                    <a:pt x="366" y="17"/>
                  </a:cubicBezTo>
                  <a:cubicBezTo>
                    <a:pt x="351" y="9"/>
                    <a:pt x="351" y="9"/>
                    <a:pt x="351" y="9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11"/>
                    <a:pt x="319" y="15"/>
                    <a:pt x="318" y="19"/>
                  </a:cubicBezTo>
                  <a:cubicBezTo>
                    <a:pt x="316" y="23"/>
                    <a:pt x="316" y="27"/>
                    <a:pt x="316" y="30"/>
                  </a:cubicBezTo>
                  <a:cubicBezTo>
                    <a:pt x="316" y="33"/>
                    <a:pt x="313" y="43"/>
                    <a:pt x="313" y="45"/>
                  </a:cubicBezTo>
                  <a:cubicBezTo>
                    <a:pt x="313" y="47"/>
                    <a:pt x="314" y="58"/>
                    <a:pt x="314" y="58"/>
                  </a:cubicBezTo>
                  <a:cubicBezTo>
                    <a:pt x="322" y="66"/>
                    <a:pt x="322" y="66"/>
                    <a:pt x="322" y="66"/>
                  </a:cubicBezTo>
                  <a:cubicBezTo>
                    <a:pt x="322" y="66"/>
                    <a:pt x="324" y="69"/>
                    <a:pt x="325" y="69"/>
                  </a:cubicBezTo>
                  <a:cubicBezTo>
                    <a:pt x="327" y="69"/>
                    <a:pt x="337" y="70"/>
                    <a:pt x="337" y="70"/>
                  </a:cubicBezTo>
                  <a:cubicBezTo>
                    <a:pt x="337" y="70"/>
                    <a:pt x="342" y="69"/>
                    <a:pt x="343" y="69"/>
                  </a:cubicBezTo>
                  <a:cubicBezTo>
                    <a:pt x="344" y="69"/>
                    <a:pt x="350" y="68"/>
                    <a:pt x="350" y="70"/>
                  </a:cubicBezTo>
                  <a:cubicBezTo>
                    <a:pt x="349" y="71"/>
                    <a:pt x="354" y="72"/>
                    <a:pt x="352" y="75"/>
                  </a:cubicBezTo>
                  <a:cubicBezTo>
                    <a:pt x="351" y="78"/>
                    <a:pt x="346" y="80"/>
                    <a:pt x="346" y="83"/>
                  </a:cubicBezTo>
                  <a:cubicBezTo>
                    <a:pt x="345" y="86"/>
                    <a:pt x="345" y="91"/>
                    <a:pt x="345" y="93"/>
                  </a:cubicBezTo>
                  <a:cubicBezTo>
                    <a:pt x="346" y="95"/>
                    <a:pt x="348" y="98"/>
                    <a:pt x="348" y="101"/>
                  </a:cubicBezTo>
                  <a:cubicBezTo>
                    <a:pt x="348" y="104"/>
                    <a:pt x="350" y="109"/>
                    <a:pt x="350" y="113"/>
                  </a:cubicBezTo>
                  <a:cubicBezTo>
                    <a:pt x="350" y="116"/>
                    <a:pt x="351" y="119"/>
                    <a:pt x="348" y="121"/>
                  </a:cubicBezTo>
                  <a:cubicBezTo>
                    <a:pt x="346" y="123"/>
                    <a:pt x="341" y="123"/>
                    <a:pt x="340" y="123"/>
                  </a:cubicBezTo>
                  <a:cubicBezTo>
                    <a:pt x="338" y="123"/>
                    <a:pt x="332" y="123"/>
                    <a:pt x="332" y="123"/>
                  </a:cubicBezTo>
                  <a:cubicBezTo>
                    <a:pt x="326" y="117"/>
                    <a:pt x="326" y="117"/>
                    <a:pt x="326" y="117"/>
                  </a:cubicBezTo>
                  <a:cubicBezTo>
                    <a:pt x="326" y="117"/>
                    <a:pt x="323" y="113"/>
                    <a:pt x="321" y="115"/>
                  </a:cubicBezTo>
                  <a:cubicBezTo>
                    <a:pt x="318" y="117"/>
                    <a:pt x="320" y="116"/>
                    <a:pt x="319" y="117"/>
                  </a:cubicBezTo>
                  <a:cubicBezTo>
                    <a:pt x="318" y="122"/>
                    <a:pt x="316" y="125"/>
                    <a:pt x="316" y="126"/>
                  </a:cubicBezTo>
                  <a:cubicBezTo>
                    <a:pt x="317" y="127"/>
                    <a:pt x="311" y="145"/>
                    <a:pt x="311" y="145"/>
                  </a:cubicBezTo>
                  <a:cubicBezTo>
                    <a:pt x="313" y="152"/>
                    <a:pt x="313" y="152"/>
                    <a:pt x="313" y="152"/>
                  </a:cubicBezTo>
                  <a:cubicBezTo>
                    <a:pt x="313" y="152"/>
                    <a:pt x="312" y="162"/>
                    <a:pt x="313" y="165"/>
                  </a:cubicBezTo>
                  <a:cubicBezTo>
                    <a:pt x="313" y="168"/>
                    <a:pt x="308" y="175"/>
                    <a:pt x="310" y="178"/>
                  </a:cubicBezTo>
                  <a:cubicBezTo>
                    <a:pt x="311" y="181"/>
                    <a:pt x="318" y="195"/>
                    <a:pt x="318" y="195"/>
                  </a:cubicBezTo>
                  <a:cubicBezTo>
                    <a:pt x="332" y="203"/>
                    <a:pt x="332" y="203"/>
                    <a:pt x="332" y="203"/>
                  </a:cubicBezTo>
                  <a:cubicBezTo>
                    <a:pt x="341" y="208"/>
                    <a:pt x="341" y="208"/>
                    <a:pt x="341" y="208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5" y="214"/>
                    <a:pt x="333" y="211"/>
                    <a:pt x="332" y="211"/>
                  </a:cubicBezTo>
                  <a:cubicBezTo>
                    <a:pt x="331" y="210"/>
                    <a:pt x="321" y="206"/>
                    <a:pt x="321" y="206"/>
                  </a:cubicBezTo>
                  <a:cubicBezTo>
                    <a:pt x="312" y="202"/>
                    <a:pt x="312" y="202"/>
                    <a:pt x="312" y="202"/>
                  </a:cubicBezTo>
                  <a:cubicBezTo>
                    <a:pt x="302" y="192"/>
                    <a:pt x="302" y="192"/>
                    <a:pt x="302" y="192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1"/>
                    <a:pt x="303" y="167"/>
                    <a:pt x="300" y="166"/>
                  </a:cubicBezTo>
                  <a:cubicBezTo>
                    <a:pt x="299" y="165"/>
                    <a:pt x="301" y="158"/>
                    <a:pt x="301" y="157"/>
                  </a:cubicBezTo>
                  <a:cubicBezTo>
                    <a:pt x="301" y="155"/>
                    <a:pt x="302" y="144"/>
                    <a:pt x="302" y="144"/>
                  </a:cubicBezTo>
                  <a:cubicBezTo>
                    <a:pt x="302" y="130"/>
                    <a:pt x="302" y="130"/>
                    <a:pt x="302" y="130"/>
                  </a:cubicBezTo>
                  <a:cubicBezTo>
                    <a:pt x="302" y="130"/>
                    <a:pt x="302" y="122"/>
                    <a:pt x="304" y="120"/>
                  </a:cubicBezTo>
                  <a:cubicBezTo>
                    <a:pt x="305" y="118"/>
                    <a:pt x="311" y="109"/>
                    <a:pt x="313" y="108"/>
                  </a:cubicBezTo>
                  <a:cubicBezTo>
                    <a:pt x="315" y="106"/>
                    <a:pt x="314" y="100"/>
                    <a:pt x="314" y="100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290" y="87"/>
                    <a:pt x="290" y="87"/>
                    <a:pt x="290" y="87"/>
                  </a:cubicBezTo>
                  <a:cubicBezTo>
                    <a:pt x="290" y="87"/>
                    <a:pt x="282" y="81"/>
                    <a:pt x="281" y="80"/>
                  </a:cubicBezTo>
                  <a:cubicBezTo>
                    <a:pt x="280" y="79"/>
                    <a:pt x="277" y="77"/>
                    <a:pt x="276" y="77"/>
                  </a:cubicBezTo>
                  <a:cubicBezTo>
                    <a:pt x="275" y="77"/>
                    <a:pt x="265" y="82"/>
                    <a:pt x="265" y="82"/>
                  </a:cubicBezTo>
                  <a:cubicBezTo>
                    <a:pt x="265" y="82"/>
                    <a:pt x="261" y="92"/>
                    <a:pt x="261" y="93"/>
                  </a:cubicBezTo>
                  <a:cubicBezTo>
                    <a:pt x="261" y="94"/>
                    <a:pt x="259" y="100"/>
                    <a:pt x="261" y="101"/>
                  </a:cubicBezTo>
                  <a:cubicBezTo>
                    <a:pt x="263" y="102"/>
                    <a:pt x="264" y="106"/>
                    <a:pt x="266" y="107"/>
                  </a:cubicBezTo>
                  <a:cubicBezTo>
                    <a:pt x="269" y="107"/>
                    <a:pt x="270" y="104"/>
                    <a:pt x="271" y="108"/>
                  </a:cubicBezTo>
                  <a:cubicBezTo>
                    <a:pt x="272" y="111"/>
                    <a:pt x="274" y="112"/>
                    <a:pt x="273" y="115"/>
                  </a:cubicBezTo>
                  <a:cubicBezTo>
                    <a:pt x="272" y="118"/>
                    <a:pt x="274" y="122"/>
                    <a:pt x="272" y="125"/>
                  </a:cubicBezTo>
                  <a:cubicBezTo>
                    <a:pt x="270" y="128"/>
                    <a:pt x="265" y="133"/>
                    <a:pt x="265" y="134"/>
                  </a:cubicBezTo>
                  <a:cubicBezTo>
                    <a:pt x="265" y="135"/>
                    <a:pt x="264" y="138"/>
                    <a:pt x="261" y="136"/>
                  </a:cubicBezTo>
                  <a:cubicBezTo>
                    <a:pt x="258" y="134"/>
                    <a:pt x="255" y="127"/>
                    <a:pt x="255" y="127"/>
                  </a:cubicBezTo>
                  <a:cubicBezTo>
                    <a:pt x="246" y="125"/>
                    <a:pt x="246" y="125"/>
                    <a:pt x="246" y="125"/>
                  </a:cubicBezTo>
                  <a:cubicBezTo>
                    <a:pt x="241" y="123"/>
                    <a:pt x="241" y="123"/>
                    <a:pt x="241" y="123"/>
                  </a:cubicBezTo>
                  <a:cubicBezTo>
                    <a:pt x="240" y="116"/>
                    <a:pt x="240" y="116"/>
                    <a:pt x="240" y="116"/>
                  </a:cubicBezTo>
                  <a:cubicBezTo>
                    <a:pt x="241" y="108"/>
                    <a:pt x="241" y="108"/>
                    <a:pt x="241" y="108"/>
                  </a:cubicBezTo>
                  <a:cubicBezTo>
                    <a:pt x="245" y="105"/>
                    <a:pt x="245" y="105"/>
                    <a:pt x="245" y="105"/>
                  </a:cubicBezTo>
                  <a:cubicBezTo>
                    <a:pt x="245" y="105"/>
                    <a:pt x="252" y="105"/>
                    <a:pt x="252" y="103"/>
                  </a:cubicBezTo>
                  <a:cubicBezTo>
                    <a:pt x="252" y="101"/>
                    <a:pt x="253" y="90"/>
                    <a:pt x="253" y="90"/>
                  </a:cubicBezTo>
                  <a:cubicBezTo>
                    <a:pt x="253" y="90"/>
                    <a:pt x="250" y="80"/>
                    <a:pt x="248" y="77"/>
                  </a:cubicBezTo>
                  <a:cubicBezTo>
                    <a:pt x="247" y="75"/>
                    <a:pt x="246" y="67"/>
                    <a:pt x="245" y="66"/>
                  </a:cubicBezTo>
                  <a:cubicBezTo>
                    <a:pt x="245" y="65"/>
                    <a:pt x="241" y="59"/>
                    <a:pt x="241" y="58"/>
                  </a:cubicBezTo>
                  <a:cubicBezTo>
                    <a:pt x="240" y="57"/>
                    <a:pt x="237" y="51"/>
                    <a:pt x="237" y="48"/>
                  </a:cubicBezTo>
                  <a:cubicBezTo>
                    <a:pt x="237" y="45"/>
                    <a:pt x="234" y="38"/>
                    <a:pt x="233" y="37"/>
                  </a:cubicBezTo>
                  <a:cubicBezTo>
                    <a:pt x="232" y="36"/>
                    <a:pt x="225" y="35"/>
                    <a:pt x="225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4"/>
                    <a:pt x="197" y="38"/>
                    <a:pt x="196" y="38"/>
                  </a:cubicBezTo>
                  <a:cubicBezTo>
                    <a:pt x="195" y="39"/>
                    <a:pt x="185" y="41"/>
                    <a:pt x="182" y="42"/>
                  </a:cubicBezTo>
                  <a:cubicBezTo>
                    <a:pt x="179" y="43"/>
                    <a:pt x="168" y="43"/>
                    <a:pt x="167" y="44"/>
                  </a:cubicBezTo>
                  <a:cubicBezTo>
                    <a:pt x="165" y="45"/>
                    <a:pt x="160" y="49"/>
                    <a:pt x="159" y="51"/>
                  </a:cubicBezTo>
                  <a:cubicBezTo>
                    <a:pt x="158" y="53"/>
                    <a:pt x="159" y="54"/>
                    <a:pt x="153" y="55"/>
                  </a:cubicBezTo>
                  <a:cubicBezTo>
                    <a:pt x="146" y="57"/>
                    <a:pt x="141" y="58"/>
                    <a:pt x="139" y="58"/>
                  </a:cubicBezTo>
                  <a:cubicBezTo>
                    <a:pt x="137" y="58"/>
                    <a:pt x="125" y="55"/>
                    <a:pt x="125" y="55"/>
                  </a:cubicBezTo>
                  <a:cubicBezTo>
                    <a:pt x="125" y="55"/>
                    <a:pt x="114" y="51"/>
                    <a:pt x="111" y="52"/>
                  </a:cubicBezTo>
                  <a:cubicBezTo>
                    <a:pt x="108" y="53"/>
                    <a:pt x="99" y="53"/>
                    <a:pt x="97" y="56"/>
                  </a:cubicBezTo>
                  <a:cubicBezTo>
                    <a:pt x="95" y="58"/>
                    <a:pt x="88" y="65"/>
                    <a:pt x="88" y="65"/>
                  </a:cubicBezTo>
                  <a:cubicBezTo>
                    <a:pt x="88" y="65"/>
                    <a:pt x="83" y="71"/>
                    <a:pt x="82" y="72"/>
                  </a:cubicBezTo>
                  <a:cubicBezTo>
                    <a:pt x="80" y="73"/>
                    <a:pt x="71" y="75"/>
                    <a:pt x="73" y="78"/>
                  </a:cubicBezTo>
                  <a:cubicBezTo>
                    <a:pt x="75" y="82"/>
                    <a:pt x="75" y="87"/>
                    <a:pt x="76" y="89"/>
                  </a:cubicBezTo>
                  <a:cubicBezTo>
                    <a:pt x="77" y="90"/>
                    <a:pt x="80" y="95"/>
                    <a:pt x="80" y="95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4"/>
                    <a:pt x="65" y="102"/>
                    <a:pt x="65" y="104"/>
                  </a:cubicBezTo>
                  <a:cubicBezTo>
                    <a:pt x="64" y="106"/>
                    <a:pt x="62" y="109"/>
                    <a:pt x="63" y="114"/>
                  </a:cubicBezTo>
                  <a:cubicBezTo>
                    <a:pt x="63" y="119"/>
                    <a:pt x="61" y="125"/>
                    <a:pt x="62" y="128"/>
                  </a:cubicBezTo>
                  <a:cubicBezTo>
                    <a:pt x="62" y="131"/>
                    <a:pt x="63" y="138"/>
                    <a:pt x="64" y="139"/>
                  </a:cubicBezTo>
                  <a:cubicBezTo>
                    <a:pt x="65" y="140"/>
                    <a:pt x="71" y="144"/>
                    <a:pt x="72" y="145"/>
                  </a:cubicBezTo>
                  <a:cubicBezTo>
                    <a:pt x="74" y="145"/>
                    <a:pt x="77" y="145"/>
                    <a:pt x="77" y="145"/>
                  </a:cubicBezTo>
                  <a:cubicBezTo>
                    <a:pt x="77" y="145"/>
                    <a:pt x="84" y="146"/>
                    <a:pt x="87" y="147"/>
                  </a:cubicBezTo>
                  <a:cubicBezTo>
                    <a:pt x="89" y="147"/>
                    <a:pt x="99" y="147"/>
                    <a:pt x="99" y="147"/>
                  </a:cubicBezTo>
                  <a:cubicBezTo>
                    <a:pt x="110" y="151"/>
                    <a:pt x="110" y="151"/>
                    <a:pt x="110" y="151"/>
                  </a:cubicBezTo>
                  <a:cubicBezTo>
                    <a:pt x="110" y="151"/>
                    <a:pt x="114" y="156"/>
                    <a:pt x="115" y="157"/>
                  </a:cubicBezTo>
                  <a:cubicBezTo>
                    <a:pt x="116" y="158"/>
                    <a:pt x="120" y="163"/>
                    <a:pt x="121" y="165"/>
                  </a:cubicBezTo>
                  <a:cubicBezTo>
                    <a:pt x="123" y="166"/>
                    <a:pt x="127" y="170"/>
                    <a:pt x="127" y="171"/>
                  </a:cubicBezTo>
                  <a:cubicBezTo>
                    <a:pt x="127" y="172"/>
                    <a:pt x="127" y="176"/>
                    <a:pt x="125" y="180"/>
                  </a:cubicBezTo>
                  <a:cubicBezTo>
                    <a:pt x="123" y="183"/>
                    <a:pt x="125" y="185"/>
                    <a:pt x="123" y="185"/>
                  </a:cubicBezTo>
                  <a:cubicBezTo>
                    <a:pt x="120" y="186"/>
                    <a:pt x="117" y="181"/>
                    <a:pt x="116" y="180"/>
                  </a:cubicBezTo>
                  <a:cubicBezTo>
                    <a:pt x="116" y="179"/>
                    <a:pt x="111" y="172"/>
                    <a:pt x="110" y="171"/>
                  </a:cubicBezTo>
                  <a:cubicBezTo>
                    <a:pt x="109" y="169"/>
                    <a:pt x="107" y="165"/>
                    <a:pt x="107" y="165"/>
                  </a:cubicBezTo>
                  <a:cubicBezTo>
                    <a:pt x="107" y="165"/>
                    <a:pt x="104" y="160"/>
                    <a:pt x="100" y="161"/>
                  </a:cubicBezTo>
                  <a:cubicBezTo>
                    <a:pt x="96" y="162"/>
                    <a:pt x="91" y="163"/>
                    <a:pt x="90" y="164"/>
                  </a:cubicBezTo>
                  <a:cubicBezTo>
                    <a:pt x="89" y="165"/>
                    <a:pt x="86" y="170"/>
                    <a:pt x="87" y="172"/>
                  </a:cubicBezTo>
                  <a:cubicBezTo>
                    <a:pt x="87" y="174"/>
                    <a:pt x="90" y="181"/>
                    <a:pt x="90" y="181"/>
                  </a:cubicBezTo>
                  <a:cubicBezTo>
                    <a:pt x="91" y="201"/>
                    <a:pt x="91" y="201"/>
                    <a:pt x="91" y="201"/>
                  </a:cubicBezTo>
                  <a:cubicBezTo>
                    <a:pt x="91" y="201"/>
                    <a:pt x="92" y="219"/>
                    <a:pt x="92" y="220"/>
                  </a:cubicBezTo>
                  <a:cubicBezTo>
                    <a:pt x="92" y="221"/>
                    <a:pt x="94" y="245"/>
                    <a:pt x="94" y="245"/>
                  </a:cubicBezTo>
                  <a:cubicBezTo>
                    <a:pt x="94" y="245"/>
                    <a:pt x="93" y="256"/>
                    <a:pt x="93" y="258"/>
                  </a:cubicBezTo>
                  <a:cubicBezTo>
                    <a:pt x="93" y="259"/>
                    <a:pt x="88" y="272"/>
                    <a:pt x="87" y="273"/>
                  </a:cubicBezTo>
                  <a:cubicBezTo>
                    <a:pt x="86" y="274"/>
                    <a:pt x="80" y="285"/>
                    <a:pt x="80" y="287"/>
                  </a:cubicBezTo>
                  <a:cubicBezTo>
                    <a:pt x="80" y="288"/>
                    <a:pt x="74" y="305"/>
                    <a:pt x="74" y="305"/>
                  </a:cubicBezTo>
                  <a:cubicBezTo>
                    <a:pt x="74" y="305"/>
                    <a:pt x="73" y="325"/>
                    <a:pt x="73" y="327"/>
                  </a:cubicBezTo>
                  <a:cubicBezTo>
                    <a:pt x="73" y="329"/>
                    <a:pt x="70" y="342"/>
                    <a:pt x="69" y="343"/>
                  </a:cubicBezTo>
                  <a:cubicBezTo>
                    <a:pt x="69" y="344"/>
                    <a:pt x="64" y="350"/>
                    <a:pt x="64" y="350"/>
                  </a:cubicBezTo>
                  <a:cubicBezTo>
                    <a:pt x="64" y="350"/>
                    <a:pt x="56" y="349"/>
                    <a:pt x="53" y="349"/>
                  </a:cubicBezTo>
                  <a:cubicBezTo>
                    <a:pt x="50" y="350"/>
                    <a:pt x="38" y="346"/>
                    <a:pt x="37" y="346"/>
                  </a:cubicBezTo>
                  <a:cubicBezTo>
                    <a:pt x="36" y="346"/>
                    <a:pt x="30" y="343"/>
                    <a:pt x="28" y="344"/>
                  </a:cubicBezTo>
                  <a:cubicBezTo>
                    <a:pt x="26" y="344"/>
                    <a:pt x="17" y="342"/>
                    <a:pt x="12" y="348"/>
                  </a:cubicBezTo>
                  <a:cubicBezTo>
                    <a:pt x="7" y="354"/>
                    <a:pt x="5" y="360"/>
                    <a:pt x="5" y="362"/>
                  </a:cubicBezTo>
                  <a:cubicBezTo>
                    <a:pt x="5" y="364"/>
                    <a:pt x="1" y="371"/>
                    <a:pt x="1" y="374"/>
                  </a:cubicBezTo>
                  <a:cubicBezTo>
                    <a:pt x="0" y="376"/>
                    <a:pt x="0" y="384"/>
                    <a:pt x="1" y="386"/>
                  </a:cubicBezTo>
                  <a:cubicBezTo>
                    <a:pt x="2" y="387"/>
                    <a:pt x="11" y="396"/>
                    <a:pt x="13" y="398"/>
                  </a:cubicBezTo>
                  <a:cubicBezTo>
                    <a:pt x="14" y="399"/>
                    <a:pt x="24" y="402"/>
                    <a:pt x="24" y="402"/>
                  </a:cubicBezTo>
                  <a:cubicBezTo>
                    <a:pt x="24" y="402"/>
                    <a:pt x="31" y="402"/>
                    <a:pt x="33" y="402"/>
                  </a:cubicBezTo>
                  <a:cubicBezTo>
                    <a:pt x="34" y="403"/>
                    <a:pt x="37" y="404"/>
                    <a:pt x="39" y="403"/>
                  </a:cubicBezTo>
                  <a:cubicBezTo>
                    <a:pt x="42" y="402"/>
                    <a:pt x="47" y="402"/>
                    <a:pt x="48" y="401"/>
                  </a:cubicBezTo>
                  <a:cubicBezTo>
                    <a:pt x="49" y="399"/>
                    <a:pt x="52" y="395"/>
                    <a:pt x="52" y="395"/>
                  </a:cubicBezTo>
                  <a:cubicBezTo>
                    <a:pt x="52" y="395"/>
                    <a:pt x="57" y="397"/>
                    <a:pt x="60" y="400"/>
                  </a:cubicBezTo>
                  <a:cubicBezTo>
                    <a:pt x="62" y="403"/>
                    <a:pt x="66" y="408"/>
                    <a:pt x="66" y="409"/>
                  </a:cubicBezTo>
                  <a:cubicBezTo>
                    <a:pt x="66" y="411"/>
                    <a:pt x="68" y="416"/>
                    <a:pt x="65" y="417"/>
                  </a:cubicBezTo>
                  <a:cubicBezTo>
                    <a:pt x="63" y="419"/>
                    <a:pt x="61" y="425"/>
                    <a:pt x="62" y="427"/>
                  </a:cubicBezTo>
                  <a:cubicBezTo>
                    <a:pt x="63" y="429"/>
                    <a:pt x="68" y="436"/>
                    <a:pt x="68" y="438"/>
                  </a:cubicBezTo>
                  <a:cubicBezTo>
                    <a:pt x="68" y="440"/>
                    <a:pt x="85" y="438"/>
                    <a:pt x="85" y="438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7" y="437"/>
                    <a:pt x="103" y="430"/>
                    <a:pt x="104" y="429"/>
                  </a:cubicBezTo>
                  <a:cubicBezTo>
                    <a:pt x="105" y="428"/>
                    <a:pt x="121" y="420"/>
                    <a:pt x="121" y="420"/>
                  </a:cubicBezTo>
                  <a:cubicBezTo>
                    <a:pt x="121" y="420"/>
                    <a:pt x="130" y="417"/>
                    <a:pt x="132" y="415"/>
                  </a:cubicBezTo>
                  <a:cubicBezTo>
                    <a:pt x="133" y="413"/>
                    <a:pt x="136" y="401"/>
                    <a:pt x="136" y="401"/>
                  </a:cubicBezTo>
                  <a:cubicBezTo>
                    <a:pt x="136" y="401"/>
                    <a:pt x="140" y="396"/>
                    <a:pt x="142" y="395"/>
                  </a:cubicBezTo>
                  <a:cubicBezTo>
                    <a:pt x="143" y="394"/>
                    <a:pt x="147" y="389"/>
                    <a:pt x="146" y="388"/>
                  </a:cubicBezTo>
                  <a:cubicBezTo>
                    <a:pt x="146" y="386"/>
                    <a:pt x="144" y="379"/>
                    <a:pt x="141" y="379"/>
                  </a:cubicBezTo>
                  <a:cubicBezTo>
                    <a:pt x="138" y="378"/>
                    <a:pt x="134" y="378"/>
                    <a:pt x="134" y="378"/>
                  </a:cubicBezTo>
                  <a:cubicBezTo>
                    <a:pt x="141" y="367"/>
                    <a:pt x="141" y="367"/>
                    <a:pt x="141" y="367"/>
                  </a:cubicBezTo>
                  <a:cubicBezTo>
                    <a:pt x="151" y="363"/>
                    <a:pt x="151" y="363"/>
                    <a:pt x="151" y="363"/>
                  </a:cubicBezTo>
                  <a:cubicBezTo>
                    <a:pt x="151" y="363"/>
                    <a:pt x="155" y="360"/>
                    <a:pt x="161" y="365"/>
                  </a:cubicBezTo>
                  <a:cubicBezTo>
                    <a:pt x="167" y="369"/>
                    <a:pt x="177" y="379"/>
                    <a:pt x="177" y="379"/>
                  </a:cubicBezTo>
                  <a:cubicBezTo>
                    <a:pt x="177" y="379"/>
                    <a:pt x="174" y="381"/>
                    <a:pt x="178" y="385"/>
                  </a:cubicBezTo>
                  <a:cubicBezTo>
                    <a:pt x="183" y="389"/>
                    <a:pt x="187" y="390"/>
                    <a:pt x="189" y="390"/>
                  </a:cubicBezTo>
                  <a:cubicBezTo>
                    <a:pt x="192" y="390"/>
                    <a:pt x="196" y="389"/>
                    <a:pt x="201" y="391"/>
                  </a:cubicBezTo>
                  <a:cubicBezTo>
                    <a:pt x="206" y="392"/>
                    <a:pt x="216" y="398"/>
                    <a:pt x="218" y="401"/>
                  </a:cubicBezTo>
                  <a:cubicBezTo>
                    <a:pt x="220" y="405"/>
                    <a:pt x="223" y="411"/>
                    <a:pt x="218" y="422"/>
                  </a:cubicBezTo>
                  <a:cubicBezTo>
                    <a:pt x="213" y="434"/>
                    <a:pt x="200" y="437"/>
                    <a:pt x="201" y="442"/>
                  </a:cubicBezTo>
                  <a:cubicBezTo>
                    <a:pt x="202" y="446"/>
                    <a:pt x="211" y="450"/>
                    <a:pt x="216" y="451"/>
                  </a:cubicBezTo>
                  <a:cubicBezTo>
                    <a:pt x="221" y="452"/>
                    <a:pt x="231" y="454"/>
                    <a:pt x="229" y="458"/>
                  </a:cubicBezTo>
                  <a:cubicBezTo>
                    <a:pt x="227" y="462"/>
                    <a:pt x="222" y="466"/>
                    <a:pt x="221" y="466"/>
                  </a:cubicBezTo>
                  <a:cubicBezTo>
                    <a:pt x="219" y="466"/>
                    <a:pt x="205" y="474"/>
                    <a:pt x="205" y="474"/>
                  </a:cubicBezTo>
                  <a:cubicBezTo>
                    <a:pt x="205" y="474"/>
                    <a:pt x="190" y="477"/>
                    <a:pt x="189" y="481"/>
                  </a:cubicBezTo>
                  <a:cubicBezTo>
                    <a:pt x="187" y="485"/>
                    <a:pt x="187" y="492"/>
                    <a:pt x="194" y="494"/>
                  </a:cubicBezTo>
                  <a:cubicBezTo>
                    <a:pt x="201" y="495"/>
                    <a:pt x="213" y="496"/>
                    <a:pt x="216" y="492"/>
                  </a:cubicBezTo>
                  <a:cubicBezTo>
                    <a:pt x="220" y="488"/>
                    <a:pt x="221" y="487"/>
                    <a:pt x="224" y="486"/>
                  </a:cubicBezTo>
                  <a:cubicBezTo>
                    <a:pt x="227" y="486"/>
                    <a:pt x="230" y="487"/>
                    <a:pt x="232" y="488"/>
                  </a:cubicBezTo>
                  <a:cubicBezTo>
                    <a:pt x="233" y="490"/>
                    <a:pt x="234" y="489"/>
                    <a:pt x="240" y="489"/>
                  </a:cubicBezTo>
                  <a:cubicBezTo>
                    <a:pt x="245" y="488"/>
                    <a:pt x="255" y="488"/>
                    <a:pt x="255" y="488"/>
                  </a:cubicBezTo>
                  <a:cubicBezTo>
                    <a:pt x="255" y="488"/>
                    <a:pt x="259" y="481"/>
                    <a:pt x="264" y="478"/>
                  </a:cubicBezTo>
                  <a:cubicBezTo>
                    <a:pt x="269" y="475"/>
                    <a:pt x="272" y="472"/>
                    <a:pt x="273" y="472"/>
                  </a:cubicBezTo>
                  <a:cubicBezTo>
                    <a:pt x="274" y="472"/>
                    <a:pt x="279" y="476"/>
                    <a:pt x="280" y="477"/>
                  </a:cubicBezTo>
                  <a:cubicBezTo>
                    <a:pt x="281" y="478"/>
                    <a:pt x="280" y="478"/>
                    <a:pt x="285" y="478"/>
                  </a:cubicBezTo>
                  <a:cubicBezTo>
                    <a:pt x="290" y="478"/>
                    <a:pt x="295" y="475"/>
                    <a:pt x="296" y="474"/>
                  </a:cubicBezTo>
                  <a:cubicBezTo>
                    <a:pt x="297" y="473"/>
                    <a:pt x="299" y="468"/>
                    <a:pt x="303" y="466"/>
                  </a:cubicBezTo>
                  <a:cubicBezTo>
                    <a:pt x="306" y="464"/>
                    <a:pt x="310" y="463"/>
                    <a:pt x="312" y="461"/>
                  </a:cubicBezTo>
                  <a:cubicBezTo>
                    <a:pt x="314" y="459"/>
                    <a:pt x="316" y="457"/>
                    <a:pt x="315" y="456"/>
                  </a:cubicBezTo>
                  <a:cubicBezTo>
                    <a:pt x="314" y="454"/>
                    <a:pt x="313" y="451"/>
                    <a:pt x="309" y="451"/>
                  </a:cubicBezTo>
                  <a:cubicBezTo>
                    <a:pt x="306" y="452"/>
                    <a:pt x="302" y="452"/>
                    <a:pt x="300" y="452"/>
                  </a:cubicBezTo>
                  <a:cubicBezTo>
                    <a:pt x="298" y="452"/>
                    <a:pt x="293" y="445"/>
                    <a:pt x="293" y="443"/>
                  </a:cubicBezTo>
                  <a:cubicBezTo>
                    <a:pt x="293" y="442"/>
                    <a:pt x="293" y="433"/>
                    <a:pt x="293" y="431"/>
                  </a:cubicBezTo>
                  <a:cubicBezTo>
                    <a:pt x="292" y="430"/>
                    <a:pt x="289" y="425"/>
                    <a:pt x="290" y="424"/>
                  </a:cubicBezTo>
                  <a:cubicBezTo>
                    <a:pt x="291" y="422"/>
                    <a:pt x="299" y="416"/>
                    <a:pt x="297" y="415"/>
                  </a:cubicBezTo>
                  <a:cubicBezTo>
                    <a:pt x="296" y="414"/>
                    <a:pt x="290" y="409"/>
                    <a:pt x="288" y="407"/>
                  </a:cubicBezTo>
                  <a:cubicBezTo>
                    <a:pt x="286" y="406"/>
                    <a:pt x="272" y="401"/>
                    <a:pt x="272" y="401"/>
                  </a:cubicBezTo>
                  <a:cubicBezTo>
                    <a:pt x="272" y="401"/>
                    <a:pt x="270" y="395"/>
                    <a:pt x="270" y="394"/>
                  </a:cubicBezTo>
                  <a:cubicBezTo>
                    <a:pt x="271" y="392"/>
                    <a:pt x="270" y="384"/>
                    <a:pt x="272" y="383"/>
                  </a:cubicBezTo>
                  <a:cubicBezTo>
                    <a:pt x="274" y="382"/>
                    <a:pt x="288" y="382"/>
                    <a:pt x="288" y="382"/>
                  </a:cubicBezTo>
                  <a:cubicBezTo>
                    <a:pt x="288" y="382"/>
                    <a:pt x="292" y="377"/>
                    <a:pt x="291" y="376"/>
                  </a:cubicBezTo>
                  <a:cubicBezTo>
                    <a:pt x="291" y="375"/>
                    <a:pt x="289" y="370"/>
                    <a:pt x="289" y="370"/>
                  </a:cubicBezTo>
                  <a:cubicBezTo>
                    <a:pt x="289" y="370"/>
                    <a:pt x="288" y="365"/>
                    <a:pt x="289" y="365"/>
                  </a:cubicBezTo>
                  <a:cubicBezTo>
                    <a:pt x="290" y="365"/>
                    <a:pt x="295" y="366"/>
                    <a:pt x="297" y="367"/>
                  </a:cubicBezTo>
                  <a:cubicBezTo>
                    <a:pt x="299" y="368"/>
                    <a:pt x="305" y="369"/>
                    <a:pt x="306" y="370"/>
                  </a:cubicBezTo>
                  <a:cubicBezTo>
                    <a:pt x="307" y="371"/>
                    <a:pt x="310" y="375"/>
                    <a:pt x="314" y="373"/>
                  </a:cubicBezTo>
                  <a:cubicBezTo>
                    <a:pt x="317" y="370"/>
                    <a:pt x="318" y="370"/>
                    <a:pt x="319" y="367"/>
                  </a:cubicBezTo>
                  <a:cubicBezTo>
                    <a:pt x="320" y="364"/>
                    <a:pt x="323" y="360"/>
                    <a:pt x="325" y="362"/>
                  </a:cubicBezTo>
                  <a:cubicBezTo>
                    <a:pt x="328" y="364"/>
                    <a:pt x="329" y="369"/>
                    <a:pt x="329" y="370"/>
                  </a:cubicBezTo>
                  <a:cubicBezTo>
                    <a:pt x="329" y="371"/>
                    <a:pt x="332" y="381"/>
                    <a:pt x="333" y="385"/>
                  </a:cubicBezTo>
                  <a:cubicBezTo>
                    <a:pt x="334" y="389"/>
                    <a:pt x="339" y="393"/>
                    <a:pt x="342" y="395"/>
                  </a:cubicBezTo>
                  <a:cubicBezTo>
                    <a:pt x="344" y="397"/>
                    <a:pt x="352" y="395"/>
                    <a:pt x="353" y="393"/>
                  </a:cubicBezTo>
                  <a:cubicBezTo>
                    <a:pt x="354" y="391"/>
                    <a:pt x="353" y="387"/>
                    <a:pt x="357" y="388"/>
                  </a:cubicBezTo>
                  <a:cubicBezTo>
                    <a:pt x="361" y="390"/>
                    <a:pt x="363" y="394"/>
                    <a:pt x="365" y="395"/>
                  </a:cubicBezTo>
                  <a:cubicBezTo>
                    <a:pt x="367" y="397"/>
                    <a:pt x="370" y="399"/>
                    <a:pt x="371" y="398"/>
                  </a:cubicBezTo>
                  <a:cubicBezTo>
                    <a:pt x="373" y="397"/>
                    <a:pt x="378" y="395"/>
                    <a:pt x="378" y="395"/>
                  </a:cubicBezTo>
                  <a:cubicBezTo>
                    <a:pt x="378" y="395"/>
                    <a:pt x="378" y="393"/>
                    <a:pt x="378" y="391"/>
                  </a:cubicBezTo>
                  <a:cubicBezTo>
                    <a:pt x="377" y="389"/>
                    <a:pt x="379" y="380"/>
                    <a:pt x="379" y="380"/>
                  </a:cubicBezTo>
                  <a:cubicBezTo>
                    <a:pt x="388" y="370"/>
                    <a:pt x="388" y="370"/>
                    <a:pt x="388" y="370"/>
                  </a:cubicBezTo>
                  <a:cubicBezTo>
                    <a:pt x="388" y="370"/>
                    <a:pt x="398" y="365"/>
                    <a:pt x="400" y="366"/>
                  </a:cubicBezTo>
                  <a:cubicBezTo>
                    <a:pt x="403" y="367"/>
                    <a:pt x="410" y="370"/>
                    <a:pt x="411" y="372"/>
                  </a:cubicBezTo>
                  <a:cubicBezTo>
                    <a:pt x="412" y="374"/>
                    <a:pt x="413" y="380"/>
                    <a:pt x="413" y="381"/>
                  </a:cubicBezTo>
                  <a:cubicBezTo>
                    <a:pt x="413" y="382"/>
                    <a:pt x="417" y="402"/>
                    <a:pt x="416" y="403"/>
                  </a:cubicBezTo>
                  <a:cubicBezTo>
                    <a:pt x="415" y="405"/>
                    <a:pt x="406" y="419"/>
                    <a:pt x="403" y="422"/>
                  </a:cubicBezTo>
                  <a:cubicBezTo>
                    <a:pt x="400" y="424"/>
                    <a:pt x="391" y="424"/>
                    <a:pt x="390" y="432"/>
                  </a:cubicBezTo>
                  <a:cubicBezTo>
                    <a:pt x="389" y="440"/>
                    <a:pt x="389" y="445"/>
                    <a:pt x="392" y="448"/>
                  </a:cubicBezTo>
                  <a:cubicBezTo>
                    <a:pt x="394" y="450"/>
                    <a:pt x="400" y="452"/>
                    <a:pt x="403" y="452"/>
                  </a:cubicBezTo>
                  <a:cubicBezTo>
                    <a:pt x="406" y="452"/>
                    <a:pt x="410" y="454"/>
                    <a:pt x="411" y="456"/>
                  </a:cubicBezTo>
                  <a:cubicBezTo>
                    <a:pt x="413" y="459"/>
                    <a:pt x="413" y="467"/>
                    <a:pt x="412" y="468"/>
                  </a:cubicBezTo>
                  <a:cubicBezTo>
                    <a:pt x="411" y="470"/>
                    <a:pt x="411" y="481"/>
                    <a:pt x="407" y="479"/>
                  </a:cubicBezTo>
                  <a:cubicBezTo>
                    <a:pt x="404" y="478"/>
                    <a:pt x="403" y="471"/>
                    <a:pt x="397" y="470"/>
                  </a:cubicBezTo>
                  <a:cubicBezTo>
                    <a:pt x="390" y="469"/>
                    <a:pt x="386" y="475"/>
                    <a:pt x="386" y="479"/>
                  </a:cubicBezTo>
                  <a:cubicBezTo>
                    <a:pt x="387" y="482"/>
                    <a:pt x="394" y="496"/>
                    <a:pt x="398" y="497"/>
                  </a:cubicBezTo>
                  <a:cubicBezTo>
                    <a:pt x="402" y="498"/>
                    <a:pt x="412" y="500"/>
                    <a:pt x="414" y="502"/>
                  </a:cubicBezTo>
                  <a:cubicBezTo>
                    <a:pt x="416" y="505"/>
                    <a:pt x="424" y="514"/>
                    <a:pt x="424" y="515"/>
                  </a:cubicBezTo>
                  <a:cubicBezTo>
                    <a:pt x="424" y="517"/>
                    <a:pt x="421" y="528"/>
                    <a:pt x="420" y="531"/>
                  </a:cubicBezTo>
                  <a:cubicBezTo>
                    <a:pt x="419" y="534"/>
                    <a:pt x="417" y="543"/>
                    <a:pt x="419" y="543"/>
                  </a:cubicBezTo>
                  <a:cubicBezTo>
                    <a:pt x="421" y="543"/>
                    <a:pt x="431" y="546"/>
                    <a:pt x="432" y="547"/>
                  </a:cubicBezTo>
                  <a:cubicBezTo>
                    <a:pt x="432" y="548"/>
                    <a:pt x="438" y="555"/>
                    <a:pt x="440" y="557"/>
                  </a:cubicBezTo>
                  <a:cubicBezTo>
                    <a:pt x="442" y="558"/>
                    <a:pt x="440" y="565"/>
                    <a:pt x="439" y="568"/>
                  </a:cubicBezTo>
                  <a:cubicBezTo>
                    <a:pt x="437" y="571"/>
                    <a:pt x="431" y="574"/>
                    <a:pt x="437" y="576"/>
                  </a:cubicBezTo>
                  <a:cubicBezTo>
                    <a:pt x="443" y="578"/>
                    <a:pt x="447" y="578"/>
                    <a:pt x="448" y="580"/>
                  </a:cubicBezTo>
                  <a:cubicBezTo>
                    <a:pt x="448" y="583"/>
                    <a:pt x="449" y="587"/>
                    <a:pt x="444" y="591"/>
                  </a:cubicBezTo>
                  <a:cubicBezTo>
                    <a:pt x="439" y="596"/>
                    <a:pt x="434" y="600"/>
                    <a:pt x="434" y="603"/>
                  </a:cubicBezTo>
                  <a:cubicBezTo>
                    <a:pt x="434" y="606"/>
                    <a:pt x="436" y="611"/>
                    <a:pt x="436" y="614"/>
                  </a:cubicBezTo>
                  <a:cubicBezTo>
                    <a:pt x="437" y="616"/>
                    <a:pt x="442" y="623"/>
                    <a:pt x="442" y="625"/>
                  </a:cubicBezTo>
                  <a:cubicBezTo>
                    <a:pt x="443" y="626"/>
                    <a:pt x="444" y="629"/>
                    <a:pt x="444" y="629"/>
                  </a:cubicBezTo>
                  <a:cubicBezTo>
                    <a:pt x="444" y="629"/>
                    <a:pt x="453" y="713"/>
                    <a:pt x="453" y="717"/>
                  </a:cubicBezTo>
                  <a:cubicBezTo>
                    <a:pt x="453" y="721"/>
                    <a:pt x="492" y="795"/>
                    <a:pt x="519" y="790"/>
                  </a:cubicBezTo>
                  <a:cubicBezTo>
                    <a:pt x="546" y="785"/>
                    <a:pt x="663" y="712"/>
                    <a:pt x="674" y="706"/>
                  </a:cubicBezTo>
                  <a:cubicBezTo>
                    <a:pt x="685" y="700"/>
                    <a:pt x="760" y="636"/>
                    <a:pt x="766" y="619"/>
                  </a:cubicBezTo>
                  <a:cubicBezTo>
                    <a:pt x="772" y="602"/>
                    <a:pt x="804" y="442"/>
                    <a:pt x="810" y="428"/>
                  </a:cubicBezTo>
                  <a:cubicBezTo>
                    <a:pt x="816" y="414"/>
                    <a:pt x="870" y="258"/>
                    <a:pt x="870" y="258"/>
                  </a:cubicBezTo>
                  <a:cubicBezTo>
                    <a:pt x="836" y="242"/>
                    <a:pt x="836" y="242"/>
                    <a:pt x="836" y="242"/>
                  </a:cubicBezTo>
                  <a:cubicBezTo>
                    <a:pt x="835" y="240"/>
                    <a:pt x="835" y="240"/>
                    <a:pt x="835" y="240"/>
                  </a:cubicBezTo>
                  <a:cubicBezTo>
                    <a:pt x="670" y="137"/>
                    <a:pt x="670" y="137"/>
                    <a:pt x="670" y="137"/>
                  </a:cubicBezTo>
                  <a:cubicBezTo>
                    <a:pt x="558" y="111"/>
                    <a:pt x="558" y="111"/>
                    <a:pt x="558" y="11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A3B12DF1-8245-40F2-BE8A-B9612679C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4454" y="76201"/>
              <a:ext cx="982663" cy="1019174"/>
            </a:xfrm>
            <a:custGeom>
              <a:avLst/>
              <a:gdLst>
                <a:gd name="T0" fmla="*/ 341 w 421"/>
                <a:gd name="T1" fmla="*/ 414 h 437"/>
                <a:gd name="T2" fmla="*/ 364 w 421"/>
                <a:gd name="T3" fmla="*/ 374 h 437"/>
                <a:gd name="T4" fmla="*/ 372 w 421"/>
                <a:gd name="T5" fmla="*/ 334 h 437"/>
                <a:gd name="T6" fmla="*/ 366 w 421"/>
                <a:gd name="T7" fmla="*/ 297 h 437"/>
                <a:gd name="T8" fmla="*/ 366 w 421"/>
                <a:gd name="T9" fmla="*/ 281 h 437"/>
                <a:gd name="T10" fmla="*/ 363 w 421"/>
                <a:gd name="T11" fmla="*/ 263 h 437"/>
                <a:gd name="T12" fmla="*/ 346 w 421"/>
                <a:gd name="T13" fmla="*/ 249 h 437"/>
                <a:gd name="T14" fmla="*/ 360 w 421"/>
                <a:gd name="T15" fmla="*/ 230 h 437"/>
                <a:gd name="T16" fmla="*/ 386 w 421"/>
                <a:gd name="T17" fmla="*/ 228 h 437"/>
                <a:gd name="T18" fmla="*/ 407 w 421"/>
                <a:gd name="T19" fmla="*/ 207 h 437"/>
                <a:gd name="T20" fmla="*/ 403 w 421"/>
                <a:gd name="T21" fmla="*/ 179 h 437"/>
                <a:gd name="T22" fmla="*/ 419 w 421"/>
                <a:gd name="T23" fmla="*/ 164 h 437"/>
                <a:gd name="T24" fmla="*/ 402 w 421"/>
                <a:gd name="T25" fmla="*/ 158 h 437"/>
                <a:gd name="T26" fmla="*/ 372 w 421"/>
                <a:gd name="T27" fmla="*/ 159 h 437"/>
                <a:gd name="T28" fmla="*/ 340 w 421"/>
                <a:gd name="T29" fmla="*/ 173 h 437"/>
                <a:gd name="T30" fmla="*/ 318 w 421"/>
                <a:gd name="T31" fmla="*/ 153 h 437"/>
                <a:gd name="T32" fmla="*/ 273 w 421"/>
                <a:gd name="T33" fmla="*/ 146 h 437"/>
                <a:gd name="T34" fmla="*/ 252 w 421"/>
                <a:gd name="T35" fmla="*/ 164 h 437"/>
                <a:gd name="T36" fmla="*/ 257 w 421"/>
                <a:gd name="T37" fmla="*/ 144 h 437"/>
                <a:gd name="T38" fmla="*/ 251 w 421"/>
                <a:gd name="T39" fmla="*/ 125 h 437"/>
                <a:gd name="T40" fmla="*/ 223 w 421"/>
                <a:gd name="T41" fmla="*/ 144 h 437"/>
                <a:gd name="T42" fmla="*/ 214 w 421"/>
                <a:gd name="T43" fmla="*/ 131 h 437"/>
                <a:gd name="T44" fmla="*/ 234 w 421"/>
                <a:gd name="T45" fmla="*/ 99 h 437"/>
                <a:gd name="T46" fmla="*/ 219 w 421"/>
                <a:gd name="T47" fmla="*/ 87 h 437"/>
                <a:gd name="T48" fmla="*/ 165 w 421"/>
                <a:gd name="T49" fmla="*/ 126 h 437"/>
                <a:gd name="T50" fmla="*/ 171 w 421"/>
                <a:gd name="T51" fmla="*/ 115 h 437"/>
                <a:gd name="T52" fmla="*/ 227 w 421"/>
                <a:gd name="T53" fmla="*/ 64 h 437"/>
                <a:gd name="T54" fmla="*/ 208 w 421"/>
                <a:gd name="T55" fmla="*/ 53 h 437"/>
                <a:gd name="T56" fmla="*/ 171 w 421"/>
                <a:gd name="T57" fmla="*/ 34 h 437"/>
                <a:gd name="T58" fmla="*/ 141 w 421"/>
                <a:gd name="T59" fmla="*/ 35 h 437"/>
                <a:gd name="T60" fmla="*/ 97 w 421"/>
                <a:gd name="T61" fmla="*/ 43 h 437"/>
                <a:gd name="T62" fmla="*/ 22 w 421"/>
                <a:gd name="T63" fmla="*/ 5 h 437"/>
                <a:gd name="T64" fmla="*/ 39 w 421"/>
                <a:gd name="T65" fmla="*/ 89 h 437"/>
                <a:gd name="T66" fmla="*/ 58 w 421"/>
                <a:gd name="T67" fmla="*/ 140 h 437"/>
                <a:gd name="T68" fmla="*/ 9 w 421"/>
                <a:gd name="T69" fmla="*/ 159 h 437"/>
                <a:gd name="T70" fmla="*/ 7 w 421"/>
                <a:gd name="T71" fmla="*/ 179 h 437"/>
                <a:gd name="T72" fmla="*/ 39 w 421"/>
                <a:gd name="T73" fmla="*/ 171 h 437"/>
                <a:gd name="T74" fmla="*/ 53 w 421"/>
                <a:gd name="T75" fmla="*/ 187 h 437"/>
                <a:gd name="T76" fmla="*/ 56 w 421"/>
                <a:gd name="T77" fmla="*/ 231 h 437"/>
                <a:gd name="T78" fmla="*/ 40 w 421"/>
                <a:gd name="T79" fmla="*/ 258 h 437"/>
                <a:gd name="T80" fmla="*/ 75 w 421"/>
                <a:gd name="T81" fmla="*/ 292 h 437"/>
                <a:gd name="T82" fmla="*/ 135 w 421"/>
                <a:gd name="T83" fmla="*/ 318 h 437"/>
                <a:gd name="T84" fmla="*/ 162 w 421"/>
                <a:gd name="T85" fmla="*/ 353 h 437"/>
                <a:gd name="T86" fmla="*/ 188 w 421"/>
                <a:gd name="T87" fmla="*/ 381 h 437"/>
                <a:gd name="T88" fmla="*/ 222 w 421"/>
                <a:gd name="T89" fmla="*/ 390 h 437"/>
                <a:gd name="T90" fmla="*/ 219 w 421"/>
                <a:gd name="T91" fmla="*/ 405 h 437"/>
                <a:gd name="T92" fmla="*/ 257 w 421"/>
                <a:gd name="T93" fmla="*/ 416 h 437"/>
                <a:gd name="T94" fmla="*/ 292 w 421"/>
                <a:gd name="T95" fmla="*/ 429 h 437"/>
                <a:gd name="T96" fmla="*/ 331 w 421"/>
                <a:gd name="T97" fmla="*/ 436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437">
                  <a:moveTo>
                    <a:pt x="333" y="434"/>
                  </a:moveTo>
                  <a:cubicBezTo>
                    <a:pt x="334" y="433"/>
                    <a:pt x="340" y="437"/>
                    <a:pt x="341" y="436"/>
                  </a:cubicBezTo>
                  <a:cubicBezTo>
                    <a:pt x="342" y="435"/>
                    <a:pt x="334" y="435"/>
                    <a:pt x="334" y="434"/>
                  </a:cubicBezTo>
                  <a:cubicBezTo>
                    <a:pt x="334" y="431"/>
                    <a:pt x="340" y="417"/>
                    <a:pt x="341" y="414"/>
                  </a:cubicBezTo>
                  <a:cubicBezTo>
                    <a:pt x="342" y="412"/>
                    <a:pt x="358" y="408"/>
                    <a:pt x="358" y="408"/>
                  </a:cubicBezTo>
                  <a:cubicBezTo>
                    <a:pt x="358" y="408"/>
                    <a:pt x="362" y="400"/>
                    <a:pt x="362" y="398"/>
                  </a:cubicBezTo>
                  <a:cubicBezTo>
                    <a:pt x="363" y="396"/>
                    <a:pt x="358" y="390"/>
                    <a:pt x="358" y="386"/>
                  </a:cubicBezTo>
                  <a:cubicBezTo>
                    <a:pt x="357" y="382"/>
                    <a:pt x="362" y="376"/>
                    <a:pt x="364" y="374"/>
                  </a:cubicBezTo>
                  <a:cubicBezTo>
                    <a:pt x="366" y="372"/>
                    <a:pt x="380" y="365"/>
                    <a:pt x="380" y="365"/>
                  </a:cubicBezTo>
                  <a:cubicBezTo>
                    <a:pt x="385" y="354"/>
                    <a:pt x="385" y="354"/>
                    <a:pt x="385" y="354"/>
                  </a:cubicBezTo>
                  <a:cubicBezTo>
                    <a:pt x="378" y="346"/>
                    <a:pt x="378" y="346"/>
                    <a:pt x="378" y="346"/>
                  </a:cubicBezTo>
                  <a:cubicBezTo>
                    <a:pt x="372" y="334"/>
                    <a:pt x="372" y="334"/>
                    <a:pt x="372" y="334"/>
                  </a:cubicBezTo>
                  <a:cubicBezTo>
                    <a:pt x="362" y="322"/>
                    <a:pt x="362" y="322"/>
                    <a:pt x="362" y="322"/>
                  </a:cubicBezTo>
                  <a:cubicBezTo>
                    <a:pt x="362" y="322"/>
                    <a:pt x="357" y="310"/>
                    <a:pt x="356" y="308"/>
                  </a:cubicBezTo>
                  <a:cubicBezTo>
                    <a:pt x="356" y="306"/>
                    <a:pt x="364" y="299"/>
                    <a:pt x="364" y="299"/>
                  </a:cubicBezTo>
                  <a:cubicBezTo>
                    <a:pt x="366" y="297"/>
                    <a:pt x="366" y="297"/>
                    <a:pt x="366" y="297"/>
                  </a:cubicBezTo>
                  <a:cubicBezTo>
                    <a:pt x="359" y="295"/>
                    <a:pt x="359" y="295"/>
                    <a:pt x="359" y="295"/>
                  </a:cubicBezTo>
                  <a:cubicBezTo>
                    <a:pt x="358" y="290"/>
                    <a:pt x="358" y="290"/>
                    <a:pt x="358" y="290"/>
                  </a:cubicBezTo>
                  <a:cubicBezTo>
                    <a:pt x="364" y="285"/>
                    <a:pt x="364" y="285"/>
                    <a:pt x="364" y="285"/>
                  </a:cubicBezTo>
                  <a:cubicBezTo>
                    <a:pt x="366" y="281"/>
                    <a:pt x="366" y="281"/>
                    <a:pt x="366" y="281"/>
                  </a:cubicBezTo>
                  <a:cubicBezTo>
                    <a:pt x="368" y="276"/>
                    <a:pt x="368" y="276"/>
                    <a:pt x="368" y="276"/>
                  </a:cubicBezTo>
                  <a:cubicBezTo>
                    <a:pt x="368" y="276"/>
                    <a:pt x="369" y="272"/>
                    <a:pt x="369" y="272"/>
                  </a:cubicBezTo>
                  <a:cubicBezTo>
                    <a:pt x="367" y="272"/>
                    <a:pt x="366" y="267"/>
                    <a:pt x="366" y="267"/>
                  </a:cubicBezTo>
                  <a:cubicBezTo>
                    <a:pt x="366" y="267"/>
                    <a:pt x="363" y="263"/>
                    <a:pt x="363" y="263"/>
                  </a:cubicBezTo>
                  <a:cubicBezTo>
                    <a:pt x="362" y="262"/>
                    <a:pt x="357" y="262"/>
                    <a:pt x="357" y="262"/>
                  </a:cubicBezTo>
                  <a:cubicBezTo>
                    <a:pt x="352" y="258"/>
                    <a:pt x="352" y="258"/>
                    <a:pt x="352" y="258"/>
                  </a:cubicBezTo>
                  <a:cubicBezTo>
                    <a:pt x="347" y="254"/>
                    <a:pt x="347" y="254"/>
                    <a:pt x="347" y="254"/>
                  </a:cubicBezTo>
                  <a:cubicBezTo>
                    <a:pt x="347" y="254"/>
                    <a:pt x="346" y="250"/>
                    <a:pt x="346" y="249"/>
                  </a:cubicBezTo>
                  <a:cubicBezTo>
                    <a:pt x="346" y="249"/>
                    <a:pt x="348" y="242"/>
                    <a:pt x="348" y="242"/>
                  </a:cubicBezTo>
                  <a:cubicBezTo>
                    <a:pt x="354" y="237"/>
                    <a:pt x="354" y="237"/>
                    <a:pt x="354" y="237"/>
                  </a:cubicBezTo>
                  <a:cubicBezTo>
                    <a:pt x="356" y="232"/>
                    <a:pt x="356" y="232"/>
                    <a:pt x="356" y="232"/>
                  </a:cubicBezTo>
                  <a:cubicBezTo>
                    <a:pt x="360" y="230"/>
                    <a:pt x="360" y="230"/>
                    <a:pt x="360" y="230"/>
                  </a:cubicBezTo>
                  <a:cubicBezTo>
                    <a:pt x="369" y="231"/>
                    <a:pt x="369" y="231"/>
                    <a:pt x="369" y="231"/>
                  </a:cubicBezTo>
                  <a:cubicBezTo>
                    <a:pt x="369" y="231"/>
                    <a:pt x="374" y="233"/>
                    <a:pt x="374" y="234"/>
                  </a:cubicBezTo>
                  <a:cubicBezTo>
                    <a:pt x="375" y="234"/>
                    <a:pt x="379" y="236"/>
                    <a:pt x="379" y="236"/>
                  </a:cubicBezTo>
                  <a:cubicBezTo>
                    <a:pt x="386" y="228"/>
                    <a:pt x="386" y="228"/>
                    <a:pt x="386" y="228"/>
                  </a:cubicBezTo>
                  <a:cubicBezTo>
                    <a:pt x="386" y="228"/>
                    <a:pt x="392" y="223"/>
                    <a:pt x="393" y="223"/>
                  </a:cubicBezTo>
                  <a:cubicBezTo>
                    <a:pt x="393" y="223"/>
                    <a:pt x="397" y="220"/>
                    <a:pt x="398" y="218"/>
                  </a:cubicBezTo>
                  <a:cubicBezTo>
                    <a:pt x="398" y="217"/>
                    <a:pt x="405" y="210"/>
                    <a:pt x="405" y="210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07" y="207"/>
                    <a:pt x="410" y="200"/>
                    <a:pt x="410" y="200"/>
                  </a:cubicBezTo>
                  <a:cubicBezTo>
                    <a:pt x="410" y="199"/>
                    <a:pt x="408" y="192"/>
                    <a:pt x="408" y="192"/>
                  </a:cubicBezTo>
                  <a:cubicBezTo>
                    <a:pt x="408" y="192"/>
                    <a:pt x="406" y="186"/>
                    <a:pt x="406" y="185"/>
                  </a:cubicBezTo>
                  <a:cubicBezTo>
                    <a:pt x="406" y="185"/>
                    <a:pt x="403" y="181"/>
                    <a:pt x="403" y="179"/>
                  </a:cubicBezTo>
                  <a:cubicBezTo>
                    <a:pt x="403" y="178"/>
                    <a:pt x="403" y="173"/>
                    <a:pt x="404" y="172"/>
                  </a:cubicBezTo>
                  <a:cubicBezTo>
                    <a:pt x="404" y="171"/>
                    <a:pt x="407" y="168"/>
                    <a:pt x="407" y="168"/>
                  </a:cubicBezTo>
                  <a:cubicBezTo>
                    <a:pt x="419" y="165"/>
                    <a:pt x="419" y="165"/>
                    <a:pt x="419" y="165"/>
                  </a:cubicBezTo>
                  <a:cubicBezTo>
                    <a:pt x="419" y="165"/>
                    <a:pt x="419" y="165"/>
                    <a:pt x="419" y="164"/>
                  </a:cubicBezTo>
                  <a:cubicBezTo>
                    <a:pt x="419" y="163"/>
                    <a:pt x="421" y="158"/>
                    <a:pt x="420" y="158"/>
                  </a:cubicBezTo>
                  <a:cubicBezTo>
                    <a:pt x="420" y="157"/>
                    <a:pt x="419" y="154"/>
                    <a:pt x="418" y="154"/>
                  </a:cubicBezTo>
                  <a:cubicBezTo>
                    <a:pt x="416" y="155"/>
                    <a:pt x="414" y="155"/>
                    <a:pt x="412" y="155"/>
                  </a:cubicBezTo>
                  <a:cubicBezTo>
                    <a:pt x="409" y="155"/>
                    <a:pt x="404" y="158"/>
                    <a:pt x="402" y="158"/>
                  </a:cubicBezTo>
                  <a:cubicBezTo>
                    <a:pt x="401" y="157"/>
                    <a:pt x="397" y="158"/>
                    <a:pt x="395" y="157"/>
                  </a:cubicBezTo>
                  <a:cubicBezTo>
                    <a:pt x="394" y="157"/>
                    <a:pt x="391" y="155"/>
                    <a:pt x="388" y="156"/>
                  </a:cubicBezTo>
                  <a:cubicBezTo>
                    <a:pt x="385" y="156"/>
                    <a:pt x="377" y="155"/>
                    <a:pt x="376" y="155"/>
                  </a:cubicBezTo>
                  <a:cubicBezTo>
                    <a:pt x="375" y="156"/>
                    <a:pt x="375" y="156"/>
                    <a:pt x="372" y="159"/>
                  </a:cubicBezTo>
                  <a:cubicBezTo>
                    <a:pt x="369" y="161"/>
                    <a:pt x="363" y="167"/>
                    <a:pt x="363" y="167"/>
                  </a:cubicBezTo>
                  <a:cubicBezTo>
                    <a:pt x="357" y="175"/>
                    <a:pt x="357" y="175"/>
                    <a:pt x="357" y="175"/>
                  </a:cubicBezTo>
                  <a:cubicBezTo>
                    <a:pt x="357" y="175"/>
                    <a:pt x="350" y="176"/>
                    <a:pt x="350" y="176"/>
                  </a:cubicBezTo>
                  <a:cubicBezTo>
                    <a:pt x="349" y="176"/>
                    <a:pt x="340" y="174"/>
                    <a:pt x="340" y="173"/>
                  </a:cubicBezTo>
                  <a:cubicBezTo>
                    <a:pt x="340" y="171"/>
                    <a:pt x="336" y="166"/>
                    <a:pt x="336" y="165"/>
                  </a:cubicBezTo>
                  <a:cubicBezTo>
                    <a:pt x="335" y="165"/>
                    <a:pt x="331" y="160"/>
                    <a:pt x="330" y="160"/>
                  </a:cubicBezTo>
                  <a:cubicBezTo>
                    <a:pt x="329" y="159"/>
                    <a:pt x="328" y="158"/>
                    <a:pt x="327" y="158"/>
                  </a:cubicBezTo>
                  <a:cubicBezTo>
                    <a:pt x="327" y="157"/>
                    <a:pt x="319" y="153"/>
                    <a:pt x="318" y="153"/>
                  </a:cubicBezTo>
                  <a:cubicBezTo>
                    <a:pt x="317" y="152"/>
                    <a:pt x="307" y="150"/>
                    <a:pt x="307" y="150"/>
                  </a:cubicBezTo>
                  <a:cubicBezTo>
                    <a:pt x="307" y="150"/>
                    <a:pt x="296" y="143"/>
                    <a:pt x="295" y="143"/>
                  </a:cubicBezTo>
                  <a:cubicBezTo>
                    <a:pt x="295" y="143"/>
                    <a:pt x="283" y="136"/>
                    <a:pt x="282" y="137"/>
                  </a:cubicBezTo>
                  <a:cubicBezTo>
                    <a:pt x="281" y="137"/>
                    <a:pt x="274" y="145"/>
                    <a:pt x="273" y="146"/>
                  </a:cubicBezTo>
                  <a:cubicBezTo>
                    <a:pt x="272" y="147"/>
                    <a:pt x="268" y="150"/>
                    <a:pt x="266" y="153"/>
                  </a:cubicBezTo>
                  <a:cubicBezTo>
                    <a:pt x="264" y="156"/>
                    <a:pt x="262" y="158"/>
                    <a:pt x="261" y="160"/>
                  </a:cubicBezTo>
                  <a:cubicBezTo>
                    <a:pt x="260" y="162"/>
                    <a:pt x="262" y="163"/>
                    <a:pt x="259" y="163"/>
                  </a:cubicBezTo>
                  <a:cubicBezTo>
                    <a:pt x="256" y="164"/>
                    <a:pt x="254" y="165"/>
                    <a:pt x="252" y="164"/>
                  </a:cubicBezTo>
                  <a:cubicBezTo>
                    <a:pt x="250" y="162"/>
                    <a:pt x="249" y="161"/>
                    <a:pt x="248" y="160"/>
                  </a:cubicBezTo>
                  <a:cubicBezTo>
                    <a:pt x="247" y="160"/>
                    <a:pt x="247" y="156"/>
                    <a:pt x="246" y="156"/>
                  </a:cubicBezTo>
                  <a:cubicBezTo>
                    <a:pt x="246" y="156"/>
                    <a:pt x="249" y="153"/>
                    <a:pt x="250" y="152"/>
                  </a:cubicBezTo>
                  <a:cubicBezTo>
                    <a:pt x="251" y="151"/>
                    <a:pt x="254" y="147"/>
                    <a:pt x="257" y="144"/>
                  </a:cubicBezTo>
                  <a:cubicBezTo>
                    <a:pt x="260" y="142"/>
                    <a:pt x="264" y="137"/>
                    <a:pt x="264" y="137"/>
                  </a:cubicBezTo>
                  <a:cubicBezTo>
                    <a:pt x="264" y="136"/>
                    <a:pt x="265" y="132"/>
                    <a:pt x="264" y="131"/>
                  </a:cubicBezTo>
                  <a:cubicBezTo>
                    <a:pt x="264" y="130"/>
                    <a:pt x="262" y="124"/>
                    <a:pt x="260" y="124"/>
                  </a:cubicBezTo>
                  <a:cubicBezTo>
                    <a:pt x="257" y="125"/>
                    <a:pt x="254" y="122"/>
                    <a:pt x="251" y="125"/>
                  </a:cubicBezTo>
                  <a:cubicBezTo>
                    <a:pt x="248" y="128"/>
                    <a:pt x="248" y="127"/>
                    <a:pt x="246" y="129"/>
                  </a:cubicBezTo>
                  <a:cubicBezTo>
                    <a:pt x="245" y="131"/>
                    <a:pt x="241" y="134"/>
                    <a:pt x="239" y="135"/>
                  </a:cubicBezTo>
                  <a:cubicBezTo>
                    <a:pt x="237" y="136"/>
                    <a:pt x="231" y="140"/>
                    <a:pt x="230" y="140"/>
                  </a:cubicBezTo>
                  <a:cubicBezTo>
                    <a:pt x="229" y="141"/>
                    <a:pt x="223" y="144"/>
                    <a:pt x="223" y="144"/>
                  </a:cubicBezTo>
                  <a:cubicBezTo>
                    <a:pt x="223" y="144"/>
                    <a:pt x="221" y="143"/>
                    <a:pt x="219" y="143"/>
                  </a:cubicBezTo>
                  <a:cubicBezTo>
                    <a:pt x="218" y="143"/>
                    <a:pt x="214" y="143"/>
                    <a:pt x="213" y="142"/>
                  </a:cubicBezTo>
                  <a:cubicBezTo>
                    <a:pt x="212" y="141"/>
                    <a:pt x="209" y="137"/>
                    <a:pt x="210" y="135"/>
                  </a:cubicBezTo>
                  <a:cubicBezTo>
                    <a:pt x="211" y="134"/>
                    <a:pt x="213" y="132"/>
                    <a:pt x="214" y="131"/>
                  </a:cubicBezTo>
                  <a:cubicBezTo>
                    <a:pt x="216" y="129"/>
                    <a:pt x="220" y="124"/>
                    <a:pt x="222" y="124"/>
                  </a:cubicBezTo>
                  <a:cubicBezTo>
                    <a:pt x="223" y="124"/>
                    <a:pt x="229" y="121"/>
                    <a:pt x="229" y="121"/>
                  </a:cubicBezTo>
                  <a:cubicBezTo>
                    <a:pt x="229" y="121"/>
                    <a:pt x="234" y="114"/>
                    <a:pt x="234" y="113"/>
                  </a:cubicBezTo>
                  <a:cubicBezTo>
                    <a:pt x="235" y="113"/>
                    <a:pt x="234" y="99"/>
                    <a:pt x="234" y="99"/>
                  </a:cubicBezTo>
                  <a:cubicBezTo>
                    <a:pt x="234" y="99"/>
                    <a:pt x="234" y="96"/>
                    <a:pt x="234" y="94"/>
                  </a:cubicBezTo>
                  <a:cubicBezTo>
                    <a:pt x="235" y="91"/>
                    <a:pt x="235" y="86"/>
                    <a:pt x="235" y="84"/>
                  </a:cubicBezTo>
                  <a:cubicBezTo>
                    <a:pt x="235" y="82"/>
                    <a:pt x="231" y="76"/>
                    <a:pt x="231" y="76"/>
                  </a:cubicBezTo>
                  <a:cubicBezTo>
                    <a:pt x="231" y="76"/>
                    <a:pt x="221" y="85"/>
                    <a:pt x="219" y="87"/>
                  </a:cubicBezTo>
                  <a:cubicBezTo>
                    <a:pt x="218" y="89"/>
                    <a:pt x="205" y="107"/>
                    <a:pt x="203" y="108"/>
                  </a:cubicBezTo>
                  <a:cubicBezTo>
                    <a:pt x="202" y="108"/>
                    <a:pt x="191" y="127"/>
                    <a:pt x="190" y="127"/>
                  </a:cubicBezTo>
                  <a:cubicBezTo>
                    <a:pt x="190" y="128"/>
                    <a:pt x="185" y="129"/>
                    <a:pt x="183" y="129"/>
                  </a:cubicBezTo>
                  <a:cubicBezTo>
                    <a:pt x="182" y="129"/>
                    <a:pt x="167" y="126"/>
                    <a:pt x="165" y="126"/>
                  </a:cubicBezTo>
                  <a:cubicBezTo>
                    <a:pt x="162" y="126"/>
                    <a:pt x="153" y="127"/>
                    <a:pt x="152" y="127"/>
                  </a:cubicBezTo>
                  <a:cubicBezTo>
                    <a:pt x="151" y="126"/>
                    <a:pt x="151" y="119"/>
                    <a:pt x="151" y="118"/>
                  </a:cubicBezTo>
                  <a:cubicBezTo>
                    <a:pt x="151" y="117"/>
                    <a:pt x="155" y="109"/>
                    <a:pt x="156" y="109"/>
                  </a:cubicBezTo>
                  <a:cubicBezTo>
                    <a:pt x="157" y="109"/>
                    <a:pt x="171" y="115"/>
                    <a:pt x="171" y="115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27" y="64"/>
                    <a:pt x="227" y="64"/>
                    <a:pt x="227" y="64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26" y="47"/>
                    <a:pt x="220" y="41"/>
                    <a:pt x="219" y="41"/>
                  </a:cubicBezTo>
                  <a:cubicBezTo>
                    <a:pt x="218" y="42"/>
                    <a:pt x="215" y="43"/>
                    <a:pt x="213" y="46"/>
                  </a:cubicBezTo>
                  <a:cubicBezTo>
                    <a:pt x="211" y="49"/>
                    <a:pt x="209" y="52"/>
                    <a:pt x="208" y="53"/>
                  </a:cubicBezTo>
                  <a:cubicBezTo>
                    <a:pt x="207" y="55"/>
                    <a:pt x="203" y="53"/>
                    <a:pt x="202" y="51"/>
                  </a:cubicBezTo>
                  <a:cubicBezTo>
                    <a:pt x="200" y="50"/>
                    <a:pt x="197" y="41"/>
                    <a:pt x="195" y="40"/>
                  </a:cubicBezTo>
                  <a:cubicBezTo>
                    <a:pt x="194" y="39"/>
                    <a:pt x="184" y="38"/>
                    <a:pt x="184" y="38"/>
                  </a:cubicBezTo>
                  <a:cubicBezTo>
                    <a:pt x="184" y="38"/>
                    <a:pt x="171" y="34"/>
                    <a:pt x="171" y="34"/>
                  </a:cubicBezTo>
                  <a:cubicBezTo>
                    <a:pt x="170" y="33"/>
                    <a:pt x="166" y="23"/>
                    <a:pt x="166" y="23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60" y="21"/>
                    <a:pt x="149" y="27"/>
                    <a:pt x="147" y="29"/>
                  </a:cubicBezTo>
                  <a:cubicBezTo>
                    <a:pt x="146" y="31"/>
                    <a:pt x="142" y="35"/>
                    <a:pt x="141" y="35"/>
                  </a:cubicBezTo>
                  <a:cubicBezTo>
                    <a:pt x="139" y="36"/>
                    <a:pt x="136" y="39"/>
                    <a:pt x="134" y="41"/>
                  </a:cubicBezTo>
                  <a:cubicBezTo>
                    <a:pt x="132" y="44"/>
                    <a:pt x="129" y="53"/>
                    <a:pt x="128" y="53"/>
                  </a:cubicBezTo>
                  <a:cubicBezTo>
                    <a:pt x="127" y="54"/>
                    <a:pt x="109" y="52"/>
                    <a:pt x="109" y="52"/>
                  </a:cubicBezTo>
                  <a:cubicBezTo>
                    <a:pt x="109" y="52"/>
                    <a:pt x="97" y="44"/>
                    <a:pt x="97" y="43"/>
                  </a:cubicBezTo>
                  <a:cubicBezTo>
                    <a:pt x="96" y="43"/>
                    <a:pt x="85" y="32"/>
                    <a:pt x="84" y="32"/>
                  </a:cubicBezTo>
                  <a:cubicBezTo>
                    <a:pt x="83" y="31"/>
                    <a:pt x="63" y="23"/>
                    <a:pt x="63" y="23"/>
                  </a:cubicBezTo>
                  <a:cubicBezTo>
                    <a:pt x="63" y="23"/>
                    <a:pt x="40" y="17"/>
                    <a:pt x="39" y="17"/>
                  </a:cubicBezTo>
                  <a:cubicBezTo>
                    <a:pt x="38" y="17"/>
                    <a:pt x="22" y="5"/>
                    <a:pt x="22" y="5"/>
                  </a:cubicBezTo>
                  <a:cubicBezTo>
                    <a:pt x="22" y="5"/>
                    <a:pt x="13" y="0"/>
                    <a:pt x="12" y="2"/>
                  </a:cubicBezTo>
                  <a:cubicBezTo>
                    <a:pt x="11" y="5"/>
                    <a:pt x="6" y="15"/>
                    <a:pt x="8" y="17"/>
                  </a:cubicBezTo>
                  <a:cubicBezTo>
                    <a:pt x="9" y="19"/>
                    <a:pt x="26" y="66"/>
                    <a:pt x="26" y="66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52" y="102"/>
                    <a:pt x="52" y="103"/>
                  </a:cubicBezTo>
                  <a:cubicBezTo>
                    <a:pt x="53" y="104"/>
                    <a:pt x="63" y="120"/>
                    <a:pt x="64" y="121"/>
                  </a:cubicBezTo>
                  <a:cubicBezTo>
                    <a:pt x="64" y="122"/>
                    <a:pt x="66" y="133"/>
                    <a:pt x="66" y="133"/>
                  </a:cubicBezTo>
                  <a:cubicBezTo>
                    <a:pt x="66" y="133"/>
                    <a:pt x="60" y="139"/>
                    <a:pt x="58" y="140"/>
                  </a:cubicBezTo>
                  <a:cubicBezTo>
                    <a:pt x="56" y="141"/>
                    <a:pt x="40" y="144"/>
                    <a:pt x="39" y="144"/>
                  </a:cubicBezTo>
                  <a:cubicBezTo>
                    <a:pt x="39" y="144"/>
                    <a:pt x="23" y="146"/>
                    <a:pt x="22" y="146"/>
                  </a:cubicBezTo>
                  <a:cubicBezTo>
                    <a:pt x="22" y="146"/>
                    <a:pt x="8" y="150"/>
                    <a:pt x="8" y="151"/>
                  </a:cubicBezTo>
                  <a:cubicBezTo>
                    <a:pt x="7" y="151"/>
                    <a:pt x="9" y="159"/>
                    <a:pt x="9" y="159"/>
                  </a:cubicBezTo>
                  <a:cubicBezTo>
                    <a:pt x="9" y="159"/>
                    <a:pt x="4" y="163"/>
                    <a:pt x="3" y="164"/>
                  </a:cubicBezTo>
                  <a:cubicBezTo>
                    <a:pt x="2" y="164"/>
                    <a:pt x="0" y="165"/>
                    <a:pt x="0" y="168"/>
                  </a:cubicBezTo>
                  <a:cubicBezTo>
                    <a:pt x="0" y="171"/>
                    <a:pt x="1" y="176"/>
                    <a:pt x="2" y="177"/>
                  </a:cubicBezTo>
                  <a:cubicBezTo>
                    <a:pt x="3" y="178"/>
                    <a:pt x="4" y="180"/>
                    <a:pt x="7" y="179"/>
                  </a:cubicBezTo>
                  <a:cubicBezTo>
                    <a:pt x="9" y="177"/>
                    <a:pt x="17" y="174"/>
                    <a:pt x="18" y="174"/>
                  </a:cubicBezTo>
                  <a:cubicBezTo>
                    <a:pt x="18" y="173"/>
                    <a:pt x="26" y="174"/>
                    <a:pt x="27" y="175"/>
                  </a:cubicBezTo>
                  <a:cubicBezTo>
                    <a:pt x="28" y="175"/>
                    <a:pt x="33" y="175"/>
                    <a:pt x="33" y="175"/>
                  </a:cubicBezTo>
                  <a:cubicBezTo>
                    <a:pt x="34" y="174"/>
                    <a:pt x="36" y="173"/>
                    <a:pt x="39" y="171"/>
                  </a:cubicBezTo>
                  <a:cubicBezTo>
                    <a:pt x="42" y="168"/>
                    <a:pt x="42" y="166"/>
                    <a:pt x="46" y="165"/>
                  </a:cubicBezTo>
                  <a:cubicBezTo>
                    <a:pt x="49" y="164"/>
                    <a:pt x="57" y="166"/>
                    <a:pt x="58" y="167"/>
                  </a:cubicBezTo>
                  <a:cubicBezTo>
                    <a:pt x="58" y="168"/>
                    <a:pt x="61" y="176"/>
                    <a:pt x="60" y="178"/>
                  </a:cubicBezTo>
                  <a:cubicBezTo>
                    <a:pt x="59" y="179"/>
                    <a:pt x="60" y="184"/>
                    <a:pt x="53" y="187"/>
                  </a:cubicBezTo>
                  <a:cubicBezTo>
                    <a:pt x="45" y="190"/>
                    <a:pt x="40" y="193"/>
                    <a:pt x="39" y="194"/>
                  </a:cubicBezTo>
                  <a:cubicBezTo>
                    <a:pt x="38" y="196"/>
                    <a:pt x="37" y="212"/>
                    <a:pt x="37" y="213"/>
                  </a:cubicBezTo>
                  <a:cubicBezTo>
                    <a:pt x="37" y="213"/>
                    <a:pt x="40" y="221"/>
                    <a:pt x="40" y="221"/>
                  </a:cubicBezTo>
                  <a:cubicBezTo>
                    <a:pt x="56" y="231"/>
                    <a:pt x="56" y="231"/>
                    <a:pt x="56" y="231"/>
                  </a:cubicBezTo>
                  <a:cubicBezTo>
                    <a:pt x="56" y="231"/>
                    <a:pt x="58" y="239"/>
                    <a:pt x="58" y="240"/>
                  </a:cubicBezTo>
                  <a:cubicBezTo>
                    <a:pt x="58" y="242"/>
                    <a:pt x="56" y="249"/>
                    <a:pt x="55" y="250"/>
                  </a:cubicBezTo>
                  <a:cubicBezTo>
                    <a:pt x="54" y="251"/>
                    <a:pt x="46" y="251"/>
                    <a:pt x="45" y="252"/>
                  </a:cubicBezTo>
                  <a:cubicBezTo>
                    <a:pt x="44" y="253"/>
                    <a:pt x="39" y="257"/>
                    <a:pt x="40" y="258"/>
                  </a:cubicBezTo>
                  <a:cubicBezTo>
                    <a:pt x="42" y="259"/>
                    <a:pt x="50" y="268"/>
                    <a:pt x="50" y="269"/>
                  </a:cubicBezTo>
                  <a:cubicBezTo>
                    <a:pt x="51" y="271"/>
                    <a:pt x="54" y="281"/>
                    <a:pt x="55" y="281"/>
                  </a:cubicBezTo>
                  <a:cubicBezTo>
                    <a:pt x="55" y="282"/>
                    <a:pt x="62" y="287"/>
                    <a:pt x="62" y="287"/>
                  </a:cubicBezTo>
                  <a:cubicBezTo>
                    <a:pt x="62" y="287"/>
                    <a:pt x="74" y="292"/>
                    <a:pt x="75" y="292"/>
                  </a:cubicBezTo>
                  <a:cubicBezTo>
                    <a:pt x="75" y="292"/>
                    <a:pt x="85" y="293"/>
                    <a:pt x="87" y="293"/>
                  </a:cubicBezTo>
                  <a:cubicBezTo>
                    <a:pt x="90" y="293"/>
                    <a:pt x="98" y="293"/>
                    <a:pt x="100" y="294"/>
                  </a:cubicBezTo>
                  <a:cubicBezTo>
                    <a:pt x="103" y="295"/>
                    <a:pt x="120" y="302"/>
                    <a:pt x="121" y="303"/>
                  </a:cubicBezTo>
                  <a:cubicBezTo>
                    <a:pt x="122" y="303"/>
                    <a:pt x="135" y="318"/>
                    <a:pt x="135" y="318"/>
                  </a:cubicBezTo>
                  <a:cubicBezTo>
                    <a:pt x="135" y="318"/>
                    <a:pt x="141" y="328"/>
                    <a:pt x="142" y="328"/>
                  </a:cubicBezTo>
                  <a:cubicBezTo>
                    <a:pt x="142" y="329"/>
                    <a:pt x="148" y="333"/>
                    <a:pt x="150" y="334"/>
                  </a:cubicBezTo>
                  <a:cubicBezTo>
                    <a:pt x="151" y="336"/>
                    <a:pt x="156" y="340"/>
                    <a:pt x="158" y="343"/>
                  </a:cubicBezTo>
                  <a:cubicBezTo>
                    <a:pt x="159" y="346"/>
                    <a:pt x="161" y="351"/>
                    <a:pt x="162" y="353"/>
                  </a:cubicBezTo>
                  <a:cubicBezTo>
                    <a:pt x="162" y="354"/>
                    <a:pt x="164" y="359"/>
                    <a:pt x="164" y="361"/>
                  </a:cubicBezTo>
                  <a:cubicBezTo>
                    <a:pt x="165" y="363"/>
                    <a:pt x="175" y="370"/>
                    <a:pt x="175" y="370"/>
                  </a:cubicBezTo>
                  <a:cubicBezTo>
                    <a:pt x="180" y="375"/>
                    <a:pt x="180" y="375"/>
                    <a:pt x="180" y="375"/>
                  </a:cubicBezTo>
                  <a:cubicBezTo>
                    <a:pt x="180" y="375"/>
                    <a:pt x="188" y="380"/>
                    <a:pt x="188" y="381"/>
                  </a:cubicBezTo>
                  <a:cubicBezTo>
                    <a:pt x="189" y="382"/>
                    <a:pt x="197" y="386"/>
                    <a:pt x="198" y="386"/>
                  </a:cubicBezTo>
                  <a:cubicBezTo>
                    <a:pt x="199" y="386"/>
                    <a:pt x="208" y="388"/>
                    <a:pt x="209" y="388"/>
                  </a:cubicBezTo>
                  <a:cubicBezTo>
                    <a:pt x="209" y="388"/>
                    <a:pt x="214" y="387"/>
                    <a:pt x="216" y="388"/>
                  </a:cubicBezTo>
                  <a:cubicBezTo>
                    <a:pt x="219" y="389"/>
                    <a:pt x="222" y="389"/>
                    <a:pt x="222" y="390"/>
                  </a:cubicBezTo>
                  <a:cubicBezTo>
                    <a:pt x="219" y="392"/>
                    <a:pt x="219" y="392"/>
                    <a:pt x="219" y="392"/>
                  </a:cubicBezTo>
                  <a:cubicBezTo>
                    <a:pt x="211" y="396"/>
                    <a:pt x="211" y="396"/>
                    <a:pt x="211" y="396"/>
                  </a:cubicBezTo>
                  <a:cubicBezTo>
                    <a:pt x="212" y="400"/>
                    <a:pt x="212" y="400"/>
                    <a:pt x="212" y="400"/>
                  </a:cubicBezTo>
                  <a:cubicBezTo>
                    <a:pt x="219" y="405"/>
                    <a:pt x="219" y="405"/>
                    <a:pt x="219" y="405"/>
                  </a:cubicBezTo>
                  <a:cubicBezTo>
                    <a:pt x="227" y="408"/>
                    <a:pt x="227" y="408"/>
                    <a:pt x="227" y="408"/>
                  </a:cubicBezTo>
                  <a:cubicBezTo>
                    <a:pt x="241" y="408"/>
                    <a:pt x="241" y="408"/>
                    <a:pt x="241" y="408"/>
                  </a:cubicBezTo>
                  <a:cubicBezTo>
                    <a:pt x="249" y="409"/>
                    <a:pt x="249" y="409"/>
                    <a:pt x="249" y="409"/>
                  </a:cubicBezTo>
                  <a:cubicBezTo>
                    <a:pt x="249" y="409"/>
                    <a:pt x="255" y="415"/>
                    <a:pt x="257" y="416"/>
                  </a:cubicBezTo>
                  <a:cubicBezTo>
                    <a:pt x="258" y="417"/>
                    <a:pt x="265" y="428"/>
                    <a:pt x="265" y="428"/>
                  </a:cubicBezTo>
                  <a:cubicBezTo>
                    <a:pt x="269" y="422"/>
                    <a:pt x="269" y="422"/>
                    <a:pt x="269" y="422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92" y="429"/>
                    <a:pt x="292" y="429"/>
                    <a:pt x="292" y="429"/>
                  </a:cubicBezTo>
                  <a:cubicBezTo>
                    <a:pt x="292" y="429"/>
                    <a:pt x="298" y="428"/>
                    <a:pt x="299" y="429"/>
                  </a:cubicBezTo>
                  <a:cubicBezTo>
                    <a:pt x="300" y="430"/>
                    <a:pt x="307" y="432"/>
                    <a:pt x="307" y="432"/>
                  </a:cubicBezTo>
                  <a:cubicBezTo>
                    <a:pt x="318" y="436"/>
                    <a:pt x="318" y="436"/>
                    <a:pt x="318" y="436"/>
                  </a:cubicBezTo>
                  <a:cubicBezTo>
                    <a:pt x="331" y="436"/>
                    <a:pt x="331" y="436"/>
                    <a:pt x="331" y="436"/>
                  </a:cubicBezTo>
                  <a:lnTo>
                    <a:pt x="333" y="434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58C3023A-B91D-408B-B79A-7803C989B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2DE66B43-F0B7-41E3-A82E-D5A8387F6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630" y="341314"/>
              <a:ext cx="1498601" cy="979486"/>
            </a:xfrm>
            <a:custGeom>
              <a:avLst/>
              <a:gdLst>
                <a:gd name="T0" fmla="*/ 42 w 643"/>
                <a:gd name="T1" fmla="*/ 220 h 420"/>
                <a:gd name="T2" fmla="*/ 35 w 643"/>
                <a:gd name="T3" fmla="*/ 260 h 420"/>
                <a:gd name="T4" fmla="*/ 12 w 643"/>
                <a:gd name="T5" fmla="*/ 300 h 420"/>
                <a:gd name="T6" fmla="*/ 0 w 643"/>
                <a:gd name="T7" fmla="*/ 324 h 420"/>
                <a:gd name="T8" fmla="*/ 25 w 643"/>
                <a:gd name="T9" fmla="*/ 351 h 420"/>
                <a:gd name="T10" fmla="*/ 61 w 643"/>
                <a:gd name="T11" fmla="*/ 373 h 420"/>
                <a:gd name="T12" fmla="*/ 107 w 643"/>
                <a:gd name="T13" fmla="*/ 390 h 420"/>
                <a:gd name="T14" fmla="*/ 173 w 643"/>
                <a:gd name="T15" fmla="*/ 415 h 420"/>
                <a:gd name="T16" fmla="*/ 171 w 643"/>
                <a:gd name="T17" fmla="*/ 384 h 420"/>
                <a:gd name="T18" fmla="*/ 184 w 643"/>
                <a:gd name="T19" fmla="*/ 354 h 420"/>
                <a:gd name="T20" fmla="*/ 237 w 643"/>
                <a:gd name="T21" fmla="*/ 339 h 420"/>
                <a:gd name="T22" fmla="*/ 297 w 643"/>
                <a:gd name="T23" fmla="*/ 340 h 420"/>
                <a:gd name="T24" fmla="*/ 391 w 643"/>
                <a:gd name="T25" fmla="*/ 361 h 420"/>
                <a:gd name="T26" fmla="*/ 422 w 643"/>
                <a:gd name="T27" fmla="*/ 355 h 420"/>
                <a:gd name="T28" fmla="*/ 485 w 643"/>
                <a:gd name="T29" fmla="*/ 328 h 420"/>
                <a:gd name="T30" fmla="*/ 533 w 643"/>
                <a:gd name="T31" fmla="*/ 295 h 420"/>
                <a:gd name="T32" fmla="*/ 594 w 643"/>
                <a:gd name="T33" fmla="*/ 306 h 420"/>
                <a:gd name="T34" fmla="*/ 614 w 643"/>
                <a:gd name="T35" fmla="*/ 321 h 420"/>
                <a:gd name="T36" fmla="*/ 634 w 643"/>
                <a:gd name="T37" fmla="*/ 308 h 420"/>
                <a:gd name="T38" fmla="*/ 618 w 643"/>
                <a:gd name="T39" fmla="*/ 256 h 420"/>
                <a:gd name="T40" fmla="*/ 604 w 643"/>
                <a:gd name="T41" fmla="*/ 204 h 420"/>
                <a:gd name="T42" fmla="*/ 572 w 643"/>
                <a:gd name="T43" fmla="*/ 197 h 420"/>
                <a:gd name="T44" fmla="*/ 526 w 643"/>
                <a:gd name="T45" fmla="*/ 175 h 420"/>
                <a:gd name="T46" fmla="*/ 523 w 643"/>
                <a:gd name="T47" fmla="*/ 144 h 420"/>
                <a:gd name="T48" fmla="*/ 500 w 643"/>
                <a:gd name="T49" fmla="*/ 114 h 420"/>
                <a:gd name="T50" fmla="*/ 501 w 643"/>
                <a:gd name="T51" fmla="*/ 79 h 420"/>
                <a:gd name="T52" fmla="*/ 460 w 643"/>
                <a:gd name="T53" fmla="*/ 94 h 420"/>
                <a:gd name="T54" fmla="*/ 405 w 643"/>
                <a:gd name="T55" fmla="*/ 56 h 420"/>
                <a:gd name="T56" fmla="*/ 378 w 643"/>
                <a:gd name="T57" fmla="*/ 21 h 420"/>
                <a:gd name="T58" fmla="*/ 348 w 643"/>
                <a:gd name="T59" fmla="*/ 33 h 420"/>
                <a:gd name="T60" fmla="*/ 320 w 643"/>
                <a:gd name="T61" fmla="*/ 36 h 420"/>
                <a:gd name="T62" fmla="*/ 300 w 643"/>
                <a:gd name="T63" fmla="*/ 67 h 420"/>
                <a:gd name="T64" fmla="*/ 291 w 643"/>
                <a:gd name="T65" fmla="*/ 50 h 420"/>
                <a:gd name="T66" fmla="*/ 314 w 643"/>
                <a:gd name="T67" fmla="*/ 22 h 420"/>
                <a:gd name="T68" fmla="*/ 351 w 643"/>
                <a:gd name="T69" fmla="*/ 18 h 420"/>
                <a:gd name="T70" fmla="*/ 341 w 643"/>
                <a:gd name="T71" fmla="*/ 8 h 420"/>
                <a:gd name="T72" fmla="*/ 306 w 643"/>
                <a:gd name="T73" fmla="*/ 1 h 420"/>
                <a:gd name="T74" fmla="*/ 282 w 643"/>
                <a:gd name="T75" fmla="*/ 44 h 420"/>
                <a:gd name="T76" fmla="*/ 257 w 643"/>
                <a:gd name="T77" fmla="*/ 77 h 420"/>
                <a:gd name="T78" fmla="*/ 252 w 643"/>
                <a:gd name="T79" fmla="*/ 113 h 420"/>
                <a:gd name="T80" fmla="*/ 231 w 643"/>
                <a:gd name="T81" fmla="*/ 98 h 420"/>
                <a:gd name="T82" fmla="*/ 198 w 643"/>
                <a:gd name="T83" fmla="*/ 104 h 420"/>
                <a:gd name="T84" fmla="*/ 152 w 643"/>
                <a:gd name="T85" fmla="*/ 115 h 420"/>
                <a:gd name="T86" fmla="*/ 156 w 643"/>
                <a:gd name="T87" fmla="*/ 134 h 420"/>
                <a:gd name="T88" fmla="*/ 143 w 643"/>
                <a:gd name="T89" fmla="*/ 166 h 420"/>
                <a:gd name="T90" fmla="*/ 109 w 643"/>
                <a:gd name="T91" fmla="*/ 162 h 420"/>
                <a:gd name="T92" fmla="*/ 81 w 643"/>
                <a:gd name="T93" fmla="*/ 138 h 420"/>
                <a:gd name="T94" fmla="*/ 48 w 643"/>
                <a:gd name="T95" fmla="*/ 158 h 420"/>
                <a:gd name="T96" fmla="*/ 52 w 643"/>
                <a:gd name="T97" fmla="*/ 176 h 420"/>
                <a:gd name="T98" fmla="*/ 33 w 643"/>
                <a:gd name="T99" fmla="*/ 18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3" h="420">
                  <a:moveTo>
                    <a:pt x="34" y="184"/>
                  </a:moveTo>
                  <a:cubicBezTo>
                    <a:pt x="34" y="184"/>
                    <a:pt x="26" y="192"/>
                    <a:pt x="27" y="194"/>
                  </a:cubicBezTo>
                  <a:cubicBezTo>
                    <a:pt x="28" y="196"/>
                    <a:pt x="32" y="208"/>
                    <a:pt x="32" y="208"/>
                  </a:cubicBezTo>
                  <a:cubicBezTo>
                    <a:pt x="42" y="220"/>
                    <a:pt x="42" y="220"/>
                    <a:pt x="42" y="220"/>
                  </a:cubicBezTo>
                  <a:cubicBezTo>
                    <a:pt x="48" y="231"/>
                    <a:pt x="48" y="231"/>
                    <a:pt x="48" y="231"/>
                  </a:cubicBezTo>
                  <a:cubicBezTo>
                    <a:pt x="56" y="239"/>
                    <a:pt x="56" y="239"/>
                    <a:pt x="56" y="239"/>
                  </a:cubicBezTo>
                  <a:cubicBezTo>
                    <a:pt x="50" y="250"/>
                    <a:pt x="50" y="250"/>
                    <a:pt x="50" y="250"/>
                  </a:cubicBezTo>
                  <a:cubicBezTo>
                    <a:pt x="50" y="250"/>
                    <a:pt x="37" y="258"/>
                    <a:pt x="35" y="260"/>
                  </a:cubicBezTo>
                  <a:cubicBezTo>
                    <a:pt x="33" y="262"/>
                    <a:pt x="28" y="268"/>
                    <a:pt x="28" y="272"/>
                  </a:cubicBezTo>
                  <a:cubicBezTo>
                    <a:pt x="29" y="276"/>
                    <a:pt x="34" y="281"/>
                    <a:pt x="33" y="283"/>
                  </a:cubicBezTo>
                  <a:cubicBezTo>
                    <a:pt x="32" y="285"/>
                    <a:pt x="28" y="294"/>
                    <a:pt x="28" y="294"/>
                  </a:cubicBezTo>
                  <a:cubicBezTo>
                    <a:pt x="28" y="294"/>
                    <a:pt x="12" y="297"/>
                    <a:pt x="12" y="300"/>
                  </a:cubicBezTo>
                  <a:cubicBezTo>
                    <a:pt x="11" y="302"/>
                    <a:pt x="5" y="316"/>
                    <a:pt x="5" y="319"/>
                  </a:cubicBezTo>
                  <a:cubicBezTo>
                    <a:pt x="5" y="320"/>
                    <a:pt x="4" y="322"/>
                    <a:pt x="2" y="323"/>
                  </a:cubicBezTo>
                  <a:cubicBezTo>
                    <a:pt x="1" y="323"/>
                    <a:pt x="1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10" y="327"/>
                    <a:pt x="10" y="327"/>
                    <a:pt x="10" y="327"/>
                  </a:cubicBezTo>
                  <a:cubicBezTo>
                    <a:pt x="22" y="332"/>
                    <a:pt x="22" y="332"/>
                    <a:pt x="22" y="332"/>
                  </a:cubicBezTo>
                  <a:cubicBezTo>
                    <a:pt x="28" y="347"/>
                    <a:pt x="28" y="347"/>
                    <a:pt x="28" y="347"/>
                  </a:cubicBezTo>
                  <a:cubicBezTo>
                    <a:pt x="28" y="347"/>
                    <a:pt x="23" y="349"/>
                    <a:pt x="25" y="351"/>
                  </a:cubicBezTo>
                  <a:cubicBezTo>
                    <a:pt x="27" y="353"/>
                    <a:pt x="38" y="357"/>
                    <a:pt x="38" y="357"/>
                  </a:cubicBezTo>
                  <a:cubicBezTo>
                    <a:pt x="49" y="358"/>
                    <a:pt x="49" y="358"/>
                    <a:pt x="49" y="358"/>
                  </a:cubicBezTo>
                  <a:cubicBezTo>
                    <a:pt x="54" y="364"/>
                    <a:pt x="54" y="364"/>
                    <a:pt x="54" y="364"/>
                  </a:cubicBezTo>
                  <a:cubicBezTo>
                    <a:pt x="61" y="373"/>
                    <a:pt x="61" y="373"/>
                    <a:pt x="61" y="373"/>
                  </a:cubicBezTo>
                  <a:cubicBezTo>
                    <a:pt x="61" y="373"/>
                    <a:pt x="63" y="374"/>
                    <a:pt x="68" y="375"/>
                  </a:cubicBezTo>
                  <a:cubicBezTo>
                    <a:pt x="74" y="376"/>
                    <a:pt x="88" y="378"/>
                    <a:pt x="88" y="378"/>
                  </a:cubicBezTo>
                  <a:cubicBezTo>
                    <a:pt x="88" y="378"/>
                    <a:pt x="97" y="377"/>
                    <a:pt x="98" y="379"/>
                  </a:cubicBezTo>
                  <a:cubicBezTo>
                    <a:pt x="98" y="381"/>
                    <a:pt x="107" y="390"/>
                    <a:pt x="107" y="390"/>
                  </a:cubicBezTo>
                  <a:cubicBezTo>
                    <a:pt x="107" y="390"/>
                    <a:pt x="108" y="392"/>
                    <a:pt x="113" y="394"/>
                  </a:cubicBezTo>
                  <a:cubicBezTo>
                    <a:pt x="118" y="397"/>
                    <a:pt x="132" y="398"/>
                    <a:pt x="132" y="398"/>
                  </a:cubicBezTo>
                  <a:cubicBezTo>
                    <a:pt x="132" y="398"/>
                    <a:pt x="142" y="398"/>
                    <a:pt x="148" y="399"/>
                  </a:cubicBezTo>
                  <a:cubicBezTo>
                    <a:pt x="154" y="400"/>
                    <a:pt x="169" y="412"/>
                    <a:pt x="173" y="415"/>
                  </a:cubicBezTo>
                  <a:cubicBezTo>
                    <a:pt x="177" y="419"/>
                    <a:pt x="200" y="420"/>
                    <a:pt x="200" y="420"/>
                  </a:cubicBezTo>
                  <a:cubicBezTo>
                    <a:pt x="200" y="420"/>
                    <a:pt x="186" y="406"/>
                    <a:pt x="185" y="404"/>
                  </a:cubicBezTo>
                  <a:cubicBezTo>
                    <a:pt x="183" y="402"/>
                    <a:pt x="183" y="399"/>
                    <a:pt x="179" y="396"/>
                  </a:cubicBezTo>
                  <a:cubicBezTo>
                    <a:pt x="176" y="392"/>
                    <a:pt x="173" y="386"/>
                    <a:pt x="171" y="384"/>
                  </a:cubicBezTo>
                  <a:cubicBezTo>
                    <a:pt x="169" y="382"/>
                    <a:pt x="161" y="380"/>
                    <a:pt x="163" y="374"/>
                  </a:cubicBezTo>
                  <a:cubicBezTo>
                    <a:pt x="164" y="367"/>
                    <a:pt x="165" y="368"/>
                    <a:pt x="166" y="364"/>
                  </a:cubicBezTo>
                  <a:cubicBezTo>
                    <a:pt x="167" y="361"/>
                    <a:pt x="171" y="354"/>
                    <a:pt x="173" y="354"/>
                  </a:cubicBezTo>
                  <a:cubicBezTo>
                    <a:pt x="176" y="354"/>
                    <a:pt x="183" y="358"/>
                    <a:pt x="184" y="354"/>
                  </a:cubicBezTo>
                  <a:cubicBezTo>
                    <a:pt x="185" y="350"/>
                    <a:pt x="191" y="339"/>
                    <a:pt x="191" y="339"/>
                  </a:cubicBezTo>
                  <a:cubicBezTo>
                    <a:pt x="199" y="338"/>
                    <a:pt x="199" y="338"/>
                    <a:pt x="199" y="338"/>
                  </a:cubicBezTo>
                  <a:cubicBezTo>
                    <a:pt x="199" y="338"/>
                    <a:pt x="208" y="339"/>
                    <a:pt x="211" y="339"/>
                  </a:cubicBezTo>
                  <a:cubicBezTo>
                    <a:pt x="213" y="339"/>
                    <a:pt x="237" y="339"/>
                    <a:pt x="237" y="339"/>
                  </a:cubicBezTo>
                  <a:cubicBezTo>
                    <a:pt x="243" y="319"/>
                    <a:pt x="243" y="319"/>
                    <a:pt x="243" y="319"/>
                  </a:cubicBezTo>
                  <a:cubicBezTo>
                    <a:pt x="243" y="319"/>
                    <a:pt x="264" y="320"/>
                    <a:pt x="267" y="322"/>
                  </a:cubicBezTo>
                  <a:cubicBezTo>
                    <a:pt x="271" y="325"/>
                    <a:pt x="283" y="330"/>
                    <a:pt x="286" y="332"/>
                  </a:cubicBezTo>
                  <a:cubicBezTo>
                    <a:pt x="289" y="334"/>
                    <a:pt x="293" y="338"/>
                    <a:pt x="297" y="340"/>
                  </a:cubicBezTo>
                  <a:cubicBezTo>
                    <a:pt x="301" y="343"/>
                    <a:pt x="307" y="347"/>
                    <a:pt x="313" y="350"/>
                  </a:cubicBezTo>
                  <a:cubicBezTo>
                    <a:pt x="319" y="352"/>
                    <a:pt x="338" y="356"/>
                    <a:pt x="338" y="356"/>
                  </a:cubicBezTo>
                  <a:cubicBezTo>
                    <a:pt x="371" y="361"/>
                    <a:pt x="371" y="361"/>
                    <a:pt x="371" y="361"/>
                  </a:cubicBezTo>
                  <a:cubicBezTo>
                    <a:pt x="371" y="361"/>
                    <a:pt x="387" y="353"/>
                    <a:pt x="391" y="361"/>
                  </a:cubicBezTo>
                  <a:cubicBezTo>
                    <a:pt x="395" y="369"/>
                    <a:pt x="391" y="364"/>
                    <a:pt x="395" y="369"/>
                  </a:cubicBezTo>
                  <a:cubicBezTo>
                    <a:pt x="399" y="374"/>
                    <a:pt x="403" y="378"/>
                    <a:pt x="405" y="375"/>
                  </a:cubicBezTo>
                  <a:cubicBezTo>
                    <a:pt x="408" y="372"/>
                    <a:pt x="411" y="370"/>
                    <a:pt x="413" y="366"/>
                  </a:cubicBezTo>
                  <a:cubicBezTo>
                    <a:pt x="415" y="363"/>
                    <a:pt x="421" y="358"/>
                    <a:pt x="422" y="355"/>
                  </a:cubicBezTo>
                  <a:cubicBezTo>
                    <a:pt x="423" y="352"/>
                    <a:pt x="438" y="346"/>
                    <a:pt x="438" y="346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60" y="335"/>
                    <a:pt x="468" y="340"/>
                  </a:cubicBezTo>
                  <a:cubicBezTo>
                    <a:pt x="476" y="344"/>
                    <a:pt x="485" y="328"/>
                    <a:pt x="485" y="328"/>
                  </a:cubicBezTo>
                  <a:cubicBezTo>
                    <a:pt x="485" y="328"/>
                    <a:pt x="486" y="322"/>
                    <a:pt x="488" y="316"/>
                  </a:cubicBezTo>
                  <a:cubicBezTo>
                    <a:pt x="490" y="309"/>
                    <a:pt x="490" y="307"/>
                    <a:pt x="492" y="305"/>
                  </a:cubicBezTo>
                  <a:cubicBezTo>
                    <a:pt x="494" y="303"/>
                    <a:pt x="497" y="300"/>
                    <a:pt x="503" y="296"/>
                  </a:cubicBezTo>
                  <a:cubicBezTo>
                    <a:pt x="509" y="293"/>
                    <a:pt x="527" y="294"/>
                    <a:pt x="533" y="295"/>
                  </a:cubicBezTo>
                  <a:cubicBezTo>
                    <a:pt x="539" y="296"/>
                    <a:pt x="552" y="293"/>
                    <a:pt x="549" y="292"/>
                  </a:cubicBezTo>
                  <a:cubicBezTo>
                    <a:pt x="547" y="292"/>
                    <a:pt x="542" y="281"/>
                    <a:pt x="555" y="284"/>
                  </a:cubicBezTo>
                  <a:cubicBezTo>
                    <a:pt x="569" y="288"/>
                    <a:pt x="565" y="274"/>
                    <a:pt x="578" y="289"/>
                  </a:cubicBezTo>
                  <a:cubicBezTo>
                    <a:pt x="591" y="304"/>
                    <a:pt x="593" y="300"/>
                    <a:pt x="594" y="306"/>
                  </a:cubicBezTo>
                  <a:cubicBezTo>
                    <a:pt x="595" y="312"/>
                    <a:pt x="599" y="317"/>
                    <a:pt x="599" y="320"/>
                  </a:cubicBezTo>
                  <a:cubicBezTo>
                    <a:pt x="599" y="324"/>
                    <a:pt x="601" y="330"/>
                    <a:pt x="601" y="330"/>
                  </a:cubicBezTo>
                  <a:cubicBezTo>
                    <a:pt x="601" y="330"/>
                    <a:pt x="601" y="331"/>
                    <a:pt x="604" y="329"/>
                  </a:cubicBezTo>
                  <a:cubicBezTo>
                    <a:pt x="607" y="327"/>
                    <a:pt x="614" y="321"/>
                    <a:pt x="614" y="321"/>
                  </a:cubicBezTo>
                  <a:cubicBezTo>
                    <a:pt x="614" y="321"/>
                    <a:pt x="607" y="312"/>
                    <a:pt x="611" y="309"/>
                  </a:cubicBezTo>
                  <a:cubicBezTo>
                    <a:pt x="614" y="306"/>
                    <a:pt x="617" y="304"/>
                    <a:pt x="622" y="305"/>
                  </a:cubicBezTo>
                  <a:cubicBezTo>
                    <a:pt x="627" y="306"/>
                    <a:pt x="631" y="306"/>
                    <a:pt x="631" y="306"/>
                  </a:cubicBezTo>
                  <a:cubicBezTo>
                    <a:pt x="634" y="308"/>
                    <a:pt x="634" y="308"/>
                    <a:pt x="634" y="308"/>
                  </a:cubicBezTo>
                  <a:cubicBezTo>
                    <a:pt x="634" y="308"/>
                    <a:pt x="635" y="294"/>
                    <a:pt x="637" y="290"/>
                  </a:cubicBezTo>
                  <a:cubicBezTo>
                    <a:pt x="639" y="286"/>
                    <a:pt x="643" y="282"/>
                    <a:pt x="640" y="280"/>
                  </a:cubicBezTo>
                  <a:cubicBezTo>
                    <a:pt x="638" y="278"/>
                    <a:pt x="625" y="264"/>
                    <a:pt x="625" y="264"/>
                  </a:cubicBezTo>
                  <a:cubicBezTo>
                    <a:pt x="625" y="264"/>
                    <a:pt x="618" y="263"/>
                    <a:pt x="618" y="256"/>
                  </a:cubicBezTo>
                  <a:cubicBezTo>
                    <a:pt x="618" y="250"/>
                    <a:pt x="618" y="240"/>
                    <a:pt x="618" y="240"/>
                  </a:cubicBezTo>
                  <a:cubicBezTo>
                    <a:pt x="610" y="228"/>
                    <a:pt x="610" y="228"/>
                    <a:pt x="610" y="228"/>
                  </a:cubicBezTo>
                  <a:cubicBezTo>
                    <a:pt x="606" y="212"/>
                    <a:pt x="606" y="212"/>
                    <a:pt x="606" y="212"/>
                  </a:cubicBezTo>
                  <a:cubicBezTo>
                    <a:pt x="604" y="204"/>
                    <a:pt x="604" y="204"/>
                    <a:pt x="604" y="204"/>
                  </a:cubicBezTo>
                  <a:cubicBezTo>
                    <a:pt x="597" y="206"/>
                    <a:pt x="597" y="206"/>
                    <a:pt x="597" y="206"/>
                  </a:cubicBezTo>
                  <a:cubicBezTo>
                    <a:pt x="586" y="201"/>
                    <a:pt x="586" y="201"/>
                    <a:pt x="586" y="201"/>
                  </a:cubicBezTo>
                  <a:cubicBezTo>
                    <a:pt x="575" y="198"/>
                    <a:pt x="575" y="198"/>
                    <a:pt x="575" y="198"/>
                  </a:cubicBezTo>
                  <a:cubicBezTo>
                    <a:pt x="575" y="198"/>
                    <a:pt x="575" y="197"/>
                    <a:pt x="572" y="197"/>
                  </a:cubicBezTo>
                  <a:cubicBezTo>
                    <a:pt x="568" y="197"/>
                    <a:pt x="555" y="196"/>
                    <a:pt x="555" y="196"/>
                  </a:cubicBezTo>
                  <a:cubicBezTo>
                    <a:pt x="555" y="196"/>
                    <a:pt x="552" y="193"/>
                    <a:pt x="546" y="189"/>
                  </a:cubicBezTo>
                  <a:cubicBezTo>
                    <a:pt x="540" y="185"/>
                    <a:pt x="532" y="180"/>
                    <a:pt x="532" y="180"/>
                  </a:cubicBezTo>
                  <a:cubicBezTo>
                    <a:pt x="532" y="180"/>
                    <a:pt x="527" y="178"/>
                    <a:pt x="526" y="175"/>
                  </a:cubicBezTo>
                  <a:cubicBezTo>
                    <a:pt x="526" y="172"/>
                    <a:pt x="524" y="168"/>
                    <a:pt x="526" y="167"/>
                  </a:cubicBezTo>
                  <a:cubicBezTo>
                    <a:pt x="528" y="156"/>
                    <a:pt x="528" y="156"/>
                    <a:pt x="528" y="156"/>
                  </a:cubicBezTo>
                  <a:cubicBezTo>
                    <a:pt x="528" y="156"/>
                    <a:pt x="531" y="150"/>
                    <a:pt x="529" y="148"/>
                  </a:cubicBezTo>
                  <a:cubicBezTo>
                    <a:pt x="527" y="146"/>
                    <a:pt x="525" y="146"/>
                    <a:pt x="523" y="144"/>
                  </a:cubicBezTo>
                  <a:cubicBezTo>
                    <a:pt x="521" y="142"/>
                    <a:pt x="523" y="141"/>
                    <a:pt x="518" y="138"/>
                  </a:cubicBezTo>
                  <a:cubicBezTo>
                    <a:pt x="512" y="134"/>
                    <a:pt x="511" y="131"/>
                    <a:pt x="508" y="130"/>
                  </a:cubicBezTo>
                  <a:cubicBezTo>
                    <a:pt x="504" y="128"/>
                    <a:pt x="500" y="128"/>
                    <a:pt x="500" y="124"/>
                  </a:cubicBezTo>
                  <a:cubicBezTo>
                    <a:pt x="500" y="121"/>
                    <a:pt x="500" y="114"/>
                    <a:pt x="500" y="114"/>
                  </a:cubicBezTo>
                  <a:cubicBezTo>
                    <a:pt x="509" y="107"/>
                    <a:pt x="509" y="107"/>
                    <a:pt x="509" y="107"/>
                  </a:cubicBezTo>
                  <a:cubicBezTo>
                    <a:pt x="509" y="107"/>
                    <a:pt x="506" y="100"/>
                    <a:pt x="506" y="96"/>
                  </a:cubicBezTo>
                  <a:cubicBezTo>
                    <a:pt x="506" y="91"/>
                    <a:pt x="506" y="83"/>
                    <a:pt x="506" y="83"/>
                  </a:cubicBezTo>
                  <a:cubicBezTo>
                    <a:pt x="506" y="83"/>
                    <a:pt x="512" y="70"/>
                    <a:pt x="501" y="79"/>
                  </a:cubicBezTo>
                  <a:cubicBezTo>
                    <a:pt x="490" y="88"/>
                    <a:pt x="486" y="90"/>
                    <a:pt x="486" y="90"/>
                  </a:cubicBezTo>
                  <a:cubicBezTo>
                    <a:pt x="486" y="90"/>
                    <a:pt x="482" y="88"/>
                    <a:pt x="478" y="91"/>
                  </a:cubicBezTo>
                  <a:cubicBezTo>
                    <a:pt x="475" y="94"/>
                    <a:pt x="470" y="100"/>
                    <a:pt x="470" y="100"/>
                  </a:cubicBezTo>
                  <a:cubicBezTo>
                    <a:pt x="470" y="100"/>
                    <a:pt x="462" y="96"/>
                    <a:pt x="460" y="94"/>
                  </a:cubicBezTo>
                  <a:cubicBezTo>
                    <a:pt x="458" y="92"/>
                    <a:pt x="449" y="82"/>
                    <a:pt x="449" y="82"/>
                  </a:cubicBezTo>
                  <a:cubicBezTo>
                    <a:pt x="436" y="74"/>
                    <a:pt x="436" y="74"/>
                    <a:pt x="436" y="74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05" y="56"/>
                    <a:pt x="405" y="56"/>
                    <a:pt x="405" y="56"/>
                  </a:cubicBezTo>
                  <a:cubicBezTo>
                    <a:pt x="394" y="53"/>
                    <a:pt x="394" y="53"/>
                    <a:pt x="394" y="53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86" y="20"/>
                    <a:pt x="386" y="20"/>
                    <a:pt x="386" y="20"/>
                  </a:cubicBezTo>
                  <a:cubicBezTo>
                    <a:pt x="386" y="20"/>
                    <a:pt x="383" y="14"/>
                    <a:pt x="378" y="21"/>
                  </a:cubicBezTo>
                  <a:cubicBezTo>
                    <a:pt x="372" y="28"/>
                    <a:pt x="372" y="30"/>
                    <a:pt x="369" y="34"/>
                  </a:cubicBezTo>
                  <a:cubicBezTo>
                    <a:pt x="366" y="37"/>
                    <a:pt x="364" y="36"/>
                    <a:pt x="362" y="38"/>
                  </a:cubicBezTo>
                  <a:cubicBezTo>
                    <a:pt x="361" y="40"/>
                    <a:pt x="360" y="41"/>
                    <a:pt x="356" y="39"/>
                  </a:cubicBezTo>
                  <a:cubicBezTo>
                    <a:pt x="353" y="37"/>
                    <a:pt x="348" y="33"/>
                    <a:pt x="348" y="33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37" y="30"/>
                    <a:pt x="337" y="30"/>
                    <a:pt x="337" y="30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12" y="41"/>
                    <a:pt x="312" y="41"/>
                    <a:pt x="312" y="41"/>
                  </a:cubicBezTo>
                  <a:cubicBezTo>
                    <a:pt x="312" y="41"/>
                    <a:pt x="305" y="52"/>
                    <a:pt x="303" y="53"/>
                  </a:cubicBezTo>
                  <a:cubicBezTo>
                    <a:pt x="301" y="54"/>
                    <a:pt x="300" y="56"/>
                    <a:pt x="300" y="59"/>
                  </a:cubicBezTo>
                  <a:cubicBezTo>
                    <a:pt x="300" y="62"/>
                    <a:pt x="300" y="67"/>
                    <a:pt x="300" y="67"/>
                  </a:cubicBezTo>
                  <a:cubicBezTo>
                    <a:pt x="300" y="67"/>
                    <a:pt x="301" y="70"/>
                    <a:pt x="297" y="70"/>
                  </a:cubicBezTo>
                  <a:cubicBezTo>
                    <a:pt x="293" y="69"/>
                    <a:pt x="290" y="66"/>
                    <a:pt x="290" y="66"/>
                  </a:cubicBezTo>
                  <a:cubicBezTo>
                    <a:pt x="290" y="66"/>
                    <a:pt x="286" y="61"/>
                    <a:pt x="287" y="59"/>
                  </a:cubicBezTo>
                  <a:cubicBezTo>
                    <a:pt x="288" y="57"/>
                    <a:pt x="291" y="50"/>
                    <a:pt x="291" y="50"/>
                  </a:cubicBezTo>
                  <a:cubicBezTo>
                    <a:pt x="298" y="36"/>
                    <a:pt x="298" y="36"/>
                    <a:pt x="298" y="36"/>
                  </a:cubicBezTo>
                  <a:cubicBezTo>
                    <a:pt x="298" y="36"/>
                    <a:pt x="297" y="35"/>
                    <a:pt x="298" y="32"/>
                  </a:cubicBezTo>
                  <a:cubicBezTo>
                    <a:pt x="300" y="28"/>
                    <a:pt x="300" y="24"/>
                    <a:pt x="302" y="23"/>
                  </a:cubicBezTo>
                  <a:cubicBezTo>
                    <a:pt x="304" y="22"/>
                    <a:pt x="310" y="22"/>
                    <a:pt x="314" y="22"/>
                  </a:cubicBezTo>
                  <a:cubicBezTo>
                    <a:pt x="318" y="22"/>
                    <a:pt x="320" y="20"/>
                    <a:pt x="320" y="20"/>
                  </a:cubicBezTo>
                  <a:cubicBezTo>
                    <a:pt x="320" y="20"/>
                    <a:pt x="316" y="16"/>
                    <a:pt x="324" y="16"/>
                  </a:cubicBezTo>
                  <a:cubicBezTo>
                    <a:pt x="332" y="16"/>
                    <a:pt x="337" y="18"/>
                    <a:pt x="340" y="18"/>
                  </a:cubicBezTo>
                  <a:cubicBezTo>
                    <a:pt x="342" y="18"/>
                    <a:pt x="348" y="18"/>
                    <a:pt x="351" y="18"/>
                  </a:cubicBezTo>
                  <a:cubicBezTo>
                    <a:pt x="354" y="18"/>
                    <a:pt x="358" y="18"/>
                    <a:pt x="362" y="16"/>
                  </a:cubicBezTo>
                  <a:cubicBezTo>
                    <a:pt x="366" y="14"/>
                    <a:pt x="366" y="14"/>
                    <a:pt x="366" y="14"/>
                  </a:cubicBezTo>
                  <a:cubicBezTo>
                    <a:pt x="366" y="14"/>
                    <a:pt x="368" y="8"/>
                    <a:pt x="357" y="8"/>
                  </a:cubicBezTo>
                  <a:cubicBezTo>
                    <a:pt x="346" y="8"/>
                    <a:pt x="345" y="8"/>
                    <a:pt x="341" y="8"/>
                  </a:cubicBezTo>
                  <a:cubicBezTo>
                    <a:pt x="337" y="8"/>
                    <a:pt x="334" y="7"/>
                    <a:pt x="332" y="7"/>
                  </a:cubicBezTo>
                  <a:cubicBezTo>
                    <a:pt x="330" y="7"/>
                    <a:pt x="330" y="8"/>
                    <a:pt x="326" y="5"/>
                  </a:cubicBezTo>
                  <a:cubicBezTo>
                    <a:pt x="321" y="2"/>
                    <a:pt x="318" y="1"/>
                    <a:pt x="314" y="1"/>
                  </a:cubicBezTo>
                  <a:cubicBezTo>
                    <a:pt x="311" y="1"/>
                    <a:pt x="309" y="0"/>
                    <a:pt x="306" y="1"/>
                  </a:cubicBezTo>
                  <a:cubicBezTo>
                    <a:pt x="304" y="2"/>
                    <a:pt x="292" y="14"/>
                    <a:pt x="292" y="14"/>
                  </a:cubicBezTo>
                  <a:cubicBezTo>
                    <a:pt x="290" y="19"/>
                    <a:pt x="288" y="24"/>
                    <a:pt x="286" y="28"/>
                  </a:cubicBezTo>
                  <a:cubicBezTo>
                    <a:pt x="284" y="32"/>
                    <a:pt x="287" y="39"/>
                    <a:pt x="287" y="39"/>
                  </a:cubicBezTo>
                  <a:cubicBezTo>
                    <a:pt x="287" y="39"/>
                    <a:pt x="284" y="40"/>
                    <a:pt x="282" y="44"/>
                  </a:cubicBezTo>
                  <a:cubicBezTo>
                    <a:pt x="280" y="48"/>
                    <a:pt x="278" y="52"/>
                    <a:pt x="276" y="54"/>
                  </a:cubicBezTo>
                  <a:cubicBezTo>
                    <a:pt x="274" y="56"/>
                    <a:pt x="270" y="61"/>
                    <a:pt x="268" y="63"/>
                  </a:cubicBezTo>
                  <a:cubicBezTo>
                    <a:pt x="266" y="65"/>
                    <a:pt x="264" y="72"/>
                    <a:pt x="260" y="74"/>
                  </a:cubicBezTo>
                  <a:cubicBezTo>
                    <a:pt x="257" y="77"/>
                    <a:pt x="258" y="75"/>
                    <a:pt x="257" y="77"/>
                  </a:cubicBezTo>
                  <a:cubicBezTo>
                    <a:pt x="256" y="79"/>
                    <a:pt x="248" y="89"/>
                    <a:pt x="248" y="89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8" y="100"/>
                    <a:pt x="251" y="108"/>
                    <a:pt x="252" y="110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36" y="104"/>
                    <a:pt x="235" y="98"/>
                    <a:pt x="231" y="98"/>
                  </a:cubicBezTo>
                  <a:cubicBezTo>
                    <a:pt x="227" y="98"/>
                    <a:pt x="232" y="99"/>
                    <a:pt x="227" y="98"/>
                  </a:cubicBezTo>
                  <a:cubicBezTo>
                    <a:pt x="222" y="98"/>
                    <a:pt x="218" y="100"/>
                    <a:pt x="217" y="102"/>
                  </a:cubicBezTo>
                  <a:cubicBezTo>
                    <a:pt x="216" y="104"/>
                    <a:pt x="217" y="106"/>
                    <a:pt x="213" y="106"/>
                  </a:cubicBezTo>
                  <a:cubicBezTo>
                    <a:pt x="209" y="106"/>
                    <a:pt x="198" y="104"/>
                    <a:pt x="198" y="104"/>
                  </a:cubicBezTo>
                  <a:cubicBezTo>
                    <a:pt x="181" y="103"/>
                    <a:pt x="181" y="103"/>
                    <a:pt x="181" y="103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2" y="115"/>
                    <a:pt x="152" y="115"/>
                    <a:pt x="152" y="115"/>
                  </a:cubicBezTo>
                  <a:cubicBezTo>
                    <a:pt x="152" y="115"/>
                    <a:pt x="147" y="122"/>
                    <a:pt x="145" y="124"/>
                  </a:cubicBezTo>
                  <a:cubicBezTo>
                    <a:pt x="143" y="126"/>
                    <a:pt x="140" y="131"/>
                    <a:pt x="143" y="131"/>
                  </a:cubicBezTo>
                  <a:cubicBezTo>
                    <a:pt x="146" y="131"/>
                    <a:pt x="156" y="126"/>
                    <a:pt x="156" y="12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142"/>
                    <a:pt x="143" y="146"/>
                    <a:pt x="143" y="148"/>
                  </a:cubicBezTo>
                  <a:cubicBezTo>
                    <a:pt x="143" y="150"/>
                    <a:pt x="143" y="152"/>
                    <a:pt x="143" y="157"/>
                  </a:cubicBezTo>
                  <a:cubicBezTo>
                    <a:pt x="143" y="162"/>
                    <a:pt x="147" y="164"/>
                    <a:pt x="143" y="166"/>
                  </a:cubicBezTo>
                  <a:cubicBezTo>
                    <a:pt x="139" y="169"/>
                    <a:pt x="131" y="173"/>
                    <a:pt x="131" y="173"/>
                  </a:cubicBezTo>
                  <a:cubicBezTo>
                    <a:pt x="124" y="170"/>
                    <a:pt x="124" y="170"/>
                    <a:pt x="124" y="170"/>
                  </a:cubicBezTo>
                  <a:cubicBezTo>
                    <a:pt x="124" y="170"/>
                    <a:pt x="120" y="167"/>
                    <a:pt x="117" y="165"/>
                  </a:cubicBezTo>
                  <a:cubicBezTo>
                    <a:pt x="114" y="163"/>
                    <a:pt x="109" y="162"/>
                    <a:pt x="109" y="162"/>
                  </a:cubicBezTo>
                  <a:cubicBezTo>
                    <a:pt x="109" y="162"/>
                    <a:pt x="108" y="166"/>
                    <a:pt x="106" y="162"/>
                  </a:cubicBezTo>
                  <a:cubicBezTo>
                    <a:pt x="105" y="158"/>
                    <a:pt x="107" y="149"/>
                    <a:pt x="107" y="149"/>
                  </a:cubicBezTo>
                  <a:cubicBezTo>
                    <a:pt x="107" y="149"/>
                    <a:pt x="104" y="145"/>
                    <a:pt x="99" y="143"/>
                  </a:cubicBezTo>
                  <a:cubicBezTo>
                    <a:pt x="94" y="141"/>
                    <a:pt x="81" y="138"/>
                    <a:pt x="81" y="138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8" y="158"/>
                    <a:pt x="45" y="160"/>
                    <a:pt x="47" y="161"/>
                  </a:cubicBezTo>
                  <a:cubicBezTo>
                    <a:pt x="49" y="162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2" y="176"/>
                    <a:pt x="52" y="176"/>
                    <a:pt x="52" y="176"/>
                  </a:cubicBezTo>
                  <a:cubicBezTo>
                    <a:pt x="52" y="176"/>
                    <a:pt x="49" y="178"/>
                    <a:pt x="47" y="178"/>
                  </a:cubicBezTo>
                  <a:cubicBezTo>
                    <a:pt x="45" y="178"/>
                    <a:pt x="42" y="178"/>
                    <a:pt x="42" y="178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2" y="181"/>
                    <a:pt x="32" y="181"/>
                    <a:pt x="32" y="181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19439FCA-EA7B-4937-88C6-045F57F032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0655" y="2184399"/>
              <a:ext cx="1198564" cy="995361"/>
            </a:xfrm>
            <a:custGeom>
              <a:avLst/>
              <a:gdLst>
                <a:gd name="T0" fmla="*/ 434 w 514"/>
                <a:gd name="T1" fmla="*/ 21 h 427"/>
                <a:gd name="T2" fmla="*/ 397 w 514"/>
                <a:gd name="T3" fmla="*/ 36 h 427"/>
                <a:gd name="T4" fmla="*/ 363 w 514"/>
                <a:gd name="T5" fmla="*/ 25 h 427"/>
                <a:gd name="T6" fmla="*/ 358 w 514"/>
                <a:gd name="T7" fmla="*/ 58 h 427"/>
                <a:gd name="T8" fmla="*/ 320 w 514"/>
                <a:gd name="T9" fmla="*/ 72 h 427"/>
                <a:gd name="T10" fmla="*/ 241 w 514"/>
                <a:gd name="T11" fmla="*/ 63 h 427"/>
                <a:gd name="T12" fmla="*/ 211 w 514"/>
                <a:gd name="T13" fmla="*/ 69 h 427"/>
                <a:gd name="T14" fmla="*/ 213 w 514"/>
                <a:gd name="T15" fmla="*/ 30 h 427"/>
                <a:gd name="T16" fmla="*/ 164 w 514"/>
                <a:gd name="T17" fmla="*/ 7 h 427"/>
                <a:gd name="T18" fmla="*/ 113 w 514"/>
                <a:gd name="T19" fmla="*/ 8 h 427"/>
                <a:gd name="T20" fmla="*/ 93 w 514"/>
                <a:gd name="T21" fmla="*/ 19 h 427"/>
                <a:gd name="T22" fmla="*/ 65 w 514"/>
                <a:gd name="T23" fmla="*/ 30 h 427"/>
                <a:gd name="T24" fmla="*/ 33 w 514"/>
                <a:gd name="T25" fmla="*/ 41 h 427"/>
                <a:gd name="T26" fmla="*/ 40 w 514"/>
                <a:gd name="T27" fmla="*/ 75 h 427"/>
                <a:gd name="T28" fmla="*/ 29 w 514"/>
                <a:gd name="T29" fmla="*/ 118 h 427"/>
                <a:gd name="T30" fmla="*/ 52 w 514"/>
                <a:gd name="T31" fmla="*/ 167 h 427"/>
                <a:gd name="T32" fmla="*/ 75 w 514"/>
                <a:gd name="T33" fmla="*/ 165 h 427"/>
                <a:gd name="T34" fmla="*/ 94 w 514"/>
                <a:gd name="T35" fmla="*/ 184 h 427"/>
                <a:gd name="T36" fmla="*/ 118 w 514"/>
                <a:gd name="T37" fmla="*/ 207 h 427"/>
                <a:gd name="T38" fmla="*/ 91 w 514"/>
                <a:gd name="T39" fmla="*/ 229 h 427"/>
                <a:gd name="T40" fmla="*/ 63 w 514"/>
                <a:gd name="T41" fmla="*/ 241 h 427"/>
                <a:gd name="T42" fmla="*/ 44 w 514"/>
                <a:gd name="T43" fmla="*/ 271 h 427"/>
                <a:gd name="T44" fmla="*/ 46 w 514"/>
                <a:gd name="T45" fmla="*/ 297 h 427"/>
                <a:gd name="T46" fmla="*/ 21 w 514"/>
                <a:gd name="T47" fmla="*/ 317 h 427"/>
                <a:gd name="T48" fmla="*/ 4 w 514"/>
                <a:gd name="T49" fmla="*/ 327 h 427"/>
                <a:gd name="T50" fmla="*/ 7 w 514"/>
                <a:gd name="T51" fmla="*/ 372 h 427"/>
                <a:gd name="T52" fmla="*/ 36 w 514"/>
                <a:gd name="T53" fmla="*/ 386 h 427"/>
                <a:gd name="T54" fmla="*/ 53 w 514"/>
                <a:gd name="T55" fmla="*/ 413 h 427"/>
                <a:gd name="T56" fmla="*/ 74 w 514"/>
                <a:gd name="T57" fmla="*/ 421 h 427"/>
                <a:gd name="T58" fmla="*/ 69 w 514"/>
                <a:gd name="T59" fmla="*/ 395 h 427"/>
                <a:gd name="T60" fmla="*/ 96 w 514"/>
                <a:gd name="T61" fmla="*/ 375 h 427"/>
                <a:gd name="T62" fmla="*/ 112 w 514"/>
                <a:gd name="T63" fmla="*/ 362 h 427"/>
                <a:gd name="T64" fmla="*/ 133 w 514"/>
                <a:gd name="T65" fmla="*/ 354 h 427"/>
                <a:gd name="T66" fmla="*/ 154 w 514"/>
                <a:gd name="T67" fmla="*/ 351 h 427"/>
                <a:gd name="T68" fmla="*/ 186 w 514"/>
                <a:gd name="T69" fmla="*/ 348 h 427"/>
                <a:gd name="T70" fmla="*/ 198 w 514"/>
                <a:gd name="T71" fmla="*/ 328 h 427"/>
                <a:gd name="T72" fmla="*/ 222 w 514"/>
                <a:gd name="T73" fmla="*/ 297 h 427"/>
                <a:gd name="T74" fmla="*/ 254 w 514"/>
                <a:gd name="T75" fmla="*/ 294 h 427"/>
                <a:gd name="T76" fmla="*/ 271 w 514"/>
                <a:gd name="T77" fmla="*/ 268 h 427"/>
                <a:gd name="T78" fmla="*/ 306 w 514"/>
                <a:gd name="T79" fmla="*/ 263 h 427"/>
                <a:gd name="T80" fmla="*/ 349 w 514"/>
                <a:gd name="T81" fmla="*/ 227 h 427"/>
                <a:gd name="T82" fmla="*/ 396 w 514"/>
                <a:gd name="T83" fmla="*/ 217 h 427"/>
                <a:gd name="T84" fmla="*/ 407 w 514"/>
                <a:gd name="T85" fmla="*/ 184 h 427"/>
                <a:gd name="T86" fmla="*/ 387 w 514"/>
                <a:gd name="T87" fmla="*/ 173 h 427"/>
                <a:gd name="T88" fmla="*/ 420 w 514"/>
                <a:gd name="T89" fmla="*/ 167 h 427"/>
                <a:gd name="T90" fmla="*/ 449 w 514"/>
                <a:gd name="T91" fmla="*/ 182 h 427"/>
                <a:gd name="T92" fmla="*/ 467 w 514"/>
                <a:gd name="T93" fmla="*/ 205 h 427"/>
                <a:gd name="T94" fmla="*/ 485 w 514"/>
                <a:gd name="T95" fmla="*/ 214 h 427"/>
                <a:gd name="T96" fmla="*/ 494 w 514"/>
                <a:gd name="T97" fmla="*/ 178 h 427"/>
                <a:gd name="T98" fmla="*/ 511 w 514"/>
                <a:gd name="T99" fmla="*/ 146 h 427"/>
                <a:gd name="T100" fmla="*/ 514 w 514"/>
                <a:gd name="T101" fmla="*/ 82 h 427"/>
                <a:gd name="T102" fmla="*/ 497 w 514"/>
                <a:gd name="T103" fmla="*/ 34 h 427"/>
                <a:gd name="T104" fmla="*/ 476 w 514"/>
                <a:gd name="T105" fmla="*/ 2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4" h="427">
                  <a:moveTo>
                    <a:pt x="465" y="11"/>
                  </a:moveTo>
                  <a:cubicBezTo>
                    <a:pt x="465" y="11"/>
                    <a:pt x="450" y="12"/>
                    <a:pt x="449" y="13"/>
                  </a:cubicBezTo>
                  <a:cubicBezTo>
                    <a:pt x="448" y="13"/>
                    <a:pt x="435" y="20"/>
                    <a:pt x="434" y="21"/>
                  </a:cubicBezTo>
                  <a:cubicBezTo>
                    <a:pt x="433" y="21"/>
                    <a:pt x="419" y="22"/>
                    <a:pt x="416" y="24"/>
                  </a:cubicBezTo>
                  <a:cubicBezTo>
                    <a:pt x="412" y="27"/>
                    <a:pt x="408" y="32"/>
                    <a:pt x="407" y="33"/>
                  </a:cubicBezTo>
                  <a:cubicBezTo>
                    <a:pt x="406" y="34"/>
                    <a:pt x="404" y="36"/>
                    <a:pt x="397" y="36"/>
                  </a:cubicBezTo>
                  <a:cubicBezTo>
                    <a:pt x="390" y="36"/>
                    <a:pt x="388" y="35"/>
                    <a:pt x="384" y="33"/>
                  </a:cubicBezTo>
                  <a:cubicBezTo>
                    <a:pt x="380" y="32"/>
                    <a:pt x="376" y="28"/>
                    <a:pt x="374" y="27"/>
                  </a:cubicBezTo>
                  <a:cubicBezTo>
                    <a:pt x="372" y="27"/>
                    <a:pt x="365" y="22"/>
                    <a:pt x="363" y="25"/>
                  </a:cubicBezTo>
                  <a:cubicBezTo>
                    <a:pt x="361" y="27"/>
                    <a:pt x="360" y="25"/>
                    <a:pt x="358" y="30"/>
                  </a:cubicBezTo>
                  <a:cubicBezTo>
                    <a:pt x="355" y="35"/>
                    <a:pt x="356" y="34"/>
                    <a:pt x="357" y="41"/>
                  </a:cubicBezTo>
                  <a:cubicBezTo>
                    <a:pt x="357" y="48"/>
                    <a:pt x="359" y="54"/>
                    <a:pt x="358" y="58"/>
                  </a:cubicBezTo>
                  <a:cubicBezTo>
                    <a:pt x="357" y="62"/>
                    <a:pt x="356" y="63"/>
                    <a:pt x="350" y="65"/>
                  </a:cubicBezTo>
                  <a:cubicBezTo>
                    <a:pt x="344" y="66"/>
                    <a:pt x="341" y="66"/>
                    <a:pt x="335" y="66"/>
                  </a:cubicBezTo>
                  <a:cubicBezTo>
                    <a:pt x="330" y="66"/>
                    <a:pt x="325" y="72"/>
                    <a:pt x="320" y="72"/>
                  </a:cubicBezTo>
                  <a:cubicBezTo>
                    <a:pt x="314" y="72"/>
                    <a:pt x="282" y="71"/>
                    <a:pt x="278" y="72"/>
                  </a:cubicBezTo>
                  <a:cubicBezTo>
                    <a:pt x="274" y="72"/>
                    <a:pt x="261" y="63"/>
                    <a:pt x="260" y="63"/>
                  </a:cubicBezTo>
                  <a:cubicBezTo>
                    <a:pt x="258" y="63"/>
                    <a:pt x="243" y="63"/>
                    <a:pt x="241" y="63"/>
                  </a:cubicBezTo>
                  <a:cubicBezTo>
                    <a:pt x="240" y="63"/>
                    <a:pt x="233" y="61"/>
                    <a:pt x="229" y="64"/>
                  </a:cubicBezTo>
                  <a:cubicBezTo>
                    <a:pt x="226" y="67"/>
                    <a:pt x="226" y="71"/>
                    <a:pt x="223" y="72"/>
                  </a:cubicBezTo>
                  <a:cubicBezTo>
                    <a:pt x="220" y="74"/>
                    <a:pt x="214" y="73"/>
                    <a:pt x="211" y="69"/>
                  </a:cubicBezTo>
                  <a:cubicBezTo>
                    <a:pt x="208" y="65"/>
                    <a:pt x="204" y="64"/>
                    <a:pt x="204" y="60"/>
                  </a:cubicBezTo>
                  <a:cubicBezTo>
                    <a:pt x="205" y="55"/>
                    <a:pt x="201" y="49"/>
                    <a:pt x="205" y="44"/>
                  </a:cubicBezTo>
                  <a:cubicBezTo>
                    <a:pt x="209" y="39"/>
                    <a:pt x="213" y="30"/>
                    <a:pt x="213" y="3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64" y="7"/>
                    <a:pt x="164" y="7"/>
                    <a:pt x="164" y="7"/>
                  </a:cubicBezTo>
                  <a:cubicBezTo>
                    <a:pt x="164" y="7"/>
                    <a:pt x="147" y="1"/>
                    <a:pt x="141" y="3"/>
                  </a:cubicBezTo>
                  <a:cubicBezTo>
                    <a:pt x="134" y="5"/>
                    <a:pt x="125" y="5"/>
                    <a:pt x="124" y="9"/>
                  </a:cubicBezTo>
                  <a:cubicBezTo>
                    <a:pt x="122" y="13"/>
                    <a:pt x="113" y="8"/>
                    <a:pt x="113" y="8"/>
                  </a:cubicBezTo>
                  <a:cubicBezTo>
                    <a:pt x="113" y="8"/>
                    <a:pt x="111" y="0"/>
                    <a:pt x="107" y="3"/>
                  </a:cubicBezTo>
                  <a:cubicBezTo>
                    <a:pt x="102" y="6"/>
                    <a:pt x="101" y="7"/>
                    <a:pt x="98" y="12"/>
                  </a:cubicBezTo>
                  <a:cubicBezTo>
                    <a:pt x="96" y="17"/>
                    <a:pt x="98" y="19"/>
                    <a:pt x="93" y="19"/>
                  </a:cubicBezTo>
                  <a:cubicBezTo>
                    <a:pt x="88" y="19"/>
                    <a:pt x="86" y="15"/>
                    <a:pt x="82" y="16"/>
                  </a:cubicBezTo>
                  <a:cubicBezTo>
                    <a:pt x="78" y="17"/>
                    <a:pt x="75" y="17"/>
                    <a:pt x="72" y="22"/>
                  </a:cubicBezTo>
                  <a:cubicBezTo>
                    <a:pt x="68" y="28"/>
                    <a:pt x="68" y="29"/>
                    <a:pt x="65" y="30"/>
                  </a:cubicBezTo>
                  <a:cubicBezTo>
                    <a:pt x="62" y="32"/>
                    <a:pt x="58" y="33"/>
                    <a:pt x="55" y="33"/>
                  </a:cubicBezTo>
                  <a:cubicBezTo>
                    <a:pt x="51" y="32"/>
                    <a:pt x="42" y="28"/>
                    <a:pt x="40" y="32"/>
                  </a:cubicBezTo>
                  <a:cubicBezTo>
                    <a:pt x="38" y="36"/>
                    <a:pt x="36" y="36"/>
                    <a:pt x="33" y="41"/>
                  </a:cubicBezTo>
                  <a:cubicBezTo>
                    <a:pt x="31" y="46"/>
                    <a:pt x="26" y="50"/>
                    <a:pt x="27" y="53"/>
                  </a:cubicBezTo>
                  <a:cubicBezTo>
                    <a:pt x="28" y="57"/>
                    <a:pt x="31" y="67"/>
                    <a:pt x="33" y="68"/>
                  </a:cubicBezTo>
                  <a:cubicBezTo>
                    <a:pt x="35" y="69"/>
                    <a:pt x="41" y="72"/>
                    <a:pt x="40" y="75"/>
                  </a:cubicBezTo>
                  <a:cubicBezTo>
                    <a:pt x="39" y="78"/>
                    <a:pt x="32" y="89"/>
                    <a:pt x="32" y="90"/>
                  </a:cubicBezTo>
                  <a:cubicBezTo>
                    <a:pt x="32" y="91"/>
                    <a:pt x="34" y="106"/>
                    <a:pt x="32" y="110"/>
                  </a:cubicBezTo>
                  <a:cubicBezTo>
                    <a:pt x="30" y="114"/>
                    <a:pt x="27" y="115"/>
                    <a:pt x="29" y="118"/>
                  </a:cubicBezTo>
                  <a:cubicBezTo>
                    <a:pt x="30" y="120"/>
                    <a:pt x="33" y="133"/>
                    <a:pt x="33" y="136"/>
                  </a:cubicBezTo>
                  <a:cubicBezTo>
                    <a:pt x="32" y="140"/>
                    <a:pt x="40" y="149"/>
                    <a:pt x="41" y="152"/>
                  </a:cubicBezTo>
                  <a:cubicBezTo>
                    <a:pt x="42" y="155"/>
                    <a:pt x="52" y="167"/>
                    <a:pt x="52" y="167"/>
                  </a:cubicBezTo>
                  <a:cubicBezTo>
                    <a:pt x="52" y="167"/>
                    <a:pt x="57" y="169"/>
                    <a:pt x="58" y="169"/>
                  </a:cubicBezTo>
                  <a:cubicBezTo>
                    <a:pt x="59" y="169"/>
                    <a:pt x="66" y="168"/>
                    <a:pt x="66" y="168"/>
                  </a:cubicBezTo>
                  <a:cubicBezTo>
                    <a:pt x="66" y="168"/>
                    <a:pt x="74" y="163"/>
                    <a:pt x="75" y="165"/>
                  </a:cubicBezTo>
                  <a:cubicBezTo>
                    <a:pt x="76" y="166"/>
                    <a:pt x="82" y="168"/>
                    <a:pt x="83" y="171"/>
                  </a:cubicBezTo>
                  <a:cubicBezTo>
                    <a:pt x="84" y="173"/>
                    <a:pt x="88" y="178"/>
                    <a:pt x="88" y="180"/>
                  </a:cubicBezTo>
                  <a:cubicBezTo>
                    <a:pt x="88" y="181"/>
                    <a:pt x="92" y="184"/>
                    <a:pt x="94" y="184"/>
                  </a:cubicBezTo>
                  <a:cubicBezTo>
                    <a:pt x="96" y="184"/>
                    <a:pt x="110" y="186"/>
                    <a:pt x="110" y="186"/>
                  </a:cubicBezTo>
                  <a:cubicBezTo>
                    <a:pt x="114" y="196"/>
                    <a:pt x="114" y="196"/>
                    <a:pt x="114" y="196"/>
                  </a:cubicBezTo>
                  <a:cubicBezTo>
                    <a:pt x="114" y="196"/>
                    <a:pt x="118" y="204"/>
                    <a:pt x="118" y="207"/>
                  </a:cubicBezTo>
                  <a:cubicBezTo>
                    <a:pt x="118" y="210"/>
                    <a:pt x="122" y="213"/>
                    <a:pt x="116" y="217"/>
                  </a:cubicBezTo>
                  <a:cubicBezTo>
                    <a:pt x="111" y="220"/>
                    <a:pt x="108" y="219"/>
                    <a:pt x="104" y="222"/>
                  </a:cubicBezTo>
                  <a:cubicBezTo>
                    <a:pt x="99" y="225"/>
                    <a:pt x="93" y="226"/>
                    <a:pt x="91" y="229"/>
                  </a:cubicBezTo>
                  <a:cubicBezTo>
                    <a:pt x="89" y="231"/>
                    <a:pt x="88" y="233"/>
                    <a:pt x="85" y="234"/>
                  </a:cubicBezTo>
                  <a:cubicBezTo>
                    <a:pt x="83" y="235"/>
                    <a:pt x="75" y="235"/>
                    <a:pt x="71" y="236"/>
                  </a:cubicBezTo>
                  <a:cubicBezTo>
                    <a:pt x="67" y="238"/>
                    <a:pt x="68" y="239"/>
                    <a:pt x="63" y="241"/>
                  </a:cubicBezTo>
                  <a:cubicBezTo>
                    <a:pt x="57" y="242"/>
                    <a:pt x="49" y="235"/>
                    <a:pt x="47" y="242"/>
                  </a:cubicBezTo>
                  <a:cubicBezTo>
                    <a:pt x="44" y="248"/>
                    <a:pt x="39" y="255"/>
                    <a:pt x="40" y="260"/>
                  </a:cubicBezTo>
                  <a:cubicBezTo>
                    <a:pt x="41" y="264"/>
                    <a:pt x="43" y="269"/>
                    <a:pt x="44" y="271"/>
                  </a:cubicBezTo>
                  <a:cubicBezTo>
                    <a:pt x="46" y="273"/>
                    <a:pt x="50" y="277"/>
                    <a:pt x="51" y="279"/>
                  </a:cubicBezTo>
                  <a:cubicBezTo>
                    <a:pt x="51" y="282"/>
                    <a:pt x="54" y="284"/>
                    <a:pt x="54" y="288"/>
                  </a:cubicBezTo>
                  <a:cubicBezTo>
                    <a:pt x="54" y="292"/>
                    <a:pt x="48" y="296"/>
                    <a:pt x="46" y="297"/>
                  </a:cubicBezTo>
                  <a:cubicBezTo>
                    <a:pt x="44" y="297"/>
                    <a:pt x="34" y="297"/>
                    <a:pt x="33" y="299"/>
                  </a:cubicBezTo>
                  <a:cubicBezTo>
                    <a:pt x="32" y="300"/>
                    <a:pt x="28" y="307"/>
                    <a:pt x="27" y="309"/>
                  </a:cubicBezTo>
                  <a:cubicBezTo>
                    <a:pt x="26" y="311"/>
                    <a:pt x="23" y="317"/>
                    <a:pt x="21" y="317"/>
                  </a:cubicBezTo>
                  <a:cubicBezTo>
                    <a:pt x="19" y="317"/>
                    <a:pt x="15" y="314"/>
                    <a:pt x="10" y="315"/>
                  </a:cubicBezTo>
                  <a:cubicBezTo>
                    <a:pt x="6" y="316"/>
                    <a:pt x="0" y="317"/>
                    <a:pt x="0" y="319"/>
                  </a:cubicBezTo>
                  <a:cubicBezTo>
                    <a:pt x="1" y="320"/>
                    <a:pt x="5" y="321"/>
                    <a:pt x="4" y="327"/>
                  </a:cubicBezTo>
                  <a:cubicBezTo>
                    <a:pt x="3" y="334"/>
                    <a:pt x="8" y="340"/>
                    <a:pt x="6" y="344"/>
                  </a:cubicBezTo>
                  <a:cubicBezTo>
                    <a:pt x="5" y="347"/>
                    <a:pt x="0" y="347"/>
                    <a:pt x="0" y="355"/>
                  </a:cubicBezTo>
                  <a:cubicBezTo>
                    <a:pt x="0" y="364"/>
                    <a:pt x="4" y="368"/>
                    <a:pt x="7" y="372"/>
                  </a:cubicBezTo>
                  <a:cubicBezTo>
                    <a:pt x="10" y="377"/>
                    <a:pt x="18" y="380"/>
                    <a:pt x="19" y="381"/>
                  </a:cubicBezTo>
                  <a:cubicBezTo>
                    <a:pt x="20" y="381"/>
                    <a:pt x="24" y="387"/>
                    <a:pt x="26" y="386"/>
                  </a:cubicBezTo>
                  <a:cubicBezTo>
                    <a:pt x="28" y="385"/>
                    <a:pt x="36" y="386"/>
                    <a:pt x="36" y="386"/>
                  </a:cubicBezTo>
                  <a:cubicBezTo>
                    <a:pt x="36" y="386"/>
                    <a:pt x="44" y="382"/>
                    <a:pt x="44" y="385"/>
                  </a:cubicBezTo>
                  <a:cubicBezTo>
                    <a:pt x="44" y="389"/>
                    <a:pt x="45" y="396"/>
                    <a:pt x="46" y="399"/>
                  </a:cubicBezTo>
                  <a:cubicBezTo>
                    <a:pt x="47" y="402"/>
                    <a:pt x="50" y="409"/>
                    <a:pt x="53" y="413"/>
                  </a:cubicBezTo>
                  <a:cubicBezTo>
                    <a:pt x="56" y="417"/>
                    <a:pt x="61" y="423"/>
                    <a:pt x="63" y="425"/>
                  </a:cubicBezTo>
                  <a:cubicBezTo>
                    <a:pt x="66" y="426"/>
                    <a:pt x="70" y="427"/>
                    <a:pt x="72" y="426"/>
                  </a:cubicBezTo>
                  <a:cubicBezTo>
                    <a:pt x="73" y="424"/>
                    <a:pt x="74" y="424"/>
                    <a:pt x="74" y="421"/>
                  </a:cubicBezTo>
                  <a:cubicBezTo>
                    <a:pt x="74" y="417"/>
                    <a:pt x="75" y="410"/>
                    <a:pt x="73" y="408"/>
                  </a:cubicBezTo>
                  <a:cubicBezTo>
                    <a:pt x="71" y="406"/>
                    <a:pt x="68" y="406"/>
                    <a:pt x="68" y="403"/>
                  </a:cubicBezTo>
                  <a:cubicBezTo>
                    <a:pt x="68" y="400"/>
                    <a:pt x="67" y="397"/>
                    <a:pt x="69" y="395"/>
                  </a:cubicBezTo>
                  <a:cubicBezTo>
                    <a:pt x="72" y="393"/>
                    <a:pt x="75" y="392"/>
                    <a:pt x="79" y="390"/>
                  </a:cubicBezTo>
                  <a:cubicBezTo>
                    <a:pt x="83" y="387"/>
                    <a:pt x="85" y="384"/>
                    <a:pt x="87" y="383"/>
                  </a:cubicBezTo>
                  <a:cubicBezTo>
                    <a:pt x="88" y="381"/>
                    <a:pt x="93" y="376"/>
                    <a:pt x="96" y="375"/>
                  </a:cubicBezTo>
                  <a:cubicBezTo>
                    <a:pt x="99" y="374"/>
                    <a:pt x="108" y="366"/>
                    <a:pt x="108" y="366"/>
                  </a:cubicBezTo>
                  <a:cubicBezTo>
                    <a:pt x="108" y="360"/>
                    <a:pt x="108" y="360"/>
                    <a:pt x="108" y="360"/>
                  </a:cubicBezTo>
                  <a:cubicBezTo>
                    <a:pt x="108" y="360"/>
                    <a:pt x="110" y="359"/>
                    <a:pt x="112" y="362"/>
                  </a:cubicBezTo>
                  <a:cubicBezTo>
                    <a:pt x="114" y="364"/>
                    <a:pt x="118" y="367"/>
                    <a:pt x="118" y="367"/>
                  </a:cubicBezTo>
                  <a:cubicBezTo>
                    <a:pt x="118" y="367"/>
                    <a:pt x="124" y="364"/>
                    <a:pt x="125" y="361"/>
                  </a:cubicBezTo>
                  <a:cubicBezTo>
                    <a:pt x="126" y="358"/>
                    <a:pt x="133" y="354"/>
                    <a:pt x="133" y="354"/>
                  </a:cubicBezTo>
                  <a:cubicBezTo>
                    <a:pt x="142" y="349"/>
                    <a:pt x="142" y="349"/>
                    <a:pt x="142" y="349"/>
                  </a:cubicBezTo>
                  <a:cubicBezTo>
                    <a:pt x="142" y="349"/>
                    <a:pt x="147" y="343"/>
                    <a:pt x="149" y="346"/>
                  </a:cubicBezTo>
                  <a:cubicBezTo>
                    <a:pt x="151" y="348"/>
                    <a:pt x="150" y="347"/>
                    <a:pt x="154" y="351"/>
                  </a:cubicBezTo>
                  <a:cubicBezTo>
                    <a:pt x="159" y="354"/>
                    <a:pt x="162" y="355"/>
                    <a:pt x="165" y="353"/>
                  </a:cubicBezTo>
                  <a:cubicBezTo>
                    <a:pt x="167" y="352"/>
                    <a:pt x="168" y="350"/>
                    <a:pt x="176" y="350"/>
                  </a:cubicBezTo>
                  <a:cubicBezTo>
                    <a:pt x="184" y="349"/>
                    <a:pt x="186" y="351"/>
                    <a:pt x="186" y="348"/>
                  </a:cubicBezTo>
                  <a:cubicBezTo>
                    <a:pt x="186" y="344"/>
                    <a:pt x="187" y="335"/>
                    <a:pt x="188" y="334"/>
                  </a:cubicBezTo>
                  <a:cubicBezTo>
                    <a:pt x="188" y="333"/>
                    <a:pt x="192" y="328"/>
                    <a:pt x="192" y="328"/>
                  </a:cubicBezTo>
                  <a:cubicBezTo>
                    <a:pt x="192" y="328"/>
                    <a:pt x="196" y="329"/>
                    <a:pt x="198" y="328"/>
                  </a:cubicBezTo>
                  <a:cubicBezTo>
                    <a:pt x="201" y="328"/>
                    <a:pt x="201" y="323"/>
                    <a:pt x="202" y="320"/>
                  </a:cubicBezTo>
                  <a:cubicBezTo>
                    <a:pt x="203" y="317"/>
                    <a:pt x="209" y="309"/>
                    <a:pt x="209" y="309"/>
                  </a:cubicBezTo>
                  <a:cubicBezTo>
                    <a:pt x="222" y="297"/>
                    <a:pt x="222" y="297"/>
                    <a:pt x="222" y="297"/>
                  </a:cubicBezTo>
                  <a:cubicBezTo>
                    <a:pt x="222" y="297"/>
                    <a:pt x="233" y="287"/>
                    <a:pt x="237" y="289"/>
                  </a:cubicBezTo>
                  <a:cubicBezTo>
                    <a:pt x="241" y="291"/>
                    <a:pt x="242" y="293"/>
                    <a:pt x="244" y="293"/>
                  </a:cubicBezTo>
                  <a:cubicBezTo>
                    <a:pt x="247" y="294"/>
                    <a:pt x="249" y="294"/>
                    <a:pt x="254" y="294"/>
                  </a:cubicBezTo>
                  <a:cubicBezTo>
                    <a:pt x="259" y="294"/>
                    <a:pt x="267" y="293"/>
                    <a:pt x="268" y="290"/>
                  </a:cubicBezTo>
                  <a:cubicBezTo>
                    <a:pt x="269" y="288"/>
                    <a:pt x="269" y="282"/>
                    <a:pt x="270" y="280"/>
                  </a:cubicBezTo>
                  <a:cubicBezTo>
                    <a:pt x="270" y="277"/>
                    <a:pt x="271" y="271"/>
                    <a:pt x="271" y="268"/>
                  </a:cubicBezTo>
                  <a:cubicBezTo>
                    <a:pt x="271" y="265"/>
                    <a:pt x="273" y="262"/>
                    <a:pt x="274" y="262"/>
                  </a:cubicBezTo>
                  <a:cubicBezTo>
                    <a:pt x="275" y="261"/>
                    <a:pt x="291" y="261"/>
                    <a:pt x="293" y="263"/>
                  </a:cubicBezTo>
                  <a:cubicBezTo>
                    <a:pt x="295" y="264"/>
                    <a:pt x="303" y="267"/>
                    <a:pt x="306" y="263"/>
                  </a:cubicBezTo>
                  <a:cubicBezTo>
                    <a:pt x="309" y="258"/>
                    <a:pt x="316" y="248"/>
                    <a:pt x="316" y="248"/>
                  </a:cubicBezTo>
                  <a:cubicBezTo>
                    <a:pt x="330" y="236"/>
                    <a:pt x="330" y="236"/>
                    <a:pt x="330" y="236"/>
                  </a:cubicBezTo>
                  <a:cubicBezTo>
                    <a:pt x="330" y="236"/>
                    <a:pt x="345" y="226"/>
                    <a:pt x="349" y="227"/>
                  </a:cubicBezTo>
                  <a:cubicBezTo>
                    <a:pt x="354" y="228"/>
                    <a:pt x="364" y="226"/>
                    <a:pt x="367" y="225"/>
                  </a:cubicBezTo>
                  <a:cubicBezTo>
                    <a:pt x="370" y="225"/>
                    <a:pt x="375" y="223"/>
                    <a:pt x="382" y="222"/>
                  </a:cubicBezTo>
                  <a:cubicBezTo>
                    <a:pt x="388" y="221"/>
                    <a:pt x="395" y="219"/>
                    <a:pt x="396" y="217"/>
                  </a:cubicBezTo>
                  <a:cubicBezTo>
                    <a:pt x="397" y="215"/>
                    <a:pt x="398" y="214"/>
                    <a:pt x="399" y="210"/>
                  </a:cubicBezTo>
                  <a:cubicBezTo>
                    <a:pt x="400" y="207"/>
                    <a:pt x="401" y="188"/>
                    <a:pt x="401" y="188"/>
                  </a:cubicBezTo>
                  <a:cubicBezTo>
                    <a:pt x="401" y="188"/>
                    <a:pt x="408" y="185"/>
                    <a:pt x="407" y="184"/>
                  </a:cubicBezTo>
                  <a:cubicBezTo>
                    <a:pt x="406" y="184"/>
                    <a:pt x="396" y="176"/>
                    <a:pt x="396" y="176"/>
                  </a:cubicBezTo>
                  <a:cubicBezTo>
                    <a:pt x="390" y="174"/>
                    <a:pt x="390" y="174"/>
                    <a:pt x="390" y="174"/>
                  </a:cubicBezTo>
                  <a:cubicBezTo>
                    <a:pt x="390" y="174"/>
                    <a:pt x="386" y="174"/>
                    <a:pt x="387" y="173"/>
                  </a:cubicBezTo>
                  <a:cubicBezTo>
                    <a:pt x="388" y="173"/>
                    <a:pt x="398" y="166"/>
                    <a:pt x="398" y="166"/>
                  </a:cubicBezTo>
                  <a:cubicBezTo>
                    <a:pt x="398" y="166"/>
                    <a:pt x="408" y="163"/>
                    <a:pt x="410" y="164"/>
                  </a:cubicBezTo>
                  <a:cubicBezTo>
                    <a:pt x="412" y="165"/>
                    <a:pt x="420" y="167"/>
                    <a:pt x="420" y="167"/>
                  </a:cubicBezTo>
                  <a:cubicBezTo>
                    <a:pt x="420" y="167"/>
                    <a:pt x="431" y="168"/>
                    <a:pt x="433" y="170"/>
                  </a:cubicBezTo>
                  <a:cubicBezTo>
                    <a:pt x="435" y="171"/>
                    <a:pt x="443" y="172"/>
                    <a:pt x="444" y="174"/>
                  </a:cubicBezTo>
                  <a:cubicBezTo>
                    <a:pt x="445" y="176"/>
                    <a:pt x="448" y="180"/>
                    <a:pt x="449" y="182"/>
                  </a:cubicBezTo>
                  <a:cubicBezTo>
                    <a:pt x="449" y="184"/>
                    <a:pt x="453" y="185"/>
                    <a:pt x="454" y="186"/>
                  </a:cubicBezTo>
                  <a:cubicBezTo>
                    <a:pt x="455" y="186"/>
                    <a:pt x="458" y="183"/>
                    <a:pt x="458" y="188"/>
                  </a:cubicBezTo>
                  <a:cubicBezTo>
                    <a:pt x="459" y="193"/>
                    <a:pt x="467" y="205"/>
                    <a:pt x="467" y="205"/>
                  </a:cubicBezTo>
                  <a:cubicBezTo>
                    <a:pt x="467" y="205"/>
                    <a:pt x="462" y="206"/>
                    <a:pt x="469" y="209"/>
                  </a:cubicBezTo>
                  <a:cubicBezTo>
                    <a:pt x="476" y="213"/>
                    <a:pt x="482" y="217"/>
                    <a:pt x="482" y="217"/>
                  </a:cubicBezTo>
                  <a:cubicBezTo>
                    <a:pt x="482" y="217"/>
                    <a:pt x="486" y="214"/>
                    <a:pt x="485" y="214"/>
                  </a:cubicBezTo>
                  <a:cubicBezTo>
                    <a:pt x="484" y="215"/>
                    <a:pt x="486" y="206"/>
                    <a:pt x="486" y="206"/>
                  </a:cubicBezTo>
                  <a:cubicBezTo>
                    <a:pt x="486" y="206"/>
                    <a:pt x="482" y="196"/>
                    <a:pt x="485" y="191"/>
                  </a:cubicBezTo>
                  <a:cubicBezTo>
                    <a:pt x="488" y="186"/>
                    <a:pt x="491" y="181"/>
                    <a:pt x="494" y="178"/>
                  </a:cubicBezTo>
                  <a:cubicBezTo>
                    <a:pt x="496" y="176"/>
                    <a:pt x="499" y="174"/>
                    <a:pt x="499" y="173"/>
                  </a:cubicBezTo>
                  <a:cubicBezTo>
                    <a:pt x="499" y="172"/>
                    <a:pt x="496" y="162"/>
                    <a:pt x="500" y="157"/>
                  </a:cubicBezTo>
                  <a:cubicBezTo>
                    <a:pt x="504" y="151"/>
                    <a:pt x="511" y="146"/>
                    <a:pt x="511" y="146"/>
                  </a:cubicBezTo>
                  <a:cubicBezTo>
                    <a:pt x="509" y="121"/>
                    <a:pt x="509" y="121"/>
                    <a:pt x="509" y="121"/>
                  </a:cubicBezTo>
                  <a:cubicBezTo>
                    <a:pt x="509" y="121"/>
                    <a:pt x="511" y="101"/>
                    <a:pt x="511" y="99"/>
                  </a:cubicBezTo>
                  <a:cubicBezTo>
                    <a:pt x="511" y="98"/>
                    <a:pt x="514" y="82"/>
                    <a:pt x="514" y="82"/>
                  </a:cubicBezTo>
                  <a:cubicBezTo>
                    <a:pt x="514" y="82"/>
                    <a:pt x="514" y="64"/>
                    <a:pt x="513" y="64"/>
                  </a:cubicBezTo>
                  <a:cubicBezTo>
                    <a:pt x="512" y="63"/>
                    <a:pt x="505" y="54"/>
                    <a:pt x="506" y="52"/>
                  </a:cubicBezTo>
                  <a:cubicBezTo>
                    <a:pt x="506" y="51"/>
                    <a:pt x="497" y="34"/>
                    <a:pt x="497" y="34"/>
                  </a:cubicBezTo>
                  <a:cubicBezTo>
                    <a:pt x="492" y="31"/>
                    <a:pt x="492" y="31"/>
                    <a:pt x="492" y="31"/>
                  </a:cubicBezTo>
                  <a:cubicBezTo>
                    <a:pt x="480" y="26"/>
                    <a:pt x="480" y="26"/>
                    <a:pt x="480" y="26"/>
                  </a:cubicBezTo>
                  <a:cubicBezTo>
                    <a:pt x="476" y="20"/>
                    <a:pt x="476" y="20"/>
                    <a:pt x="476" y="20"/>
                  </a:cubicBezTo>
                  <a:cubicBezTo>
                    <a:pt x="468" y="15"/>
                    <a:pt x="468" y="15"/>
                    <a:pt x="468" y="15"/>
                  </a:cubicBezTo>
                  <a:lnTo>
                    <a:pt x="465" y="11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568E9936-14E2-45E4-86CD-C4156E710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5343" y="1312863"/>
              <a:ext cx="1057276" cy="1330323"/>
            </a:xfrm>
            <a:custGeom>
              <a:avLst/>
              <a:gdLst>
                <a:gd name="T0" fmla="*/ 452 w 453"/>
                <a:gd name="T1" fmla="*/ 365 h 571"/>
                <a:gd name="T2" fmla="*/ 450 w 453"/>
                <a:gd name="T3" fmla="*/ 331 h 571"/>
                <a:gd name="T4" fmla="*/ 404 w 453"/>
                <a:gd name="T5" fmla="*/ 303 h 571"/>
                <a:gd name="T6" fmla="*/ 383 w 453"/>
                <a:gd name="T7" fmla="*/ 285 h 571"/>
                <a:gd name="T8" fmla="*/ 348 w 453"/>
                <a:gd name="T9" fmla="*/ 286 h 571"/>
                <a:gd name="T10" fmla="*/ 330 w 453"/>
                <a:gd name="T11" fmla="*/ 273 h 571"/>
                <a:gd name="T12" fmla="*/ 310 w 453"/>
                <a:gd name="T13" fmla="*/ 265 h 571"/>
                <a:gd name="T14" fmla="*/ 312 w 453"/>
                <a:gd name="T15" fmla="*/ 236 h 571"/>
                <a:gd name="T16" fmla="*/ 301 w 453"/>
                <a:gd name="T17" fmla="*/ 215 h 571"/>
                <a:gd name="T18" fmla="*/ 364 w 453"/>
                <a:gd name="T19" fmla="*/ 229 h 571"/>
                <a:gd name="T20" fmla="*/ 323 w 453"/>
                <a:gd name="T21" fmla="*/ 179 h 571"/>
                <a:gd name="T22" fmla="*/ 302 w 453"/>
                <a:gd name="T23" fmla="*/ 148 h 571"/>
                <a:gd name="T24" fmla="*/ 275 w 453"/>
                <a:gd name="T25" fmla="*/ 132 h 571"/>
                <a:gd name="T26" fmla="*/ 280 w 453"/>
                <a:gd name="T27" fmla="*/ 104 h 571"/>
                <a:gd name="T28" fmla="*/ 269 w 453"/>
                <a:gd name="T29" fmla="*/ 80 h 571"/>
                <a:gd name="T30" fmla="*/ 302 w 453"/>
                <a:gd name="T31" fmla="*/ 57 h 571"/>
                <a:gd name="T32" fmla="*/ 254 w 453"/>
                <a:gd name="T33" fmla="*/ 26 h 571"/>
                <a:gd name="T34" fmla="*/ 211 w 453"/>
                <a:gd name="T35" fmla="*/ 5 h 571"/>
                <a:gd name="T36" fmla="*/ 177 w 453"/>
                <a:gd name="T37" fmla="*/ 0 h 571"/>
                <a:gd name="T38" fmla="*/ 147 w 453"/>
                <a:gd name="T39" fmla="*/ 19 h 571"/>
                <a:gd name="T40" fmla="*/ 129 w 453"/>
                <a:gd name="T41" fmla="*/ 34 h 571"/>
                <a:gd name="T42" fmla="*/ 93 w 453"/>
                <a:gd name="T43" fmla="*/ 37 h 571"/>
                <a:gd name="T44" fmla="*/ 64 w 453"/>
                <a:gd name="T45" fmla="*/ 53 h 571"/>
                <a:gd name="T46" fmla="*/ 29 w 453"/>
                <a:gd name="T47" fmla="*/ 56 h 571"/>
                <a:gd name="T48" fmla="*/ 44 w 453"/>
                <a:gd name="T49" fmla="*/ 87 h 571"/>
                <a:gd name="T50" fmla="*/ 61 w 453"/>
                <a:gd name="T51" fmla="*/ 110 h 571"/>
                <a:gd name="T52" fmla="*/ 69 w 453"/>
                <a:gd name="T53" fmla="*/ 145 h 571"/>
                <a:gd name="T54" fmla="*/ 72 w 453"/>
                <a:gd name="T55" fmla="*/ 161 h 571"/>
                <a:gd name="T56" fmla="*/ 68 w 453"/>
                <a:gd name="T57" fmla="*/ 196 h 571"/>
                <a:gd name="T58" fmla="*/ 75 w 453"/>
                <a:gd name="T59" fmla="*/ 232 h 571"/>
                <a:gd name="T60" fmla="*/ 53 w 453"/>
                <a:gd name="T61" fmla="*/ 264 h 571"/>
                <a:gd name="T62" fmla="*/ 16 w 453"/>
                <a:gd name="T63" fmla="*/ 269 h 571"/>
                <a:gd name="T64" fmla="*/ 10 w 453"/>
                <a:gd name="T65" fmla="*/ 310 h 571"/>
                <a:gd name="T66" fmla="*/ 10 w 453"/>
                <a:gd name="T67" fmla="*/ 335 h 571"/>
                <a:gd name="T68" fmla="*/ 9 w 453"/>
                <a:gd name="T69" fmla="*/ 374 h 571"/>
                <a:gd name="T70" fmla="*/ 35 w 453"/>
                <a:gd name="T71" fmla="*/ 385 h 571"/>
                <a:gd name="T72" fmla="*/ 68 w 453"/>
                <a:gd name="T73" fmla="*/ 433 h 571"/>
                <a:gd name="T74" fmla="*/ 103 w 453"/>
                <a:gd name="T75" fmla="*/ 451 h 571"/>
                <a:gd name="T76" fmla="*/ 139 w 453"/>
                <a:gd name="T77" fmla="*/ 463 h 571"/>
                <a:gd name="T78" fmla="*/ 159 w 453"/>
                <a:gd name="T79" fmla="*/ 489 h 571"/>
                <a:gd name="T80" fmla="*/ 165 w 453"/>
                <a:gd name="T81" fmla="*/ 519 h 571"/>
                <a:gd name="T82" fmla="*/ 196 w 453"/>
                <a:gd name="T83" fmla="*/ 545 h 571"/>
                <a:gd name="T84" fmla="*/ 223 w 453"/>
                <a:gd name="T85" fmla="*/ 552 h 571"/>
                <a:gd name="T86" fmla="*/ 253 w 453"/>
                <a:gd name="T87" fmla="*/ 557 h 571"/>
                <a:gd name="T88" fmla="*/ 273 w 453"/>
                <a:gd name="T89" fmla="*/ 567 h 571"/>
                <a:gd name="T90" fmla="*/ 301 w 453"/>
                <a:gd name="T91" fmla="*/ 569 h 571"/>
                <a:gd name="T92" fmla="*/ 312 w 453"/>
                <a:gd name="T93" fmla="*/ 545 h 571"/>
                <a:gd name="T94" fmla="*/ 286 w 453"/>
                <a:gd name="T95" fmla="*/ 509 h 571"/>
                <a:gd name="T96" fmla="*/ 287 w 453"/>
                <a:gd name="T97" fmla="*/ 478 h 571"/>
                <a:gd name="T98" fmla="*/ 295 w 453"/>
                <a:gd name="T99" fmla="*/ 449 h 571"/>
                <a:gd name="T100" fmla="*/ 282 w 453"/>
                <a:gd name="T101" fmla="*/ 430 h 571"/>
                <a:gd name="T102" fmla="*/ 302 w 453"/>
                <a:gd name="T103" fmla="*/ 403 h 571"/>
                <a:gd name="T104" fmla="*/ 320 w 453"/>
                <a:gd name="T105" fmla="*/ 404 h 571"/>
                <a:gd name="T106" fmla="*/ 337 w 453"/>
                <a:gd name="T107" fmla="*/ 390 h 571"/>
                <a:gd name="T108" fmla="*/ 352 w 453"/>
                <a:gd name="T109" fmla="*/ 389 h 571"/>
                <a:gd name="T110" fmla="*/ 371 w 453"/>
                <a:gd name="T111" fmla="*/ 383 h 571"/>
                <a:gd name="T112" fmla="*/ 398 w 453"/>
                <a:gd name="T113" fmla="*/ 377 h 571"/>
                <a:gd name="T114" fmla="*/ 435 w 453"/>
                <a:gd name="T115" fmla="*/ 382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3" h="571">
                  <a:moveTo>
                    <a:pt x="439" y="379"/>
                  </a:moveTo>
                  <a:cubicBezTo>
                    <a:pt x="442" y="374"/>
                    <a:pt x="442" y="374"/>
                    <a:pt x="442" y="374"/>
                  </a:cubicBezTo>
                  <a:cubicBezTo>
                    <a:pt x="442" y="374"/>
                    <a:pt x="452" y="369"/>
                    <a:pt x="452" y="365"/>
                  </a:cubicBezTo>
                  <a:cubicBezTo>
                    <a:pt x="452" y="361"/>
                    <a:pt x="453" y="355"/>
                    <a:pt x="453" y="355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51" y="346"/>
                    <a:pt x="452" y="334"/>
                    <a:pt x="450" y="331"/>
                  </a:cubicBezTo>
                  <a:cubicBezTo>
                    <a:pt x="448" y="328"/>
                    <a:pt x="432" y="309"/>
                    <a:pt x="432" y="309"/>
                  </a:cubicBezTo>
                  <a:cubicBezTo>
                    <a:pt x="420" y="303"/>
                    <a:pt x="420" y="303"/>
                    <a:pt x="420" y="303"/>
                  </a:cubicBezTo>
                  <a:cubicBezTo>
                    <a:pt x="420" y="303"/>
                    <a:pt x="408" y="299"/>
                    <a:pt x="404" y="303"/>
                  </a:cubicBezTo>
                  <a:cubicBezTo>
                    <a:pt x="400" y="307"/>
                    <a:pt x="400" y="305"/>
                    <a:pt x="400" y="305"/>
                  </a:cubicBezTo>
                  <a:cubicBezTo>
                    <a:pt x="394" y="304"/>
                    <a:pt x="394" y="304"/>
                    <a:pt x="394" y="304"/>
                  </a:cubicBezTo>
                  <a:cubicBezTo>
                    <a:pt x="383" y="285"/>
                    <a:pt x="383" y="285"/>
                    <a:pt x="383" y="285"/>
                  </a:cubicBezTo>
                  <a:cubicBezTo>
                    <a:pt x="383" y="285"/>
                    <a:pt x="369" y="273"/>
                    <a:pt x="366" y="275"/>
                  </a:cubicBezTo>
                  <a:cubicBezTo>
                    <a:pt x="363" y="277"/>
                    <a:pt x="362" y="276"/>
                    <a:pt x="355" y="281"/>
                  </a:cubicBezTo>
                  <a:cubicBezTo>
                    <a:pt x="348" y="286"/>
                    <a:pt x="348" y="286"/>
                    <a:pt x="348" y="286"/>
                  </a:cubicBezTo>
                  <a:cubicBezTo>
                    <a:pt x="340" y="278"/>
                    <a:pt x="340" y="278"/>
                    <a:pt x="340" y="278"/>
                  </a:cubicBezTo>
                  <a:cubicBezTo>
                    <a:pt x="338" y="270"/>
                    <a:pt x="338" y="270"/>
                    <a:pt x="338" y="270"/>
                  </a:cubicBezTo>
                  <a:cubicBezTo>
                    <a:pt x="338" y="270"/>
                    <a:pt x="333" y="269"/>
                    <a:pt x="330" y="273"/>
                  </a:cubicBezTo>
                  <a:cubicBezTo>
                    <a:pt x="326" y="277"/>
                    <a:pt x="326" y="277"/>
                    <a:pt x="326" y="277"/>
                  </a:cubicBezTo>
                  <a:cubicBezTo>
                    <a:pt x="315" y="274"/>
                    <a:pt x="315" y="274"/>
                    <a:pt x="315" y="274"/>
                  </a:cubicBezTo>
                  <a:cubicBezTo>
                    <a:pt x="310" y="265"/>
                    <a:pt x="310" y="265"/>
                    <a:pt x="310" y="265"/>
                  </a:cubicBezTo>
                  <a:cubicBezTo>
                    <a:pt x="302" y="256"/>
                    <a:pt x="302" y="256"/>
                    <a:pt x="302" y="256"/>
                  </a:cubicBezTo>
                  <a:cubicBezTo>
                    <a:pt x="315" y="242"/>
                    <a:pt x="315" y="242"/>
                    <a:pt x="315" y="242"/>
                  </a:cubicBezTo>
                  <a:cubicBezTo>
                    <a:pt x="312" y="236"/>
                    <a:pt x="312" y="236"/>
                    <a:pt x="312" y="236"/>
                  </a:cubicBezTo>
                  <a:cubicBezTo>
                    <a:pt x="319" y="233"/>
                    <a:pt x="319" y="233"/>
                    <a:pt x="319" y="233"/>
                  </a:cubicBezTo>
                  <a:cubicBezTo>
                    <a:pt x="326" y="225"/>
                    <a:pt x="326" y="225"/>
                    <a:pt x="326" y="225"/>
                  </a:cubicBezTo>
                  <a:cubicBezTo>
                    <a:pt x="301" y="215"/>
                    <a:pt x="301" y="215"/>
                    <a:pt x="301" y="215"/>
                  </a:cubicBezTo>
                  <a:cubicBezTo>
                    <a:pt x="301" y="215"/>
                    <a:pt x="317" y="210"/>
                    <a:pt x="314" y="210"/>
                  </a:cubicBezTo>
                  <a:cubicBezTo>
                    <a:pt x="311" y="210"/>
                    <a:pt x="336" y="209"/>
                    <a:pt x="336" y="209"/>
                  </a:cubicBezTo>
                  <a:cubicBezTo>
                    <a:pt x="364" y="229"/>
                    <a:pt x="364" y="229"/>
                    <a:pt x="364" y="229"/>
                  </a:cubicBezTo>
                  <a:cubicBezTo>
                    <a:pt x="335" y="213"/>
                    <a:pt x="335" y="213"/>
                    <a:pt x="335" y="213"/>
                  </a:cubicBezTo>
                  <a:cubicBezTo>
                    <a:pt x="335" y="213"/>
                    <a:pt x="332" y="197"/>
                    <a:pt x="326" y="196"/>
                  </a:cubicBezTo>
                  <a:cubicBezTo>
                    <a:pt x="319" y="195"/>
                    <a:pt x="323" y="179"/>
                    <a:pt x="323" y="179"/>
                  </a:cubicBezTo>
                  <a:cubicBezTo>
                    <a:pt x="314" y="168"/>
                    <a:pt x="314" y="168"/>
                    <a:pt x="314" y="168"/>
                  </a:cubicBezTo>
                  <a:cubicBezTo>
                    <a:pt x="301" y="159"/>
                    <a:pt x="301" y="159"/>
                    <a:pt x="301" y="159"/>
                  </a:cubicBezTo>
                  <a:cubicBezTo>
                    <a:pt x="302" y="148"/>
                    <a:pt x="302" y="148"/>
                    <a:pt x="302" y="148"/>
                  </a:cubicBezTo>
                  <a:cubicBezTo>
                    <a:pt x="302" y="148"/>
                    <a:pt x="298" y="136"/>
                    <a:pt x="295" y="136"/>
                  </a:cubicBezTo>
                  <a:cubicBezTo>
                    <a:pt x="292" y="136"/>
                    <a:pt x="289" y="137"/>
                    <a:pt x="285" y="136"/>
                  </a:cubicBezTo>
                  <a:cubicBezTo>
                    <a:pt x="281" y="135"/>
                    <a:pt x="276" y="135"/>
                    <a:pt x="275" y="132"/>
                  </a:cubicBezTo>
                  <a:cubicBezTo>
                    <a:pt x="274" y="129"/>
                    <a:pt x="284" y="118"/>
                    <a:pt x="284" y="118"/>
                  </a:cubicBezTo>
                  <a:cubicBezTo>
                    <a:pt x="302" y="105"/>
                    <a:pt x="302" y="105"/>
                    <a:pt x="302" y="105"/>
                  </a:cubicBezTo>
                  <a:cubicBezTo>
                    <a:pt x="280" y="104"/>
                    <a:pt x="280" y="104"/>
                    <a:pt x="280" y="104"/>
                  </a:cubicBezTo>
                  <a:cubicBezTo>
                    <a:pt x="276" y="93"/>
                    <a:pt x="276" y="93"/>
                    <a:pt x="276" y="93"/>
                  </a:cubicBezTo>
                  <a:cubicBezTo>
                    <a:pt x="271" y="87"/>
                    <a:pt x="271" y="87"/>
                    <a:pt x="271" y="87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69" y="80"/>
                    <a:pt x="278" y="76"/>
                    <a:pt x="284" y="74"/>
                  </a:cubicBezTo>
                  <a:cubicBezTo>
                    <a:pt x="290" y="72"/>
                    <a:pt x="301" y="79"/>
                    <a:pt x="301" y="79"/>
                  </a:cubicBezTo>
                  <a:cubicBezTo>
                    <a:pt x="301" y="79"/>
                    <a:pt x="302" y="60"/>
                    <a:pt x="302" y="57"/>
                  </a:cubicBezTo>
                  <a:cubicBezTo>
                    <a:pt x="302" y="54"/>
                    <a:pt x="295" y="35"/>
                    <a:pt x="295" y="35"/>
                  </a:cubicBezTo>
                  <a:cubicBezTo>
                    <a:pt x="278" y="24"/>
                    <a:pt x="278" y="24"/>
                    <a:pt x="278" y="24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20" y="18"/>
                    <a:pt x="220" y="18"/>
                    <a:pt x="220" y="18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2" y="1"/>
                    <a:pt x="192" y="1"/>
                    <a:pt x="19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5"/>
                    <a:pt x="159" y="3"/>
                    <a:pt x="157" y="7"/>
                  </a:cubicBezTo>
                  <a:cubicBezTo>
                    <a:pt x="155" y="11"/>
                    <a:pt x="148" y="12"/>
                    <a:pt x="147" y="19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34"/>
                    <a:pt x="123" y="37"/>
                    <a:pt x="120" y="39"/>
                  </a:cubicBezTo>
                  <a:cubicBezTo>
                    <a:pt x="117" y="41"/>
                    <a:pt x="107" y="39"/>
                    <a:pt x="107" y="39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3" y="37"/>
                    <a:pt x="83" y="39"/>
                    <a:pt x="80" y="38"/>
                  </a:cubicBezTo>
                  <a:cubicBezTo>
                    <a:pt x="77" y="37"/>
                    <a:pt x="72" y="35"/>
                    <a:pt x="70" y="40"/>
                  </a:cubicBezTo>
                  <a:cubicBezTo>
                    <a:pt x="68" y="45"/>
                    <a:pt x="64" y="53"/>
                    <a:pt x="64" y="53"/>
                  </a:cubicBezTo>
                  <a:cubicBezTo>
                    <a:pt x="64" y="53"/>
                    <a:pt x="56" y="48"/>
                    <a:pt x="52" y="48"/>
                  </a:cubicBezTo>
                  <a:cubicBezTo>
                    <a:pt x="48" y="48"/>
                    <a:pt x="35" y="50"/>
                    <a:pt x="35" y="50"/>
                  </a:cubicBezTo>
                  <a:cubicBezTo>
                    <a:pt x="35" y="50"/>
                    <a:pt x="30" y="51"/>
                    <a:pt x="29" y="56"/>
                  </a:cubicBezTo>
                  <a:cubicBezTo>
                    <a:pt x="28" y="61"/>
                    <a:pt x="24" y="66"/>
                    <a:pt x="26" y="71"/>
                  </a:cubicBezTo>
                  <a:cubicBezTo>
                    <a:pt x="28" y="76"/>
                    <a:pt x="40" y="78"/>
                    <a:pt x="40" y="78"/>
                  </a:cubicBezTo>
                  <a:cubicBezTo>
                    <a:pt x="40" y="78"/>
                    <a:pt x="43" y="86"/>
                    <a:pt x="44" y="87"/>
                  </a:cubicBezTo>
                  <a:cubicBezTo>
                    <a:pt x="45" y="89"/>
                    <a:pt x="52" y="99"/>
                    <a:pt x="52" y="99"/>
                  </a:cubicBezTo>
                  <a:cubicBezTo>
                    <a:pt x="52" y="99"/>
                    <a:pt x="54" y="103"/>
                    <a:pt x="56" y="104"/>
                  </a:cubicBezTo>
                  <a:cubicBezTo>
                    <a:pt x="57" y="105"/>
                    <a:pt x="61" y="110"/>
                    <a:pt x="61" y="110"/>
                  </a:cubicBezTo>
                  <a:cubicBezTo>
                    <a:pt x="61" y="110"/>
                    <a:pt x="65" y="114"/>
                    <a:pt x="64" y="116"/>
                  </a:cubicBezTo>
                  <a:cubicBezTo>
                    <a:pt x="63" y="117"/>
                    <a:pt x="62" y="134"/>
                    <a:pt x="62" y="134"/>
                  </a:cubicBezTo>
                  <a:cubicBezTo>
                    <a:pt x="62" y="134"/>
                    <a:pt x="67" y="144"/>
                    <a:pt x="69" y="145"/>
                  </a:cubicBezTo>
                  <a:cubicBezTo>
                    <a:pt x="71" y="146"/>
                    <a:pt x="79" y="149"/>
                    <a:pt x="79" y="150"/>
                  </a:cubicBezTo>
                  <a:cubicBezTo>
                    <a:pt x="79" y="152"/>
                    <a:pt x="77" y="155"/>
                    <a:pt x="77" y="155"/>
                  </a:cubicBezTo>
                  <a:cubicBezTo>
                    <a:pt x="72" y="161"/>
                    <a:pt x="72" y="161"/>
                    <a:pt x="72" y="161"/>
                  </a:cubicBezTo>
                  <a:cubicBezTo>
                    <a:pt x="72" y="161"/>
                    <a:pt x="70" y="159"/>
                    <a:pt x="69" y="164"/>
                  </a:cubicBezTo>
                  <a:cubicBezTo>
                    <a:pt x="69" y="168"/>
                    <a:pt x="63" y="169"/>
                    <a:pt x="64" y="172"/>
                  </a:cubicBezTo>
                  <a:cubicBezTo>
                    <a:pt x="66" y="174"/>
                    <a:pt x="68" y="194"/>
                    <a:pt x="68" y="196"/>
                  </a:cubicBezTo>
                  <a:cubicBezTo>
                    <a:pt x="68" y="197"/>
                    <a:pt x="69" y="214"/>
                    <a:pt x="69" y="214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227"/>
                    <a:pt x="75" y="230"/>
                    <a:pt x="75" y="232"/>
                  </a:cubicBezTo>
                  <a:cubicBezTo>
                    <a:pt x="75" y="234"/>
                    <a:pt x="73" y="245"/>
                    <a:pt x="71" y="247"/>
                  </a:cubicBezTo>
                  <a:cubicBezTo>
                    <a:pt x="69" y="249"/>
                    <a:pt x="68" y="249"/>
                    <a:pt x="66" y="254"/>
                  </a:cubicBezTo>
                  <a:cubicBezTo>
                    <a:pt x="64" y="259"/>
                    <a:pt x="55" y="263"/>
                    <a:pt x="53" y="264"/>
                  </a:cubicBezTo>
                  <a:cubicBezTo>
                    <a:pt x="52" y="264"/>
                    <a:pt x="45" y="266"/>
                    <a:pt x="41" y="267"/>
                  </a:cubicBezTo>
                  <a:cubicBezTo>
                    <a:pt x="37" y="267"/>
                    <a:pt x="33" y="266"/>
                    <a:pt x="30" y="267"/>
                  </a:cubicBezTo>
                  <a:cubicBezTo>
                    <a:pt x="28" y="268"/>
                    <a:pt x="16" y="269"/>
                    <a:pt x="16" y="269"/>
                  </a:cubicBezTo>
                  <a:cubicBezTo>
                    <a:pt x="16" y="269"/>
                    <a:pt x="12" y="284"/>
                    <a:pt x="11" y="287"/>
                  </a:cubicBezTo>
                  <a:cubicBezTo>
                    <a:pt x="9" y="289"/>
                    <a:pt x="7" y="298"/>
                    <a:pt x="7" y="298"/>
                  </a:cubicBezTo>
                  <a:cubicBezTo>
                    <a:pt x="7" y="298"/>
                    <a:pt x="8" y="307"/>
                    <a:pt x="10" y="310"/>
                  </a:cubicBezTo>
                  <a:cubicBezTo>
                    <a:pt x="11" y="313"/>
                    <a:pt x="13" y="316"/>
                    <a:pt x="14" y="318"/>
                  </a:cubicBezTo>
                  <a:cubicBezTo>
                    <a:pt x="14" y="320"/>
                    <a:pt x="18" y="324"/>
                    <a:pt x="17" y="326"/>
                  </a:cubicBezTo>
                  <a:cubicBezTo>
                    <a:pt x="16" y="327"/>
                    <a:pt x="14" y="330"/>
                    <a:pt x="10" y="335"/>
                  </a:cubicBezTo>
                  <a:cubicBezTo>
                    <a:pt x="6" y="339"/>
                    <a:pt x="4" y="345"/>
                    <a:pt x="4" y="345"/>
                  </a:cubicBezTo>
                  <a:cubicBezTo>
                    <a:pt x="4" y="345"/>
                    <a:pt x="0" y="352"/>
                    <a:pt x="1" y="355"/>
                  </a:cubicBezTo>
                  <a:cubicBezTo>
                    <a:pt x="2" y="358"/>
                    <a:pt x="7" y="370"/>
                    <a:pt x="9" y="374"/>
                  </a:cubicBezTo>
                  <a:cubicBezTo>
                    <a:pt x="10" y="378"/>
                    <a:pt x="6" y="374"/>
                    <a:pt x="10" y="378"/>
                  </a:cubicBezTo>
                  <a:cubicBezTo>
                    <a:pt x="15" y="383"/>
                    <a:pt x="15" y="383"/>
                    <a:pt x="15" y="383"/>
                  </a:cubicBezTo>
                  <a:cubicBezTo>
                    <a:pt x="15" y="383"/>
                    <a:pt x="33" y="383"/>
                    <a:pt x="35" y="385"/>
                  </a:cubicBezTo>
                  <a:cubicBezTo>
                    <a:pt x="37" y="386"/>
                    <a:pt x="52" y="390"/>
                    <a:pt x="52" y="392"/>
                  </a:cubicBezTo>
                  <a:cubicBezTo>
                    <a:pt x="53" y="393"/>
                    <a:pt x="58" y="405"/>
                    <a:pt x="59" y="409"/>
                  </a:cubicBezTo>
                  <a:cubicBezTo>
                    <a:pt x="59" y="413"/>
                    <a:pt x="64" y="430"/>
                    <a:pt x="68" y="433"/>
                  </a:cubicBezTo>
                  <a:cubicBezTo>
                    <a:pt x="71" y="436"/>
                    <a:pt x="76" y="438"/>
                    <a:pt x="79" y="440"/>
                  </a:cubicBezTo>
                  <a:cubicBezTo>
                    <a:pt x="81" y="442"/>
                    <a:pt x="94" y="450"/>
                    <a:pt x="94" y="450"/>
                  </a:cubicBezTo>
                  <a:cubicBezTo>
                    <a:pt x="103" y="451"/>
                    <a:pt x="103" y="451"/>
                    <a:pt x="103" y="451"/>
                  </a:cubicBezTo>
                  <a:cubicBezTo>
                    <a:pt x="103" y="451"/>
                    <a:pt x="116" y="454"/>
                    <a:pt x="118" y="455"/>
                  </a:cubicBezTo>
                  <a:cubicBezTo>
                    <a:pt x="121" y="456"/>
                    <a:pt x="134" y="462"/>
                    <a:pt x="134" y="462"/>
                  </a:cubicBezTo>
                  <a:cubicBezTo>
                    <a:pt x="134" y="462"/>
                    <a:pt x="137" y="462"/>
                    <a:pt x="139" y="463"/>
                  </a:cubicBezTo>
                  <a:cubicBezTo>
                    <a:pt x="141" y="463"/>
                    <a:pt x="152" y="470"/>
                    <a:pt x="153" y="472"/>
                  </a:cubicBezTo>
                  <a:cubicBezTo>
                    <a:pt x="154" y="473"/>
                    <a:pt x="160" y="477"/>
                    <a:pt x="160" y="480"/>
                  </a:cubicBezTo>
                  <a:cubicBezTo>
                    <a:pt x="160" y="482"/>
                    <a:pt x="159" y="485"/>
                    <a:pt x="159" y="489"/>
                  </a:cubicBezTo>
                  <a:cubicBezTo>
                    <a:pt x="159" y="493"/>
                    <a:pt x="155" y="502"/>
                    <a:pt x="155" y="502"/>
                  </a:cubicBezTo>
                  <a:cubicBezTo>
                    <a:pt x="153" y="510"/>
                    <a:pt x="153" y="510"/>
                    <a:pt x="153" y="510"/>
                  </a:cubicBezTo>
                  <a:cubicBezTo>
                    <a:pt x="153" y="510"/>
                    <a:pt x="163" y="517"/>
                    <a:pt x="165" y="519"/>
                  </a:cubicBezTo>
                  <a:cubicBezTo>
                    <a:pt x="167" y="522"/>
                    <a:pt x="172" y="525"/>
                    <a:pt x="175" y="528"/>
                  </a:cubicBezTo>
                  <a:cubicBezTo>
                    <a:pt x="177" y="531"/>
                    <a:pt x="181" y="536"/>
                    <a:pt x="184" y="538"/>
                  </a:cubicBezTo>
                  <a:cubicBezTo>
                    <a:pt x="187" y="541"/>
                    <a:pt x="194" y="544"/>
                    <a:pt x="196" y="545"/>
                  </a:cubicBezTo>
                  <a:cubicBezTo>
                    <a:pt x="198" y="545"/>
                    <a:pt x="207" y="547"/>
                    <a:pt x="207" y="547"/>
                  </a:cubicBezTo>
                  <a:cubicBezTo>
                    <a:pt x="214" y="551"/>
                    <a:pt x="214" y="551"/>
                    <a:pt x="214" y="551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23" y="552"/>
                    <a:pt x="228" y="553"/>
                    <a:pt x="233" y="555"/>
                  </a:cubicBezTo>
                  <a:cubicBezTo>
                    <a:pt x="238" y="557"/>
                    <a:pt x="247" y="556"/>
                    <a:pt x="247" y="556"/>
                  </a:cubicBezTo>
                  <a:cubicBezTo>
                    <a:pt x="247" y="556"/>
                    <a:pt x="251" y="553"/>
                    <a:pt x="253" y="557"/>
                  </a:cubicBezTo>
                  <a:cubicBezTo>
                    <a:pt x="255" y="561"/>
                    <a:pt x="257" y="563"/>
                    <a:pt x="257" y="563"/>
                  </a:cubicBezTo>
                  <a:cubicBezTo>
                    <a:pt x="257" y="563"/>
                    <a:pt x="261" y="565"/>
                    <a:pt x="262" y="567"/>
                  </a:cubicBezTo>
                  <a:cubicBezTo>
                    <a:pt x="264" y="568"/>
                    <a:pt x="268" y="569"/>
                    <a:pt x="273" y="567"/>
                  </a:cubicBezTo>
                  <a:cubicBezTo>
                    <a:pt x="277" y="566"/>
                    <a:pt x="280" y="565"/>
                    <a:pt x="283" y="566"/>
                  </a:cubicBezTo>
                  <a:cubicBezTo>
                    <a:pt x="286" y="567"/>
                    <a:pt x="284" y="567"/>
                    <a:pt x="289" y="568"/>
                  </a:cubicBezTo>
                  <a:cubicBezTo>
                    <a:pt x="295" y="569"/>
                    <a:pt x="299" y="571"/>
                    <a:pt x="301" y="569"/>
                  </a:cubicBezTo>
                  <a:cubicBezTo>
                    <a:pt x="303" y="568"/>
                    <a:pt x="307" y="567"/>
                    <a:pt x="308" y="564"/>
                  </a:cubicBezTo>
                  <a:cubicBezTo>
                    <a:pt x="309" y="561"/>
                    <a:pt x="308" y="559"/>
                    <a:pt x="310" y="556"/>
                  </a:cubicBezTo>
                  <a:cubicBezTo>
                    <a:pt x="312" y="553"/>
                    <a:pt x="312" y="545"/>
                    <a:pt x="312" y="545"/>
                  </a:cubicBezTo>
                  <a:cubicBezTo>
                    <a:pt x="297" y="528"/>
                    <a:pt x="297" y="528"/>
                    <a:pt x="297" y="528"/>
                  </a:cubicBezTo>
                  <a:cubicBezTo>
                    <a:pt x="297" y="528"/>
                    <a:pt x="292" y="520"/>
                    <a:pt x="291" y="518"/>
                  </a:cubicBezTo>
                  <a:cubicBezTo>
                    <a:pt x="291" y="517"/>
                    <a:pt x="286" y="509"/>
                    <a:pt x="286" y="509"/>
                  </a:cubicBezTo>
                  <a:cubicBezTo>
                    <a:pt x="286" y="492"/>
                    <a:pt x="286" y="492"/>
                    <a:pt x="286" y="492"/>
                  </a:cubicBezTo>
                  <a:cubicBezTo>
                    <a:pt x="285" y="486"/>
                    <a:pt x="285" y="486"/>
                    <a:pt x="285" y="486"/>
                  </a:cubicBezTo>
                  <a:cubicBezTo>
                    <a:pt x="287" y="478"/>
                    <a:pt x="287" y="478"/>
                    <a:pt x="287" y="478"/>
                  </a:cubicBezTo>
                  <a:cubicBezTo>
                    <a:pt x="287" y="464"/>
                    <a:pt x="287" y="464"/>
                    <a:pt x="287" y="464"/>
                  </a:cubicBezTo>
                  <a:cubicBezTo>
                    <a:pt x="287" y="464"/>
                    <a:pt x="290" y="457"/>
                    <a:pt x="292" y="455"/>
                  </a:cubicBezTo>
                  <a:cubicBezTo>
                    <a:pt x="295" y="449"/>
                    <a:pt x="295" y="449"/>
                    <a:pt x="295" y="449"/>
                  </a:cubicBezTo>
                  <a:cubicBezTo>
                    <a:pt x="292" y="443"/>
                    <a:pt x="292" y="443"/>
                    <a:pt x="292" y="443"/>
                  </a:cubicBezTo>
                  <a:cubicBezTo>
                    <a:pt x="288" y="439"/>
                    <a:pt x="288" y="439"/>
                    <a:pt x="288" y="439"/>
                  </a:cubicBezTo>
                  <a:cubicBezTo>
                    <a:pt x="282" y="430"/>
                    <a:pt x="282" y="430"/>
                    <a:pt x="282" y="430"/>
                  </a:cubicBezTo>
                  <a:cubicBezTo>
                    <a:pt x="286" y="420"/>
                    <a:pt x="286" y="420"/>
                    <a:pt x="286" y="420"/>
                  </a:cubicBezTo>
                  <a:cubicBezTo>
                    <a:pt x="295" y="406"/>
                    <a:pt x="295" y="406"/>
                    <a:pt x="295" y="406"/>
                  </a:cubicBezTo>
                  <a:cubicBezTo>
                    <a:pt x="295" y="406"/>
                    <a:pt x="300" y="402"/>
                    <a:pt x="302" y="403"/>
                  </a:cubicBezTo>
                  <a:cubicBezTo>
                    <a:pt x="304" y="404"/>
                    <a:pt x="308" y="406"/>
                    <a:pt x="308" y="406"/>
                  </a:cubicBezTo>
                  <a:cubicBezTo>
                    <a:pt x="308" y="406"/>
                    <a:pt x="311" y="407"/>
                    <a:pt x="313" y="406"/>
                  </a:cubicBezTo>
                  <a:cubicBezTo>
                    <a:pt x="315" y="405"/>
                    <a:pt x="319" y="406"/>
                    <a:pt x="320" y="404"/>
                  </a:cubicBezTo>
                  <a:cubicBezTo>
                    <a:pt x="321" y="402"/>
                    <a:pt x="325" y="402"/>
                    <a:pt x="326" y="400"/>
                  </a:cubicBezTo>
                  <a:cubicBezTo>
                    <a:pt x="326" y="399"/>
                    <a:pt x="331" y="395"/>
                    <a:pt x="331" y="395"/>
                  </a:cubicBezTo>
                  <a:cubicBezTo>
                    <a:pt x="337" y="390"/>
                    <a:pt x="337" y="390"/>
                    <a:pt x="337" y="39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349" y="392"/>
                    <a:pt x="349" y="392"/>
                    <a:pt x="349" y="392"/>
                  </a:cubicBezTo>
                  <a:cubicBezTo>
                    <a:pt x="352" y="389"/>
                    <a:pt x="352" y="389"/>
                    <a:pt x="352" y="389"/>
                  </a:cubicBezTo>
                  <a:cubicBezTo>
                    <a:pt x="357" y="381"/>
                    <a:pt x="357" y="381"/>
                    <a:pt x="357" y="381"/>
                  </a:cubicBezTo>
                  <a:cubicBezTo>
                    <a:pt x="357" y="381"/>
                    <a:pt x="363" y="375"/>
                    <a:pt x="365" y="376"/>
                  </a:cubicBezTo>
                  <a:cubicBezTo>
                    <a:pt x="366" y="377"/>
                    <a:pt x="371" y="383"/>
                    <a:pt x="371" y="383"/>
                  </a:cubicBezTo>
                  <a:cubicBezTo>
                    <a:pt x="371" y="383"/>
                    <a:pt x="373" y="385"/>
                    <a:pt x="376" y="384"/>
                  </a:cubicBezTo>
                  <a:cubicBezTo>
                    <a:pt x="379" y="383"/>
                    <a:pt x="382" y="379"/>
                    <a:pt x="384" y="379"/>
                  </a:cubicBezTo>
                  <a:cubicBezTo>
                    <a:pt x="385" y="379"/>
                    <a:pt x="398" y="377"/>
                    <a:pt x="398" y="377"/>
                  </a:cubicBezTo>
                  <a:cubicBezTo>
                    <a:pt x="411" y="379"/>
                    <a:pt x="411" y="379"/>
                    <a:pt x="411" y="379"/>
                  </a:cubicBezTo>
                  <a:cubicBezTo>
                    <a:pt x="411" y="379"/>
                    <a:pt x="422" y="379"/>
                    <a:pt x="425" y="380"/>
                  </a:cubicBezTo>
                  <a:cubicBezTo>
                    <a:pt x="429" y="381"/>
                    <a:pt x="435" y="382"/>
                    <a:pt x="435" y="382"/>
                  </a:cubicBezTo>
                  <a:lnTo>
                    <a:pt x="439" y="3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0346DAC2-CA0A-4342-BEA4-B05D1A316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5942" y="2205037"/>
              <a:ext cx="1150940" cy="989012"/>
            </a:xfrm>
            <a:custGeom>
              <a:avLst/>
              <a:gdLst>
                <a:gd name="T0" fmla="*/ 336 w 494"/>
                <a:gd name="T1" fmla="*/ 342 h 424"/>
                <a:gd name="T2" fmla="*/ 287 w 494"/>
                <a:gd name="T3" fmla="*/ 359 h 424"/>
                <a:gd name="T4" fmla="*/ 254 w 494"/>
                <a:gd name="T5" fmla="*/ 329 h 424"/>
                <a:gd name="T6" fmla="*/ 250 w 494"/>
                <a:gd name="T7" fmla="*/ 366 h 424"/>
                <a:gd name="T8" fmla="*/ 242 w 494"/>
                <a:gd name="T9" fmla="*/ 391 h 424"/>
                <a:gd name="T10" fmla="*/ 202 w 494"/>
                <a:gd name="T11" fmla="*/ 372 h 424"/>
                <a:gd name="T12" fmla="*/ 173 w 494"/>
                <a:gd name="T13" fmla="*/ 378 h 424"/>
                <a:gd name="T14" fmla="*/ 185 w 494"/>
                <a:gd name="T15" fmla="*/ 398 h 424"/>
                <a:gd name="T16" fmla="*/ 163 w 494"/>
                <a:gd name="T17" fmla="*/ 411 h 424"/>
                <a:gd name="T18" fmla="*/ 142 w 494"/>
                <a:gd name="T19" fmla="*/ 408 h 424"/>
                <a:gd name="T20" fmla="*/ 118 w 494"/>
                <a:gd name="T21" fmla="*/ 371 h 424"/>
                <a:gd name="T22" fmla="*/ 83 w 494"/>
                <a:gd name="T23" fmla="*/ 347 h 424"/>
                <a:gd name="T24" fmla="*/ 54 w 494"/>
                <a:gd name="T25" fmla="*/ 324 h 424"/>
                <a:gd name="T26" fmla="*/ 38 w 494"/>
                <a:gd name="T27" fmla="*/ 304 h 424"/>
                <a:gd name="T28" fmla="*/ 23 w 494"/>
                <a:gd name="T29" fmla="*/ 273 h 424"/>
                <a:gd name="T30" fmla="*/ 5 w 494"/>
                <a:gd name="T31" fmla="*/ 263 h 424"/>
                <a:gd name="T32" fmla="*/ 8 w 494"/>
                <a:gd name="T33" fmla="*/ 229 h 424"/>
                <a:gd name="T34" fmla="*/ 21 w 494"/>
                <a:gd name="T35" fmla="*/ 210 h 424"/>
                <a:gd name="T36" fmla="*/ 2 w 494"/>
                <a:gd name="T37" fmla="*/ 201 h 424"/>
                <a:gd name="T38" fmla="*/ 18 w 494"/>
                <a:gd name="T39" fmla="*/ 180 h 424"/>
                <a:gd name="T40" fmla="*/ 41 w 494"/>
                <a:gd name="T41" fmla="*/ 172 h 424"/>
                <a:gd name="T42" fmla="*/ 25 w 494"/>
                <a:gd name="T43" fmla="*/ 143 h 424"/>
                <a:gd name="T44" fmla="*/ 48 w 494"/>
                <a:gd name="T45" fmla="*/ 136 h 424"/>
                <a:gd name="T46" fmla="*/ 36 w 494"/>
                <a:gd name="T47" fmla="*/ 107 h 424"/>
                <a:gd name="T48" fmla="*/ 15 w 494"/>
                <a:gd name="T49" fmla="*/ 84 h 424"/>
                <a:gd name="T50" fmla="*/ 46 w 494"/>
                <a:gd name="T51" fmla="*/ 55 h 424"/>
                <a:gd name="T52" fmla="*/ 72 w 494"/>
                <a:gd name="T53" fmla="*/ 19 h 424"/>
                <a:gd name="T54" fmla="*/ 103 w 494"/>
                <a:gd name="T55" fmla="*/ 7 h 424"/>
                <a:gd name="T56" fmla="*/ 126 w 494"/>
                <a:gd name="T57" fmla="*/ 15 h 424"/>
                <a:gd name="T58" fmla="*/ 148 w 494"/>
                <a:gd name="T59" fmla="*/ 1 h 424"/>
                <a:gd name="T60" fmla="*/ 181 w 494"/>
                <a:gd name="T61" fmla="*/ 32 h 424"/>
                <a:gd name="T62" fmla="*/ 229 w 494"/>
                <a:gd name="T63" fmla="*/ 69 h 424"/>
                <a:gd name="T64" fmla="*/ 281 w 494"/>
                <a:gd name="T65" fmla="*/ 100 h 424"/>
                <a:gd name="T66" fmla="*/ 289 w 494"/>
                <a:gd name="T67" fmla="*/ 140 h 424"/>
                <a:gd name="T68" fmla="*/ 327 w 494"/>
                <a:gd name="T69" fmla="*/ 164 h 424"/>
                <a:gd name="T70" fmla="*/ 356 w 494"/>
                <a:gd name="T71" fmla="*/ 172 h 424"/>
                <a:gd name="T72" fmla="*/ 377 w 494"/>
                <a:gd name="T73" fmla="*/ 181 h 424"/>
                <a:gd name="T74" fmla="*/ 403 w 494"/>
                <a:gd name="T75" fmla="*/ 183 h 424"/>
                <a:gd name="T76" fmla="*/ 430 w 494"/>
                <a:gd name="T77" fmla="*/ 174 h 424"/>
                <a:gd name="T78" fmla="*/ 441 w 494"/>
                <a:gd name="T79" fmla="*/ 159 h 424"/>
                <a:gd name="T80" fmla="*/ 462 w 494"/>
                <a:gd name="T81" fmla="*/ 168 h 424"/>
                <a:gd name="T82" fmla="*/ 484 w 494"/>
                <a:gd name="T83" fmla="*/ 179 h 424"/>
                <a:gd name="T84" fmla="*/ 493 w 494"/>
                <a:gd name="T85" fmla="*/ 206 h 424"/>
                <a:gd name="T86" fmla="*/ 469 w 494"/>
                <a:gd name="T87" fmla="*/ 219 h 424"/>
                <a:gd name="T88" fmla="*/ 439 w 494"/>
                <a:gd name="T89" fmla="*/ 231 h 424"/>
                <a:gd name="T90" fmla="*/ 417 w 494"/>
                <a:gd name="T91" fmla="*/ 241 h 424"/>
                <a:gd name="T92" fmla="*/ 429 w 494"/>
                <a:gd name="T93" fmla="*/ 274 h 424"/>
                <a:gd name="T94" fmla="*/ 412 w 494"/>
                <a:gd name="T95" fmla="*/ 288 h 424"/>
                <a:gd name="T96" fmla="*/ 393 w 494"/>
                <a:gd name="T97" fmla="*/ 306 h 424"/>
                <a:gd name="T98" fmla="*/ 377 w 494"/>
                <a:gd name="T99" fmla="*/ 313 h 424"/>
                <a:gd name="T100" fmla="*/ 380 w 494"/>
                <a:gd name="T101" fmla="*/ 337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4" h="424">
                  <a:moveTo>
                    <a:pt x="375" y="346"/>
                  </a:moveTo>
                  <a:cubicBezTo>
                    <a:pt x="375" y="346"/>
                    <a:pt x="357" y="353"/>
                    <a:pt x="353" y="351"/>
                  </a:cubicBezTo>
                  <a:cubicBezTo>
                    <a:pt x="349" y="349"/>
                    <a:pt x="342" y="340"/>
                    <a:pt x="336" y="342"/>
                  </a:cubicBezTo>
                  <a:cubicBezTo>
                    <a:pt x="330" y="344"/>
                    <a:pt x="328" y="342"/>
                    <a:pt x="322" y="347"/>
                  </a:cubicBezTo>
                  <a:cubicBezTo>
                    <a:pt x="316" y="352"/>
                    <a:pt x="302" y="349"/>
                    <a:pt x="301" y="353"/>
                  </a:cubicBezTo>
                  <a:cubicBezTo>
                    <a:pt x="300" y="357"/>
                    <a:pt x="287" y="359"/>
                    <a:pt x="287" y="359"/>
                  </a:cubicBezTo>
                  <a:cubicBezTo>
                    <a:pt x="277" y="346"/>
                    <a:pt x="277" y="346"/>
                    <a:pt x="277" y="346"/>
                  </a:cubicBezTo>
                  <a:cubicBezTo>
                    <a:pt x="268" y="335"/>
                    <a:pt x="268" y="335"/>
                    <a:pt x="268" y="335"/>
                  </a:cubicBezTo>
                  <a:cubicBezTo>
                    <a:pt x="254" y="329"/>
                    <a:pt x="254" y="329"/>
                    <a:pt x="254" y="329"/>
                  </a:cubicBezTo>
                  <a:cubicBezTo>
                    <a:pt x="254" y="329"/>
                    <a:pt x="242" y="334"/>
                    <a:pt x="242" y="338"/>
                  </a:cubicBezTo>
                  <a:cubicBezTo>
                    <a:pt x="242" y="342"/>
                    <a:pt x="247" y="356"/>
                    <a:pt x="247" y="356"/>
                  </a:cubicBezTo>
                  <a:cubicBezTo>
                    <a:pt x="247" y="356"/>
                    <a:pt x="250" y="359"/>
                    <a:pt x="250" y="366"/>
                  </a:cubicBezTo>
                  <a:cubicBezTo>
                    <a:pt x="250" y="373"/>
                    <a:pt x="250" y="376"/>
                    <a:pt x="250" y="379"/>
                  </a:cubicBezTo>
                  <a:cubicBezTo>
                    <a:pt x="250" y="382"/>
                    <a:pt x="254" y="385"/>
                    <a:pt x="254" y="385"/>
                  </a:cubicBezTo>
                  <a:cubicBezTo>
                    <a:pt x="242" y="391"/>
                    <a:pt x="242" y="391"/>
                    <a:pt x="242" y="391"/>
                  </a:cubicBezTo>
                  <a:cubicBezTo>
                    <a:pt x="227" y="393"/>
                    <a:pt x="227" y="393"/>
                    <a:pt x="227" y="393"/>
                  </a:cubicBezTo>
                  <a:cubicBezTo>
                    <a:pt x="214" y="382"/>
                    <a:pt x="214" y="382"/>
                    <a:pt x="214" y="382"/>
                  </a:cubicBezTo>
                  <a:cubicBezTo>
                    <a:pt x="202" y="372"/>
                    <a:pt x="202" y="372"/>
                    <a:pt x="202" y="372"/>
                  </a:cubicBezTo>
                  <a:cubicBezTo>
                    <a:pt x="202" y="372"/>
                    <a:pt x="204" y="365"/>
                    <a:pt x="200" y="367"/>
                  </a:cubicBezTo>
                  <a:cubicBezTo>
                    <a:pt x="196" y="369"/>
                    <a:pt x="193" y="377"/>
                    <a:pt x="193" y="377"/>
                  </a:cubicBezTo>
                  <a:cubicBezTo>
                    <a:pt x="173" y="378"/>
                    <a:pt x="173" y="378"/>
                    <a:pt x="173" y="378"/>
                  </a:cubicBezTo>
                  <a:cubicBezTo>
                    <a:pt x="173" y="378"/>
                    <a:pt x="170" y="382"/>
                    <a:pt x="167" y="385"/>
                  </a:cubicBezTo>
                  <a:cubicBezTo>
                    <a:pt x="164" y="388"/>
                    <a:pt x="155" y="395"/>
                    <a:pt x="164" y="395"/>
                  </a:cubicBezTo>
                  <a:cubicBezTo>
                    <a:pt x="173" y="395"/>
                    <a:pt x="185" y="394"/>
                    <a:pt x="185" y="398"/>
                  </a:cubicBezTo>
                  <a:cubicBezTo>
                    <a:pt x="185" y="402"/>
                    <a:pt x="189" y="404"/>
                    <a:pt x="183" y="407"/>
                  </a:cubicBezTo>
                  <a:cubicBezTo>
                    <a:pt x="177" y="410"/>
                    <a:pt x="171" y="405"/>
                    <a:pt x="167" y="408"/>
                  </a:cubicBezTo>
                  <a:cubicBezTo>
                    <a:pt x="163" y="411"/>
                    <a:pt x="163" y="405"/>
                    <a:pt x="163" y="411"/>
                  </a:cubicBezTo>
                  <a:cubicBezTo>
                    <a:pt x="163" y="417"/>
                    <a:pt x="166" y="424"/>
                    <a:pt x="161" y="421"/>
                  </a:cubicBezTo>
                  <a:cubicBezTo>
                    <a:pt x="156" y="418"/>
                    <a:pt x="145" y="412"/>
                    <a:pt x="145" y="412"/>
                  </a:cubicBezTo>
                  <a:cubicBezTo>
                    <a:pt x="142" y="408"/>
                    <a:pt x="142" y="408"/>
                    <a:pt x="142" y="408"/>
                  </a:cubicBezTo>
                  <a:cubicBezTo>
                    <a:pt x="140" y="396"/>
                    <a:pt x="140" y="396"/>
                    <a:pt x="140" y="396"/>
                  </a:cubicBezTo>
                  <a:cubicBezTo>
                    <a:pt x="140" y="396"/>
                    <a:pt x="141" y="393"/>
                    <a:pt x="134" y="384"/>
                  </a:cubicBezTo>
                  <a:cubicBezTo>
                    <a:pt x="127" y="375"/>
                    <a:pt x="122" y="371"/>
                    <a:pt x="118" y="371"/>
                  </a:cubicBezTo>
                  <a:cubicBezTo>
                    <a:pt x="114" y="371"/>
                    <a:pt x="116" y="373"/>
                    <a:pt x="108" y="367"/>
                  </a:cubicBezTo>
                  <a:cubicBezTo>
                    <a:pt x="100" y="361"/>
                    <a:pt x="100" y="365"/>
                    <a:pt x="94" y="358"/>
                  </a:cubicBezTo>
                  <a:cubicBezTo>
                    <a:pt x="88" y="351"/>
                    <a:pt x="83" y="351"/>
                    <a:pt x="83" y="347"/>
                  </a:cubicBezTo>
                  <a:cubicBezTo>
                    <a:pt x="83" y="343"/>
                    <a:pt x="74" y="338"/>
                    <a:pt x="74" y="338"/>
                  </a:cubicBezTo>
                  <a:cubicBezTo>
                    <a:pt x="68" y="337"/>
                    <a:pt x="68" y="337"/>
                    <a:pt x="68" y="337"/>
                  </a:cubicBezTo>
                  <a:cubicBezTo>
                    <a:pt x="54" y="324"/>
                    <a:pt x="54" y="324"/>
                    <a:pt x="54" y="324"/>
                  </a:cubicBezTo>
                  <a:cubicBezTo>
                    <a:pt x="54" y="324"/>
                    <a:pt x="54" y="323"/>
                    <a:pt x="48" y="323"/>
                  </a:cubicBezTo>
                  <a:cubicBezTo>
                    <a:pt x="42" y="323"/>
                    <a:pt x="36" y="325"/>
                    <a:pt x="37" y="322"/>
                  </a:cubicBezTo>
                  <a:cubicBezTo>
                    <a:pt x="38" y="319"/>
                    <a:pt x="39" y="307"/>
                    <a:pt x="38" y="304"/>
                  </a:cubicBezTo>
                  <a:cubicBezTo>
                    <a:pt x="37" y="301"/>
                    <a:pt x="35" y="284"/>
                    <a:pt x="35" y="284"/>
                  </a:cubicBezTo>
                  <a:cubicBezTo>
                    <a:pt x="37" y="272"/>
                    <a:pt x="37" y="272"/>
                    <a:pt x="37" y="272"/>
                  </a:cubicBezTo>
                  <a:cubicBezTo>
                    <a:pt x="23" y="273"/>
                    <a:pt x="23" y="273"/>
                    <a:pt x="23" y="273"/>
                  </a:cubicBezTo>
                  <a:cubicBezTo>
                    <a:pt x="23" y="273"/>
                    <a:pt x="18" y="276"/>
                    <a:pt x="18" y="275"/>
                  </a:cubicBezTo>
                  <a:cubicBezTo>
                    <a:pt x="17" y="275"/>
                    <a:pt x="12" y="271"/>
                    <a:pt x="10" y="269"/>
                  </a:cubicBezTo>
                  <a:cubicBezTo>
                    <a:pt x="8" y="266"/>
                    <a:pt x="5" y="265"/>
                    <a:pt x="5" y="263"/>
                  </a:cubicBezTo>
                  <a:cubicBezTo>
                    <a:pt x="4" y="260"/>
                    <a:pt x="3" y="252"/>
                    <a:pt x="3" y="251"/>
                  </a:cubicBezTo>
                  <a:cubicBezTo>
                    <a:pt x="3" y="249"/>
                    <a:pt x="5" y="242"/>
                    <a:pt x="5" y="241"/>
                  </a:cubicBezTo>
                  <a:cubicBezTo>
                    <a:pt x="5" y="239"/>
                    <a:pt x="7" y="230"/>
                    <a:pt x="8" y="229"/>
                  </a:cubicBezTo>
                  <a:cubicBezTo>
                    <a:pt x="9" y="228"/>
                    <a:pt x="9" y="226"/>
                    <a:pt x="13" y="225"/>
                  </a:cubicBezTo>
                  <a:cubicBezTo>
                    <a:pt x="18" y="225"/>
                    <a:pt x="27" y="218"/>
                    <a:pt x="27" y="218"/>
                  </a:cubicBezTo>
                  <a:cubicBezTo>
                    <a:pt x="27" y="218"/>
                    <a:pt x="24" y="209"/>
                    <a:pt x="21" y="210"/>
                  </a:cubicBezTo>
                  <a:cubicBezTo>
                    <a:pt x="18" y="210"/>
                    <a:pt x="7" y="212"/>
                    <a:pt x="5" y="212"/>
                  </a:cubicBezTo>
                  <a:cubicBezTo>
                    <a:pt x="4" y="213"/>
                    <a:pt x="0" y="211"/>
                    <a:pt x="0" y="210"/>
                  </a:cubicBezTo>
                  <a:cubicBezTo>
                    <a:pt x="0" y="209"/>
                    <a:pt x="1" y="202"/>
                    <a:pt x="2" y="201"/>
                  </a:cubicBezTo>
                  <a:cubicBezTo>
                    <a:pt x="2" y="200"/>
                    <a:pt x="4" y="193"/>
                    <a:pt x="4" y="193"/>
                  </a:cubicBezTo>
                  <a:cubicBezTo>
                    <a:pt x="4" y="193"/>
                    <a:pt x="11" y="189"/>
                    <a:pt x="12" y="188"/>
                  </a:cubicBezTo>
                  <a:cubicBezTo>
                    <a:pt x="14" y="187"/>
                    <a:pt x="18" y="180"/>
                    <a:pt x="18" y="180"/>
                  </a:cubicBezTo>
                  <a:cubicBezTo>
                    <a:pt x="18" y="180"/>
                    <a:pt x="20" y="177"/>
                    <a:pt x="23" y="177"/>
                  </a:cubicBezTo>
                  <a:cubicBezTo>
                    <a:pt x="25" y="177"/>
                    <a:pt x="35" y="179"/>
                    <a:pt x="35" y="179"/>
                  </a:cubicBezTo>
                  <a:cubicBezTo>
                    <a:pt x="35" y="179"/>
                    <a:pt x="41" y="176"/>
                    <a:pt x="41" y="172"/>
                  </a:cubicBezTo>
                  <a:cubicBezTo>
                    <a:pt x="41" y="168"/>
                    <a:pt x="39" y="160"/>
                    <a:pt x="39" y="160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5" y="143"/>
                    <a:pt x="34" y="142"/>
                    <a:pt x="35" y="142"/>
                  </a:cubicBezTo>
                  <a:cubicBezTo>
                    <a:pt x="37" y="143"/>
                    <a:pt x="39" y="140"/>
                    <a:pt x="41" y="139"/>
                  </a:cubicBezTo>
                  <a:cubicBezTo>
                    <a:pt x="42" y="138"/>
                    <a:pt x="48" y="136"/>
                    <a:pt x="48" y="136"/>
                  </a:cubicBezTo>
                  <a:cubicBezTo>
                    <a:pt x="48" y="136"/>
                    <a:pt x="54" y="132"/>
                    <a:pt x="54" y="128"/>
                  </a:cubicBezTo>
                  <a:cubicBezTo>
                    <a:pt x="53" y="125"/>
                    <a:pt x="51" y="121"/>
                    <a:pt x="51" y="121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26" y="99"/>
                    <a:pt x="26" y="99"/>
                  </a:cubicBezTo>
                  <a:cubicBezTo>
                    <a:pt x="25" y="98"/>
                    <a:pt x="18" y="91"/>
                    <a:pt x="18" y="91"/>
                  </a:cubicBezTo>
                  <a:cubicBezTo>
                    <a:pt x="18" y="91"/>
                    <a:pt x="15" y="86"/>
                    <a:pt x="15" y="84"/>
                  </a:cubicBezTo>
                  <a:cubicBezTo>
                    <a:pt x="16" y="83"/>
                    <a:pt x="24" y="71"/>
                    <a:pt x="24" y="71"/>
                  </a:cubicBezTo>
                  <a:cubicBezTo>
                    <a:pt x="24" y="71"/>
                    <a:pt x="33" y="65"/>
                    <a:pt x="34" y="64"/>
                  </a:cubicBezTo>
                  <a:cubicBezTo>
                    <a:pt x="35" y="63"/>
                    <a:pt x="45" y="55"/>
                    <a:pt x="46" y="55"/>
                  </a:cubicBezTo>
                  <a:cubicBezTo>
                    <a:pt x="47" y="54"/>
                    <a:pt x="63" y="42"/>
                    <a:pt x="63" y="42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1" y="30"/>
                    <a:pt x="71" y="20"/>
                    <a:pt x="72" y="19"/>
                  </a:cubicBezTo>
                  <a:cubicBezTo>
                    <a:pt x="73" y="18"/>
                    <a:pt x="81" y="8"/>
                    <a:pt x="81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102" y="5"/>
                    <a:pt x="103" y="7"/>
                  </a:cubicBezTo>
                  <a:cubicBezTo>
                    <a:pt x="104" y="9"/>
                    <a:pt x="106" y="8"/>
                    <a:pt x="109" y="12"/>
                  </a:cubicBezTo>
                  <a:cubicBezTo>
                    <a:pt x="112" y="16"/>
                    <a:pt x="112" y="18"/>
                    <a:pt x="116" y="17"/>
                  </a:cubicBezTo>
                  <a:cubicBezTo>
                    <a:pt x="119" y="16"/>
                    <a:pt x="125" y="17"/>
                    <a:pt x="126" y="15"/>
                  </a:cubicBezTo>
                  <a:cubicBezTo>
                    <a:pt x="127" y="12"/>
                    <a:pt x="130" y="4"/>
                    <a:pt x="130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72" y="9"/>
                    <a:pt x="172" y="9"/>
                    <a:pt x="172" y="9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1" y="32"/>
                    <a:pt x="186" y="48"/>
                    <a:pt x="186" y="48"/>
                  </a:cubicBezTo>
                  <a:cubicBezTo>
                    <a:pt x="186" y="49"/>
                    <a:pt x="213" y="66"/>
                    <a:pt x="213" y="66"/>
                  </a:cubicBezTo>
                  <a:cubicBezTo>
                    <a:pt x="229" y="69"/>
                    <a:pt x="229" y="69"/>
                    <a:pt x="229" y="69"/>
                  </a:cubicBezTo>
                  <a:cubicBezTo>
                    <a:pt x="249" y="78"/>
                    <a:pt x="249" y="78"/>
                    <a:pt x="249" y="78"/>
                  </a:cubicBezTo>
                  <a:cubicBezTo>
                    <a:pt x="249" y="78"/>
                    <a:pt x="263" y="81"/>
                    <a:pt x="265" y="82"/>
                  </a:cubicBezTo>
                  <a:cubicBezTo>
                    <a:pt x="266" y="84"/>
                    <a:pt x="281" y="99"/>
                    <a:pt x="281" y="100"/>
                  </a:cubicBezTo>
                  <a:cubicBezTo>
                    <a:pt x="282" y="101"/>
                    <a:pt x="276" y="117"/>
                    <a:pt x="276" y="117"/>
                  </a:cubicBezTo>
                  <a:cubicBezTo>
                    <a:pt x="276" y="118"/>
                    <a:pt x="274" y="127"/>
                    <a:pt x="274" y="127"/>
                  </a:cubicBezTo>
                  <a:cubicBezTo>
                    <a:pt x="289" y="140"/>
                    <a:pt x="289" y="140"/>
                    <a:pt x="289" y="140"/>
                  </a:cubicBezTo>
                  <a:cubicBezTo>
                    <a:pt x="301" y="151"/>
                    <a:pt x="301" y="151"/>
                    <a:pt x="301" y="151"/>
                  </a:cubicBezTo>
                  <a:cubicBezTo>
                    <a:pt x="313" y="161"/>
                    <a:pt x="313" y="161"/>
                    <a:pt x="313" y="161"/>
                  </a:cubicBezTo>
                  <a:cubicBezTo>
                    <a:pt x="313" y="161"/>
                    <a:pt x="326" y="162"/>
                    <a:pt x="327" y="164"/>
                  </a:cubicBezTo>
                  <a:cubicBezTo>
                    <a:pt x="328" y="166"/>
                    <a:pt x="334" y="169"/>
                    <a:pt x="335" y="170"/>
                  </a:cubicBezTo>
                  <a:cubicBezTo>
                    <a:pt x="336" y="170"/>
                    <a:pt x="344" y="170"/>
                    <a:pt x="344" y="170"/>
                  </a:cubicBezTo>
                  <a:cubicBezTo>
                    <a:pt x="344" y="170"/>
                    <a:pt x="356" y="171"/>
                    <a:pt x="356" y="172"/>
                  </a:cubicBezTo>
                  <a:cubicBezTo>
                    <a:pt x="357" y="173"/>
                    <a:pt x="368" y="172"/>
                    <a:pt x="368" y="172"/>
                  </a:cubicBezTo>
                  <a:cubicBezTo>
                    <a:pt x="368" y="172"/>
                    <a:pt x="370" y="168"/>
                    <a:pt x="371" y="172"/>
                  </a:cubicBezTo>
                  <a:cubicBezTo>
                    <a:pt x="373" y="175"/>
                    <a:pt x="376" y="181"/>
                    <a:pt x="377" y="181"/>
                  </a:cubicBezTo>
                  <a:cubicBezTo>
                    <a:pt x="378" y="182"/>
                    <a:pt x="382" y="183"/>
                    <a:pt x="383" y="183"/>
                  </a:cubicBezTo>
                  <a:cubicBezTo>
                    <a:pt x="384" y="184"/>
                    <a:pt x="392" y="185"/>
                    <a:pt x="393" y="184"/>
                  </a:cubicBezTo>
                  <a:cubicBezTo>
                    <a:pt x="393" y="184"/>
                    <a:pt x="403" y="183"/>
                    <a:pt x="403" y="183"/>
                  </a:cubicBezTo>
                  <a:cubicBezTo>
                    <a:pt x="416" y="187"/>
                    <a:pt x="416" y="187"/>
                    <a:pt x="416" y="187"/>
                  </a:cubicBezTo>
                  <a:cubicBezTo>
                    <a:pt x="428" y="181"/>
                    <a:pt x="428" y="181"/>
                    <a:pt x="428" y="181"/>
                  </a:cubicBezTo>
                  <a:cubicBezTo>
                    <a:pt x="430" y="174"/>
                    <a:pt x="430" y="174"/>
                    <a:pt x="430" y="174"/>
                  </a:cubicBezTo>
                  <a:cubicBezTo>
                    <a:pt x="432" y="165"/>
                    <a:pt x="432" y="165"/>
                    <a:pt x="432" y="165"/>
                  </a:cubicBezTo>
                  <a:cubicBezTo>
                    <a:pt x="433" y="160"/>
                    <a:pt x="433" y="160"/>
                    <a:pt x="433" y="160"/>
                  </a:cubicBezTo>
                  <a:cubicBezTo>
                    <a:pt x="433" y="160"/>
                    <a:pt x="440" y="159"/>
                    <a:pt x="441" y="159"/>
                  </a:cubicBezTo>
                  <a:cubicBezTo>
                    <a:pt x="443" y="158"/>
                    <a:pt x="447" y="154"/>
                    <a:pt x="449" y="156"/>
                  </a:cubicBezTo>
                  <a:cubicBezTo>
                    <a:pt x="451" y="157"/>
                    <a:pt x="455" y="160"/>
                    <a:pt x="455" y="162"/>
                  </a:cubicBezTo>
                  <a:cubicBezTo>
                    <a:pt x="456" y="163"/>
                    <a:pt x="462" y="167"/>
                    <a:pt x="462" y="168"/>
                  </a:cubicBezTo>
                  <a:cubicBezTo>
                    <a:pt x="463" y="170"/>
                    <a:pt x="472" y="176"/>
                    <a:pt x="472" y="176"/>
                  </a:cubicBezTo>
                  <a:cubicBezTo>
                    <a:pt x="472" y="176"/>
                    <a:pt x="479" y="176"/>
                    <a:pt x="480" y="176"/>
                  </a:cubicBezTo>
                  <a:cubicBezTo>
                    <a:pt x="481" y="177"/>
                    <a:pt x="482" y="176"/>
                    <a:pt x="484" y="179"/>
                  </a:cubicBezTo>
                  <a:cubicBezTo>
                    <a:pt x="486" y="182"/>
                    <a:pt x="492" y="192"/>
                    <a:pt x="492" y="192"/>
                  </a:cubicBezTo>
                  <a:cubicBezTo>
                    <a:pt x="492" y="192"/>
                    <a:pt x="492" y="201"/>
                    <a:pt x="492" y="201"/>
                  </a:cubicBezTo>
                  <a:cubicBezTo>
                    <a:pt x="492" y="202"/>
                    <a:pt x="494" y="206"/>
                    <a:pt x="493" y="206"/>
                  </a:cubicBezTo>
                  <a:cubicBezTo>
                    <a:pt x="492" y="207"/>
                    <a:pt x="485" y="211"/>
                    <a:pt x="484" y="211"/>
                  </a:cubicBezTo>
                  <a:cubicBezTo>
                    <a:pt x="483" y="211"/>
                    <a:pt x="478" y="215"/>
                    <a:pt x="476" y="215"/>
                  </a:cubicBezTo>
                  <a:cubicBezTo>
                    <a:pt x="475" y="216"/>
                    <a:pt x="472" y="217"/>
                    <a:pt x="469" y="219"/>
                  </a:cubicBezTo>
                  <a:cubicBezTo>
                    <a:pt x="467" y="220"/>
                    <a:pt x="462" y="224"/>
                    <a:pt x="462" y="224"/>
                  </a:cubicBezTo>
                  <a:cubicBezTo>
                    <a:pt x="462" y="224"/>
                    <a:pt x="450" y="228"/>
                    <a:pt x="448" y="228"/>
                  </a:cubicBezTo>
                  <a:cubicBezTo>
                    <a:pt x="447" y="228"/>
                    <a:pt x="440" y="230"/>
                    <a:pt x="439" y="231"/>
                  </a:cubicBezTo>
                  <a:cubicBezTo>
                    <a:pt x="438" y="232"/>
                    <a:pt x="433" y="233"/>
                    <a:pt x="431" y="233"/>
                  </a:cubicBezTo>
                  <a:cubicBezTo>
                    <a:pt x="429" y="232"/>
                    <a:pt x="424" y="230"/>
                    <a:pt x="424" y="230"/>
                  </a:cubicBezTo>
                  <a:cubicBezTo>
                    <a:pt x="417" y="241"/>
                    <a:pt x="417" y="241"/>
                    <a:pt x="417" y="241"/>
                  </a:cubicBezTo>
                  <a:cubicBezTo>
                    <a:pt x="415" y="251"/>
                    <a:pt x="415" y="251"/>
                    <a:pt x="415" y="251"/>
                  </a:cubicBezTo>
                  <a:cubicBezTo>
                    <a:pt x="423" y="265"/>
                    <a:pt x="423" y="265"/>
                    <a:pt x="423" y="265"/>
                  </a:cubicBezTo>
                  <a:cubicBezTo>
                    <a:pt x="423" y="265"/>
                    <a:pt x="428" y="274"/>
                    <a:pt x="429" y="274"/>
                  </a:cubicBezTo>
                  <a:cubicBezTo>
                    <a:pt x="429" y="275"/>
                    <a:pt x="428" y="284"/>
                    <a:pt x="428" y="284"/>
                  </a:cubicBezTo>
                  <a:cubicBezTo>
                    <a:pt x="428" y="284"/>
                    <a:pt x="420" y="288"/>
                    <a:pt x="419" y="288"/>
                  </a:cubicBezTo>
                  <a:cubicBezTo>
                    <a:pt x="419" y="288"/>
                    <a:pt x="413" y="288"/>
                    <a:pt x="412" y="288"/>
                  </a:cubicBezTo>
                  <a:cubicBezTo>
                    <a:pt x="411" y="288"/>
                    <a:pt x="405" y="293"/>
                    <a:pt x="405" y="293"/>
                  </a:cubicBezTo>
                  <a:cubicBezTo>
                    <a:pt x="399" y="304"/>
                    <a:pt x="399" y="304"/>
                    <a:pt x="399" y="304"/>
                  </a:cubicBezTo>
                  <a:cubicBezTo>
                    <a:pt x="393" y="306"/>
                    <a:pt x="393" y="306"/>
                    <a:pt x="393" y="306"/>
                  </a:cubicBezTo>
                  <a:cubicBezTo>
                    <a:pt x="393" y="306"/>
                    <a:pt x="387" y="305"/>
                    <a:pt x="386" y="305"/>
                  </a:cubicBezTo>
                  <a:cubicBezTo>
                    <a:pt x="385" y="306"/>
                    <a:pt x="379" y="309"/>
                    <a:pt x="378" y="309"/>
                  </a:cubicBezTo>
                  <a:cubicBezTo>
                    <a:pt x="377" y="309"/>
                    <a:pt x="376" y="313"/>
                    <a:pt x="377" y="313"/>
                  </a:cubicBezTo>
                  <a:cubicBezTo>
                    <a:pt x="379" y="314"/>
                    <a:pt x="380" y="322"/>
                    <a:pt x="380" y="323"/>
                  </a:cubicBezTo>
                  <a:cubicBezTo>
                    <a:pt x="380" y="324"/>
                    <a:pt x="382" y="330"/>
                    <a:pt x="382" y="331"/>
                  </a:cubicBezTo>
                  <a:cubicBezTo>
                    <a:pt x="382" y="332"/>
                    <a:pt x="381" y="335"/>
                    <a:pt x="380" y="337"/>
                  </a:cubicBezTo>
                  <a:cubicBezTo>
                    <a:pt x="378" y="338"/>
                    <a:pt x="375" y="346"/>
                    <a:pt x="375" y="34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055F467E-362A-461F-B55B-248B99C08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4542" y="3424235"/>
              <a:ext cx="1325564" cy="1468436"/>
            </a:xfrm>
            <a:custGeom>
              <a:avLst/>
              <a:gdLst>
                <a:gd name="T0" fmla="*/ 347 w 569"/>
                <a:gd name="T1" fmla="*/ 603 h 629"/>
                <a:gd name="T2" fmla="*/ 312 w 569"/>
                <a:gd name="T3" fmla="*/ 607 h 629"/>
                <a:gd name="T4" fmla="*/ 275 w 569"/>
                <a:gd name="T5" fmla="*/ 582 h 629"/>
                <a:gd name="T6" fmla="*/ 240 w 569"/>
                <a:gd name="T7" fmla="*/ 579 h 629"/>
                <a:gd name="T8" fmla="*/ 220 w 569"/>
                <a:gd name="T9" fmla="*/ 552 h 629"/>
                <a:gd name="T10" fmla="*/ 191 w 569"/>
                <a:gd name="T11" fmla="*/ 570 h 629"/>
                <a:gd name="T12" fmla="*/ 182 w 569"/>
                <a:gd name="T13" fmla="*/ 592 h 629"/>
                <a:gd name="T14" fmla="*/ 177 w 569"/>
                <a:gd name="T15" fmla="*/ 612 h 629"/>
                <a:gd name="T16" fmla="*/ 131 w 569"/>
                <a:gd name="T17" fmla="*/ 595 h 629"/>
                <a:gd name="T18" fmla="*/ 75 w 569"/>
                <a:gd name="T19" fmla="*/ 619 h 629"/>
                <a:gd name="T20" fmla="*/ 46 w 569"/>
                <a:gd name="T21" fmla="*/ 602 h 629"/>
                <a:gd name="T22" fmla="*/ 24 w 569"/>
                <a:gd name="T23" fmla="*/ 596 h 629"/>
                <a:gd name="T24" fmla="*/ 6 w 569"/>
                <a:gd name="T25" fmla="*/ 576 h 629"/>
                <a:gd name="T26" fmla="*/ 0 w 569"/>
                <a:gd name="T27" fmla="*/ 549 h 629"/>
                <a:gd name="T28" fmla="*/ 26 w 569"/>
                <a:gd name="T29" fmla="*/ 504 h 629"/>
                <a:gd name="T30" fmla="*/ 20 w 569"/>
                <a:gd name="T31" fmla="*/ 470 h 629"/>
                <a:gd name="T32" fmla="*/ 55 w 569"/>
                <a:gd name="T33" fmla="*/ 382 h 629"/>
                <a:gd name="T34" fmla="*/ 73 w 569"/>
                <a:gd name="T35" fmla="*/ 322 h 629"/>
                <a:gd name="T36" fmla="*/ 101 w 569"/>
                <a:gd name="T37" fmla="*/ 288 h 629"/>
                <a:gd name="T38" fmla="*/ 119 w 569"/>
                <a:gd name="T39" fmla="*/ 252 h 629"/>
                <a:gd name="T40" fmla="*/ 168 w 569"/>
                <a:gd name="T41" fmla="*/ 199 h 629"/>
                <a:gd name="T42" fmla="*/ 187 w 569"/>
                <a:gd name="T43" fmla="*/ 161 h 629"/>
                <a:gd name="T44" fmla="*/ 197 w 569"/>
                <a:gd name="T45" fmla="*/ 111 h 629"/>
                <a:gd name="T46" fmla="*/ 186 w 569"/>
                <a:gd name="T47" fmla="*/ 76 h 629"/>
                <a:gd name="T48" fmla="*/ 186 w 569"/>
                <a:gd name="T49" fmla="*/ 39 h 629"/>
                <a:gd name="T50" fmla="*/ 215 w 569"/>
                <a:gd name="T51" fmla="*/ 66 h 629"/>
                <a:gd name="T52" fmla="*/ 222 w 569"/>
                <a:gd name="T53" fmla="*/ 39 h 629"/>
                <a:gd name="T54" fmla="*/ 254 w 569"/>
                <a:gd name="T55" fmla="*/ 60 h 629"/>
                <a:gd name="T56" fmla="*/ 248 w 569"/>
                <a:gd name="T57" fmla="*/ 93 h 629"/>
                <a:gd name="T58" fmla="*/ 267 w 569"/>
                <a:gd name="T59" fmla="*/ 93 h 629"/>
                <a:gd name="T60" fmla="*/ 275 w 569"/>
                <a:gd name="T61" fmla="*/ 58 h 629"/>
                <a:gd name="T62" fmla="*/ 284 w 569"/>
                <a:gd name="T63" fmla="*/ 66 h 629"/>
                <a:gd name="T64" fmla="*/ 301 w 569"/>
                <a:gd name="T65" fmla="*/ 65 h 629"/>
                <a:gd name="T66" fmla="*/ 310 w 569"/>
                <a:gd name="T67" fmla="*/ 55 h 629"/>
                <a:gd name="T68" fmla="*/ 337 w 569"/>
                <a:gd name="T69" fmla="*/ 50 h 629"/>
                <a:gd name="T70" fmla="*/ 351 w 569"/>
                <a:gd name="T71" fmla="*/ 25 h 629"/>
                <a:gd name="T72" fmla="*/ 349 w 569"/>
                <a:gd name="T73" fmla="*/ 8 h 629"/>
                <a:gd name="T74" fmla="*/ 372 w 569"/>
                <a:gd name="T75" fmla="*/ 9 h 629"/>
                <a:gd name="T76" fmla="*/ 390 w 569"/>
                <a:gd name="T77" fmla="*/ 5 h 629"/>
                <a:gd name="T78" fmla="*/ 392 w 569"/>
                <a:gd name="T79" fmla="*/ 13 h 629"/>
                <a:gd name="T80" fmla="*/ 405 w 569"/>
                <a:gd name="T81" fmla="*/ 17 h 629"/>
                <a:gd name="T82" fmla="*/ 423 w 569"/>
                <a:gd name="T83" fmla="*/ 22 h 629"/>
                <a:gd name="T84" fmla="*/ 443 w 569"/>
                <a:gd name="T85" fmla="*/ 19 h 629"/>
                <a:gd name="T86" fmla="*/ 437 w 569"/>
                <a:gd name="T87" fmla="*/ 49 h 629"/>
                <a:gd name="T88" fmla="*/ 447 w 569"/>
                <a:gd name="T89" fmla="*/ 56 h 629"/>
                <a:gd name="T90" fmla="*/ 457 w 569"/>
                <a:gd name="T91" fmla="*/ 64 h 629"/>
                <a:gd name="T92" fmla="*/ 478 w 569"/>
                <a:gd name="T93" fmla="*/ 61 h 629"/>
                <a:gd name="T94" fmla="*/ 496 w 569"/>
                <a:gd name="T95" fmla="*/ 55 h 629"/>
                <a:gd name="T96" fmla="*/ 501 w 569"/>
                <a:gd name="T97" fmla="*/ 104 h 629"/>
                <a:gd name="T98" fmla="*/ 501 w 569"/>
                <a:gd name="T99" fmla="*/ 121 h 629"/>
                <a:gd name="T100" fmla="*/ 496 w 569"/>
                <a:gd name="T101" fmla="*/ 146 h 629"/>
                <a:gd name="T102" fmla="*/ 516 w 569"/>
                <a:gd name="T103" fmla="*/ 166 h 629"/>
                <a:gd name="T104" fmla="*/ 518 w 569"/>
                <a:gd name="T105" fmla="*/ 187 h 629"/>
                <a:gd name="T106" fmla="*/ 556 w 569"/>
                <a:gd name="T107" fmla="*/ 235 h 629"/>
                <a:gd name="T108" fmla="*/ 551 w 569"/>
                <a:gd name="T109" fmla="*/ 262 h 629"/>
                <a:gd name="T110" fmla="*/ 569 w 569"/>
                <a:gd name="T111" fmla="*/ 291 h 629"/>
                <a:gd name="T112" fmla="*/ 549 w 569"/>
                <a:gd name="T113" fmla="*/ 299 h 629"/>
                <a:gd name="T114" fmla="*/ 530 w 569"/>
                <a:gd name="T115" fmla="*/ 301 h 629"/>
                <a:gd name="T116" fmla="*/ 542 w 569"/>
                <a:gd name="T117" fmla="*/ 358 h 629"/>
                <a:gd name="T118" fmla="*/ 404 w 569"/>
                <a:gd name="T119" fmla="*/ 622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9" h="629">
                  <a:moveTo>
                    <a:pt x="371" y="629"/>
                  </a:moveTo>
                  <a:cubicBezTo>
                    <a:pt x="360" y="617"/>
                    <a:pt x="360" y="617"/>
                    <a:pt x="360" y="617"/>
                  </a:cubicBezTo>
                  <a:cubicBezTo>
                    <a:pt x="360" y="617"/>
                    <a:pt x="348" y="604"/>
                    <a:pt x="347" y="603"/>
                  </a:cubicBezTo>
                  <a:cubicBezTo>
                    <a:pt x="345" y="602"/>
                    <a:pt x="332" y="595"/>
                    <a:pt x="329" y="597"/>
                  </a:cubicBezTo>
                  <a:cubicBezTo>
                    <a:pt x="326" y="599"/>
                    <a:pt x="321" y="606"/>
                    <a:pt x="319" y="607"/>
                  </a:cubicBezTo>
                  <a:cubicBezTo>
                    <a:pt x="318" y="608"/>
                    <a:pt x="315" y="611"/>
                    <a:pt x="312" y="607"/>
                  </a:cubicBezTo>
                  <a:cubicBezTo>
                    <a:pt x="310" y="604"/>
                    <a:pt x="307" y="597"/>
                    <a:pt x="307" y="597"/>
                  </a:cubicBezTo>
                  <a:cubicBezTo>
                    <a:pt x="307" y="597"/>
                    <a:pt x="304" y="591"/>
                    <a:pt x="303" y="590"/>
                  </a:cubicBezTo>
                  <a:cubicBezTo>
                    <a:pt x="302" y="590"/>
                    <a:pt x="282" y="579"/>
                    <a:pt x="275" y="582"/>
                  </a:cubicBezTo>
                  <a:cubicBezTo>
                    <a:pt x="268" y="585"/>
                    <a:pt x="262" y="574"/>
                    <a:pt x="262" y="574"/>
                  </a:cubicBezTo>
                  <a:cubicBezTo>
                    <a:pt x="262" y="574"/>
                    <a:pt x="249" y="575"/>
                    <a:pt x="248" y="576"/>
                  </a:cubicBezTo>
                  <a:cubicBezTo>
                    <a:pt x="247" y="577"/>
                    <a:pt x="242" y="579"/>
                    <a:pt x="240" y="579"/>
                  </a:cubicBezTo>
                  <a:cubicBezTo>
                    <a:pt x="238" y="579"/>
                    <a:pt x="231" y="568"/>
                    <a:pt x="231" y="568"/>
                  </a:cubicBezTo>
                  <a:cubicBezTo>
                    <a:pt x="231" y="568"/>
                    <a:pt x="233" y="560"/>
                    <a:pt x="233" y="559"/>
                  </a:cubicBezTo>
                  <a:cubicBezTo>
                    <a:pt x="233" y="559"/>
                    <a:pt x="224" y="551"/>
                    <a:pt x="220" y="552"/>
                  </a:cubicBezTo>
                  <a:cubicBezTo>
                    <a:pt x="216" y="553"/>
                    <a:pt x="204" y="553"/>
                    <a:pt x="204" y="553"/>
                  </a:cubicBezTo>
                  <a:cubicBezTo>
                    <a:pt x="204" y="553"/>
                    <a:pt x="197" y="553"/>
                    <a:pt x="196" y="556"/>
                  </a:cubicBezTo>
                  <a:cubicBezTo>
                    <a:pt x="196" y="559"/>
                    <a:pt x="192" y="570"/>
                    <a:pt x="191" y="570"/>
                  </a:cubicBezTo>
                  <a:cubicBezTo>
                    <a:pt x="191" y="571"/>
                    <a:pt x="180" y="570"/>
                    <a:pt x="177" y="572"/>
                  </a:cubicBezTo>
                  <a:cubicBezTo>
                    <a:pt x="174" y="574"/>
                    <a:pt x="168" y="577"/>
                    <a:pt x="171" y="581"/>
                  </a:cubicBezTo>
                  <a:cubicBezTo>
                    <a:pt x="174" y="585"/>
                    <a:pt x="178" y="589"/>
                    <a:pt x="182" y="592"/>
                  </a:cubicBezTo>
                  <a:cubicBezTo>
                    <a:pt x="185" y="594"/>
                    <a:pt x="195" y="593"/>
                    <a:pt x="196" y="595"/>
                  </a:cubicBezTo>
                  <a:cubicBezTo>
                    <a:pt x="197" y="596"/>
                    <a:pt x="191" y="603"/>
                    <a:pt x="187" y="604"/>
                  </a:cubicBezTo>
                  <a:cubicBezTo>
                    <a:pt x="183" y="604"/>
                    <a:pt x="178" y="611"/>
                    <a:pt x="177" y="612"/>
                  </a:cubicBezTo>
                  <a:cubicBezTo>
                    <a:pt x="177" y="613"/>
                    <a:pt x="160" y="614"/>
                    <a:pt x="160" y="614"/>
                  </a:cubicBezTo>
                  <a:cubicBezTo>
                    <a:pt x="160" y="614"/>
                    <a:pt x="150" y="615"/>
                    <a:pt x="149" y="614"/>
                  </a:cubicBezTo>
                  <a:cubicBezTo>
                    <a:pt x="148" y="613"/>
                    <a:pt x="132" y="594"/>
                    <a:pt x="131" y="595"/>
                  </a:cubicBezTo>
                  <a:cubicBezTo>
                    <a:pt x="131" y="596"/>
                    <a:pt x="124" y="599"/>
                    <a:pt x="123" y="600"/>
                  </a:cubicBezTo>
                  <a:cubicBezTo>
                    <a:pt x="122" y="600"/>
                    <a:pt x="99" y="617"/>
                    <a:pt x="97" y="618"/>
                  </a:cubicBezTo>
                  <a:cubicBezTo>
                    <a:pt x="95" y="619"/>
                    <a:pt x="76" y="619"/>
                    <a:pt x="75" y="619"/>
                  </a:cubicBezTo>
                  <a:cubicBezTo>
                    <a:pt x="74" y="618"/>
                    <a:pt x="59" y="610"/>
                    <a:pt x="55" y="611"/>
                  </a:cubicBezTo>
                  <a:cubicBezTo>
                    <a:pt x="52" y="612"/>
                    <a:pt x="43" y="620"/>
                    <a:pt x="42" y="620"/>
                  </a:cubicBezTo>
                  <a:cubicBezTo>
                    <a:pt x="41" y="619"/>
                    <a:pt x="46" y="602"/>
                    <a:pt x="46" y="602"/>
                  </a:cubicBezTo>
                  <a:cubicBezTo>
                    <a:pt x="44" y="595"/>
                    <a:pt x="44" y="595"/>
                    <a:pt x="44" y="595"/>
                  </a:cubicBezTo>
                  <a:cubicBezTo>
                    <a:pt x="44" y="595"/>
                    <a:pt x="35" y="591"/>
                    <a:pt x="33" y="591"/>
                  </a:cubicBezTo>
                  <a:cubicBezTo>
                    <a:pt x="32" y="592"/>
                    <a:pt x="24" y="596"/>
                    <a:pt x="24" y="596"/>
                  </a:cubicBezTo>
                  <a:cubicBezTo>
                    <a:pt x="24" y="596"/>
                    <a:pt x="21" y="601"/>
                    <a:pt x="19" y="599"/>
                  </a:cubicBezTo>
                  <a:cubicBezTo>
                    <a:pt x="17" y="597"/>
                    <a:pt x="6" y="586"/>
                    <a:pt x="6" y="586"/>
                  </a:cubicBezTo>
                  <a:cubicBezTo>
                    <a:pt x="6" y="586"/>
                    <a:pt x="4" y="578"/>
                    <a:pt x="6" y="576"/>
                  </a:cubicBezTo>
                  <a:cubicBezTo>
                    <a:pt x="7" y="574"/>
                    <a:pt x="14" y="569"/>
                    <a:pt x="15" y="567"/>
                  </a:cubicBezTo>
                  <a:cubicBezTo>
                    <a:pt x="15" y="564"/>
                    <a:pt x="12" y="557"/>
                    <a:pt x="11" y="557"/>
                  </a:cubicBezTo>
                  <a:cubicBezTo>
                    <a:pt x="10" y="556"/>
                    <a:pt x="0" y="550"/>
                    <a:pt x="0" y="549"/>
                  </a:cubicBezTo>
                  <a:cubicBezTo>
                    <a:pt x="0" y="547"/>
                    <a:pt x="11" y="525"/>
                    <a:pt x="11" y="525"/>
                  </a:cubicBezTo>
                  <a:cubicBezTo>
                    <a:pt x="18" y="512"/>
                    <a:pt x="18" y="512"/>
                    <a:pt x="18" y="512"/>
                  </a:cubicBezTo>
                  <a:cubicBezTo>
                    <a:pt x="18" y="512"/>
                    <a:pt x="25" y="505"/>
                    <a:pt x="26" y="504"/>
                  </a:cubicBezTo>
                  <a:cubicBezTo>
                    <a:pt x="27" y="503"/>
                    <a:pt x="29" y="495"/>
                    <a:pt x="29" y="495"/>
                  </a:cubicBezTo>
                  <a:cubicBezTo>
                    <a:pt x="22" y="483"/>
                    <a:pt x="22" y="483"/>
                    <a:pt x="22" y="483"/>
                  </a:cubicBezTo>
                  <a:cubicBezTo>
                    <a:pt x="20" y="470"/>
                    <a:pt x="20" y="470"/>
                    <a:pt x="20" y="470"/>
                  </a:cubicBezTo>
                  <a:cubicBezTo>
                    <a:pt x="37" y="440"/>
                    <a:pt x="37" y="440"/>
                    <a:pt x="37" y="440"/>
                  </a:cubicBezTo>
                  <a:cubicBezTo>
                    <a:pt x="51" y="404"/>
                    <a:pt x="51" y="404"/>
                    <a:pt x="51" y="404"/>
                  </a:cubicBezTo>
                  <a:cubicBezTo>
                    <a:pt x="51" y="404"/>
                    <a:pt x="55" y="384"/>
                    <a:pt x="55" y="382"/>
                  </a:cubicBezTo>
                  <a:cubicBezTo>
                    <a:pt x="55" y="381"/>
                    <a:pt x="59" y="370"/>
                    <a:pt x="59" y="370"/>
                  </a:cubicBezTo>
                  <a:cubicBezTo>
                    <a:pt x="67" y="341"/>
                    <a:pt x="67" y="341"/>
                    <a:pt x="67" y="341"/>
                  </a:cubicBezTo>
                  <a:cubicBezTo>
                    <a:pt x="73" y="322"/>
                    <a:pt x="73" y="322"/>
                    <a:pt x="73" y="322"/>
                  </a:cubicBezTo>
                  <a:cubicBezTo>
                    <a:pt x="88" y="305"/>
                    <a:pt x="88" y="305"/>
                    <a:pt x="88" y="305"/>
                  </a:cubicBezTo>
                  <a:cubicBezTo>
                    <a:pt x="91" y="293"/>
                    <a:pt x="91" y="293"/>
                    <a:pt x="91" y="293"/>
                  </a:cubicBezTo>
                  <a:cubicBezTo>
                    <a:pt x="101" y="288"/>
                    <a:pt x="101" y="288"/>
                    <a:pt x="101" y="288"/>
                  </a:cubicBezTo>
                  <a:cubicBezTo>
                    <a:pt x="101" y="288"/>
                    <a:pt x="113" y="290"/>
                    <a:pt x="114" y="289"/>
                  </a:cubicBezTo>
                  <a:cubicBezTo>
                    <a:pt x="114" y="288"/>
                    <a:pt x="116" y="271"/>
                    <a:pt x="115" y="270"/>
                  </a:cubicBezTo>
                  <a:cubicBezTo>
                    <a:pt x="114" y="269"/>
                    <a:pt x="119" y="252"/>
                    <a:pt x="119" y="252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68" y="199"/>
                    <a:pt x="168" y="199"/>
                    <a:pt x="168" y="199"/>
                  </a:cubicBezTo>
                  <a:cubicBezTo>
                    <a:pt x="168" y="199"/>
                    <a:pt x="178" y="189"/>
                    <a:pt x="178" y="187"/>
                  </a:cubicBezTo>
                  <a:cubicBezTo>
                    <a:pt x="178" y="186"/>
                    <a:pt x="177" y="169"/>
                    <a:pt x="177" y="169"/>
                  </a:cubicBezTo>
                  <a:cubicBezTo>
                    <a:pt x="187" y="161"/>
                    <a:pt x="187" y="161"/>
                    <a:pt x="187" y="161"/>
                  </a:cubicBezTo>
                  <a:cubicBezTo>
                    <a:pt x="195" y="152"/>
                    <a:pt x="195" y="152"/>
                    <a:pt x="195" y="152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6" y="100"/>
                    <a:pt x="196" y="100"/>
                    <a:pt x="196" y="100"/>
                  </a:cubicBezTo>
                  <a:cubicBezTo>
                    <a:pt x="196" y="100"/>
                    <a:pt x="187" y="92"/>
                    <a:pt x="186" y="91"/>
                  </a:cubicBezTo>
                  <a:cubicBezTo>
                    <a:pt x="185" y="89"/>
                    <a:pt x="186" y="76"/>
                    <a:pt x="186" y="76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6" y="39"/>
                    <a:pt x="186" y="39"/>
                    <a:pt x="186" y="39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5" y="66"/>
                    <a:pt x="215" y="66"/>
                    <a:pt x="215" y="66"/>
                  </a:cubicBezTo>
                  <a:cubicBezTo>
                    <a:pt x="227" y="61"/>
                    <a:pt x="227" y="61"/>
                    <a:pt x="227" y="61"/>
                  </a:cubicBezTo>
                  <a:cubicBezTo>
                    <a:pt x="221" y="49"/>
                    <a:pt x="221" y="49"/>
                    <a:pt x="221" y="49"/>
                  </a:cubicBezTo>
                  <a:cubicBezTo>
                    <a:pt x="222" y="39"/>
                    <a:pt x="222" y="39"/>
                    <a:pt x="222" y="39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1" y="85"/>
                    <a:pt x="251" y="85"/>
                    <a:pt x="251" y="85"/>
                  </a:cubicBezTo>
                  <a:cubicBezTo>
                    <a:pt x="251" y="85"/>
                    <a:pt x="248" y="91"/>
                    <a:pt x="248" y="93"/>
                  </a:cubicBezTo>
                  <a:cubicBezTo>
                    <a:pt x="248" y="94"/>
                    <a:pt x="247" y="98"/>
                    <a:pt x="247" y="98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71" y="85"/>
                    <a:pt x="271" y="85"/>
                    <a:pt x="271" y="85"/>
                  </a:cubicBezTo>
                  <a:cubicBezTo>
                    <a:pt x="275" y="74"/>
                    <a:pt x="275" y="74"/>
                    <a:pt x="275" y="74"/>
                  </a:cubicBezTo>
                  <a:cubicBezTo>
                    <a:pt x="275" y="58"/>
                    <a:pt x="275" y="58"/>
                    <a:pt x="275" y="58"/>
                  </a:cubicBezTo>
                  <a:cubicBezTo>
                    <a:pt x="275" y="58"/>
                    <a:pt x="276" y="54"/>
                    <a:pt x="277" y="55"/>
                  </a:cubicBezTo>
                  <a:cubicBezTo>
                    <a:pt x="281" y="59"/>
                    <a:pt x="281" y="59"/>
                    <a:pt x="281" y="59"/>
                  </a:cubicBezTo>
                  <a:cubicBezTo>
                    <a:pt x="281" y="59"/>
                    <a:pt x="284" y="65"/>
                    <a:pt x="284" y="66"/>
                  </a:cubicBezTo>
                  <a:cubicBezTo>
                    <a:pt x="285" y="67"/>
                    <a:pt x="287" y="72"/>
                    <a:pt x="287" y="72"/>
                  </a:cubicBezTo>
                  <a:cubicBezTo>
                    <a:pt x="296" y="71"/>
                    <a:pt x="296" y="71"/>
                    <a:pt x="296" y="71"/>
                  </a:cubicBezTo>
                  <a:cubicBezTo>
                    <a:pt x="301" y="65"/>
                    <a:pt x="301" y="65"/>
                    <a:pt x="301" y="65"/>
                  </a:cubicBezTo>
                  <a:cubicBezTo>
                    <a:pt x="301" y="52"/>
                    <a:pt x="301" y="52"/>
                    <a:pt x="301" y="52"/>
                  </a:cubicBezTo>
                  <a:cubicBezTo>
                    <a:pt x="301" y="48"/>
                    <a:pt x="301" y="48"/>
                    <a:pt x="301" y="48"/>
                  </a:cubicBezTo>
                  <a:cubicBezTo>
                    <a:pt x="301" y="48"/>
                    <a:pt x="309" y="53"/>
                    <a:pt x="310" y="55"/>
                  </a:cubicBezTo>
                  <a:cubicBezTo>
                    <a:pt x="312" y="56"/>
                    <a:pt x="316" y="57"/>
                    <a:pt x="317" y="57"/>
                  </a:cubicBezTo>
                  <a:cubicBezTo>
                    <a:pt x="318" y="57"/>
                    <a:pt x="327" y="57"/>
                    <a:pt x="327" y="57"/>
                  </a:cubicBezTo>
                  <a:cubicBezTo>
                    <a:pt x="337" y="50"/>
                    <a:pt x="337" y="50"/>
                    <a:pt x="337" y="50"/>
                  </a:cubicBezTo>
                  <a:cubicBezTo>
                    <a:pt x="343" y="41"/>
                    <a:pt x="343" y="41"/>
                    <a:pt x="343" y="41"/>
                  </a:cubicBezTo>
                  <a:cubicBezTo>
                    <a:pt x="346" y="34"/>
                    <a:pt x="346" y="34"/>
                    <a:pt x="346" y="34"/>
                  </a:cubicBezTo>
                  <a:cubicBezTo>
                    <a:pt x="351" y="25"/>
                    <a:pt x="351" y="25"/>
                    <a:pt x="351" y="25"/>
                  </a:cubicBezTo>
                  <a:cubicBezTo>
                    <a:pt x="354" y="18"/>
                    <a:pt x="354" y="18"/>
                    <a:pt x="354" y="18"/>
                  </a:cubicBezTo>
                  <a:cubicBezTo>
                    <a:pt x="350" y="13"/>
                    <a:pt x="350" y="13"/>
                    <a:pt x="350" y="13"/>
                  </a:cubicBezTo>
                  <a:cubicBezTo>
                    <a:pt x="349" y="8"/>
                    <a:pt x="349" y="8"/>
                    <a:pt x="349" y="8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63" y="3"/>
                    <a:pt x="363" y="3"/>
                    <a:pt x="363" y="3"/>
                  </a:cubicBezTo>
                  <a:cubicBezTo>
                    <a:pt x="372" y="9"/>
                    <a:pt x="372" y="9"/>
                    <a:pt x="372" y="9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84" y="11"/>
                    <a:pt x="384" y="11"/>
                    <a:pt x="384" y="11"/>
                  </a:cubicBezTo>
                  <a:cubicBezTo>
                    <a:pt x="390" y="5"/>
                    <a:pt x="390" y="5"/>
                    <a:pt x="390" y="5"/>
                  </a:cubicBezTo>
                  <a:cubicBezTo>
                    <a:pt x="395" y="0"/>
                    <a:pt x="395" y="0"/>
                    <a:pt x="395" y="0"/>
                  </a:cubicBezTo>
                  <a:cubicBezTo>
                    <a:pt x="395" y="0"/>
                    <a:pt x="399" y="1"/>
                    <a:pt x="399" y="1"/>
                  </a:cubicBezTo>
                  <a:cubicBezTo>
                    <a:pt x="398" y="2"/>
                    <a:pt x="392" y="13"/>
                    <a:pt x="392" y="13"/>
                  </a:cubicBezTo>
                  <a:cubicBezTo>
                    <a:pt x="392" y="13"/>
                    <a:pt x="395" y="19"/>
                    <a:pt x="396" y="20"/>
                  </a:cubicBezTo>
                  <a:cubicBezTo>
                    <a:pt x="398" y="21"/>
                    <a:pt x="400" y="24"/>
                    <a:pt x="401" y="23"/>
                  </a:cubicBezTo>
                  <a:cubicBezTo>
                    <a:pt x="401" y="22"/>
                    <a:pt x="405" y="17"/>
                    <a:pt x="405" y="17"/>
                  </a:cubicBezTo>
                  <a:cubicBezTo>
                    <a:pt x="408" y="14"/>
                    <a:pt x="408" y="14"/>
                    <a:pt x="408" y="14"/>
                  </a:cubicBezTo>
                  <a:cubicBezTo>
                    <a:pt x="408" y="14"/>
                    <a:pt x="415" y="12"/>
                    <a:pt x="417" y="14"/>
                  </a:cubicBezTo>
                  <a:cubicBezTo>
                    <a:pt x="418" y="16"/>
                    <a:pt x="423" y="22"/>
                    <a:pt x="423" y="22"/>
                  </a:cubicBezTo>
                  <a:cubicBezTo>
                    <a:pt x="430" y="22"/>
                    <a:pt x="430" y="22"/>
                    <a:pt x="430" y="22"/>
                  </a:cubicBezTo>
                  <a:cubicBezTo>
                    <a:pt x="437" y="19"/>
                    <a:pt x="437" y="19"/>
                    <a:pt x="437" y="19"/>
                  </a:cubicBezTo>
                  <a:cubicBezTo>
                    <a:pt x="437" y="19"/>
                    <a:pt x="443" y="18"/>
                    <a:pt x="443" y="19"/>
                  </a:cubicBezTo>
                  <a:cubicBezTo>
                    <a:pt x="443" y="20"/>
                    <a:pt x="445" y="37"/>
                    <a:pt x="445" y="37"/>
                  </a:cubicBezTo>
                  <a:cubicBezTo>
                    <a:pt x="441" y="42"/>
                    <a:pt x="441" y="42"/>
                    <a:pt x="441" y="42"/>
                  </a:cubicBezTo>
                  <a:cubicBezTo>
                    <a:pt x="437" y="49"/>
                    <a:pt x="437" y="49"/>
                    <a:pt x="437" y="49"/>
                  </a:cubicBezTo>
                  <a:cubicBezTo>
                    <a:pt x="440" y="57"/>
                    <a:pt x="440" y="57"/>
                    <a:pt x="440" y="57"/>
                  </a:cubicBezTo>
                  <a:cubicBezTo>
                    <a:pt x="445" y="60"/>
                    <a:pt x="445" y="60"/>
                    <a:pt x="445" y="60"/>
                  </a:cubicBezTo>
                  <a:cubicBezTo>
                    <a:pt x="447" y="56"/>
                    <a:pt x="447" y="56"/>
                    <a:pt x="447" y="56"/>
                  </a:cubicBezTo>
                  <a:cubicBezTo>
                    <a:pt x="447" y="56"/>
                    <a:pt x="451" y="51"/>
                    <a:pt x="451" y="51"/>
                  </a:cubicBezTo>
                  <a:cubicBezTo>
                    <a:pt x="452" y="51"/>
                    <a:pt x="457" y="54"/>
                    <a:pt x="457" y="56"/>
                  </a:cubicBezTo>
                  <a:cubicBezTo>
                    <a:pt x="457" y="57"/>
                    <a:pt x="456" y="62"/>
                    <a:pt x="457" y="64"/>
                  </a:cubicBezTo>
                  <a:cubicBezTo>
                    <a:pt x="457" y="65"/>
                    <a:pt x="466" y="69"/>
                    <a:pt x="466" y="69"/>
                  </a:cubicBezTo>
                  <a:cubicBezTo>
                    <a:pt x="475" y="69"/>
                    <a:pt x="475" y="69"/>
                    <a:pt x="475" y="69"/>
                  </a:cubicBezTo>
                  <a:cubicBezTo>
                    <a:pt x="475" y="69"/>
                    <a:pt x="478" y="62"/>
                    <a:pt x="478" y="61"/>
                  </a:cubicBezTo>
                  <a:cubicBezTo>
                    <a:pt x="479" y="60"/>
                    <a:pt x="481" y="54"/>
                    <a:pt x="481" y="54"/>
                  </a:cubicBezTo>
                  <a:cubicBezTo>
                    <a:pt x="488" y="47"/>
                    <a:pt x="488" y="47"/>
                    <a:pt x="488" y="47"/>
                  </a:cubicBezTo>
                  <a:cubicBezTo>
                    <a:pt x="496" y="55"/>
                    <a:pt x="496" y="55"/>
                    <a:pt x="496" y="55"/>
                  </a:cubicBezTo>
                  <a:cubicBezTo>
                    <a:pt x="501" y="78"/>
                    <a:pt x="501" y="78"/>
                    <a:pt x="501" y="78"/>
                  </a:cubicBezTo>
                  <a:cubicBezTo>
                    <a:pt x="505" y="100"/>
                    <a:pt x="505" y="100"/>
                    <a:pt x="505" y="100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494" y="106"/>
                    <a:pt x="494" y="106"/>
                    <a:pt x="494" y="106"/>
                  </a:cubicBezTo>
                  <a:cubicBezTo>
                    <a:pt x="498" y="113"/>
                    <a:pt x="498" y="113"/>
                    <a:pt x="498" y="113"/>
                  </a:cubicBezTo>
                  <a:cubicBezTo>
                    <a:pt x="501" y="121"/>
                    <a:pt x="501" y="121"/>
                    <a:pt x="501" y="121"/>
                  </a:cubicBezTo>
                  <a:cubicBezTo>
                    <a:pt x="500" y="131"/>
                    <a:pt x="500" y="131"/>
                    <a:pt x="500" y="131"/>
                  </a:cubicBezTo>
                  <a:cubicBezTo>
                    <a:pt x="497" y="132"/>
                    <a:pt x="497" y="132"/>
                    <a:pt x="497" y="132"/>
                  </a:cubicBezTo>
                  <a:cubicBezTo>
                    <a:pt x="497" y="132"/>
                    <a:pt x="496" y="144"/>
                    <a:pt x="496" y="146"/>
                  </a:cubicBezTo>
                  <a:cubicBezTo>
                    <a:pt x="496" y="148"/>
                    <a:pt x="497" y="156"/>
                    <a:pt x="497" y="156"/>
                  </a:cubicBezTo>
                  <a:cubicBezTo>
                    <a:pt x="507" y="164"/>
                    <a:pt x="507" y="164"/>
                    <a:pt x="507" y="164"/>
                  </a:cubicBezTo>
                  <a:cubicBezTo>
                    <a:pt x="516" y="166"/>
                    <a:pt x="516" y="166"/>
                    <a:pt x="516" y="166"/>
                  </a:cubicBezTo>
                  <a:cubicBezTo>
                    <a:pt x="525" y="169"/>
                    <a:pt x="525" y="169"/>
                    <a:pt x="525" y="169"/>
                  </a:cubicBezTo>
                  <a:cubicBezTo>
                    <a:pt x="525" y="169"/>
                    <a:pt x="523" y="179"/>
                    <a:pt x="522" y="180"/>
                  </a:cubicBezTo>
                  <a:cubicBezTo>
                    <a:pt x="520" y="182"/>
                    <a:pt x="518" y="187"/>
                    <a:pt x="518" y="187"/>
                  </a:cubicBezTo>
                  <a:cubicBezTo>
                    <a:pt x="533" y="203"/>
                    <a:pt x="533" y="203"/>
                    <a:pt x="533" y="203"/>
                  </a:cubicBezTo>
                  <a:cubicBezTo>
                    <a:pt x="533" y="203"/>
                    <a:pt x="551" y="219"/>
                    <a:pt x="552" y="221"/>
                  </a:cubicBezTo>
                  <a:cubicBezTo>
                    <a:pt x="552" y="222"/>
                    <a:pt x="556" y="235"/>
                    <a:pt x="556" y="235"/>
                  </a:cubicBezTo>
                  <a:cubicBezTo>
                    <a:pt x="547" y="246"/>
                    <a:pt x="547" y="246"/>
                    <a:pt x="547" y="246"/>
                  </a:cubicBezTo>
                  <a:cubicBezTo>
                    <a:pt x="552" y="251"/>
                    <a:pt x="552" y="251"/>
                    <a:pt x="552" y="251"/>
                  </a:cubicBezTo>
                  <a:cubicBezTo>
                    <a:pt x="551" y="262"/>
                    <a:pt x="551" y="262"/>
                    <a:pt x="551" y="262"/>
                  </a:cubicBezTo>
                  <a:cubicBezTo>
                    <a:pt x="552" y="275"/>
                    <a:pt x="552" y="275"/>
                    <a:pt x="552" y="275"/>
                  </a:cubicBezTo>
                  <a:cubicBezTo>
                    <a:pt x="552" y="275"/>
                    <a:pt x="560" y="283"/>
                    <a:pt x="561" y="284"/>
                  </a:cubicBezTo>
                  <a:cubicBezTo>
                    <a:pt x="562" y="285"/>
                    <a:pt x="569" y="291"/>
                    <a:pt x="569" y="291"/>
                  </a:cubicBezTo>
                  <a:cubicBezTo>
                    <a:pt x="569" y="291"/>
                    <a:pt x="565" y="298"/>
                    <a:pt x="564" y="299"/>
                  </a:cubicBezTo>
                  <a:cubicBezTo>
                    <a:pt x="562" y="300"/>
                    <a:pt x="557" y="304"/>
                    <a:pt x="556" y="304"/>
                  </a:cubicBezTo>
                  <a:cubicBezTo>
                    <a:pt x="555" y="304"/>
                    <a:pt x="549" y="299"/>
                    <a:pt x="549" y="299"/>
                  </a:cubicBezTo>
                  <a:cubicBezTo>
                    <a:pt x="549" y="299"/>
                    <a:pt x="545" y="297"/>
                    <a:pt x="544" y="299"/>
                  </a:cubicBezTo>
                  <a:cubicBezTo>
                    <a:pt x="544" y="301"/>
                    <a:pt x="541" y="306"/>
                    <a:pt x="541" y="306"/>
                  </a:cubicBezTo>
                  <a:cubicBezTo>
                    <a:pt x="530" y="301"/>
                    <a:pt x="530" y="301"/>
                    <a:pt x="530" y="301"/>
                  </a:cubicBezTo>
                  <a:cubicBezTo>
                    <a:pt x="526" y="297"/>
                    <a:pt x="526" y="297"/>
                    <a:pt x="526" y="297"/>
                  </a:cubicBezTo>
                  <a:cubicBezTo>
                    <a:pt x="526" y="297"/>
                    <a:pt x="523" y="297"/>
                    <a:pt x="522" y="298"/>
                  </a:cubicBezTo>
                  <a:cubicBezTo>
                    <a:pt x="521" y="300"/>
                    <a:pt x="542" y="358"/>
                    <a:pt x="542" y="358"/>
                  </a:cubicBezTo>
                  <a:cubicBezTo>
                    <a:pt x="542" y="358"/>
                    <a:pt x="539" y="596"/>
                    <a:pt x="536" y="596"/>
                  </a:cubicBezTo>
                  <a:cubicBezTo>
                    <a:pt x="533" y="596"/>
                    <a:pt x="467" y="612"/>
                    <a:pt x="467" y="612"/>
                  </a:cubicBezTo>
                  <a:cubicBezTo>
                    <a:pt x="404" y="622"/>
                    <a:pt x="404" y="622"/>
                    <a:pt x="404" y="622"/>
                  </a:cubicBezTo>
                  <a:lnTo>
                    <a:pt x="371" y="62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1C78F66B-D2EC-480F-915D-3559D2A9D7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3830" y="2960686"/>
              <a:ext cx="2074865" cy="2106610"/>
            </a:xfrm>
            <a:custGeom>
              <a:avLst/>
              <a:gdLst>
                <a:gd name="T0" fmla="*/ 573 w 890"/>
                <a:gd name="T1" fmla="*/ 88 h 903"/>
                <a:gd name="T2" fmla="*/ 626 w 890"/>
                <a:gd name="T3" fmla="*/ 150 h 903"/>
                <a:gd name="T4" fmla="*/ 632 w 890"/>
                <a:gd name="T5" fmla="*/ 188 h 903"/>
                <a:gd name="T6" fmla="*/ 624 w 890"/>
                <a:gd name="T7" fmla="*/ 213 h 903"/>
                <a:gd name="T8" fmla="*/ 671 w 890"/>
                <a:gd name="T9" fmla="*/ 286 h 903"/>
                <a:gd name="T10" fmla="*/ 724 w 890"/>
                <a:gd name="T11" fmla="*/ 344 h 903"/>
                <a:gd name="T12" fmla="*/ 767 w 890"/>
                <a:gd name="T13" fmla="*/ 385 h 903"/>
                <a:gd name="T14" fmla="*/ 825 w 890"/>
                <a:gd name="T15" fmla="*/ 420 h 903"/>
                <a:gd name="T16" fmla="*/ 856 w 890"/>
                <a:gd name="T17" fmla="*/ 448 h 903"/>
                <a:gd name="T18" fmla="*/ 883 w 890"/>
                <a:gd name="T19" fmla="*/ 490 h 903"/>
                <a:gd name="T20" fmla="*/ 819 w 890"/>
                <a:gd name="T21" fmla="*/ 533 h 903"/>
                <a:gd name="T22" fmla="*/ 750 w 890"/>
                <a:gd name="T23" fmla="*/ 613 h 903"/>
                <a:gd name="T24" fmla="*/ 707 w 890"/>
                <a:gd name="T25" fmla="*/ 661 h 903"/>
                <a:gd name="T26" fmla="*/ 739 w 890"/>
                <a:gd name="T27" fmla="*/ 758 h 903"/>
                <a:gd name="T28" fmla="*/ 756 w 890"/>
                <a:gd name="T29" fmla="*/ 790 h 903"/>
                <a:gd name="T30" fmla="*/ 725 w 890"/>
                <a:gd name="T31" fmla="*/ 840 h 903"/>
                <a:gd name="T32" fmla="*/ 661 w 890"/>
                <a:gd name="T33" fmla="*/ 797 h 903"/>
                <a:gd name="T34" fmla="*/ 599 w 890"/>
                <a:gd name="T35" fmla="*/ 782 h 903"/>
                <a:gd name="T36" fmla="*/ 515 w 890"/>
                <a:gd name="T37" fmla="*/ 809 h 903"/>
                <a:gd name="T38" fmla="*/ 455 w 890"/>
                <a:gd name="T39" fmla="*/ 853 h 903"/>
                <a:gd name="T40" fmla="*/ 393 w 890"/>
                <a:gd name="T41" fmla="*/ 856 h 903"/>
                <a:gd name="T42" fmla="*/ 358 w 890"/>
                <a:gd name="T43" fmla="*/ 819 h 903"/>
                <a:gd name="T44" fmla="*/ 300 w 890"/>
                <a:gd name="T45" fmla="*/ 824 h 903"/>
                <a:gd name="T46" fmla="*/ 279 w 890"/>
                <a:gd name="T47" fmla="*/ 799 h 903"/>
                <a:gd name="T48" fmla="*/ 267 w 890"/>
                <a:gd name="T49" fmla="*/ 874 h 903"/>
                <a:gd name="T50" fmla="*/ 216 w 890"/>
                <a:gd name="T51" fmla="*/ 880 h 903"/>
                <a:gd name="T52" fmla="*/ 193 w 890"/>
                <a:gd name="T53" fmla="*/ 835 h 903"/>
                <a:gd name="T54" fmla="*/ 137 w 890"/>
                <a:gd name="T55" fmla="*/ 818 h 903"/>
                <a:gd name="T56" fmla="*/ 93 w 890"/>
                <a:gd name="T57" fmla="*/ 828 h 903"/>
                <a:gd name="T58" fmla="*/ 191 w 890"/>
                <a:gd name="T59" fmla="*/ 778 h 903"/>
                <a:gd name="T60" fmla="*/ 205 w 890"/>
                <a:gd name="T61" fmla="*/ 751 h 903"/>
                <a:gd name="T62" fmla="*/ 217 w 890"/>
                <a:gd name="T63" fmla="*/ 696 h 903"/>
                <a:gd name="T64" fmla="*/ 188 w 890"/>
                <a:gd name="T65" fmla="*/ 573 h 903"/>
                <a:gd name="T66" fmla="*/ 242 w 890"/>
                <a:gd name="T67" fmla="*/ 518 h 903"/>
                <a:gd name="T68" fmla="*/ 276 w 890"/>
                <a:gd name="T69" fmla="*/ 502 h 903"/>
                <a:gd name="T70" fmla="*/ 266 w 890"/>
                <a:gd name="T71" fmla="*/ 444 h 903"/>
                <a:gd name="T72" fmla="*/ 228 w 890"/>
                <a:gd name="T73" fmla="*/ 363 h 903"/>
                <a:gd name="T74" fmla="*/ 226 w 890"/>
                <a:gd name="T75" fmla="*/ 301 h 903"/>
                <a:gd name="T76" fmla="*/ 191 w 890"/>
                <a:gd name="T77" fmla="*/ 267 h 903"/>
                <a:gd name="T78" fmla="*/ 162 w 890"/>
                <a:gd name="T79" fmla="*/ 242 h 903"/>
                <a:gd name="T80" fmla="*/ 126 w 890"/>
                <a:gd name="T81" fmla="*/ 214 h 903"/>
                <a:gd name="T82" fmla="*/ 87 w 890"/>
                <a:gd name="T83" fmla="*/ 201 h 903"/>
                <a:gd name="T84" fmla="*/ 42 w 890"/>
                <a:gd name="T85" fmla="*/ 257 h 903"/>
                <a:gd name="T86" fmla="*/ 0 w 890"/>
                <a:gd name="T87" fmla="*/ 171 h 903"/>
                <a:gd name="T88" fmla="*/ 52 w 890"/>
                <a:gd name="T89" fmla="*/ 93 h 903"/>
                <a:gd name="T90" fmla="*/ 109 w 890"/>
                <a:gd name="T91" fmla="*/ 61 h 903"/>
                <a:gd name="T92" fmla="*/ 165 w 890"/>
                <a:gd name="T93" fmla="*/ 27 h 903"/>
                <a:gd name="T94" fmla="*/ 238 w 890"/>
                <a:gd name="T95" fmla="*/ 14 h 903"/>
                <a:gd name="T96" fmla="*/ 311 w 890"/>
                <a:gd name="T97" fmla="*/ 81 h 903"/>
                <a:gd name="T98" fmla="*/ 356 w 890"/>
                <a:gd name="T99" fmla="*/ 76 h 903"/>
                <a:gd name="T100" fmla="*/ 359 w 890"/>
                <a:gd name="T101" fmla="*/ 53 h 903"/>
                <a:gd name="T102" fmla="*/ 420 w 890"/>
                <a:gd name="T103" fmla="*/ 59 h 903"/>
                <a:gd name="T104" fmla="*/ 452 w 890"/>
                <a:gd name="T105" fmla="*/ 34 h 903"/>
                <a:gd name="T106" fmla="*/ 512 w 890"/>
                <a:gd name="T107" fmla="*/ 20 h 903"/>
                <a:gd name="T108" fmla="*/ 567 w 890"/>
                <a:gd name="T109" fmla="*/ 57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0" h="903">
                  <a:moveTo>
                    <a:pt x="568" y="55"/>
                  </a:moveTo>
                  <a:cubicBezTo>
                    <a:pt x="568" y="64"/>
                    <a:pt x="568" y="64"/>
                    <a:pt x="568" y="64"/>
                  </a:cubicBezTo>
                  <a:cubicBezTo>
                    <a:pt x="568" y="64"/>
                    <a:pt x="561" y="65"/>
                    <a:pt x="560" y="67"/>
                  </a:cubicBezTo>
                  <a:cubicBezTo>
                    <a:pt x="559" y="68"/>
                    <a:pt x="555" y="68"/>
                    <a:pt x="558" y="72"/>
                  </a:cubicBezTo>
                  <a:cubicBezTo>
                    <a:pt x="560" y="76"/>
                    <a:pt x="562" y="78"/>
                    <a:pt x="566" y="81"/>
                  </a:cubicBezTo>
                  <a:cubicBezTo>
                    <a:pt x="569" y="85"/>
                    <a:pt x="573" y="88"/>
                    <a:pt x="573" y="88"/>
                  </a:cubicBezTo>
                  <a:cubicBezTo>
                    <a:pt x="573" y="88"/>
                    <a:pt x="577" y="90"/>
                    <a:pt x="577" y="93"/>
                  </a:cubicBezTo>
                  <a:cubicBezTo>
                    <a:pt x="577" y="96"/>
                    <a:pt x="579" y="95"/>
                    <a:pt x="577" y="101"/>
                  </a:cubicBezTo>
                  <a:cubicBezTo>
                    <a:pt x="576" y="106"/>
                    <a:pt x="573" y="107"/>
                    <a:pt x="576" y="110"/>
                  </a:cubicBezTo>
                  <a:cubicBezTo>
                    <a:pt x="580" y="114"/>
                    <a:pt x="586" y="116"/>
                    <a:pt x="588" y="119"/>
                  </a:cubicBezTo>
                  <a:cubicBezTo>
                    <a:pt x="589" y="123"/>
                    <a:pt x="589" y="126"/>
                    <a:pt x="593" y="128"/>
                  </a:cubicBezTo>
                  <a:cubicBezTo>
                    <a:pt x="596" y="130"/>
                    <a:pt x="626" y="150"/>
                    <a:pt x="626" y="150"/>
                  </a:cubicBezTo>
                  <a:cubicBezTo>
                    <a:pt x="636" y="151"/>
                    <a:pt x="636" y="151"/>
                    <a:pt x="636" y="151"/>
                  </a:cubicBezTo>
                  <a:cubicBezTo>
                    <a:pt x="636" y="151"/>
                    <a:pt x="630" y="153"/>
                    <a:pt x="632" y="157"/>
                  </a:cubicBezTo>
                  <a:cubicBezTo>
                    <a:pt x="633" y="161"/>
                    <a:pt x="638" y="165"/>
                    <a:pt x="639" y="166"/>
                  </a:cubicBezTo>
                  <a:cubicBezTo>
                    <a:pt x="641" y="167"/>
                    <a:pt x="645" y="164"/>
                    <a:pt x="642" y="171"/>
                  </a:cubicBezTo>
                  <a:cubicBezTo>
                    <a:pt x="638" y="178"/>
                    <a:pt x="638" y="181"/>
                    <a:pt x="637" y="183"/>
                  </a:cubicBezTo>
                  <a:cubicBezTo>
                    <a:pt x="636" y="185"/>
                    <a:pt x="634" y="188"/>
                    <a:pt x="632" y="188"/>
                  </a:cubicBezTo>
                  <a:cubicBezTo>
                    <a:pt x="629" y="188"/>
                    <a:pt x="624" y="181"/>
                    <a:pt x="621" y="187"/>
                  </a:cubicBezTo>
                  <a:cubicBezTo>
                    <a:pt x="619" y="193"/>
                    <a:pt x="625" y="200"/>
                    <a:pt x="626" y="198"/>
                  </a:cubicBezTo>
                  <a:cubicBezTo>
                    <a:pt x="627" y="197"/>
                    <a:pt x="632" y="197"/>
                    <a:pt x="632" y="197"/>
                  </a:cubicBezTo>
                  <a:cubicBezTo>
                    <a:pt x="632" y="197"/>
                    <a:pt x="635" y="203"/>
                    <a:pt x="633" y="204"/>
                  </a:cubicBezTo>
                  <a:cubicBezTo>
                    <a:pt x="630" y="205"/>
                    <a:pt x="629" y="208"/>
                    <a:pt x="627" y="209"/>
                  </a:cubicBezTo>
                  <a:cubicBezTo>
                    <a:pt x="625" y="209"/>
                    <a:pt x="624" y="211"/>
                    <a:pt x="624" y="213"/>
                  </a:cubicBezTo>
                  <a:cubicBezTo>
                    <a:pt x="624" y="214"/>
                    <a:pt x="624" y="214"/>
                    <a:pt x="626" y="218"/>
                  </a:cubicBezTo>
                  <a:cubicBezTo>
                    <a:pt x="628" y="222"/>
                    <a:pt x="631" y="224"/>
                    <a:pt x="633" y="228"/>
                  </a:cubicBezTo>
                  <a:cubicBezTo>
                    <a:pt x="636" y="231"/>
                    <a:pt x="642" y="238"/>
                    <a:pt x="643" y="240"/>
                  </a:cubicBezTo>
                  <a:cubicBezTo>
                    <a:pt x="644" y="242"/>
                    <a:pt x="648" y="263"/>
                    <a:pt x="649" y="268"/>
                  </a:cubicBezTo>
                  <a:cubicBezTo>
                    <a:pt x="651" y="272"/>
                    <a:pt x="646" y="279"/>
                    <a:pt x="651" y="281"/>
                  </a:cubicBezTo>
                  <a:cubicBezTo>
                    <a:pt x="657" y="283"/>
                    <a:pt x="670" y="283"/>
                    <a:pt x="671" y="286"/>
                  </a:cubicBezTo>
                  <a:cubicBezTo>
                    <a:pt x="672" y="288"/>
                    <a:pt x="673" y="295"/>
                    <a:pt x="675" y="301"/>
                  </a:cubicBezTo>
                  <a:cubicBezTo>
                    <a:pt x="677" y="307"/>
                    <a:pt x="683" y="313"/>
                    <a:pt x="686" y="315"/>
                  </a:cubicBezTo>
                  <a:cubicBezTo>
                    <a:pt x="688" y="317"/>
                    <a:pt x="693" y="316"/>
                    <a:pt x="694" y="318"/>
                  </a:cubicBezTo>
                  <a:cubicBezTo>
                    <a:pt x="694" y="320"/>
                    <a:pt x="694" y="321"/>
                    <a:pt x="696" y="328"/>
                  </a:cubicBezTo>
                  <a:cubicBezTo>
                    <a:pt x="698" y="334"/>
                    <a:pt x="702" y="337"/>
                    <a:pt x="709" y="340"/>
                  </a:cubicBezTo>
                  <a:cubicBezTo>
                    <a:pt x="716" y="344"/>
                    <a:pt x="722" y="343"/>
                    <a:pt x="724" y="344"/>
                  </a:cubicBezTo>
                  <a:cubicBezTo>
                    <a:pt x="725" y="344"/>
                    <a:pt x="730" y="348"/>
                    <a:pt x="732" y="348"/>
                  </a:cubicBezTo>
                  <a:cubicBezTo>
                    <a:pt x="734" y="348"/>
                    <a:pt x="736" y="347"/>
                    <a:pt x="740" y="352"/>
                  </a:cubicBezTo>
                  <a:cubicBezTo>
                    <a:pt x="743" y="357"/>
                    <a:pt x="744" y="353"/>
                    <a:pt x="747" y="361"/>
                  </a:cubicBezTo>
                  <a:cubicBezTo>
                    <a:pt x="750" y="370"/>
                    <a:pt x="749" y="367"/>
                    <a:pt x="752" y="373"/>
                  </a:cubicBezTo>
                  <a:cubicBezTo>
                    <a:pt x="754" y="380"/>
                    <a:pt x="749" y="379"/>
                    <a:pt x="756" y="382"/>
                  </a:cubicBezTo>
                  <a:cubicBezTo>
                    <a:pt x="763" y="385"/>
                    <a:pt x="761" y="383"/>
                    <a:pt x="767" y="385"/>
                  </a:cubicBezTo>
                  <a:cubicBezTo>
                    <a:pt x="774" y="387"/>
                    <a:pt x="791" y="390"/>
                    <a:pt x="791" y="390"/>
                  </a:cubicBezTo>
                  <a:cubicBezTo>
                    <a:pt x="791" y="390"/>
                    <a:pt x="802" y="387"/>
                    <a:pt x="803" y="390"/>
                  </a:cubicBezTo>
                  <a:cubicBezTo>
                    <a:pt x="805" y="393"/>
                    <a:pt x="807" y="400"/>
                    <a:pt x="808" y="404"/>
                  </a:cubicBezTo>
                  <a:cubicBezTo>
                    <a:pt x="809" y="407"/>
                    <a:pt x="810" y="408"/>
                    <a:pt x="810" y="411"/>
                  </a:cubicBezTo>
                  <a:cubicBezTo>
                    <a:pt x="810" y="414"/>
                    <a:pt x="805" y="414"/>
                    <a:pt x="811" y="417"/>
                  </a:cubicBezTo>
                  <a:cubicBezTo>
                    <a:pt x="817" y="420"/>
                    <a:pt x="823" y="420"/>
                    <a:pt x="825" y="420"/>
                  </a:cubicBezTo>
                  <a:cubicBezTo>
                    <a:pt x="826" y="421"/>
                    <a:pt x="829" y="423"/>
                    <a:pt x="832" y="419"/>
                  </a:cubicBezTo>
                  <a:cubicBezTo>
                    <a:pt x="835" y="416"/>
                    <a:pt x="834" y="418"/>
                    <a:pt x="834" y="418"/>
                  </a:cubicBezTo>
                  <a:cubicBezTo>
                    <a:pt x="834" y="418"/>
                    <a:pt x="845" y="415"/>
                    <a:pt x="846" y="417"/>
                  </a:cubicBezTo>
                  <a:cubicBezTo>
                    <a:pt x="848" y="419"/>
                    <a:pt x="850" y="419"/>
                    <a:pt x="851" y="425"/>
                  </a:cubicBezTo>
                  <a:cubicBezTo>
                    <a:pt x="852" y="431"/>
                    <a:pt x="852" y="432"/>
                    <a:pt x="853" y="438"/>
                  </a:cubicBezTo>
                  <a:cubicBezTo>
                    <a:pt x="853" y="444"/>
                    <a:pt x="853" y="447"/>
                    <a:pt x="856" y="448"/>
                  </a:cubicBezTo>
                  <a:cubicBezTo>
                    <a:pt x="860" y="450"/>
                    <a:pt x="863" y="447"/>
                    <a:pt x="863" y="450"/>
                  </a:cubicBezTo>
                  <a:cubicBezTo>
                    <a:pt x="864" y="453"/>
                    <a:pt x="879" y="463"/>
                    <a:pt x="879" y="463"/>
                  </a:cubicBezTo>
                  <a:cubicBezTo>
                    <a:pt x="879" y="463"/>
                    <a:pt x="873" y="469"/>
                    <a:pt x="873" y="471"/>
                  </a:cubicBezTo>
                  <a:cubicBezTo>
                    <a:pt x="873" y="472"/>
                    <a:pt x="867" y="470"/>
                    <a:pt x="869" y="475"/>
                  </a:cubicBezTo>
                  <a:cubicBezTo>
                    <a:pt x="871" y="480"/>
                    <a:pt x="875" y="485"/>
                    <a:pt x="878" y="486"/>
                  </a:cubicBezTo>
                  <a:cubicBezTo>
                    <a:pt x="881" y="488"/>
                    <a:pt x="882" y="486"/>
                    <a:pt x="883" y="490"/>
                  </a:cubicBezTo>
                  <a:cubicBezTo>
                    <a:pt x="884" y="494"/>
                    <a:pt x="889" y="505"/>
                    <a:pt x="889" y="507"/>
                  </a:cubicBezTo>
                  <a:cubicBezTo>
                    <a:pt x="888" y="510"/>
                    <a:pt x="890" y="509"/>
                    <a:pt x="886" y="514"/>
                  </a:cubicBezTo>
                  <a:cubicBezTo>
                    <a:pt x="881" y="519"/>
                    <a:pt x="889" y="521"/>
                    <a:pt x="876" y="520"/>
                  </a:cubicBezTo>
                  <a:cubicBezTo>
                    <a:pt x="863" y="518"/>
                    <a:pt x="858" y="516"/>
                    <a:pt x="858" y="516"/>
                  </a:cubicBezTo>
                  <a:cubicBezTo>
                    <a:pt x="858" y="516"/>
                    <a:pt x="853" y="500"/>
                    <a:pt x="846" y="512"/>
                  </a:cubicBezTo>
                  <a:cubicBezTo>
                    <a:pt x="839" y="524"/>
                    <a:pt x="821" y="532"/>
                    <a:pt x="819" y="533"/>
                  </a:cubicBezTo>
                  <a:cubicBezTo>
                    <a:pt x="818" y="534"/>
                    <a:pt x="813" y="533"/>
                    <a:pt x="814" y="540"/>
                  </a:cubicBezTo>
                  <a:cubicBezTo>
                    <a:pt x="816" y="547"/>
                    <a:pt x="821" y="550"/>
                    <a:pt x="822" y="561"/>
                  </a:cubicBezTo>
                  <a:cubicBezTo>
                    <a:pt x="823" y="573"/>
                    <a:pt x="831" y="573"/>
                    <a:pt x="823" y="581"/>
                  </a:cubicBezTo>
                  <a:cubicBezTo>
                    <a:pt x="815" y="589"/>
                    <a:pt x="791" y="604"/>
                    <a:pt x="790" y="606"/>
                  </a:cubicBezTo>
                  <a:cubicBezTo>
                    <a:pt x="789" y="608"/>
                    <a:pt x="793" y="606"/>
                    <a:pt x="785" y="608"/>
                  </a:cubicBezTo>
                  <a:cubicBezTo>
                    <a:pt x="777" y="610"/>
                    <a:pt x="750" y="613"/>
                    <a:pt x="750" y="613"/>
                  </a:cubicBezTo>
                  <a:cubicBezTo>
                    <a:pt x="750" y="613"/>
                    <a:pt x="751" y="624"/>
                    <a:pt x="747" y="625"/>
                  </a:cubicBezTo>
                  <a:cubicBezTo>
                    <a:pt x="743" y="625"/>
                    <a:pt x="726" y="624"/>
                    <a:pt x="723" y="626"/>
                  </a:cubicBezTo>
                  <a:cubicBezTo>
                    <a:pt x="720" y="627"/>
                    <a:pt x="721" y="629"/>
                    <a:pt x="721" y="632"/>
                  </a:cubicBezTo>
                  <a:cubicBezTo>
                    <a:pt x="722" y="634"/>
                    <a:pt x="725" y="639"/>
                    <a:pt x="722" y="640"/>
                  </a:cubicBezTo>
                  <a:cubicBezTo>
                    <a:pt x="719" y="642"/>
                    <a:pt x="706" y="651"/>
                    <a:pt x="706" y="654"/>
                  </a:cubicBezTo>
                  <a:cubicBezTo>
                    <a:pt x="706" y="657"/>
                    <a:pt x="705" y="658"/>
                    <a:pt x="707" y="661"/>
                  </a:cubicBezTo>
                  <a:cubicBezTo>
                    <a:pt x="709" y="665"/>
                    <a:pt x="713" y="675"/>
                    <a:pt x="714" y="677"/>
                  </a:cubicBezTo>
                  <a:cubicBezTo>
                    <a:pt x="715" y="680"/>
                    <a:pt x="729" y="700"/>
                    <a:pt x="729" y="700"/>
                  </a:cubicBezTo>
                  <a:cubicBezTo>
                    <a:pt x="729" y="700"/>
                    <a:pt x="734" y="716"/>
                    <a:pt x="735" y="718"/>
                  </a:cubicBezTo>
                  <a:cubicBezTo>
                    <a:pt x="737" y="720"/>
                    <a:pt x="751" y="721"/>
                    <a:pt x="743" y="730"/>
                  </a:cubicBezTo>
                  <a:cubicBezTo>
                    <a:pt x="735" y="738"/>
                    <a:pt x="734" y="741"/>
                    <a:pt x="735" y="744"/>
                  </a:cubicBezTo>
                  <a:cubicBezTo>
                    <a:pt x="735" y="748"/>
                    <a:pt x="739" y="758"/>
                    <a:pt x="739" y="758"/>
                  </a:cubicBezTo>
                  <a:cubicBezTo>
                    <a:pt x="739" y="758"/>
                    <a:pt x="734" y="762"/>
                    <a:pt x="736" y="768"/>
                  </a:cubicBezTo>
                  <a:cubicBezTo>
                    <a:pt x="737" y="773"/>
                    <a:pt x="736" y="774"/>
                    <a:pt x="739" y="777"/>
                  </a:cubicBezTo>
                  <a:cubicBezTo>
                    <a:pt x="743" y="780"/>
                    <a:pt x="740" y="785"/>
                    <a:pt x="746" y="781"/>
                  </a:cubicBezTo>
                  <a:cubicBezTo>
                    <a:pt x="751" y="776"/>
                    <a:pt x="753" y="777"/>
                    <a:pt x="754" y="774"/>
                  </a:cubicBezTo>
                  <a:cubicBezTo>
                    <a:pt x="756" y="771"/>
                    <a:pt x="759" y="761"/>
                    <a:pt x="759" y="770"/>
                  </a:cubicBezTo>
                  <a:cubicBezTo>
                    <a:pt x="760" y="778"/>
                    <a:pt x="753" y="787"/>
                    <a:pt x="756" y="790"/>
                  </a:cubicBezTo>
                  <a:cubicBezTo>
                    <a:pt x="760" y="794"/>
                    <a:pt x="768" y="792"/>
                    <a:pt x="768" y="795"/>
                  </a:cubicBezTo>
                  <a:cubicBezTo>
                    <a:pt x="768" y="798"/>
                    <a:pt x="760" y="807"/>
                    <a:pt x="759" y="812"/>
                  </a:cubicBezTo>
                  <a:cubicBezTo>
                    <a:pt x="758" y="818"/>
                    <a:pt x="757" y="819"/>
                    <a:pt x="757" y="824"/>
                  </a:cubicBezTo>
                  <a:cubicBezTo>
                    <a:pt x="758" y="828"/>
                    <a:pt x="760" y="837"/>
                    <a:pt x="758" y="839"/>
                  </a:cubicBezTo>
                  <a:cubicBezTo>
                    <a:pt x="755" y="841"/>
                    <a:pt x="752" y="847"/>
                    <a:pt x="746" y="847"/>
                  </a:cubicBezTo>
                  <a:cubicBezTo>
                    <a:pt x="740" y="847"/>
                    <a:pt x="729" y="842"/>
                    <a:pt x="725" y="840"/>
                  </a:cubicBezTo>
                  <a:cubicBezTo>
                    <a:pt x="721" y="838"/>
                    <a:pt x="712" y="824"/>
                    <a:pt x="712" y="824"/>
                  </a:cubicBezTo>
                  <a:cubicBezTo>
                    <a:pt x="712" y="824"/>
                    <a:pt x="714" y="811"/>
                    <a:pt x="712" y="807"/>
                  </a:cubicBezTo>
                  <a:cubicBezTo>
                    <a:pt x="710" y="804"/>
                    <a:pt x="705" y="794"/>
                    <a:pt x="702" y="794"/>
                  </a:cubicBezTo>
                  <a:cubicBezTo>
                    <a:pt x="699" y="794"/>
                    <a:pt x="705" y="791"/>
                    <a:pt x="692" y="793"/>
                  </a:cubicBezTo>
                  <a:cubicBezTo>
                    <a:pt x="680" y="796"/>
                    <a:pt x="687" y="798"/>
                    <a:pt x="676" y="797"/>
                  </a:cubicBezTo>
                  <a:cubicBezTo>
                    <a:pt x="666" y="797"/>
                    <a:pt x="667" y="798"/>
                    <a:pt x="661" y="797"/>
                  </a:cubicBezTo>
                  <a:cubicBezTo>
                    <a:pt x="655" y="795"/>
                    <a:pt x="653" y="800"/>
                    <a:pt x="650" y="794"/>
                  </a:cubicBezTo>
                  <a:cubicBezTo>
                    <a:pt x="648" y="788"/>
                    <a:pt x="652" y="788"/>
                    <a:pt x="646" y="784"/>
                  </a:cubicBezTo>
                  <a:cubicBezTo>
                    <a:pt x="640" y="780"/>
                    <a:pt x="641" y="776"/>
                    <a:pt x="635" y="779"/>
                  </a:cubicBezTo>
                  <a:cubicBezTo>
                    <a:pt x="630" y="781"/>
                    <a:pt x="619" y="776"/>
                    <a:pt x="619" y="776"/>
                  </a:cubicBezTo>
                  <a:cubicBezTo>
                    <a:pt x="619" y="776"/>
                    <a:pt x="620" y="773"/>
                    <a:pt x="612" y="774"/>
                  </a:cubicBezTo>
                  <a:cubicBezTo>
                    <a:pt x="605" y="774"/>
                    <a:pt x="601" y="780"/>
                    <a:pt x="599" y="782"/>
                  </a:cubicBezTo>
                  <a:cubicBezTo>
                    <a:pt x="598" y="784"/>
                    <a:pt x="595" y="804"/>
                    <a:pt x="595" y="804"/>
                  </a:cubicBezTo>
                  <a:cubicBezTo>
                    <a:pt x="595" y="804"/>
                    <a:pt x="594" y="814"/>
                    <a:pt x="590" y="813"/>
                  </a:cubicBezTo>
                  <a:cubicBezTo>
                    <a:pt x="586" y="812"/>
                    <a:pt x="582" y="811"/>
                    <a:pt x="581" y="810"/>
                  </a:cubicBezTo>
                  <a:cubicBezTo>
                    <a:pt x="580" y="808"/>
                    <a:pt x="560" y="807"/>
                    <a:pt x="555" y="807"/>
                  </a:cubicBezTo>
                  <a:cubicBezTo>
                    <a:pt x="550" y="807"/>
                    <a:pt x="536" y="807"/>
                    <a:pt x="530" y="807"/>
                  </a:cubicBezTo>
                  <a:cubicBezTo>
                    <a:pt x="524" y="807"/>
                    <a:pt x="516" y="808"/>
                    <a:pt x="515" y="809"/>
                  </a:cubicBezTo>
                  <a:cubicBezTo>
                    <a:pt x="514" y="811"/>
                    <a:pt x="508" y="802"/>
                    <a:pt x="504" y="805"/>
                  </a:cubicBezTo>
                  <a:cubicBezTo>
                    <a:pt x="500" y="807"/>
                    <a:pt x="496" y="813"/>
                    <a:pt x="495" y="816"/>
                  </a:cubicBezTo>
                  <a:cubicBezTo>
                    <a:pt x="494" y="819"/>
                    <a:pt x="492" y="826"/>
                    <a:pt x="487" y="826"/>
                  </a:cubicBezTo>
                  <a:cubicBezTo>
                    <a:pt x="482" y="826"/>
                    <a:pt x="476" y="821"/>
                    <a:pt x="472" y="826"/>
                  </a:cubicBezTo>
                  <a:cubicBezTo>
                    <a:pt x="468" y="831"/>
                    <a:pt x="463" y="839"/>
                    <a:pt x="463" y="841"/>
                  </a:cubicBezTo>
                  <a:cubicBezTo>
                    <a:pt x="463" y="844"/>
                    <a:pt x="461" y="847"/>
                    <a:pt x="455" y="853"/>
                  </a:cubicBezTo>
                  <a:cubicBezTo>
                    <a:pt x="448" y="858"/>
                    <a:pt x="453" y="861"/>
                    <a:pt x="445" y="861"/>
                  </a:cubicBezTo>
                  <a:cubicBezTo>
                    <a:pt x="437" y="861"/>
                    <a:pt x="437" y="861"/>
                    <a:pt x="437" y="861"/>
                  </a:cubicBezTo>
                  <a:cubicBezTo>
                    <a:pt x="437" y="861"/>
                    <a:pt x="431" y="867"/>
                    <a:pt x="428" y="867"/>
                  </a:cubicBezTo>
                  <a:cubicBezTo>
                    <a:pt x="425" y="867"/>
                    <a:pt x="425" y="861"/>
                    <a:pt x="423" y="859"/>
                  </a:cubicBezTo>
                  <a:cubicBezTo>
                    <a:pt x="421" y="857"/>
                    <a:pt x="423" y="853"/>
                    <a:pt x="415" y="855"/>
                  </a:cubicBezTo>
                  <a:cubicBezTo>
                    <a:pt x="406" y="857"/>
                    <a:pt x="396" y="856"/>
                    <a:pt x="393" y="856"/>
                  </a:cubicBezTo>
                  <a:cubicBezTo>
                    <a:pt x="391" y="856"/>
                    <a:pt x="380" y="857"/>
                    <a:pt x="380" y="859"/>
                  </a:cubicBezTo>
                  <a:cubicBezTo>
                    <a:pt x="380" y="861"/>
                    <a:pt x="367" y="858"/>
                    <a:pt x="369" y="855"/>
                  </a:cubicBezTo>
                  <a:cubicBezTo>
                    <a:pt x="370" y="852"/>
                    <a:pt x="372" y="839"/>
                    <a:pt x="374" y="836"/>
                  </a:cubicBezTo>
                  <a:cubicBezTo>
                    <a:pt x="375" y="833"/>
                    <a:pt x="379" y="818"/>
                    <a:pt x="379" y="818"/>
                  </a:cubicBezTo>
                  <a:cubicBezTo>
                    <a:pt x="379" y="818"/>
                    <a:pt x="369" y="818"/>
                    <a:pt x="367" y="818"/>
                  </a:cubicBezTo>
                  <a:cubicBezTo>
                    <a:pt x="366" y="819"/>
                    <a:pt x="360" y="817"/>
                    <a:pt x="358" y="819"/>
                  </a:cubicBezTo>
                  <a:cubicBezTo>
                    <a:pt x="357" y="821"/>
                    <a:pt x="352" y="823"/>
                    <a:pt x="348" y="826"/>
                  </a:cubicBezTo>
                  <a:cubicBezTo>
                    <a:pt x="344" y="829"/>
                    <a:pt x="333" y="834"/>
                    <a:pt x="333" y="834"/>
                  </a:cubicBezTo>
                  <a:cubicBezTo>
                    <a:pt x="333" y="834"/>
                    <a:pt x="332" y="830"/>
                    <a:pt x="327" y="828"/>
                  </a:cubicBezTo>
                  <a:cubicBezTo>
                    <a:pt x="323" y="826"/>
                    <a:pt x="315" y="824"/>
                    <a:pt x="312" y="822"/>
                  </a:cubicBezTo>
                  <a:cubicBezTo>
                    <a:pt x="310" y="821"/>
                    <a:pt x="308" y="816"/>
                    <a:pt x="305" y="819"/>
                  </a:cubicBezTo>
                  <a:cubicBezTo>
                    <a:pt x="302" y="821"/>
                    <a:pt x="302" y="819"/>
                    <a:pt x="300" y="824"/>
                  </a:cubicBezTo>
                  <a:cubicBezTo>
                    <a:pt x="298" y="829"/>
                    <a:pt x="301" y="833"/>
                    <a:pt x="297" y="831"/>
                  </a:cubicBezTo>
                  <a:cubicBezTo>
                    <a:pt x="293" y="829"/>
                    <a:pt x="287" y="827"/>
                    <a:pt x="287" y="827"/>
                  </a:cubicBezTo>
                  <a:cubicBezTo>
                    <a:pt x="287" y="827"/>
                    <a:pt x="281" y="825"/>
                    <a:pt x="281" y="822"/>
                  </a:cubicBezTo>
                  <a:cubicBezTo>
                    <a:pt x="281" y="819"/>
                    <a:pt x="283" y="815"/>
                    <a:pt x="284" y="813"/>
                  </a:cubicBezTo>
                  <a:cubicBezTo>
                    <a:pt x="285" y="811"/>
                    <a:pt x="287" y="808"/>
                    <a:pt x="286" y="806"/>
                  </a:cubicBezTo>
                  <a:cubicBezTo>
                    <a:pt x="284" y="803"/>
                    <a:pt x="282" y="798"/>
                    <a:pt x="279" y="799"/>
                  </a:cubicBezTo>
                  <a:cubicBezTo>
                    <a:pt x="276" y="801"/>
                    <a:pt x="273" y="802"/>
                    <a:pt x="267" y="808"/>
                  </a:cubicBezTo>
                  <a:cubicBezTo>
                    <a:pt x="261" y="814"/>
                    <a:pt x="258" y="813"/>
                    <a:pt x="258" y="819"/>
                  </a:cubicBezTo>
                  <a:cubicBezTo>
                    <a:pt x="259" y="824"/>
                    <a:pt x="256" y="830"/>
                    <a:pt x="259" y="833"/>
                  </a:cubicBezTo>
                  <a:cubicBezTo>
                    <a:pt x="261" y="835"/>
                    <a:pt x="262" y="829"/>
                    <a:pt x="264" y="839"/>
                  </a:cubicBezTo>
                  <a:cubicBezTo>
                    <a:pt x="267" y="849"/>
                    <a:pt x="263" y="846"/>
                    <a:pt x="266" y="854"/>
                  </a:cubicBezTo>
                  <a:cubicBezTo>
                    <a:pt x="268" y="861"/>
                    <a:pt x="267" y="870"/>
                    <a:pt x="267" y="874"/>
                  </a:cubicBezTo>
                  <a:cubicBezTo>
                    <a:pt x="266" y="879"/>
                    <a:pt x="270" y="885"/>
                    <a:pt x="261" y="886"/>
                  </a:cubicBezTo>
                  <a:cubicBezTo>
                    <a:pt x="252" y="888"/>
                    <a:pt x="244" y="892"/>
                    <a:pt x="241" y="894"/>
                  </a:cubicBezTo>
                  <a:cubicBezTo>
                    <a:pt x="239" y="897"/>
                    <a:pt x="233" y="903"/>
                    <a:pt x="233" y="903"/>
                  </a:cubicBezTo>
                  <a:cubicBezTo>
                    <a:pt x="233" y="903"/>
                    <a:pt x="230" y="903"/>
                    <a:pt x="228" y="903"/>
                  </a:cubicBezTo>
                  <a:cubicBezTo>
                    <a:pt x="227" y="903"/>
                    <a:pt x="220" y="894"/>
                    <a:pt x="220" y="894"/>
                  </a:cubicBezTo>
                  <a:cubicBezTo>
                    <a:pt x="220" y="894"/>
                    <a:pt x="218" y="879"/>
                    <a:pt x="216" y="880"/>
                  </a:cubicBezTo>
                  <a:cubicBezTo>
                    <a:pt x="215" y="880"/>
                    <a:pt x="207" y="874"/>
                    <a:pt x="207" y="874"/>
                  </a:cubicBezTo>
                  <a:cubicBezTo>
                    <a:pt x="207" y="874"/>
                    <a:pt x="203" y="875"/>
                    <a:pt x="205" y="868"/>
                  </a:cubicBezTo>
                  <a:cubicBezTo>
                    <a:pt x="207" y="862"/>
                    <a:pt x="207" y="865"/>
                    <a:pt x="209" y="859"/>
                  </a:cubicBezTo>
                  <a:cubicBezTo>
                    <a:pt x="212" y="853"/>
                    <a:pt x="215" y="852"/>
                    <a:pt x="210" y="851"/>
                  </a:cubicBezTo>
                  <a:cubicBezTo>
                    <a:pt x="205" y="850"/>
                    <a:pt x="199" y="844"/>
                    <a:pt x="199" y="844"/>
                  </a:cubicBezTo>
                  <a:cubicBezTo>
                    <a:pt x="199" y="844"/>
                    <a:pt x="192" y="843"/>
                    <a:pt x="193" y="835"/>
                  </a:cubicBezTo>
                  <a:cubicBezTo>
                    <a:pt x="193" y="827"/>
                    <a:pt x="192" y="824"/>
                    <a:pt x="192" y="824"/>
                  </a:cubicBezTo>
                  <a:cubicBezTo>
                    <a:pt x="192" y="824"/>
                    <a:pt x="193" y="821"/>
                    <a:pt x="188" y="820"/>
                  </a:cubicBezTo>
                  <a:cubicBezTo>
                    <a:pt x="183" y="820"/>
                    <a:pt x="178" y="818"/>
                    <a:pt x="176" y="817"/>
                  </a:cubicBezTo>
                  <a:cubicBezTo>
                    <a:pt x="173" y="817"/>
                    <a:pt x="167" y="816"/>
                    <a:pt x="164" y="813"/>
                  </a:cubicBezTo>
                  <a:cubicBezTo>
                    <a:pt x="161" y="811"/>
                    <a:pt x="153" y="804"/>
                    <a:pt x="149" y="807"/>
                  </a:cubicBezTo>
                  <a:cubicBezTo>
                    <a:pt x="145" y="809"/>
                    <a:pt x="140" y="814"/>
                    <a:pt x="137" y="818"/>
                  </a:cubicBezTo>
                  <a:cubicBezTo>
                    <a:pt x="135" y="821"/>
                    <a:pt x="133" y="836"/>
                    <a:pt x="131" y="839"/>
                  </a:cubicBezTo>
                  <a:cubicBezTo>
                    <a:pt x="129" y="841"/>
                    <a:pt x="123" y="846"/>
                    <a:pt x="119" y="851"/>
                  </a:cubicBezTo>
                  <a:cubicBezTo>
                    <a:pt x="115" y="855"/>
                    <a:pt x="113" y="858"/>
                    <a:pt x="111" y="858"/>
                  </a:cubicBezTo>
                  <a:cubicBezTo>
                    <a:pt x="109" y="858"/>
                    <a:pt x="96" y="852"/>
                    <a:pt x="96" y="852"/>
                  </a:cubicBezTo>
                  <a:cubicBezTo>
                    <a:pt x="96" y="852"/>
                    <a:pt x="92" y="842"/>
                    <a:pt x="92" y="840"/>
                  </a:cubicBezTo>
                  <a:cubicBezTo>
                    <a:pt x="91" y="837"/>
                    <a:pt x="91" y="830"/>
                    <a:pt x="93" y="828"/>
                  </a:cubicBezTo>
                  <a:cubicBezTo>
                    <a:pt x="95" y="827"/>
                    <a:pt x="107" y="814"/>
                    <a:pt x="107" y="814"/>
                  </a:cubicBezTo>
                  <a:cubicBezTo>
                    <a:pt x="118" y="799"/>
                    <a:pt x="118" y="799"/>
                    <a:pt x="118" y="799"/>
                  </a:cubicBezTo>
                  <a:cubicBezTo>
                    <a:pt x="141" y="790"/>
                    <a:pt x="141" y="790"/>
                    <a:pt x="141" y="790"/>
                  </a:cubicBezTo>
                  <a:cubicBezTo>
                    <a:pt x="160" y="782"/>
                    <a:pt x="160" y="782"/>
                    <a:pt x="160" y="782"/>
                  </a:cubicBezTo>
                  <a:cubicBezTo>
                    <a:pt x="160" y="782"/>
                    <a:pt x="174" y="778"/>
                    <a:pt x="176" y="778"/>
                  </a:cubicBezTo>
                  <a:cubicBezTo>
                    <a:pt x="177" y="778"/>
                    <a:pt x="191" y="778"/>
                    <a:pt x="191" y="778"/>
                  </a:cubicBezTo>
                  <a:cubicBezTo>
                    <a:pt x="191" y="778"/>
                    <a:pt x="195" y="773"/>
                    <a:pt x="197" y="777"/>
                  </a:cubicBezTo>
                  <a:cubicBezTo>
                    <a:pt x="199" y="781"/>
                    <a:pt x="205" y="788"/>
                    <a:pt x="205" y="788"/>
                  </a:cubicBezTo>
                  <a:cubicBezTo>
                    <a:pt x="210" y="788"/>
                    <a:pt x="210" y="788"/>
                    <a:pt x="210" y="788"/>
                  </a:cubicBezTo>
                  <a:cubicBezTo>
                    <a:pt x="221" y="772"/>
                    <a:pt x="221" y="772"/>
                    <a:pt x="221" y="772"/>
                  </a:cubicBezTo>
                  <a:cubicBezTo>
                    <a:pt x="221" y="772"/>
                    <a:pt x="219" y="764"/>
                    <a:pt x="217" y="763"/>
                  </a:cubicBezTo>
                  <a:cubicBezTo>
                    <a:pt x="216" y="762"/>
                    <a:pt x="205" y="751"/>
                    <a:pt x="205" y="751"/>
                  </a:cubicBezTo>
                  <a:cubicBezTo>
                    <a:pt x="205" y="751"/>
                    <a:pt x="202" y="743"/>
                    <a:pt x="205" y="742"/>
                  </a:cubicBezTo>
                  <a:cubicBezTo>
                    <a:pt x="208" y="741"/>
                    <a:pt x="217" y="739"/>
                    <a:pt x="217" y="739"/>
                  </a:cubicBezTo>
                  <a:cubicBezTo>
                    <a:pt x="219" y="728"/>
                    <a:pt x="219" y="728"/>
                    <a:pt x="219" y="728"/>
                  </a:cubicBezTo>
                  <a:cubicBezTo>
                    <a:pt x="210" y="725"/>
                    <a:pt x="210" y="725"/>
                    <a:pt x="210" y="725"/>
                  </a:cubicBezTo>
                  <a:cubicBezTo>
                    <a:pt x="210" y="725"/>
                    <a:pt x="211" y="711"/>
                    <a:pt x="211" y="709"/>
                  </a:cubicBezTo>
                  <a:cubicBezTo>
                    <a:pt x="211" y="706"/>
                    <a:pt x="217" y="701"/>
                    <a:pt x="217" y="696"/>
                  </a:cubicBezTo>
                  <a:cubicBezTo>
                    <a:pt x="217" y="692"/>
                    <a:pt x="213" y="678"/>
                    <a:pt x="213" y="676"/>
                  </a:cubicBezTo>
                  <a:cubicBezTo>
                    <a:pt x="213" y="673"/>
                    <a:pt x="202" y="668"/>
                    <a:pt x="202" y="668"/>
                  </a:cubicBezTo>
                  <a:cubicBezTo>
                    <a:pt x="202" y="614"/>
                    <a:pt x="202" y="614"/>
                    <a:pt x="202" y="614"/>
                  </a:cubicBezTo>
                  <a:cubicBezTo>
                    <a:pt x="202" y="614"/>
                    <a:pt x="193" y="607"/>
                    <a:pt x="191" y="604"/>
                  </a:cubicBezTo>
                  <a:cubicBezTo>
                    <a:pt x="189" y="602"/>
                    <a:pt x="181" y="589"/>
                    <a:pt x="181" y="589"/>
                  </a:cubicBezTo>
                  <a:cubicBezTo>
                    <a:pt x="188" y="573"/>
                    <a:pt x="188" y="573"/>
                    <a:pt x="188" y="573"/>
                  </a:cubicBezTo>
                  <a:cubicBezTo>
                    <a:pt x="204" y="567"/>
                    <a:pt x="204" y="567"/>
                    <a:pt x="204" y="567"/>
                  </a:cubicBezTo>
                  <a:cubicBezTo>
                    <a:pt x="210" y="553"/>
                    <a:pt x="210" y="553"/>
                    <a:pt x="210" y="553"/>
                  </a:cubicBezTo>
                  <a:cubicBezTo>
                    <a:pt x="220" y="550"/>
                    <a:pt x="220" y="550"/>
                    <a:pt x="220" y="550"/>
                  </a:cubicBezTo>
                  <a:cubicBezTo>
                    <a:pt x="235" y="548"/>
                    <a:pt x="235" y="548"/>
                    <a:pt x="235" y="548"/>
                  </a:cubicBezTo>
                  <a:cubicBezTo>
                    <a:pt x="239" y="533"/>
                    <a:pt x="239" y="533"/>
                    <a:pt x="239" y="533"/>
                  </a:cubicBezTo>
                  <a:cubicBezTo>
                    <a:pt x="242" y="518"/>
                    <a:pt x="242" y="518"/>
                    <a:pt x="242" y="518"/>
                  </a:cubicBezTo>
                  <a:cubicBezTo>
                    <a:pt x="242" y="518"/>
                    <a:pt x="234" y="509"/>
                    <a:pt x="235" y="506"/>
                  </a:cubicBezTo>
                  <a:cubicBezTo>
                    <a:pt x="236" y="504"/>
                    <a:pt x="245" y="494"/>
                    <a:pt x="247" y="494"/>
                  </a:cubicBezTo>
                  <a:cubicBezTo>
                    <a:pt x="248" y="494"/>
                    <a:pt x="251" y="501"/>
                    <a:pt x="251" y="501"/>
                  </a:cubicBezTo>
                  <a:cubicBezTo>
                    <a:pt x="251" y="501"/>
                    <a:pt x="263" y="508"/>
                    <a:pt x="263" y="506"/>
                  </a:cubicBezTo>
                  <a:cubicBezTo>
                    <a:pt x="263" y="504"/>
                    <a:pt x="266" y="495"/>
                    <a:pt x="266" y="495"/>
                  </a:cubicBezTo>
                  <a:cubicBezTo>
                    <a:pt x="266" y="495"/>
                    <a:pt x="275" y="500"/>
                    <a:pt x="276" y="502"/>
                  </a:cubicBezTo>
                  <a:cubicBezTo>
                    <a:pt x="276" y="504"/>
                    <a:pt x="284" y="501"/>
                    <a:pt x="284" y="500"/>
                  </a:cubicBezTo>
                  <a:cubicBezTo>
                    <a:pt x="284" y="498"/>
                    <a:pt x="288" y="487"/>
                    <a:pt x="288" y="487"/>
                  </a:cubicBezTo>
                  <a:cubicBezTo>
                    <a:pt x="288" y="487"/>
                    <a:pt x="278" y="478"/>
                    <a:pt x="276" y="477"/>
                  </a:cubicBezTo>
                  <a:cubicBezTo>
                    <a:pt x="274" y="475"/>
                    <a:pt x="270" y="467"/>
                    <a:pt x="271" y="464"/>
                  </a:cubicBezTo>
                  <a:cubicBezTo>
                    <a:pt x="271" y="462"/>
                    <a:pt x="272" y="449"/>
                    <a:pt x="272" y="449"/>
                  </a:cubicBezTo>
                  <a:cubicBezTo>
                    <a:pt x="266" y="444"/>
                    <a:pt x="266" y="444"/>
                    <a:pt x="266" y="444"/>
                  </a:cubicBezTo>
                  <a:cubicBezTo>
                    <a:pt x="276" y="435"/>
                    <a:pt x="276" y="435"/>
                    <a:pt x="276" y="435"/>
                  </a:cubicBezTo>
                  <a:cubicBezTo>
                    <a:pt x="273" y="420"/>
                    <a:pt x="273" y="420"/>
                    <a:pt x="273" y="420"/>
                  </a:cubicBezTo>
                  <a:cubicBezTo>
                    <a:pt x="238" y="386"/>
                    <a:pt x="238" y="386"/>
                    <a:pt x="238" y="386"/>
                  </a:cubicBezTo>
                  <a:cubicBezTo>
                    <a:pt x="244" y="375"/>
                    <a:pt x="244" y="375"/>
                    <a:pt x="244" y="375"/>
                  </a:cubicBezTo>
                  <a:cubicBezTo>
                    <a:pt x="244" y="375"/>
                    <a:pt x="248" y="368"/>
                    <a:pt x="246" y="368"/>
                  </a:cubicBezTo>
                  <a:cubicBezTo>
                    <a:pt x="245" y="368"/>
                    <a:pt x="228" y="363"/>
                    <a:pt x="228" y="363"/>
                  </a:cubicBezTo>
                  <a:cubicBezTo>
                    <a:pt x="217" y="353"/>
                    <a:pt x="217" y="353"/>
                    <a:pt x="217" y="353"/>
                  </a:cubicBezTo>
                  <a:cubicBezTo>
                    <a:pt x="218" y="330"/>
                    <a:pt x="218" y="330"/>
                    <a:pt x="218" y="330"/>
                  </a:cubicBezTo>
                  <a:cubicBezTo>
                    <a:pt x="218" y="330"/>
                    <a:pt x="224" y="324"/>
                    <a:pt x="224" y="323"/>
                  </a:cubicBezTo>
                  <a:cubicBezTo>
                    <a:pt x="224" y="321"/>
                    <a:pt x="222" y="314"/>
                    <a:pt x="222" y="314"/>
                  </a:cubicBezTo>
                  <a:cubicBezTo>
                    <a:pt x="222" y="314"/>
                    <a:pt x="212" y="306"/>
                    <a:pt x="213" y="305"/>
                  </a:cubicBezTo>
                  <a:cubicBezTo>
                    <a:pt x="215" y="303"/>
                    <a:pt x="226" y="301"/>
                    <a:pt x="226" y="301"/>
                  </a:cubicBezTo>
                  <a:cubicBezTo>
                    <a:pt x="222" y="283"/>
                    <a:pt x="222" y="283"/>
                    <a:pt x="222" y="283"/>
                  </a:cubicBezTo>
                  <a:cubicBezTo>
                    <a:pt x="218" y="265"/>
                    <a:pt x="218" y="265"/>
                    <a:pt x="218" y="265"/>
                  </a:cubicBezTo>
                  <a:cubicBezTo>
                    <a:pt x="218" y="265"/>
                    <a:pt x="218" y="250"/>
                    <a:pt x="217" y="251"/>
                  </a:cubicBezTo>
                  <a:cubicBezTo>
                    <a:pt x="215" y="251"/>
                    <a:pt x="208" y="241"/>
                    <a:pt x="204" y="252"/>
                  </a:cubicBezTo>
                  <a:cubicBezTo>
                    <a:pt x="199" y="264"/>
                    <a:pt x="199" y="266"/>
                    <a:pt x="197" y="266"/>
                  </a:cubicBezTo>
                  <a:cubicBezTo>
                    <a:pt x="196" y="267"/>
                    <a:pt x="194" y="267"/>
                    <a:pt x="191" y="267"/>
                  </a:cubicBezTo>
                  <a:cubicBezTo>
                    <a:pt x="187" y="267"/>
                    <a:pt x="178" y="264"/>
                    <a:pt x="178" y="264"/>
                  </a:cubicBezTo>
                  <a:cubicBezTo>
                    <a:pt x="176" y="250"/>
                    <a:pt x="176" y="250"/>
                    <a:pt x="176" y="250"/>
                  </a:cubicBezTo>
                  <a:cubicBezTo>
                    <a:pt x="176" y="250"/>
                    <a:pt x="171" y="249"/>
                    <a:pt x="169" y="252"/>
                  </a:cubicBezTo>
                  <a:cubicBezTo>
                    <a:pt x="166" y="255"/>
                    <a:pt x="166" y="259"/>
                    <a:pt x="163" y="257"/>
                  </a:cubicBezTo>
                  <a:cubicBezTo>
                    <a:pt x="161" y="255"/>
                    <a:pt x="157" y="248"/>
                    <a:pt x="157" y="248"/>
                  </a:cubicBezTo>
                  <a:cubicBezTo>
                    <a:pt x="157" y="248"/>
                    <a:pt x="161" y="244"/>
                    <a:pt x="162" y="242"/>
                  </a:cubicBezTo>
                  <a:cubicBezTo>
                    <a:pt x="164" y="241"/>
                    <a:pt x="167" y="232"/>
                    <a:pt x="167" y="231"/>
                  </a:cubicBezTo>
                  <a:cubicBezTo>
                    <a:pt x="167" y="229"/>
                    <a:pt x="164" y="216"/>
                    <a:pt x="164" y="216"/>
                  </a:cubicBezTo>
                  <a:cubicBezTo>
                    <a:pt x="164" y="216"/>
                    <a:pt x="154" y="215"/>
                    <a:pt x="153" y="217"/>
                  </a:cubicBezTo>
                  <a:cubicBezTo>
                    <a:pt x="152" y="219"/>
                    <a:pt x="146" y="222"/>
                    <a:pt x="146" y="222"/>
                  </a:cubicBezTo>
                  <a:cubicBezTo>
                    <a:pt x="146" y="222"/>
                    <a:pt x="141" y="212"/>
                    <a:pt x="138" y="213"/>
                  </a:cubicBezTo>
                  <a:cubicBezTo>
                    <a:pt x="134" y="214"/>
                    <a:pt x="128" y="211"/>
                    <a:pt x="126" y="214"/>
                  </a:cubicBezTo>
                  <a:cubicBezTo>
                    <a:pt x="124" y="217"/>
                    <a:pt x="121" y="222"/>
                    <a:pt x="121" y="222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4" y="196"/>
                    <a:pt x="116" y="199"/>
                  </a:cubicBezTo>
                  <a:cubicBezTo>
                    <a:pt x="109" y="202"/>
                    <a:pt x="106" y="210"/>
                    <a:pt x="105" y="211"/>
                  </a:cubicBezTo>
                  <a:cubicBezTo>
                    <a:pt x="103" y="212"/>
                    <a:pt x="95" y="210"/>
                    <a:pt x="95" y="210"/>
                  </a:cubicBezTo>
                  <a:cubicBezTo>
                    <a:pt x="95" y="210"/>
                    <a:pt x="89" y="201"/>
                    <a:pt x="87" y="201"/>
                  </a:cubicBezTo>
                  <a:cubicBezTo>
                    <a:pt x="84" y="201"/>
                    <a:pt x="71" y="200"/>
                    <a:pt x="71" y="200"/>
                  </a:cubicBezTo>
                  <a:cubicBezTo>
                    <a:pt x="71" y="200"/>
                    <a:pt x="68" y="211"/>
                    <a:pt x="71" y="212"/>
                  </a:cubicBezTo>
                  <a:cubicBezTo>
                    <a:pt x="74" y="213"/>
                    <a:pt x="75" y="216"/>
                    <a:pt x="74" y="219"/>
                  </a:cubicBezTo>
                  <a:cubicBezTo>
                    <a:pt x="73" y="222"/>
                    <a:pt x="67" y="231"/>
                    <a:pt x="66" y="235"/>
                  </a:cubicBezTo>
                  <a:cubicBezTo>
                    <a:pt x="65" y="239"/>
                    <a:pt x="60" y="247"/>
                    <a:pt x="58" y="250"/>
                  </a:cubicBezTo>
                  <a:cubicBezTo>
                    <a:pt x="56" y="252"/>
                    <a:pt x="45" y="257"/>
                    <a:pt x="42" y="257"/>
                  </a:cubicBezTo>
                  <a:cubicBezTo>
                    <a:pt x="40" y="258"/>
                    <a:pt x="27" y="252"/>
                    <a:pt x="27" y="252"/>
                  </a:cubicBezTo>
                  <a:cubicBezTo>
                    <a:pt x="16" y="244"/>
                    <a:pt x="16" y="244"/>
                    <a:pt x="16" y="244"/>
                  </a:cubicBezTo>
                  <a:cubicBezTo>
                    <a:pt x="8" y="225"/>
                    <a:pt x="8" y="225"/>
                    <a:pt x="8" y="225"/>
                  </a:cubicBezTo>
                  <a:cubicBezTo>
                    <a:pt x="19" y="204"/>
                    <a:pt x="19" y="204"/>
                    <a:pt x="19" y="204"/>
                  </a:cubicBezTo>
                  <a:cubicBezTo>
                    <a:pt x="19" y="204"/>
                    <a:pt x="14" y="184"/>
                    <a:pt x="12" y="184"/>
                  </a:cubicBezTo>
                  <a:cubicBezTo>
                    <a:pt x="10" y="184"/>
                    <a:pt x="0" y="171"/>
                    <a:pt x="0" y="171"/>
                  </a:cubicBezTo>
                  <a:cubicBezTo>
                    <a:pt x="9" y="141"/>
                    <a:pt x="9" y="141"/>
                    <a:pt x="9" y="141"/>
                  </a:cubicBezTo>
                  <a:cubicBezTo>
                    <a:pt x="9" y="141"/>
                    <a:pt x="18" y="132"/>
                    <a:pt x="18" y="130"/>
                  </a:cubicBezTo>
                  <a:cubicBezTo>
                    <a:pt x="18" y="127"/>
                    <a:pt x="10" y="112"/>
                    <a:pt x="10" y="112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8" y="100"/>
                    <a:pt x="40" y="97"/>
                    <a:pt x="41" y="98"/>
                  </a:cubicBezTo>
                  <a:cubicBezTo>
                    <a:pt x="43" y="98"/>
                    <a:pt x="50" y="93"/>
                    <a:pt x="52" y="93"/>
                  </a:cubicBezTo>
                  <a:cubicBezTo>
                    <a:pt x="54" y="94"/>
                    <a:pt x="62" y="95"/>
                    <a:pt x="65" y="98"/>
                  </a:cubicBezTo>
                  <a:cubicBezTo>
                    <a:pt x="69" y="100"/>
                    <a:pt x="76" y="97"/>
                    <a:pt x="79" y="99"/>
                  </a:cubicBezTo>
                  <a:cubicBezTo>
                    <a:pt x="82" y="101"/>
                    <a:pt x="100" y="102"/>
                    <a:pt x="100" y="102"/>
                  </a:cubicBezTo>
                  <a:cubicBezTo>
                    <a:pt x="100" y="102"/>
                    <a:pt x="104" y="95"/>
                    <a:pt x="105" y="92"/>
                  </a:cubicBezTo>
                  <a:cubicBezTo>
                    <a:pt x="105" y="89"/>
                    <a:pt x="106" y="72"/>
                    <a:pt x="106" y="72"/>
                  </a:cubicBezTo>
                  <a:cubicBezTo>
                    <a:pt x="106" y="72"/>
                    <a:pt x="106" y="60"/>
                    <a:pt x="109" y="61"/>
                  </a:cubicBezTo>
                  <a:cubicBezTo>
                    <a:pt x="113" y="62"/>
                    <a:pt x="127" y="61"/>
                    <a:pt x="127" y="61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52" y="19"/>
                    <a:pt x="155" y="22"/>
                  </a:cubicBezTo>
                  <a:cubicBezTo>
                    <a:pt x="159" y="25"/>
                    <a:pt x="165" y="27"/>
                    <a:pt x="165" y="27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91" y="19"/>
                    <a:pt x="191" y="19"/>
                    <a:pt x="191" y="19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30" y="5"/>
                    <a:pt x="230" y="5"/>
                    <a:pt x="230" y="5"/>
                  </a:cubicBezTo>
                  <a:cubicBezTo>
                    <a:pt x="238" y="14"/>
                    <a:pt x="238" y="14"/>
                    <a:pt x="238" y="14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3"/>
                    <a:pt x="273" y="40"/>
                    <a:pt x="273" y="41"/>
                  </a:cubicBezTo>
                  <a:cubicBezTo>
                    <a:pt x="273" y="43"/>
                    <a:pt x="285" y="49"/>
                    <a:pt x="285" y="49"/>
                  </a:cubicBezTo>
                  <a:cubicBezTo>
                    <a:pt x="285" y="49"/>
                    <a:pt x="293" y="47"/>
                    <a:pt x="293" y="50"/>
                  </a:cubicBezTo>
                  <a:cubicBezTo>
                    <a:pt x="294" y="53"/>
                    <a:pt x="304" y="61"/>
                    <a:pt x="305" y="63"/>
                  </a:cubicBezTo>
                  <a:cubicBezTo>
                    <a:pt x="305" y="65"/>
                    <a:pt x="311" y="81"/>
                    <a:pt x="311" y="81"/>
                  </a:cubicBezTo>
                  <a:cubicBezTo>
                    <a:pt x="321" y="92"/>
                    <a:pt x="321" y="92"/>
                    <a:pt x="321" y="92"/>
                  </a:cubicBezTo>
                  <a:cubicBezTo>
                    <a:pt x="331" y="97"/>
                    <a:pt x="331" y="97"/>
                    <a:pt x="331" y="97"/>
                  </a:cubicBezTo>
                  <a:cubicBezTo>
                    <a:pt x="334" y="87"/>
                    <a:pt x="334" y="87"/>
                    <a:pt x="334" y="87"/>
                  </a:cubicBezTo>
                  <a:cubicBezTo>
                    <a:pt x="337" y="85"/>
                    <a:pt x="337" y="85"/>
                    <a:pt x="337" y="85"/>
                  </a:cubicBezTo>
                  <a:cubicBezTo>
                    <a:pt x="351" y="85"/>
                    <a:pt x="351" y="85"/>
                    <a:pt x="351" y="85"/>
                  </a:cubicBezTo>
                  <a:cubicBezTo>
                    <a:pt x="356" y="76"/>
                    <a:pt x="356" y="76"/>
                    <a:pt x="356" y="76"/>
                  </a:cubicBezTo>
                  <a:cubicBezTo>
                    <a:pt x="356" y="76"/>
                    <a:pt x="348" y="70"/>
                    <a:pt x="345" y="70"/>
                  </a:cubicBezTo>
                  <a:cubicBezTo>
                    <a:pt x="343" y="70"/>
                    <a:pt x="332" y="71"/>
                    <a:pt x="332" y="71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49" y="52"/>
                    <a:pt x="349" y="52"/>
                    <a:pt x="349" y="52"/>
                  </a:cubicBezTo>
                  <a:cubicBezTo>
                    <a:pt x="359" y="53"/>
                    <a:pt x="359" y="53"/>
                    <a:pt x="359" y="53"/>
                  </a:cubicBezTo>
                  <a:cubicBezTo>
                    <a:pt x="366" y="46"/>
                    <a:pt x="366" y="46"/>
                    <a:pt x="366" y="46"/>
                  </a:cubicBezTo>
                  <a:cubicBezTo>
                    <a:pt x="366" y="46"/>
                    <a:pt x="372" y="44"/>
                    <a:pt x="371" y="46"/>
                  </a:cubicBezTo>
                  <a:cubicBezTo>
                    <a:pt x="370" y="48"/>
                    <a:pt x="395" y="69"/>
                    <a:pt x="395" y="69"/>
                  </a:cubicBezTo>
                  <a:cubicBezTo>
                    <a:pt x="395" y="69"/>
                    <a:pt x="406" y="66"/>
                    <a:pt x="407" y="67"/>
                  </a:cubicBezTo>
                  <a:cubicBezTo>
                    <a:pt x="409" y="67"/>
                    <a:pt x="421" y="63"/>
                    <a:pt x="421" y="63"/>
                  </a:cubicBezTo>
                  <a:cubicBezTo>
                    <a:pt x="421" y="63"/>
                    <a:pt x="421" y="61"/>
                    <a:pt x="420" y="59"/>
                  </a:cubicBezTo>
                  <a:cubicBezTo>
                    <a:pt x="419" y="57"/>
                    <a:pt x="415" y="34"/>
                    <a:pt x="415" y="34"/>
                  </a:cubicBezTo>
                  <a:cubicBezTo>
                    <a:pt x="410" y="14"/>
                    <a:pt x="410" y="14"/>
                    <a:pt x="410" y="14"/>
                  </a:cubicBezTo>
                  <a:cubicBezTo>
                    <a:pt x="420" y="5"/>
                    <a:pt x="420" y="5"/>
                    <a:pt x="420" y="5"/>
                  </a:cubicBezTo>
                  <a:cubicBezTo>
                    <a:pt x="439" y="12"/>
                    <a:pt x="439" y="12"/>
                    <a:pt x="439" y="12"/>
                  </a:cubicBezTo>
                  <a:cubicBezTo>
                    <a:pt x="439" y="12"/>
                    <a:pt x="442" y="23"/>
                    <a:pt x="444" y="25"/>
                  </a:cubicBezTo>
                  <a:cubicBezTo>
                    <a:pt x="446" y="26"/>
                    <a:pt x="448" y="33"/>
                    <a:pt x="452" y="34"/>
                  </a:cubicBezTo>
                  <a:cubicBezTo>
                    <a:pt x="455" y="35"/>
                    <a:pt x="461" y="32"/>
                    <a:pt x="463" y="32"/>
                  </a:cubicBezTo>
                  <a:cubicBezTo>
                    <a:pt x="464" y="32"/>
                    <a:pt x="472" y="27"/>
                    <a:pt x="472" y="27"/>
                  </a:cubicBezTo>
                  <a:cubicBezTo>
                    <a:pt x="472" y="27"/>
                    <a:pt x="478" y="27"/>
                    <a:pt x="481" y="26"/>
                  </a:cubicBezTo>
                  <a:cubicBezTo>
                    <a:pt x="483" y="25"/>
                    <a:pt x="493" y="23"/>
                    <a:pt x="493" y="23"/>
                  </a:cubicBezTo>
                  <a:cubicBezTo>
                    <a:pt x="493" y="23"/>
                    <a:pt x="498" y="17"/>
                    <a:pt x="501" y="17"/>
                  </a:cubicBezTo>
                  <a:cubicBezTo>
                    <a:pt x="504" y="18"/>
                    <a:pt x="512" y="20"/>
                    <a:pt x="512" y="20"/>
                  </a:cubicBezTo>
                  <a:cubicBezTo>
                    <a:pt x="521" y="27"/>
                    <a:pt x="521" y="27"/>
                    <a:pt x="521" y="27"/>
                  </a:cubicBezTo>
                  <a:cubicBezTo>
                    <a:pt x="536" y="25"/>
                    <a:pt x="536" y="25"/>
                    <a:pt x="536" y="25"/>
                  </a:cubicBezTo>
                  <a:cubicBezTo>
                    <a:pt x="544" y="25"/>
                    <a:pt x="544" y="25"/>
                    <a:pt x="544" y="25"/>
                  </a:cubicBezTo>
                  <a:cubicBezTo>
                    <a:pt x="550" y="39"/>
                    <a:pt x="550" y="39"/>
                    <a:pt x="550" y="39"/>
                  </a:cubicBezTo>
                  <a:cubicBezTo>
                    <a:pt x="562" y="49"/>
                    <a:pt x="562" y="49"/>
                    <a:pt x="562" y="49"/>
                  </a:cubicBezTo>
                  <a:cubicBezTo>
                    <a:pt x="567" y="57"/>
                    <a:pt x="567" y="57"/>
                    <a:pt x="567" y="57"/>
                  </a:cubicBezTo>
                  <a:lnTo>
                    <a:pt x="568" y="55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21">
              <a:extLst>
                <a:ext uri="{FF2B5EF4-FFF2-40B4-BE49-F238E27FC236}">
                  <a16:creationId xmlns:a16="http://schemas.microsoft.com/office/drawing/2014/main" id="{F9266C4D-8381-4FB0-9D20-206F729BC5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455991" y="2198687"/>
              <a:ext cx="995364" cy="1462085"/>
            </a:xfrm>
            <a:custGeom>
              <a:avLst/>
              <a:gdLst>
                <a:gd name="T0" fmla="*/ 379 w 427"/>
                <a:gd name="T1" fmla="*/ 67 h 627"/>
                <a:gd name="T2" fmla="*/ 354 w 427"/>
                <a:gd name="T3" fmla="*/ 75 h 627"/>
                <a:gd name="T4" fmla="*/ 333 w 427"/>
                <a:gd name="T5" fmla="*/ 82 h 627"/>
                <a:gd name="T6" fmla="*/ 334 w 427"/>
                <a:gd name="T7" fmla="*/ 101 h 627"/>
                <a:gd name="T8" fmla="*/ 309 w 427"/>
                <a:gd name="T9" fmla="*/ 82 h 627"/>
                <a:gd name="T10" fmla="*/ 323 w 427"/>
                <a:gd name="T11" fmla="*/ 62 h 627"/>
                <a:gd name="T12" fmla="*/ 328 w 427"/>
                <a:gd name="T13" fmla="*/ 26 h 627"/>
                <a:gd name="T14" fmla="*/ 310 w 427"/>
                <a:gd name="T15" fmla="*/ 9 h 627"/>
                <a:gd name="T16" fmla="*/ 271 w 427"/>
                <a:gd name="T17" fmla="*/ 18 h 627"/>
                <a:gd name="T18" fmla="*/ 241 w 427"/>
                <a:gd name="T19" fmla="*/ 63 h 627"/>
                <a:gd name="T20" fmla="*/ 210 w 427"/>
                <a:gd name="T21" fmla="*/ 42 h 627"/>
                <a:gd name="T22" fmla="*/ 196 w 427"/>
                <a:gd name="T23" fmla="*/ 77 h 627"/>
                <a:gd name="T24" fmla="*/ 147 w 427"/>
                <a:gd name="T25" fmla="*/ 99 h 627"/>
                <a:gd name="T26" fmla="*/ 172 w 427"/>
                <a:gd name="T27" fmla="*/ 116 h 627"/>
                <a:gd name="T28" fmla="*/ 129 w 427"/>
                <a:gd name="T29" fmla="*/ 146 h 627"/>
                <a:gd name="T30" fmla="*/ 117 w 427"/>
                <a:gd name="T31" fmla="*/ 191 h 627"/>
                <a:gd name="T32" fmla="*/ 65 w 427"/>
                <a:gd name="T33" fmla="*/ 247 h 627"/>
                <a:gd name="T34" fmla="*/ 65 w 427"/>
                <a:gd name="T35" fmla="*/ 300 h 627"/>
                <a:gd name="T36" fmla="*/ 36 w 427"/>
                <a:gd name="T37" fmla="*/ 307 h 627"/>
                <a:gd name="T38" fmla="*/ 43 w 427"/>
                <a:gd name="T39" fmla="*/ 339 h 627"/>
                <a:gd name="T40" fmla="*/ 64 w 427"/>
                <a:gd name="T41" fmla="*/ 356 h 627"/>
                <a:gd name="T42" fmla="*/ 48 w 427"/>
                <a:gd name="T43" fmla="*/ 376 h 627"/>
                <a:gd name="T44" fmla="*/ 20 w 427"/>
                <a:gd name="T45" fmla="*/ 406 h 627"/>
                <a:gd name="T46" fmla="*/ 1 w 427"/>
                <a:gd name="T47" fmla="*/ 433 h 627"/>
                <a:gd name="T48" fmla="*/ 21 w 427"/>
                <a:gd name="T49" fmla="*/ 460 h 627"/>
                <a:gd name="T50" fmla="*/ 62 w 427"/>
                <a:gd name="T51" fmla="*/ 442 h 627"/>
                <a:gd name="T52" fmla="*/ 103 w 427"/>
                <a:gd name="T53" fmla="*/ 462 h 627"/>
                <a:gd name="T54" fmla="*/ 121 w 427"/>
                <a:gd name="T55" fmla="*/ 531 h 627"/>
                <a:gd name="T56" fmla="*/ 118 w 427"/>
                <a:gd name="T57" fmla="*/ 571 h 627"/>
                <a:gd name="T58" fmla="*/ 139 w 427"/>
                <a:gd name="T59" fmla="*/ 592 h 627"/>
                <a:gd name="T60" fmla="*/ 150 w 427"/>
                <a:gd name="T61" fmla="*/ 559 h 627"/>
                <a:gd name="T62" fmla="*/ 185 w 427"/>
                <a:gd name="T63" fmla="*/ 591 h 627"/>
                <a:gd name="T64" fmla="*/ 173 w 427"/>
                <a:gd name="T65" fmla="*/ 624 h 627"/>
                <a:gd name="T66" fmla="*/ 198 w 427"/>
                <a:gd name="T67" fmla="*/ 612 h 627"/>
                <a:gd name="T68" fmla="*/ 206 w 427"/>
                <a:gd name="T69" fmla="*/ 583 h 627"/>
                <a:gd name="T70" fmla="*/ 227 w 427"/>
                <a:gd name="T71" fmla="*/ 596 h 627"/>
                <a:gd name="T72" fmla="*/ 211 w 427"/>
                <a:gd name="T73" fmla="*/ 553 h 627"/>
                <a:gd name="T74" fmla="*/ 205 w 427"/>
                <a:gd name="T75" fmla="*/ 498 h 627"/>
                <a:gd name="T76" fmla="*/ 217 w 427"/>
                <a:gd name="T77" fmla="*/ 439 h 627"/>
                <a:gd name="T78" fmla="*/ 259 w 427"/>
                <a:gd name="T79" fmla="*/ 421 h 627"/>
                <a:gd name="T80" fmla="*/ 290 w 427"/>
                <a:gd name="T81" fmla="*/ 429 h 627"/>
                <a:gd name="T82" fmla="*/ 321 w 427"/>
                <a:gd name="T83" fmla="*/ 388 h 627"/>
                <a:gd name="T84" fmla="*/ 354 w 427"/>
                <a:gd name="T85" fmla="*/ 371 h 627"/>
                <a:gd name="T86" fmla="*/ 382 w 427"/>
                <a:gd name="T87" fmla="*/ 355 h 627"/>
                <a:gd name="T88" fmla="*/ 415 w 427"/>
                <a:gd name="T89" fmla="*/ 327 h 627"/>
                <a:gd name="T90" fmla="*/ 407 w 427"/>
                <a:gd name="T91" fmla="*/ 276 h 627"/>
                <a:gd name="T92" fmla="*/ 376 w 427"/>
                <a:gd name="T93" fmla="*/ 264 h 627"/>
                <a:gd name="T94" fmla="*/ 386 w 427"/>
                <a:gd name="T95" fmla="*/ 228 h 627"/>
                <a:gd name="T96" fmla="*/ 382 w 427"/>
                <a:gd name="T97" fmla="*/ 214 h 627"/>
                <a:gd name="T98" fmla="*/ 387 w 427"/>
                <a:gd name="T99" fmla="*/ 190 h 627"/>
                <a:gd name="T100" fmla="*/ 412 w 427"/>
                <a:gd name="T101" fmla="*/ 178 h 627"/>
                <a:gd name="T102" fmla="*/ 397 w 427"/>
                <a:gd name="T103" fmla="*/ 144 h 627"/>
                <a:gd name="T104" fmla="*/ 427 w 427"/>
                <a:gd name="T105" fmla="*/ 130 h 627"/>
                <a:gd name="T106" fmla="*/ 391 w 427"/>
                <a:gd name="T107" fmla="*/ 94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7" h="627">
                  <a:moveTo>
                    <a:pt x="394" y="79"/>
                  </a:moveTo>
                  <a:cubicBezTo>
                    <a:pt x="386" y="73"/>
                    <a:pt x="386" y="73"/>
                    <a:pt x="386" y="73"/>
                  </a:cubicBezTo>
                  <a:cubicBezTo>
                    <a:pt x="379" y="67"/>
                    <a:pt x="379" y="67"/>
                    <a:pt x="379" y="67"/>
                  </a:cubicBezTo>
                  <a:cubicBezTo>
                    <a:pt x="379" y="67"/>
                    <a:pt x="372" y="68"/>
                    <a:pt x="372" y="69"/>
                  </a:cubicBezTo>
                  <a:cubicBezTo>
                    <a:pt x="372" y="69"/>
                    <a:pt x="369" y="75"/>
                    <a:pt x="367" y="76"/>
                  </a:cubicBezTo>
                  <a:cubicBezTo>
                    <a:pt x="365" y="77"/>
                    <a:pt x="355" y="77"/>
                    <a:pt x="354" y="75"/>
                  </a:cubicBezTo>
                  <a:cubicBezTo>
                    <a:pt x="354" y="73"/>
                    <a:pt x="346" y="65"/>
                    <a:pt x="345" y="66"/>
                  </a:cubicBezTo>
                  <a:cubicBezTo>
                    <a:pt x="343" y="68"/>
                    <a:pt x="336" y="73"/>
                    <a:pt x="336" y="73"/>
                  </a:cubicBezTo>
                  <a:cubicBezTo>
                    <a:pt x="335" y="74"/>
                    <a:pt x="330" y="79"/>
                    <a:pt x="333" y="82"/>
                  </a:cubicBezTo>
                  <a:cubicBezTo>
                    <a:pt x="335" y="84"/>
                    <a:pt x="347" y="91"/>
                    <a:pt x="347" y="92"/>
                  </a:cubicBezTo>
                  <a:cubicBezTo>
                    <a:pt x="347" y="92"/>
                    <a:pt x="346" y="99"/>
                    <a:pt x="345" y="101"/>
                  </a:cubicBezTo>
                  <a:cubicBezTo>
                    <a:pt x="344" y="102"/>
                    <a:pt x="335" y="102"/>
                    <a:pt x="334" y="101"/>
                  </a:cubicBezTo>
                  <a:cubicBezTo>
                    <a:pt x="333" y="100"/>
                    <a:pt x="325" y="95"/>
                    <a:pt x="322" y="95"/>
                  </a:cubicBezTo>
                  <a:cubicBezTo>
                    <a:pt x="320" y="94"/>
                    <a:pt x="309" y="94"/>
                    <a:pt x="309" y="92"/>
                  </a:cubicBezTo>
                  <a:cubicBezTo>
                    <a:pt x="309" y="90"/>
                    <a:pt x="309" y="82"/>
                    <a:pt x="309" y="82"/>
                  </a:cubicBezTo>
                  <a:cubicBezTo>
                    <a:pt x="309" y="82"/>
                    <a:pt x="305" y="76"/>
                    <a:pt x="306" y="76"/>
                  </a:cubicBezTo>
                  <a:cubicBezTo>
                    <a:pt x="306" y="75"/>
                    <a:pt x="318" y="67"/>
                    <a:pt x="318" y="67"/>
                  </a:cubicBezTo>
                  <a:cubicBezTo>
                    <a:pt x="323" y="62"/>
                    <a:pt x="323" y="62"/>
                    <a:pt x="323" y="62"/>
                  </a:cubicBezTo>
                  <a:cubicBezTo>
                    <a:pt x="323" y="62"/>
                    <a:pt x="318" y="54"/>
                    <a:pt x="318" y="53"/>
                  </a:cubicBezTo>
                  <a:cubicBezTo>
                    <a:pt x="318" y="51"/>
                    <a:pt x="319" y="34"/>
                    <a:pt x="319" y="34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328" y="26"/>
                    <a:pt x="335" y="20"/>
                    <a:pt x="335" y="18"/>
                  </a:cubicBezTo>
                  <a:cubicBezTo>
                    <a:pt x="335" y="15"/>
                    <a:pt x="339" y="0"/>
                    <a:pt x="332" y="2"/>
                  </a:cubicBezTo>
                  <a:cubicBezTo>
                    <a:pt x="324" y="5"/>
                    <a:pt x="312" y="5"/>
                    <a:pt x="310" y="9"/>
                  </a:cubicBezTo>
                  <a:cubicBezTo>
                    <a:pt x="308" y="14"/>
                    <a:pt x="288" y="11"/>
                    <a:pt x="288" y="11"/>
                  </a:cubicBezTo>
                  <a:cubicBezTo>
                    <a:pt x="288" y="11"/>
                    <a:pt x="280" y="4"/>
                    <a:pt x="278" y="6"/>
                  </a:cubicBezTo>
                  <a:cubicBezTo>
                    <a:pt x="276" y="8"/>
                    <a:pt x="271" y="13"/>
                    <a:pt x="271" y="18"/>
                  </a:cubicBezTo>
                  <a:cubicBezTo>
                    <a:pt x="271" y="24"/>
                    <a:pt x="270" y="34"/>
                    <a:pt x="268" y="35"/>
                  </a:cubicBezTo>
                  <a:cubicBezTo>
                    <a:pt x="267" y="36"/>
                    <a:pt x="253" y="49"/>
                    <a:pt x="251" y="52"/>
                  </a:cubicBezTo>
                  <a:cubicBezTo>
                    <a:pt x="249" y="55"/>
                    <a:pt x="245" y="65"/>
                    <a:pt x="241" y="63"/>
                  </a:cubicBezTo>
                  <a:cubicBezTo>
                    <a:pt x="238" y="61"/>
                    <a:pt x="231" y="57"/>
                    <a:pt x="230" y="55"/>
                  </a:cubicBezTo>
                  <a:cubicBezTo>
                    <a:pt x="229" y="52"/>
                    <a:pt x="226" y="45"/>
                    <a:pt x="224" y="44"/>
                  </a:cubicBezTo>
                  <a:cubicBezTo>
                    <a:pt x="223" y="43"/>
                    <a:pt x="212" y="39"/>
                    <a:pt x="210" y="42"/>
                  </a:cubicBezTo>
                  <a:cubicBezTo>
                    <a:pt x="208" y="45"/>
                    <a:pt x="203" y="49"/>
                    <a:pt x="205" y="52"/>
                  </a:cubicBezTo>
                  <a:cubicBezTo>
                    <a:pt x="206" y="55"/>
                    <a:pt x="204" y="69"/>
                    <a:pt x="204" y="69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75" y="79"/>
                    <a:pt x="174" y="79"/>
                  </a:cubicBezTo>
                  <a:cubicBezTo>
                    <a:pt x="173" y="79"/>
                    <a:pt x="155" y="79"/>
                    <a:pt x="154" y="82"/>
                  </a:cubicBezTo>
                  <a:cubicBezTo>
                    <a:pt x="153" y="85"/>
                    <a:pt x="145" y="96"/>
                    <a:pt x="147" y="99"/>
                  </a:cubicBezTo>
                  <a:cubicBezTo>
                    <a:pt x="148" y="103"/>
                    <a:pt x="152" y="109"/>
                    <a:pt x="153" y="109"/>
                  </a:cubicBezTo>
                  <a:cubicBezTo>
                    <a:pt x="155" y="109"/>
                    <a:pt x="164" y="99"/>
                    <a:pt x="166" y="101"/>
                  </a:cubicBezTo>
                  <a:cubicBezTo>
                    <a:pt x="167" y="104"/>
                    <a:pt x="173" y="111"/>
                    <a:pt x="172" y="116"/>
                  </a:cubicBezTo>
                  <a:cubicBezTo>
                    <a:pt x="171" y="121"/>
                    <a:pt x="166" y="136"/>
                    <a:pt x="166" y="140"/>
                  </a:cubicBezTo>
                  <a:cubicBezTo>
                    <a:pt x="166" y="143"/>
                    <a:pt x="156" y="147"/>
                    <a:pt x="153" y="147"/>
                  </a:cubicBezTo>
                  <a:cubicBezTo>
                    <a:pt x="150" y="147"/>
                    <a:pt x="131" y="145"/>
                    <a:pt x="129" y="146"/>
                  </a:cubicBezTo>
                  <a:cubicBezTo>
                    <a:pt x="127" y="146"/>
                    <a:pt x="125" y="148"/>
                    <a:pt x="124" y="153"/>
                  </a:cubicBezTo>
                  <a:cubicBezTo>
                    <a:pt x="123" y="159"/>
                    <a:pt x="127" y="165"/>
                    <a:pt x="126" y="168"/>
                  </a:cubicBezTo>
                  <a:cubicBezTo>
                    <a:pt x="125" y="171"/>
                    <a:pt x="118" y="191"/>
                    <a:pt x="117" y="191"/>
                  </a:cubicBezTo>
                  <a:cubicBezTo>
                    <a:pt x="116" y="192"/>
                    <a:pt x="101" y="205"/>
                    <a:pt x="100" y="205"/>
                  </a:cubicBezTo>
                  <a:cubicBezTo>
                    <a:pt x="98" y="205"/>
                    <a:pt x="83" y="209"/>
                    <a:pt x="80" y="216"/>
                  </a:cubicBezTo>
                  <a:cubicBezTo>
                    <a:pt x="77" y="224"/>
                    <a:pt x="64" y="244"/>
                    <a:pt x="65" y="247"/>
                  </a:cubicBezTo>
                  <a:cubicBezTo>
                    <a:pt x="65" y="249"/>
                    <a:pt x="61" y="260"/>
                    <a:pt x="61" y="262"/>
                  </a:cubicBezTo>
                  <a:cubicBezTo>
                    <a:pt x="60" y="265"/>
                    <a:pt x="69" y="280"/>
                    <a:pt x="68" y="281"/>
                  </a:cubicBezTo>
                  <a:cubicBezTo>
                    <a:pt x="68" y="282"/>
                    <a:pt x="66" y="299"/>
                    <a:pt x="65" y="300"/>
                  </a:cubicBezTo>
                  <a:cubicBezTo>
                    <a:pt x="64" y="300"/>
                    <a:pt x="54" y="298"/>
                    <a:pt x="53" y="298"/>
                  </a:cubicBezTo>
                  <a:cubicBezTo>
                    <a:pt x="51" y="298"/>
                    <a:pt x="43" y="290"/>
                    <a:pt x="42" y="292"/>
                  </a:cubicBezTo>
                  <a:cubicBezTo>
                    <a:pt x="41" y="293"/>
                    <a:pt x="36" y="307"/>
                    <a:pt x="36" y="307"/>
                  </a:cubicBezTo>
                  <a:cubicBezTo>
                    <a:pt x="36" y="307"/>
                    <a:pt x="28" y="321"/>
                    <a:pt x="30" y="321"/>
                  </a:cubicBezTo>
                  <a:cubicBezTo>
                    <a:pt x="32" y="322"/>
                    <a:pt x="33" y="322"/>
                    <a:pt x="35" y="326"/>
                  </a:cubicBezTo>
                  <a:cubicBezTo>
                    <a:pt x="38" y="331"/>
                    <a:pt x="43" y="338"/>
                    <a:pt x="43" y="339"/>
                  </a:cubicBezTo>
                  <a:cubicBezTo>
                    <a:pt x="43" y="341"/>
                    <a:pt x="43" y="343"/>
                    <a:pt x="45" y="344"/>
                  </a:cubicBezTo>
                  <a:cubicBezTo>
                    <a:pt x="47" y="345"/>
                    <a:pt x="54" y="348"/>
                    <a:pt x="55" y="349"/>
                  </a:cubicBezTo>
                  <a:cubicBezTo>
                    <a:pt x="56" y="350"/>
                    <a:pt x="64" y="354"/>
                    <a:pt x="64" y="356"/>
                  </a:cubicBezTo>
                  <a:cubicBezTo>
                    <a:pt x="64" y="357"/>
                    <a:pt x="69" y="360"/>
                    <a:pt x="65" y="365"/>
                  </a:cubicBezTo>
                  <a:cubicBezTo>
                    <a:pt x="61" y="369"/>
                    <a:pt x="55" y="374"/>
                    <a:pt x="54" y="375"/>
                  </a:cubicBezTo>
                  <a:cubicBezTo>
                    <a:pt x="53" y="375"/>
                    <a:pt x="49" y="371"/>
                    <a:pt x="48" y="376"/>
                  </a:cubicBezTo>
                  <a:cubicBezTo>
                    <a:pt x="46" y="380"/>
                    <a:pt x="41" y="388"/>
                    <a:pt x="39" y="388"/>
                  </a:cubicBezTo>
                  <a:cubicBezTo>
                    <a:pt x="37" y="388"/>
                    <a:pt x="28" y="381"/>
                    <a:pt x="25" y="388"/>
                  </a:cubicBezTo>
                  <a:cubicBezTo>
                    <a:pt x="21" y="395"/>
                    <a:pt x="20" y="401"/>
                    <a:pt x="20" y="406"/>
                  </a:cubicBezTo>
                  <a:cubicBezTo>
                    <a:pt x="20" y="411"/>
                    <a:pt x="22" y="416"/>
                    <a:pt x="20" y="417"/>
                  </a:cubicBezTo>
                  <a:cubicBezTo>
                    <a:pt x="18" y="419"/>
                    <a:pt x="10" y="424"/>
                    <a:pt x="7" y="427"/>
                  </a:cubicBezTo>
                  <a:cubicBezTo>
                    <a:pt x="4" y="430"/>
                    <a:pt x="1" y="432"/>
                    <a:pt x="1" y="433"/>
                  </a:cubicBezTo>
                  <a:cubicBezTo>
                    <a:pt x="0" y="434"/>
                    <a:pt x="0" y="438"/>
                    <a:pt x="0" y="438"/>
                  </a:cubicBezTo>
                  <a:cubicBezTo>
                    <a:pt x="0" y="438"/>
                    <a:pt x="8" y="450"/>
                    <a:pt x="9" y="451"/>
                  </a:cubicBezTo>
                  <a:cubicBezTo>
                    <a:pt x="10" y="452"/>
                    <a:pt x="17" y="462"/>
                    <a:pt x="21" y="460"/>
                  </a:cubicBezTo>
                  <a:cubicBezTo>
                    <a:pt x="26" y="459"/>
                    <a:pt x="39" y="453"/>
                    <a:pt x="39" y="453"/>
                  </a:cubicBezTo>
                  <a:cubicBezTo>
                    <a:pt x="39" y="453"/>
                    <a:pt x="42" y="447"/>
                    <a:pt x="45" y="445"/>
                  </a:cubicBezTo>
                  <a:cubicBezTo>
                    <a:pt x="48" y="443"/>
                    <a:pt x="61" y="442"/>
                    <a:pt x="62" y="442"/>
                  </a:cubicBezTo>
                  <a:cubicBezTo>
                    <a:pt x="63" y="442"/>
                    <a:pt x="78" y="442"/>
                    <a:pt x="78" y="442"/>
                  </a:cubicBezTo>
                  <a:cubicBezTo>
                    <a:pt x="94" y="448"/>
                    <a:pt x="94" y="448"/>
                    <a:pt x="94" y="448"/>
                  </a:cubicBezTo>
                  <a:cubicBezTo>
                    <a:pt x="94" y="448"/>
                    <a:pt x="103" y="461"/>
                    <a:pt x="103" y="462"/>
                  </a:cubicBezTo>
                  <a:cubicBezTo>
                    <a:pt x="103" y="463"/>
                    <a:pt x="105" y="485"/>
                    <a:pt x="105" y="485"/>
                  </a:cubicBezTo>
                  <a:cubicBezTo>
                    <a:pt x="105" y="485"/>
                    <a:pt x="108" y="508"/>
                    <a:pt x="109" y="510"/>
                  </a:cubicBezTo>
                  <a:cubicBezTo>
                    <a:pt x="109" y="511"/>
                    <a:pt x="121" y="531"/>
                    <a:pt x="121" y="531"/>
                  </a:cubicBezTo>
                  <a:cubicBezTo>
                    <a:pt x="121" y="531"/>
                    <a:pt x="118" y="545"/>
                    <a:pt x="116" y="548"/>
                  </a:cubicBezTo>
                  <a:cubicBezTo>
                    <a:pt x="113" y="551"/>
                    <a:pt x="107" y="558"/>
                    <a:pt x="108" y="561"/>
                  </a:cubicBezTo>
                  <a:cubicBezTo>
                    <a:pt x="110" y="563"/>
                    <a:pt x="113" y="569"/>
                    <a:pt x="118" y="571"/>
                  </a:cubicBezTo>
                  <a:cubicBezTo>
                    <a:pt x="123" y="573"/>
                    <a:pt x="128" y="573"/>
                    <a:pt x="130" y="575"/>
                  </a:cubicBezTo>
                  <a:cubicBezTo>
                    <a:pt x="131" y="577"/>
                    <a:pt x="136" y="585"/>
                    <a:pt x="137" y="588"/>
                  </a:cubicBezTo>
                  <a:cubicBezTo>
                    <a:pt x="137" y="592"/>
                    <a:pt x="137" y="592"/>
                    <a:pt x="139" y="592"/>
                  </a:cubicBezTo>
                  <a:cubicBezTo>
                    <a:pt x="142" y="592"/>
                    <a:pt x="155" y="589"/>
                    <a:pt x="154" y="588"/>
                  </a:cubicBezTo>
                  <a:cubicBezTo>
                    <a:pt x="153" y="587"/>
                    <a:pt x="146" y="575"/>
                    <a:pt x="146" y="573"/>
                  </a:cubicBezTo>
                  <a:cubicBezTo>
                    <a:pt x="146" y="571"/>
                    <a:pt x="148" y="559"/>
                    <a:pt x="150" y="559"/>
                  </a:cubicBezTo>
                  <a:cubicBezTo>
                    <a:pt x="153" y="560"/>
                    <a:pt x="162" y="578"/>
                    <a:pt x="162" y="578"/>
                  </a:cubicBezTo>
                  <a:cubicBezTo>
                    <a:pt x="180" y="586"/>
                    <a:pt x="180" y="586"/>
                    <a:pt x="180" y="586"/>
                  </a:cubicBezTo>
                  <a:cubicBezTo>
                    <a:pt x="185" y="591"/>
                    <a:pt x="185" y="591"/>
                    <a:pt x="185" y="591"/>
                  </a:cubicBezTo>
                  <a:cubicBezTo>
                    <a:pt x="185" y="591"/>
                    <a:pt x="180" y="599"/>
                    <a:pt x="179" y="601"/>
                  </a:cubicBezTo>
                  <a:cubicBezTo>
                    <a:pt x="178" y="604"/>
                    <a:pt x="176" y="612"/>
                    <a:pt x="176" y="615"/>
                  </a:cubicBezTo>
                  <a:cubicBezTo>
                    <a:pt x="176" y="617"/>
                    <a:pt x="171" y="622"/>
                    <a:pt x="173" y="624"/>
                  </a:cubicBezTo>
                  <a:cubicBezTo>
                    <a:pt x="175" y="626"/>
                    <a:pt x="180" y="627"/>
                    <a:pt x="182" y="626"/>
                  </a:cubicBezTo>
                  <a:cubicBezTo>
                    <a:pt x="184" y="625"/>
                    <a:pt x="191" y="620"/>
                    <a:pt x="193" y="619"/>
                  </a:cubicBezTo>
                  <a:cubicBezTo>
                    <a:pt x="195" y="618"/>
                    <a:pt x="197" y="614"/>
                    <a:pt x="198" y="612"/>
                  </a:cubicBezTo>
                  <a:cubicBezTo>
                    <a:pt x="199" y="609"/>
                    <a:pt x="200" y="601"/>
                    <a:pt x="200" y="599"/>
                  </a:cubicBezTo>
                  <a:cubicBezTo>
                    <a:pt x="200" y="597"/>
                    <a:pt x="198" y="592"/>
                    <a:pt x="200" y="589"/>
                  </a:cubicBezTo>
                  <a:cubicBezTo>
                    <a:pt x="202" y="585"/>
                    <a:pt x="202" y="576"/>
                    <a:pt x="206" y="583"/>
                  </a:cubicBezTo>
                  <a:cubicBezTo>
                    <a:pt x="210" y="590"/>
                    <a:pt x="209" y="591"/>
                    <a:pt x="210" y="593"/>
                  </a:cubicBezTo>
                  <a:cubicBezTo>
                    <a:pt x="211" y="596"/>
                    <a:pt x="212" y="597"/>
                    <a:pt x="215" y="597"/>
                  </a:cubicBezTo>
                  <a:cubicBezTo>
                    <a:pt x="218" y="598"/>
                    <a:pt x="227" y="596"/>
                    <a:pt x="227" y="596"/>
                  </a:cubicBezTo>
                  <a:cubicBezTo>
                    <a:pt x="227" y="596"/>
                    <a:pt x="226" y="587"/>
                    <a:pt x="226" y="585"/>
                  </a:cubicBezTo>
                  <a:cubicBezTo>
                    <a:pt x="225" y="582"/>
                    <a:pt x="220" y="569"/>
                    <a:pt x="220" y="569"/>
                  </a:cubicBezTo>
                  <a:cubicBezTo>
                    <a:pt x="211" y="553"/>
                    <a:pt x="211" y="553"/>
                    <a:pt x="211" y="553"/>
                  </a:cubicBezTo>
                  <a:cubicBezTo>
                    <a:pt x="225" y="530"/>
                    <a:pt x="225" y="530"/>
                    <a:pt x="225" y="530"/>
                  </a:cubicBezTo>
                  <a:cubicBezTo>
                    <a:pt x="218" y="514"/>
                    <a:pt x="218" y="514"/>
                    <a:pt x="218" y="514"/>
                  </a:cubicBezTo>
                  <a:cubicBezTo>
                    <a:pt x="205" y="498"/>
                    <a:pt x="205" y="498"/>
                    <a:pt x="205" y="498"/>
                  </a:cubicBezTo>
                  <a:cubicBezTo>
                    <a:pt x="214" y="466"/>
                    <a:pt x="214" y="466"/>
                    <a:pt x="214" y="466"/>
                  </a:cubicBezTo>
                  <a:cubicBezTo>
                    <a:pt x="223" y="457"/>
                    <a:pt x="223" y="457"/>
                    <a:pt x="223" y="457"/>
                  </a:cubicBezTo>
                  <a:cubicBezTo>
                    <a:pt x="217" y="439"/>
                    <a:pt x="217" y="439"/>
                    <a:pt x="217" y="439"/>
                  </a:cubicBezTo>
                  <a:cubicBezTo>
                    <a:pt x="223" y="427"/>
                    <a:pt x="223" y="427"/>
                    <a:pt x="223" y="427"/>
                  </a:cubicBezTo>
                  <a:cubicBezTo>
                    <a:pt x="246" y="425"/>
                    <a:pt x="246" y="425"/>
                    <a:pt x="246" y="425"/>
                  </a:cubicBezTo>
                  <a:cubicBezTo>
                    <a:pt x="259" y="421"/>
                    <a:pt x="259" y="421"/>
                    <a:pt x="259" y="421"/>
                  </a:cubicBezTo>
                  <a:cubicBezTo>
                    <a:pt x="276" y="427"/>
                    <a:pt x="276" y="427"/>
                    <a:pt x="276" y="427"/>
                  </a:cubicBezTo>
                  <a:cubicBezTo>
                    <a:pt x="286" y="426"/>
                    <a:pt x="286" y="426"/>
                    <a:pt x="286" y="426"/>
                  </a:cubicBezTo>
                  <a:cubicBezTo>
                    <a:pt x="286" y="426"/>
                    <a:pt x="287" y="429"/>
                    <a:pt x="290" y="429"/>
                  </a:cubicBezTo>
                  <a:cubicBezTo>
                    <a:pt x="293" y="429"/>
                    <a:pt x="305" y="429"/>
                    <a:pt x="305" y="429"/>
                  </a:cubicBezTo>
                  <a:cubicBezTo>
                    <a:pt x="313" y="392"/>
                    <a:pt x="313" y="392"/>
                    <a:pt x="313" y="392"/>
                  </a:cubicBezTo>
                  <a:cubicBezTo>
                    <a:pt x="313" y="392"/>
                    <a:pt x="320" y="388"/>
                    <a:pt x="321" y="388"/>
                  </a:cubicBezTo>
                  <a:cubicBezTo>
                    <a:pt x="322" y="388"/>
                    <a:pt x="332" y="388"/>
                    <a:pt x="332" y="388"/>
                  </a:cubicBezTo>
                  <a:cubicBezTo>
                    <a:pt x="345" y="374"/>
                    <a:pt x="345" y="374"/>
                    <a:pt x="345" y="374"/>
                  </a:cubicBezTo>
                  <a:cubicBezTo>
                    <a:pt x="354" y="371"/>
                    <a:pt x="354" y="371"/>
                    <a:pt x="354" y="371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56" y="350"/>
                    <a:pt x="366" y="354"/>
                    <a:pt x="367" y="354"/>
                  </a:cubicBezTo>
                  <a:cubicBezTo>
                    <a:pt x="368" y="355"/>
                    <a:pt x="382" y="355"/>
                    <a:pt x="382" y="355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407" y="336"/>
                    <a:pt x="407" y="336"/>
                    <a:pt x="407" y="336"/>
                  </a:cubicBezTo>
                  <a:cubicBezTo>
                    <a:pt x="415" y="327"/>
                    <a:pt x="415" y="327"/>
                    <a:pt x="415" y="327"/>
                  </a:cubicBezTo>
                  <a:cubicBezTo>
                    <a:pt x="415" y="327"/>
                    <a:pt x="410" y="320"/>
                    <a:pt x="410" y="319"/>
                  </a:cubicBezTo>
                  <a:cubicBezTo>
                    <a:pt x="410" y="318"/>
                    <a:pt x="409" y="290"/>
                    <a:pt x="409" y="290"/>
                  </a:cubicBezTo>
                  <a:cubicBezTo>
                    <a:pt x="407" y="276"/>
                    <a:pt x="407" y="276"/>
                    <a:pt x="407" y="276"/>
                  </a:cubicBezTo>
                  <a:cubicBezTo>
                    <a:pt x="407" y="276"/>
                    <a:pt x="399" y="276"/>
                    <a:pt x="398" y="276"/>
                  </a:cubicBezTo>
                  <a:cubicBezTo>
                    <a:pt x="397" y="276"/>
                    <a:pt x="389" y="278"/>
                    <a:pt x="389" y="278"/>
                  </a:cubicBezTo>
                  <a:cubicBezTo>
                    <a:pt x="376" y="264"/>
                    <a:pt x="376" y="264"/>
                    <a:pt x="376" y="264"/>
                  </a:cubicBezTo>
                  <a:cubicBezTo>
                    <a:pt x="377" y="246"/>
                    <a:pt x="377" y="246"/>
                    <a:pt x="377" y="246"/>
                  </a:cubicBezTo>
                  <a:cubicBezTo>
                    <a:pt x="382" y="233"/>
                    <a:pt x="382" y="233"/>
                    <a:pt x="382" y="233"/>
                  </a:cubicBezTo>
                  <a:cubicBezTo>
                    <a:pt x="382" y="233"/>
                    <a:pt x="384" y="229"/>
                    <a:pt x="386" y="228"/>
                  </a:cubicBezTo>
                  <a:cubicBezTo>
                    <a:pt x="388" y="228"/>
                    <a:pt x="398" y="221"/>
                    <a:pt x="398" y="221"/>
                  </a:cubicBezTo>
                  <a:cubicBezTo>
                    <a:pt x="396" y="214"/>
                    <a:pt x="396" y="214"/>
                    <a:pt x="396" y="214"/>
                  </a:cubicBezTo>
                  <a:cubicBezTo>
                    <a:pt x="396" y="214"/>
                    <a:pt x="383" y="214"/>
                    <a:pt x="382" y="214"/>
                  </a:cubicBezTo>
                  <a:cubicBezTo>
                    <a:pt x="381" y="214"/>
                    <a:pt x="373" y="212"/>
                    <a:pt x="373" y="212"/>
                  </a:cubicBezTo>
                  <a:cubicBezTo>
                    <a:pt x="377" y="196"/>
                    <a:pt x="377" y="196"/>
                    <a:pt x="377" y="196"/>
                  </a:cubicBezTo>
                  <a:cubicBezTo>
                    <a:pt x="387" y="190"/>
                    <a:pt x="387" y="190"/>
                    <a:pt x="387" y="190"/>
                  </a:cubicBezTo>
                  <a:cubicBezTo>
                    <a:pt x="393" y="180"/>
                    <a:pt x="393" y="180"/>
                    <a:pt x="393" y="180"/>
                  </a:cubicBezTo>
                  <a:cubicBezTo>
                    <a:pt x="405" y="181"/>
                    <a:pt x="405" y="181"/>
                    <a:pt x="405" y="181"/>
                  </a:cubicBezTo>
                  <a:cubicBezTo>
                    <a:pt x="405" y="181"/>
                    <a:pt x="412" y="179"/>
                    <a:pt x="412" y="178"/>
                  </a:cubicBezTo>
                  <a:cubicBezTo>
                    <a:pt x="412" y="177"/>
                    <a:pt x="412" y="163"/>
                    <a:pt x="412" y="163"/>
                  </a:cubicBezTo>
                  <a:cubicBezTo>
                    <a:pt x="399" y="149"/>
                    <a:pt x="399" y="149"/>
                    <a:pt x="399" y="149"/>
                  </a:cubicBezTo>
                  <a:cubicBezTo>
                    <a:pt x="397" y="144"/>
                    <a:pt x="397" y="144"/>
                    <a:pt x="397" y="144"/>
                  </a:cubicBezTo>
                  <a:cubicBezTo>
                    <a:pt x="408" y="145"/>
                    <a:pt x="408" y="145"/>
                    <a:pt x="408" y="145"/>
                  </a:cubicBezTo>
                  <a:cubicBezTo>
                    <a:pt x="421" y="137"/>
                    <a:pt x="421" y="137"/>
                    <a:pt x="421" y="137"/>
                  </a:cubicBezTo>
                  <a:cubicBezTo>
                    <a:pt x="427" y="130"/>
                    <a:pt x="427" y="130"/>
                    <a:pt x="427" y="130"/>
                  </a:cubicBezTo>
                  <a:cubicBezTo>
                    <a:pt x="417" y="115"/>
                    <a:pt x="417" y="115"/>
                    <a:pt x="417" y="115"/>
                  </a:cubicBezTo>
                  <a:cubicBezTo>
                    <a:pt x="400" y="104"/>
                    <a:pt x="400" y="104"/>
                    <a:pt x="400" y="104"/>
                  </a:cubicBezTo>
                  <a:cubicBezTo>
                    <a:pt x="391" y="94"/>
                    <a:pt x="391" y="94"/>
                    <a:pt x="391" y="94"/>
                  </a:cubicBezTo>
                  <a:cubicBezTo>
                    <a:pt x="390" y="86"/>
                    <a:pt x="390" y="86"/>
                    <a:pt x="390" y="86"/>
                  </a:cubicBezTo>
                  <a:lnTo>
                    <a:pt x="394" y="79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122">
              <a:extLst>
                <a:ext uri="{FF2B5EF4-FFF2-40B4-BE49-F238E27FC236}">
                  <a16:creationId xmlns:a16="http://schemas.microsoft.com/office/drawing/2014/main" id="{BEE59B46-7BDF-4B39-A4C8-171ADF1A55F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4504" y="815975"/>
              <a:ext cx="284163" cy="288924"/>
            </a:xfrm>
            <a:custGeom>
              <a:avLst/>
              <a:gdLst>
                <a:gd name="T0" fmla="*/ 2 w 122"/>
                <a:gd name="T1" fmla="*/ 68 h 124"/>
                <a:gd name="T2" fmla="*/ 2 w 122"/>
                <a:gd name="T3" fmla="*/ 78 h 124"/>
                <a:gd name="T4" fmla="*/ 13 w 122"/>
                <a:gd name="T5" fmla="*/ 92 h 124"/>
                <a:gd name="T6" fmla="*/ 22 w 122"/>
                <a:gd name="T7" fmla="*/ 102 h 124"/>
                <a:gd name="T8" fmla="*/ 26 w 122"/>
                <a:gd name="T9" fmla="*/ 117 h 124"/>
                <a:gd name="T10" fmla="*/ 33 w 122"/>
                <a:gd name="T11" fmla="*/ 113 h 124"/>
                <a:gd name="T12" fmla="*/ 40 w 122"/>
                <a:gd name="T13" fmla="*/ 104 h 124"/>
                <a:gd name="T14" fmla="*/ 44 w 122"/>
                <a:gd name="T15" fmla="*/ 116 h 124"/>
                <a:gd name="T16" fmla="*/ 51 w 122"/>
                <a:gd name="T17" fmla="*/ 124 h 124"/>
                <a:gd name="T18" fmla="*/ 62 w 122"/>
                <a:gd name="T19" fmla="*/ 118 h 124"/>
                <a:gd name="T20" fmla="*/ 74 w 122"/>
                <a:gd name="T21" fmla="*/ 110 h 124"/>
                <a:gd name="T22" fmla="*/ 81 w 122"/>
                <a:gd name="T23" fmla="*/ 105 h 124"/>
                <a:gd name="T24" fmla="*/ 89 w 122"/>
                <a:gd name="T25" fmla="*/ 107 h 124"/>
                <a:gd name="T26" fmla="*/ 95 w 122"/>
                <a:gd name="T27" fmla="*/ 115 h 124"/>
                <a:gd name="T28" fmla="*/ 105 w 122"/>
                <a:gd name="T29" fmla="*/ 114 h 124"/>
                <a:gd name="T30" fmla="*/ 112 w 122"/>
                <a:gd name="T31" fmla="*/ 109 h 124"/>
                <a:gd name="T32" fmla="*/ 122 w 122"/>
                <a:gd name="T33" fmla="*/ 107 h 124"/>
                <a:gd name="T34" fmla="*/ 117 w 122"/>
                <a:gd name="T35" fmla="*/ 96 h 124"/>
                <a:gd name="T36" fmla="*/ 101 w 122"/>
                <a:gd name="T37" fmla="*/ 81 h 124"/>
                <a:gd name="T38" fmla="*/ 93 w 122"/>
                <a:gd name="T39" fmla="*/ 73 h 124"/>
                <a:gd name="T40" fmla="*/ 83 w 122"/>
                <a:gd name="T41" fmla="*/ 67 h 124"/>
                <a:gd name="T42" fmla="*/ 86 w 122"/>
                <a:gd name="T43" fmla="*/ 58 h 124"/>
                <a:gd name="T44" fmla="*/ 87 w 122"/>
                <a:gd name="T45" fmla="*/ 46 h 124"/>
                <a:gd name="T46" fmla="*/ 92 w 122"/>
                <a:gd name="T47" fmla="*/ 37 h 124"/>
                <a:gd name="T48" fmla="*/ 88 w 122"/>
                <a:gd name="T49" fmla="*/ 30 h 124"/>
                <a:gd name="T50" fmla="*/ 82 w 122"/>
                <a:gd name="T51" fmla="*/ 21 h 124"/>
                <a:gd name="T52" fmla="*/ 78 w 122"/>
                <a:gd name="T53" fmla="*/ 6 h 124"/>
                <a:gd name="T54" fmla="*/ 74 w 122"/>
                <a:gd name="T55" fmla="*/ 0 h 124"/>
                <a:gd name="T56" fmla="*/ 65 w 122"/>
                <a:gd name="T57" fmla="*/ 5 h 124"/>
                <a:gd name="T58" fmla="*/ 60 w 122"/>
                <a:gd name="T59" fmla="*/ 8 h 124"/>
                <a:gd name="T60" fmla="*/ 42 w 122"/>
                <a:gd name="T61" fmla="*/ 16 h 124"/>
                <a:gd name="T62" fmla="*/ 38 w 122"/>
                <a:gd name="T63" fmla="*/ 24 h 124"/>
                <a:gd name="T64" fmla="*/ 39 w 122"/>
                <a:gd name="T65" fmla="*/ 32 h 124"/>
                <a:gd name="T66" fmla="*/ 34 w 122"/>
                <a:gd name="T67" fmla="*/ 37 h 124"/>
                <a:gd name="T68" fmla="*/ 16 w 122"/>
                <a:gd name="T69" fmla="*/ 42 h 124"/>
                <a:gd name="T70" fmla="*/ 9 w 122"/>
                <a:gd name="T71" fmla="*/ 45 h 124"/>
                <a:gd name="T72" fmla="*/ 6 w 122"/>
                <a:gd name="T73" fmla="*/ 57 h 124"/>
                <a:gd name="T74" fmla="*/ 17 w 122"/>
                <a:gd name="T75" fmla="*/ 64 h 124"/>
                <a:gd name="T76" fmla="*/ 31 w 122"/>
                <a:gd name="T77" fmla="*/ 68 h 124"/>
                <a:gd name="T78" fmla="*/ 41 w 122"/>
                <a:gd name="T79" fmla="*/ 68 h 124"/>
                <a:gd name="T80" fmla="*/ 48 w 122"/>
                <a:gd name="T81" fmla="*/ 73 h 124"/>
                <a:gd name="T82" fmla="*/ 38 w 122"/>
                <a:gd name="T83" fmla="*/ 76 h 124"/>
                <a:gd name="T84" fmla="*/ 25 w 122"/>
                <a:gd name="T85" fmla="*/ 74 h 124"/>
                <a:gd name="T86" fmla="*/ 16 w 122"/>
                <a:gd name="T87" fmla="*/ 71 h 124"/>
                <a:gd name="T88" fmla="*/ 7 w 122"/>
                <a:gd name="T89" fmla="*/ 68 h 124"/>
                <a:gd name="T90" fmla="*/ 2 w 122"/>
                <a:gd name="T91" fmla="*/ 6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24">
                  <a:moveTo>
                    <a:pt x="2" y="68"/>
                  </a:moveTo>
                  <a:cubicBezTo>
                    <a:pt x="2" y="68"/>
                    <a:pt x="0" y="77"/>
                    <a:pt x="2" y="78"/>
                  </a:cubicBezTo>
                  <a:cubicBezTo>
                    <a:pt x="5" y="80"/>
                    <a:pt x="12" y="90"/>
                    <a:pt x="13" y="92"/>
                  </a:cubicBezTo>
                  <a:cubicBezTo>
                    <a:pt x="15" y="94"/>
                    <a:pt x="19" y="98"/>
                    <a:pt x="22" y="102"/>
                  </a:cubicBezTo>
                  <a:cubicBezTo>
                    <a:pt x="24" y="106"/>
                    <a:pt x="22" y="117"/>
                    <a:pt x="26" y="117"/>
                  </a:cubicBezTo>
                  <a:cubicBezTo>
                    <a:pt x="31" y="117"/>
                    <a:pt x="33" y="113"/>
                    <a:pt x="33" y="113"/>
                  </a:cubicBezTo>
                  <a:cubicBezTo>
                    <a:pt x="33" y="113"/>
                    <a:pt x="39" y="102"/>
                    <a:pt x="40" y="104"/>
                  </a:cubicBezTo>
                  <a:cubicBezTo>
                    <a:pt x="41" y="107"/>
                    <a:pt x="44" y="114"/>
                    <a:pt x="44" y="116"/>
                  </a:cubicBezTo>
                  <a:cubicBezTo>
                    <a:pt x="44" y="119"/>
                    <a:pt x="49" y="124"/>
                    <a:pt x="51" y="124"/>
                  </a:cubicBezTo>
                  <a:cubicBezTo>
                    <a:pt x="53" y="123"/>
                    <a:pt x="60" y="120"/>
                    <a:pt x="62" y="118"/>
                  </a:cubicBezTo>
                  <a:cubicBezTo>
                    <a:pt x="64" y="116"/>
                    <a:pt x="74" y="110"/>
                    <a:pt x="74" y="110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81" y="105"/>
                    <a:pt x="88" y="104"/>
                    <a:pt x="89" y="107"/>
                  </a:cubicBezTo>
                  <a:cubicBezTo>
                    <a:pt x="89" y="111"/>
                    <a:pt x="93" y="114"/>
                    <a:pt x="95" y="115"/>
                  </a:cubicBezTo>
                  <a:cubicBezTo>
                    <a:pt x="96" y="116"/>
                    <a:pt x="103" y="115"/>
                    <a:pt x="105" y="114"/>
                  </a:cubicBezTo>
                  <a:cubicBezTo>
                    <a:pt x="106" y="113"/>
                    <a:pt x="106" y="109"/>
                    <a:pt x="112" y="109"/>
                  </a:cubicBezTo>
                  <a:cubicBezTo>
                    <a:pt x="119" y="109"/>
                    <a:pt x="122" y="112"/>
                    <a:pt x="122" y="107"/>
                  </a:cubicBezTo>
                  <a:cubicBezTo>
                    <a:pt x="122" y="103"/>
                    <a:pt x="119" y="98"/>
                    <a:pt x="117" y="96"/>
                  </a:cubicBezTo>
                  <a:cubicBezTo>
                    <a:pt x="115" y="94"/>
                    <a:pt x="101" y="81"/>
                    <a:pt x="101" y="81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3" y="67"/>
                    <a:pt x="86" y="60"/>
                    <a:pt x="86" y="58"/>
                  </a:cubicBezTo>
                  <a:cubicBezTo>
                    <a:pt x="86" y="56"/>
                    <a:pt x="85" y="48"/>
                    <a:pt x="87" y="46"/>
                  </a:cubicBezTo>
                  <a:cubicBezTo>
                    <a:pt x="89" y="45"/>
                    <a:pt x="92" y="37"/>
                    <a:pt x="92" y="37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2" y="23"/>
                    <a:pt x="82" y="21"/>
                  </a:cubicBezTo>
                  <a:cubicBezTo>
                    <a:pt x="82" y="18"/>
                    <a:pt x="78" y="6"/>
                    <a:pt x="78" y="6"/>
                  </a:cubicBezTo>
                  <a:cubicBezTo>
                    <a:pt x="78" y="6"/>
                    <a:pt x="75" y="0"/>
                    <a:pt x="74" y="0"/>
                  </a:cubicBezTo>
                  <a:cubicBezTo>
                    <a:pt x="72" y="0"/>
                    <a:pt x="67" y="3"/>
                    <a:pt x="65" y="5"/>
                  </a:cubicBezTo>
                  <a:cubicBezTo>
                    <a:pt x="63" y="7"/>
                    <a:pt x="62" y="8"/>
                    <a:pt x="60" y="8"/>
                  </a:cubicBezTo>
                  <a:cubicBezTo>
                    <a:pt x="58" y="8"/>
                    <a:pt x="42" y="16"/>
                    <a:pt x="42" y="16"/>
                  </a:cubicBezTo>
                  <a:cubicBezTo>
                    <a:pt x="42" y="16"/>
                    <a:pt x="38" y="21"/>
                    <a:pt x="38" y="24"/>
                  </a:cubicBezTo>
                  <a:cubicBezTo>
                    <a:pt x="38" y="26"/>
                    <a:pt x="40" y="30"/>
                    <a:pt x="39" y="32"/>
                  </a:cubicBezTo>
                  <a:cubicBezTo>
                    <a:pt x="38" y="34"/>
                    <a:pt x="38" y="34"/>
                    <a:pt x="34" y="37"/>
                  </a:cubicBezTo>
                  <a:cubicBezTo>
                    <a:pt x="30" y="40"/>
                    <a:pt x="19" y="42"/>
                    <a:pt x="16" y="42"/>
                  </a:cubicBezTo>
                  <a:cubicBezTo>
                    <a:pt x="14" y="43"/>
                    <a:pt x="11" y="40"/>
                    <a:pt x="9" y="45"/>
                  </a:cubicBezTo>
                  <a:cubicBezTo>
                    <a:pt x="6" y="50"/>
                    <a:pt x="6" y="56"/>
                    <a:pt x="6" y="57"/>
                  </a:cubicBezTo>
                  <a:cubicBezTo>
                    <a:pt x="7" y="59"/>
                    <a:pt x="16" y="63"/>
                    <a:pt x="17" y="64"/>
                  </a:cubicBezTo>
                  <a:cubicBezTo>
                    <a:pt x="19" y="65"/>
                    <a:pt x="27" y="68"/>
                    <a:pt x="31" y="68"/>
                  </a:cubicBezTo>
                  <a:cubicBezTo>
                    <a:pt x="35" y="68"/>
                    <a:pt x="39" y="68"/>
                    <a:pt x="41" y="68"/>
                  </a:cubicBezTo>
                  <a:cubicBezTo>
                    <a:pt x="44" y="69"/>
                    <a:pt x="50" y="71"/>
                    <a:pt x="48" y="73"/>
                  </a:cubicBezTo>
                  <a:cubicBezTo>
                    <a:pt x="46" y="75"/>
                    <a:pt x="45" y="76"/>
                    <a:pt x="38" y="76"/>
                  </a:cubicBezTo>
                  <a:cubicBezTo>
                    <a:pt x="31" y="75"/>
                    <a:pt x="29" y="75"/>
                    <a:pt x="25" y="74"/>
                  </a:cubicBezTo>
                  <a:cubicBezTo>
                    <a:pt x="20" y="74"/>
                    <a:pt x="18" y="72"/>
                    <a:pt x="16" y="71"/>
                  </a:cubicBezTo>
                  <a:cubicBezTo>
                    <a:pt x="13" y="69"/>
                    <a:pt x="7" y="68"/>
                    <a:pt x="7" y="68"/>
                  </a:cubicBezTo>
                  <a:lnTo>
                    <a:pt x="2" y="68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123">
              <a:extLst>
                <a:ext uri="{FF2B5EF4-FFF2-40B4-BE49-F238E27FC236}">
                  <a16:creationId xmlns:a16="http://schemas.microsoft.com/office/drawing/2014/main" id="{8527A003-73D4-40EF-8CCA-21000B1FC7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5867" y="985838"/>
              <a:ext cx="1314451" cy="1387474"/>
            </a:xfrm>
            <a:custGeom>
              <a:avLst/>
              <a:gdLst>
                <a:gd name="T0" fmla="*/ 275 w 564"/>
                <a:gd name="T1" fmla="*/ 506 h 595"/>
                <a:gd name="T2" fmla="*/ 278 w 564"/>
                <a:gd name="T3" fmla="*/ 471 h 595"/>
                <a:gd name="T4" fmla="*/ 227 w 564"/>
                <a:gd name="T5" fmla="*/ 444 h 595"/>
                <a:gd name="T6" fmla="*/ 194 w 564"/>
                <a:gd name="T7" fmla="*/ 422 h 595"/>
                <a:gd name="T8" fmla="*/ 171 w 564"/>
                <a:gd name="T9" fmla="*/ 410 h 595"/>
                <a:gd name="T10" fmla="*/ 146 w 564"/>
                <a:gd name="T11" fmla="*/ 417 h 595"/>
                <a:gd name="T12" fmla="*/ 121 w 564"/>
                <a:gd name="T13" fmla="*/ 383 h 595"/>
                <a:gd name="T14" fmla="*/ 129 w 564"/>
                <a:gd name="T15" fmla="*/ 358 h 595"/>
                <a:gd name="T16" fmla="*/ 134 w 564"/>
                <a:gd name="T17" fmla="*/ 343 h 595"/>
                <a:gd name="T18" fmla="*/ 133 w 564"/>
                <a:gd name="T19" fmla="*/ 309 h 595"/>
                <a:gd name="T20" fmla="*/ 110 w 564"/>
                <a:gd name="T21" fmla="*/ 279 h 595"/>
                <a:gd name="T22" fmla="*/ 111 w 564"/>
                <a:gd name="T23" fmla="*/ 247 h 595"/>
                <a:gd name="T24" fmla="*/ 114 w 564"/>
                <a:gd name="T25" fmla="*/ 208 h 595"/>
                <a:gd name="T26" fmla="*/ 113 w 564"/>
                <a:gd name="T27" fmla="*/ 179 h 595"/>
                <a:gd name="T28" fmla="*/ 78 w 564"/>
                <a:gd name="T29" fmla="*/ 169 h 595"/>
                <a:gd name="T30" fmla="*/ 53 w 564"/>
                <a:gd name="T31" fmla="*/ 158 h 595"/>
                <a:gd name="T32" fmla="*/ 24 w 564"/>
                <a:gd name="T33" fmla="*/ 142 h 595"/>
                <a:gd name="T34" fmla="*/ 9 w 564"/>
                <a:gd name="T35" fmla="*/ 109 h 595"/>
                <a:gd name="T36" fmla="*/ 12 w 564"/>
                <a:gd name="T37" fmla="*/ 80 h 595"/>
                <a:gd name="T38" fmla="*/ 38 w 564"/>
                <a:gd name="T39" fmla="*/ 63 h 595"/>
                <a:gd name="T40" fmla="*/ 82 w 564"/>
                <a:gd name="T41" fmla="*/ 44 h 595"/>
                <a:gd name="T42" fmla="*/ 135 w 564"/>
                <a:gd name="T43" fmla="*/ 66 h 595"/>
                <a:gd name="T44" fmla="*/ 209 w 564"/>
                <a:gd name="T45" fmla="*/ 86 h 595"/>
                <a:gd name="T46" fmla="*/ 244 w 564"/>
                <a:gd name="T47" fmla="*/ 100 h 595"/>
                <a:gd name="T48" fmla="*/ 277 w 564"/>
                <a:gd name="T49" fmla="*/ 72 h 595"/>
                <a:gd name="T50" fmla="*/ 323 w 564"/>
                <a:gd name="T51" fmla="*/ 54 h 595"/>
                <a:gd name="T52" fmla="*/ 341 w 564"/>
                <a:gd name="T53" fmla="*/ 22 h 595"/>
                <a:gd name="T54" fmla="*/ 394 w 564"/>
                <a:gd name="T55" fmla="*/ 10 h 595"/>
                <a:gd name="T56" fmla="*/ 437 w 564"/>
                <a:gd name="T57" fmla="*/ 46 h 595"/>
                <a:gd name="T58" fmla="*/ 453 w 564"/>
                <a:gd name="T59" fmla="*/ 46 h 595"/>
                <a:gd name="T60" fmla="*/ 470 w 564"/>
                <a:gd name="T61" fmla="*/ 31 h 595"/>
                <a:gd name="T62" fmla="*/ 462 w 564"/>
                <a:gd name="T63" fmla="*/ 66 h 595"/>
                <a:gd name="T64" fmla="*/ 457 w 564"/>
                <a:gd name="T65" fmla="*/ 113 h 595"/>
                <a:gd name="T66" fmla="*/ 431 w 564"/>
                <a:gd name="T67" fmla="*/ 155 h 595"/>
                <a:gd name="T68" fmla="*/ 438 w 564"/>
                <a:gd name="T69" fmla="*/ 184 h 595"/>
                <a:gd name="T70" fmla="*/ 475 w 564"/>
                <a:gd name="T71" fmla="*/ 219 h 595"/>
                <a:gd name="T72" fmla="*/ 518 w 564"/>
                <a:gd name="T73" fmla="*/ 264 h 595"/>
                <a:gd name="T74" fmla="*/ 504 w 564"/>
                <a:gd name="T75" fmla="*/ 292 h 595"/>
                <a:gd name="T76" fmla="*/ 517 w 564"/>
                <a:gd name="T77" fmla="*/ 331 h 595"/>
                <a:gd name="T78" fmla="*/ 533 w 564"/>
                <a:gd name="T79" fmla="*/ 373 h 595"/>
                <a:gd name="T80" fmla="*/ 547 w 564"/>
                <a:gd name="T81" fmla="*/ 402 h 595"/>
                <a:gd name="T82" fmla="*/ 529 w 564"/>
                <a:gd name="T83" fmla="*/ 457 h 595"/>
                <a:gd name="T84" fmla="*/ 543 w 564"/>
                <a:gd name="T85" fmla="*/ 484 h 595"/>
                <a:gd name="T86" fmla="*/ 553 w 564"/>
                <a:gd name="T87" fmla="*/ 505 h 595"/>
                <a:gd name="T88" fmla="*/ 547 w 564"/>
                <a:gd name="T89" fmla="*/ 524 h 595"/>
                <a:gd name="T90" fmla="*/ 500 w 564"/>
                <a:gd name="T91" fmla="*/ 553 h 595"/>
                <a:gd name="T92" fmla="*/ 453 w 564"/>
                <a:gd name="T93" fmla="*/ 566 h 595"/>
                <a:gd name="T94" fmla="*/ 413 w 564"/>
                <a:gd name="T95" fmla="*/ 584 h 595"/>
                <a:gd name="T96" fmla="*/ 349 w 564"/>
                <a:gd name="T97" fmla="*/ 582 h 595"/>
                <a:gd name="T98" fmla="*/ 307 w 564"/>
                <a:gd name="T99" fmla="*/ 595 h 595"/>
                <a:gd name="T100" fmla="*/ 286 w 564"/>
                <a:gd name="T101" fmla="*/ 562 h 595"/>
                <a:gd name="T102" fmla="*/ 270 w 564"/>
                <a:gd name="T103" fmla="*/ 53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4" h="595">
                  <a:moveTo>
                    <a:pt x="267" y="523"/>
                  </a:moveTo>
                  <a:cubicBezTo>
                    <a:pt x="268" y="523"/>
                    <a:pt x="273" y="518"/>
                    <a:pt x="273" y="517"/>
                  </a:cubicBezTo>
                  <a:cubicBezTo>
                    <a:pt x="274" y="512"/>
                    <a:pt x="273" y="508"/>
                    <a:pt x="275" y="506"/>
                  </a:cubicBezTo>
                  <a:cubicBezTo>
                    <a:pt x="276" y="504"/>
                    <a:pt x="282" y="504"/>
                    <a:pt x="285" y="498"/>
                  </a:cubicBezTo>
                  <a:cubicBezTo>
                    <a:pt x="287" y="493"/>
                    <a:pt x="287" y="493"/>
                    <a:pt x="284" y="486"/>
                  </a:cubicBezTo>
                  <a:cubicBezTo>
                    <a:pt x="281" y="480"/>
                    <a:pt x="279" y="474"/>
                    <a:pt x="278" y="471"/>
                  </a:cubicBezTo>
                  <a:cubicBezTo>
                    <a:pt x="277" y="468"/>
                    <a:pt x="261" y="448"/>
                    <a:pt x="261" y="448"/>
                  </a:cubicBezTo>
                  <a:cubicBezTo>
                    <a:pt x="254" y="446"/>
                    <a:pt x="254" y="446"/>
                    <a:pt x="254" y="446"/>
                  </a:cubicBezTo>
                  <a:cubicBezTo>
                    <a:pt x="227" y="444"/>
                    <a:pt x="227" y="444"/>
                    <a:pt x="227" y="444"/>
                  </a:cubicBezTo>
                  <a:cubicBezTo>
                    <a:pt x="215" y="425"/>
                    <a:pt x="215" y="425"/>
                    <a:pt x="215" y="425"/>
                  </a:cubicBezTo>
                  <a:cubicBezTo>
                    <a:pt x="215" y="425"/>
                    <a:pt x="207" y="421"/>
                    <a:pt x="205" y="421"/>
                  </a:cubicBezTo>
                  <a:cubicBezTo>
                    <a:pt x="203" y="421"/>
                    <a:pt x="198" y="421"/>
                    <a:pt x="194" y="422"/>
                  </a:cubicBezTo>
                  <a:cubicBezTo>
                    <a:pt x="190" y="424"/>
                    <a:pt x="185" y="426"/>
                    <a:pt x="185" y="426"/>
                  </a:cubicBezTo>
                  <a:cubicBezTo>
                    <a:pt x="185" y="426"/>
                    <a:pt x="181" y="429"/>
                    <a:pt x="179" y="427"/>
                  </a:cubicBezTo>
                  <a:cubicBezTo>
                    <a:pt x="176" y="425"/>
                    <a:pt x="171" y="410"/>
                    <a:pt x="171" y="410"/>
                  </a:cubicBezTo>
                  <a:cubicBezTo>
                    <a:pt x="171" y="410"/>
                    <a:pt x="169" y="406"/>
                    <a:pt x="163" y="413"/>
                  </a:cubicBezTo>
                  <a:cubicBezTo>
                    <a:pt x="156" y="420"/>
                    <a:pt x="156" y="420"/>
                    <a:pt x="156" y="420"/>
                  </a:cubicBezTo>
                  <a:cubicBezTo>
                    <a:pt x="156" y="420"/>
                    <a:pt x="148" y="418"/>
                    <a:pt x="146" y="417"/>
                  </a:cubicBezTo>
                  <a:cubicBezTo>
                    <a:pt x="144" y="416"/>
                    <a:pt x="143" y="405"/>
                    <a:pt x="143" y="405"/>
                  </a:cubicBezTo>
                  <a:cubicBezTo>
                    <a:pt x="135" y="396"/>
                    <a:pt x="135" y="396"/>
                    <a:pt x="135" y="396"/>
                  </a:cubicBezTo>
                  <a:cubicBezTo>
                    <a:pt x="121" y="383"/>
                    <a:pt x="121" y="383"/>
                    <a:pt x="121" y="383"/>
                  </a:cubicBezTo>
                  <a:cubicBezTo>
                    <a:pt x="123" y="374"/>
                    <a:pt x="123" y="374"/>
                    <a:pt x="123" y="374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8"/>
                    <a:pt x="136" y="360"/>
                    <a:pt x="129" y="358"/>
                  </a:cubicBezTo>
                  <a:cubicBezTo>
                    <a:pt x="123" y="356"/>
                    <a:pt x="121" y="358"/>
                    <a:pt x="119" y="356"/>
                  </a:cubicBezTo>
                  <a:cubicBezTo>
                    <a:pt x="118" y="354"/>
                    <a:pt x="117" y="350"/>
                    <a:pt x="121" y="348"/>
                  </a:cubicBezTo>
                  <a:cubicBezTo>
                    <a:pt x="124" y="346"/>
                    <a:pt x="132" y="345"/>
                    <a:pt x="134" y="343"/>
                  </a:cubicBezTo>
                  <a:cubicBezTo>
                    <a:pt x="136" y="341"/>
                    <a:pt x="141" y="336"/>
                    <a:pt x="137" y="333"/>
                  </a:cubicBezTo>
                  <a:cubicBezTo>
                    <a:pt x="132" y="330"/>
                    <a:pt x="130" y="320"/>
                    <a:pt x="131" y="316"/>
                  </a:cubicBezTo>
                  <a:cubicBezTo>
                    <a:pt x="131" y="313"/>
                    <a:pt x="133" y="314"/>
                    <a:pt x="133" y="309"/>
                  </a:cubicBezTo>
                  <a:cubicBezTo>
                    <a:pt x="134" y="304"/>
                    <a:pt x="136" y="304"/>
                    <a:pt x="134" y="299"/>
                  </a:cubicBezTo>
                  <a:cubicBezTo>
                    <a:pt x="132" y="294"/>
                    <a:pt x="130" y="289"/>
                    <a:pt x="127" y="286"/>
                  </a:cubicBezTo>
                  <a:cubicBezTo>
                    <a:pt x="125" y="284"/>
                    <a:pt x="112" y="280"/>
                    <a:pt x="110" y="279"/>
                  </a:cubicBezTo>
                  <a:cubicBezTo>
                    <a:pt x="108" y="278"/>
                    <a:pt x="101" y="272"/>
                    <a:pt x="100" y="270"/>
                  </a:cubicBezTo>
                  <a:cubicBezTo>
                    <a:pt x="99" y="268"/>
                    <a:pt x="103" y="254"/>
                    <a:pt x="105" y="254"/>
                  </a:cubicBezTo>
                  <a:cubicBezTo>
                    <a:pt x="108" y="254"/>
                    <a:pt x="111" y="252"/>
                    <a:pt x="111" y="247"/>
                  </a:cubicBezTo>
                  <a:cubicBezTo>
                    <a:pt x="111" y="242"/>
                    <a:pt x="107" y="230"/>
                    <a:pt x="104" y="227"/>
                  </a:cubicBezTo>
                  <a:cubicBezTo>
                    <a:pt x="101" y="224"/>
                    <a:pt x="103" y="215"/>
                    <a:pt x="105" y="213"/>
                  </a:cubicBezTo>
                  <a:cubicBezTo>
                    <a:pt x="106" y="211"/>
                    <a:pt x="109" y="208"/>
                    <a:pt x="114" y="208"/>
                  </a:cubicBezTo>
                  <a:cubicBezTo>
                    <a:pt x="119" y="207"/>
                    <a:pt x="121" y="212"/>
                    <a:pt x="123" y="207"/>
                  </a:cubicBezTo>
                  <a:cubicBezTo>
                    <a:pt x="124" y="202"/>
                    <a:pt x="131" y="192"/>
                    <a:pt x="127" y="188"/>
                  </a:cubicBezTo>
                  <a:cubicBezTo>
                    <a:pt x="123" y="185"/>
                    <a:pt x="122" y="184"/>
                    <a:pt x="113" y="179"/>
                  </a:cubicBezTo>
                  <a:cubicBezTo>
                    <a:pt x="105" y="174"/>
                    <a:pt x="102" y="172"/>
                    <a:pt x="99" y="172"/>
                  </a:cubicBezTo>
                  <a:cubicBezTo>
                    <a:pt x="95" y="172"/>
                    <a:pt x="90" y="173"/>
                    <a:pt x="88" y="173"/>
                  </a:cubicBezTo>
                  <a:cubicBezTo>
                    <a:pt x="86" y="173"/>
                    <a:pt x="80" y="168"/>
                    <a:pt x="78" y="169"/>
                  </a:cubicBezTo>
                  <a:cubicBezTo>
                    <a:pt x="76" y="170"/>
                    <a:pt x="75" y="175"/>
                    <a:pt x="72" y="175"/>
                  </a:cubicBezTo>
                  <a:cubicBezTo>
                    <a:pt x="69" y="175"/>
                    <a:pt x="67" y="178"/>
                    <a:pt x="61" y="171"/>
                  </a:cubicBezTo>
                  <a:cubicBezTo>
                    <a:pt x="56" y="164"/>
                    <a:pt x="56" y="163"/>
                    <a:pt x="53" y="158"/>
                  </a:cubicBezTo>
                  <a:cubicBezTo>
                    <a:pt x="49" y="152"/>
                    <a:pt x="49" y="151"/>
                    <a:pt x="47" y="150"/>
                  </a:cubicBezTo>
                  <a:cubicBezTo>
                    <a:pt x="44" y="150"/>
                    <a:pt x="33" y="152"/>
                    <a:pt x="31" y="149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4" y="142"/>
                    <a:pt x="25" y="131"/>
                    <a:pt x="23" y="129"/>
                  </a:cubicBezTo>
                  <a:cubicBezTo>
                    <a:pt x="22" y="127"/>
                    <a:pt x="21" y="124"/>
                    <a:pt x="18" y="121"/>
                  </a:cubicBezTo>
                  <a:cubicBezTo>
                    <a:pt x="15" y="118"/>
                    <a:pt x="11" y="111"/>
                    <a:pt x="9" y="109"/>
                  </a:cubicBezTo>
                  <a:cubicBezTo>
                    <a:pt x="7" y="107"/>
                    <a:pt x="0" y="106"/>
                    <a:pt x="1" y="99"/>
                  </a:cubicBezTo>
                  <a:cubicBezTo>
                    <a:pt x="3" y="92"/>
                    <a:pt x="3" y="93"/>
                    <a:pt x="5" y="90"/>
                  </a:cubicBezTo>
                  <a:cubicBezTo>
                    <a:pt x="6" y="86"/>
                    <a:pt x="9" y="80"/>
                    <a:pt x="12" y="80"/>
                  </a:cubicBezTo>
                  <a:cubicBezTo>
                    <a:pt x="15" y="80"/>
                    <a:pt x="21" y="84"/>
                    <a:pt x="23" y="80"/>
                  </a:cubicBezTo>
                  <a:cubicBezTo>
                    <a:pt x="24" y="76"/>
                    <a:pt x="29" y="64"/>
                    <a:pt x="29" y="64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47" y="64"/>
                    <a:pt x="49" y="64"/>
                  </a:cubicBezTo>
                  <a:cubicBezTo>
                    <a:pt x="52" y="64"/>
                    <a:pt x="75" y="64"/>
                    <a:pt x="75" y="6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103" y="45"/>
                    <a:pt x="106" y="48"/>
                  </a:cubicBezTo>
                  <a:cubicBezTo>
                    <a:pt x="109" y="50"/>
                    <a:pt x="122" y="56"/>
                    <a:pt x="125" y="58"/>
                  </a:cubicBezTo>
                  <a:cubicBezTo>
                    <a:pt x="127" y="60"/>
                    <a:pt x="131" y="63"/>
                    <a:pt x="135" y="66"/>
                  </a:cubicBezTo>
                  <a:cubicBezTo>
                    <a:pt x="139" y="68"/>
                    <a:pt x="145" y="72"/>
                    <a:pt x="151" y="75"/>
                  </a:cubicBezTo>
                  <a:cubicBezTo>
                    <a:pt x="157" y="78"/>
                    <a:pt x="177" y="81"/>
                    <a:pt x="177" y="81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25" y="78"/>
                    <a:pt x="229" y="86"/>
                  </a:cubicBezTo>
                  <a:cubicBezTo>
                    <a:pt x="233" y="94"/>
                    <a:pt x="229" y="90"/>
                    <a:pt x="233" y="94"/>
                  </a:cubicBezTo>
                  <a:cubicBezTo>
                    <a:pt x="237" y="99"/>
                    <a:pt x="241" y="104"/>
                    <a:pt x="244" y="100"/>
                  </a:cubicBezTo>
                  <a:cubicBezTo>
                    <a:pt x="247" y="97"/>
                    <a:pt x="249" y="95"/>
                    <a:pt x="251" y="92"/>
                  </a:cubicBezTo>
                  <a:cubicBezTo>
                    <a:pt x="253" y="88"/>
                    <a:pt x="259" y="84"/>
                    <a:pt x="261" y="80"/>
                  </a:cubicBezTo>
                  <a:cubicBezTo>
                    <a:pt x="262" y="77"/>
                    <a:pt x="277" y="72"/>
                    <a:pt x="277" y="72"/>
                  </a:cubicBezTo>
                  <a:cubicBezTo>
                    <a:pt x="298" y="69"/>
                    <a:pt x="298" y="69"/>
                    <a:pt x="298" y="69"/>
                  </a:cubicBezTo>
                  <a:cubicBezTo>
                    <a:pt x="298" y="69"/>
                    <a:pt x="299" y="60"/>
                    <a:pt x="307" y="65"/>
                  </a:cubicBezTo>
                  <a:cubicBezTo>
                    <a:pt x="315" y="70"/>
                    <a:pt x="323" y="54"/>
                    <a:pt x="323" y="54"/>
                  </a:cubicBezTo>
                  <a:cubicBezTo>
                    <a:pt x="323" y="54"/>
                    <a:pt x="325" y="48"/>
                    <a:pt x="327" y="41"/>
                  </a:cubicBezTo>
                  <a:cubicBezTo>
                    <a:pt x="329" y="34"/>
                    <a:pt x="329" y="32"/>
                    <a:pt x="331" y="30"/>
                  </a:cubicBezTo>
                  <a:cubicBezTo>
                    <a:pt x="333" y="28"/>
                    <a:pt x="335" y="25"/>
                    <a:pt x="341" y="22"/>
                  </a:cubicBezTo>
                  <a:cubicBezTo>
                    <a:pt x="347" y="18"/>
                    <a:pt x="365" y="19"/>
                    <a:pt x="371" y="20"/>
                  </a:cubicBezTo>
                  <a:cubicBezTo>
                    <a:pt x="377" y="22"/>
                    <a:pt x="391" y="18"/>
                    <a:pt x="388" y="18"/>
                  </a:cubicBezTo>
                  <a:cubicBezTo>
                    <a:pt x="385" y="17"/>
                    <a:pt x="381" y="6"/>
                    <a:pt x="394" y="10"/>
                  </a:cubicBezTo>
                  <a:cubicBezTo>
                    <a:pt x="407" y="13"/>
                    <a:pt x="404" y="0"/>
                    <a:pt x="417" y="14"/>
                  </a:cubicBezTo>
                  <a:cubicBezTo>
                    <a:pt x="429" y="29"/>
                    <a:pt x="431" y="25"/>
                    <a:pt x="433" y="31"/>
                  </a:cubicBezTo>
                  <a:cubicBezTo>
                    <a:pt x="434" y="37"/>
                    <a:pt x="437" y="42"/>
                    <a:pt x="437" y="46"/>
                  </a:cubicBezTo>
                  <a:cubicBezTo>
                    <a:pt x="437" y="49"/>
                    <a:pt x="440" y="55"/>
                    <a:pt x="440" y="55"/>
                  </a:cubicBezTo>
                  <a:cubicBezTo>
                    <a:pt x="440" y="55"/>
                    <a:pt x="440" y="56"/>
                    <a:pt x="443" y="54"/>
                  </a:cubicBezTo>
                  <a:cubicBezTo>
                    <a:pt x="445" y="52"/>
                    <a:pt x="453" y="46"/>
                    <a:pt x="453" y="46"/>
                  </a:cubicBezTo>
                  <a:cubicBezTo>
                    <a:pt x="453" y="46"/>
                    <a:pt x="446" y="37"/>
                    <a:pt x="449" y="34"/>
                  </a:cubicBezTo>
                  <a:cubicBezTo>
                    <a:pt x="453" y="32"/>
                    <a:pt x="456" y="30"/>
                    <a:pt x="461" y="30"/>
                  </a:cubicBezTo>
                  <a:cubicBezTo>
                    <a:pt x="465" y="31"/>
                    <a:pt x="470" y="31"/>
                    <a:pt x="470" y="31"/>
                  </a:cubicBezTo>
                  <a:cubicBezTo>
                    <a:pt x="468" y="31"/>
                    <a:pt x="468" y="31"/>
                    <a:pt x="468" y="31"/>
                  </a:cubicBezTo>
                  <a:cubicBezTo>
                    <a:pt x="468" y="31"/>
                    <a:pt x="459" y="52"/>
                    <a:pt x="456" y="56"/>
                  </a:cubicBezTo>
                  <a:cubicBezTo>
                    <a:pt x="453" y="61"/>
                    <a:pt x="460" y="64"/>
                    <a:pt x="462" y="66"/>
                  </a:cubicBezTo>
                  <a:cubicBezTo>
                    <a:pt x="464" y="68"/>
                    <a:pt x="465" y="73"/>
                    <a:pt x="470" y="81"/>
                  </a:cubicBezTo>
                  <a:cubicBezTo>
                    <a:pt x="475" y="89"/>
                    <a:pt x="469" y="95"/>
                    <a:pt x="469" y="95"/>
                  </a:cubicBezTo>
                  <a:cubicBezTo>
                    <a:pt x="457" y="113"/>
                    <a:pt x="457" y="113"/>
                    <a:pt x="457" y="113"/>
                  </a:cubicBezTo>
                  <a:cubicBezTo>
                    <a:pt x="439" y="126"/>
                    <a:pt x="439" y="126"/>
                    <a:pt x="439" y="126"/>
                  </a:cubicBezTo>
                  <a:cubicBezTo>
                    <a:pt x="439" y="126"/>
                    <a:pt x="433" y="133"/>
                    <a:pt x="431" y="139"/>
                  </a:cubicBezTo>
                  <a:cubicBezTo>
                    <a:pt x="430" y="145"/>
                    <a:pt x="431" y="151"/>
                    <a:pt x="431" y="155"/>
                  </a:cubicBezTo>
                  <a:cubicBezTo>
                    <a:pt x="431" y="159"/>
                    <a:pt x="431" y="158"/>
                    <a:pt x="425" y="170"/>
                  </a:cubicBezTo>
                  <a:cubicBezTo>
                    <a:pt x="419" y="183"/>
                    <a:pt x="429" y="177"/>
                    <a:pt x="431" y="179"/>
                  </a:cubicBezTo>
                  <a:cubicBezTo>
                    <a:pt x="432" y="181"/>
                    <a:pt x="438" y="184"/>
                    <a:pt x="438" y="184"/>
                  </a:cubicBezTo>
                  <a:cubicBezTo>
                    <a:pt x="451" y="190"/>
                    <a:pt x="451" y="190"/>
                    <a:pt x="451" y="190"/>
                  </a:cubicBezTo>
                  <a:cubicBezTo>
                    <a:pt x="465" y="200"/>
                    <a:pt x="465" y="200"/>
                    <a:pt x="465" y="200"/>
                  </a:cubicBezTo>
                  <a:cubicBezTo>
                    <a:pt x="465" y="200"/>
                    <a:pt x="469" y="211"/>
                    <a:pt x="475" y="219"/>
                  </a:cubicBezTo>
                  <a:cubicBezTo>
                    <a:pt x="480" y="227"/>
                    <a:pt x="483" y="228"/>
                    <a:pt x="483" y="228"/>
                  </a:cubicBezTo>
                  <a:cubicBezTo>
                    <a:pt x="506" y="249"/>
                    <a:pt x="506" y="249"/>
                    <a:pt x="506" y="249"/>
                  </a:cubicBezTo>
                  <a:cubicBezTo>
                    <a:pt x="518" y="264"/>
                    <a:pt x="518" y="264"/>
                    <a:pt x="518" y="264"/>
                  </a:cubicBezTo>
                  <a:cubicBezTo>
                    <a:pt x="517" y="278"/>
                    <a:pt x="517" y="278"/>
                    <a:pt x="517" y="278"/>
                  </a:cubicBezTo>
                  <a:cubicBezTo>
                    <a:pt x="512" y="285"/>
                    <a:pt x="512" y="285"/>
                    <a:pt x="512" y="285"/>
                  </a:cubicBezTo>
                  <a:cubicBezTo>
                    <a:pt x="512" y="285"/>
                    <a:pt x="507" y="290"/>
                    <a:pt x="504" y="292"/>
                  </a:cubicBezTo>
                  <a:cubicBezTo>
                    <a:pt x="501" y="294"/>
                    <a:pt x="503" y="300"/>
                    <a:pt x="504" y="303"/>
                  </a:cubicBezTo>
                  <a:cubicBezTo>
                    <a:pt x="505" y="306"/>
                    <a:pt x="510" y="314"/>
                    <a:pt x="510" y="314"/>
                  </a:cubicBezTo>
                  <a:cubicBezTo>
                    <a:pt x="517" y="331"/>
                    <a:pt x="517" y="331"/>
                    <a:pt x="517" y="331"/>
                  </a:cubicBezTo>
                  <a:cubicBezTo>
                    <a:pt x="533" y="346"/>
                    <a:pt x="533" y="346"/>
                    <a:pt x="533" y="346"/>
                  </a:cubicBezTo>
                  <a:cubicBezTo>
                    <a:pt x="533" y="346"/>
                    <a:pt x="534" y="354"/>
                    <a:pt x="535" y="358"/>
                  </a:cubicBezTo>
                  <a:cubicBezTo>
                    <a:pt x="535" y="362"/>
                    <a:pt x="533" y="373"/>
                    <a:pt x="533" y="373"/>
                  </a:cubicBezTo>
                  <a:cubicBezTo>
                    <a:pt x="538" y="380"/>
                    <a:pt x="538" y="380"/>
                    <a:pt x="538" y="380"/>
                  </a:cubicBezTo>
                  <a:cubicBezTo>
                    <a:pt x="538" y="380"/>
                    <a:pt x="544" y="390"/>
                    <a:pt x="545" y="393"/>
                  </a:cubicBezTo>
                  <a:cubicBezTo>
                    <a:pt x="545" y="396"/>
                    <a:pt x="547" y="400"/>
                    <a:pt x="547" y="402"/>
                  </a:cubicBezTo>
                  <a:cubicBezTo>
                    <a:pt x="547" y="404"/>
                    <a:pt x="550" y="420"/>
                    <a:pt x="550" y="420"/>
                  </a:cubicBezTo>
                  <a:cubicBezTo>
                    <a:pt x="537" y="436"/>
                    <a:pt x="537" y="436"/>
                    <a:pt x="537" y="436"/>
                  </a:cubicBezTo>
                  <a:cubicBezTo>
                    <a:pt x="537" y="436"/>
                    <a:pt x="530" y="452"/>
                    <a:pt x="529" y="457"/>
                  </a:cubicBezTo>
                  <a:cubicBezTo>
                    <a:pt x="529" y="462"/>
                    <a:pt x="529" y="465"/>
                    <a:pt x="531" y="468"/>
                  </a:cubicBezTo>
                  <a:cubicBezTo>
                    <a:pt x="533" y="470"/>
                    <a:pt x="537" y="472"/>
                    <a:pt x="537" y="475"/>
                  </a:cubicBezTo>
                  <a:cubicBezTo>
                    <a:pt x="538" y="478"/>
                    <a:pt x="543" y="484"/>
                    <a:pt x="543" y="484"/>
                  </a:cubicBezTo>
                  <a:cubicBezTo>
                    <a:pt x="543" y="484"/>
                    <a:pt x="553" y="490"/>
                    <a:pt x="559" y="492"/>
                  </a:cubicBezTo>
                  <a:cubicBezTo>
                    <a:pt x="564" y="494"/>
                    <a:pt x="559" y="492"/>
                    <a:pt x="560" y="495"/>
                  </a:cubicBezTo>
                  <a:cubicBezTo>
                    <a:pt x="561" y="498"/>
                    <a:pt x="555" y="502"/>
                    <a:pt x="553" y="505"/>
                  </a:cubicBezTo>
                  <a:cubicBezTo>
                    <a:pt x="551" y="508"/>
                    <a:pt x="552" y="508"/>
                    <a:pt x="547" y="512"/>
                  </a:cubicBezTo>
                  <a:cubicBezTo>
                    <a:pt x="544" y="515"/>
                    <a:pt x="546" y="520"/>
                    <a:pt x="548" y="524"/>
                  </a:cubicBezTo>
                  <a:cubicBezTo>
                    <a:pt x="547" y="524"/>
                    <a:pt x="547" y="524"/>
                    <a:pt x="547" y="524"/>
                  </a:cubicBezTo>
                  <a:cubicBezTo>
                    <a:pt x="546" y="525"/>
                    <a:pt x="534" y="542"/>
                    <a:pt x="529" y="543"/>
                  </a:cubicBezTo>
                  <a:cubicBezTo>
                    <a:pt x="523" y="544"/>
                    <a:pt x="512" y="542"/>
                    <a:pt x="512" y="543"/>
                  </a:cubicBezTo>
                  <a:cubicBezTo>
                    <a:pt x="511" y="544"/>
                    <a:pt x="503" y="552"/>
                    <a:pt x="500" y="553"/>
                  </a:cubicBezTo>
                  <a:cubicBezTo>
                    <a:pt x="498" y="555"/>
                    <a:pt x="473" y="560"/>
                    <a:pt x="469" y="559"/>
                  </a:cubicBezTo>
                  <a:cubicBezTo>
                    <a:pt x="465" y="558"/>
                    <a:pt x="461" y="564"/>
                    <a:pt x="457" y="563"/>
                  </a:cubicBezTo>
                  <a:cubicBezTo>
                    <a:pt x="453" y="562"/>
                    <a:pt x="454" y="563"/>
                    <a:pt x="453" y="566"/>
                  </a:cubicBezTo>
                  <a:cubicBezTo>
                    <a:pt x="452" y="569"/>
                    <a:pt x="452" y="572"/>
                    <a:pt x="454" y="577"/>
                  </a:cubicBezTo>
                  <a:cubicBezTo>
                    <a:pt x="457" y="581"/>
                    <a:pt x="444" y="581"/>
                    <a:pt x="443" y="582"/>
                  </a:cubicBezTo>
                  <a:cubicBezTo>
                    <a:pt x="443" y="583"/>
                    <a:pt x="413" y="584"/>
                    <a:pt x="413" y="584"/>
                  </a:cubicBezTo>
                  <a:cubicBezTo>
                    <a:pt x="371" y="586"/>
                    <a:pt x="371" y="586"/>
                    <a:pt x="371" y="586"/>
                  </a:cubicBezTo>
                  <a:cubicBezTo>
                    <a:pt x="371" y="586"/>
                    <a:pt x="361" y="589"/>
                    <a:pt x="357" y="587"/>
                  </a:cubicBezTo>
                  <a:cubicBezTo>
                    <a:pt x="352" y="585"/>
                    <a:pt x="352" y="588"/>
                    <a:pt x="349" y="582"/>
                  </a:cubicBezTo>
                  <a:cubicBezTo>
                    <a:pt x="345" y="576"/>
                    <a:pt x="338" y="577"/>
                    <a:pt x="336" y="576"/>
                  </a:cubicBezTo>
                  <a:cubicBezTo>
                    <a:pt x="334" y="575"/>
                    <a:pt x="322" y="587"/>
                    <a:pt x="322" y="587"/>
                  </a:cubicBezTo>
                  <a:cubicBezTo>
                    <a:pt x="322" y="587"/>
                    <a:pt x="311" y="595"/>
                    <a:pt x="307" y="595"/>
                  </a:cubicBezTo>
                  <a:cubicBezTo>
                    <a:pt x="303" y="595"/>
                    <a:pt x="294" y="589"/>
                    <a:pt x="292" y="585"/>
                  </a:cubicBezTo>
                  <a:cubicBezTo>
                    <a:pt x="290" y="582"/>
                    <a:pt x="293" y="581"/>
                    <a:pt x="290" y="576"/>
                  </a:cubicBezTo>
                  <a:cubicBezTo>
                    <a:pt x="288" y="572"/>
                    <a:pt x="286" y="566"/>
                    <a:pt x="286" y="562"/>
                  </a:cubicBezTo>
                  <a:cubicBezTo>
                    <a:pt x="286" y="558"/>
                    <a:pt x="290" y="552"/>
                    <a:pt x="290" y="549"/>
                  </a:cubicBezTo>
                  <a:cubicBezTo>
                    <a:pt x="290" y="547"/>
                    <a:pt x="290" y="542"/>
                    <a:pt x="288" y="540"/>
                  </a:cubicBezTo>
                  <a:cubicBezTo>
                    <a:pt x="286" y="538"/>
                    <a:pt x="271" y="534"/>
                    <a:pt x="270" y="532"/>
                  </a:cubicBezTo>
                  <a:lnTo>
                    <a:pt x="267" y="523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24">
              <a:extLst>
                <a:ext uri="{FF2B5EF4-FFF2-40B4-BE49-F238E27FC236}">
                  <a16:creationId xmlns:a16="http://schemas.microsoft.com/office/drawing/2014/main" id="{AE1FD8F5-8EAF-4C47-A2CB-9EF2DE0A83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0703" y="1498600"/>
              <a:ext cx="306389" cy="242887"/>
            </a:xfrm>
            <a:custGeom>
              <a:avLst/>
              <a:gdLst>
                <a:gd name="T0" fmla="*/ 59 w 131"/>
                <a:gd name="T1" fmla="*/ 16 h 104"/>
                <a:gd name="T2" fmla="*/ 69 w 131"/>
                <a:gd name="T3" fmla="*/ 17 h 104"/>
                <a:gd name="T4" fmla="*/ 73 w 131"/>
                <a:gd name="T5" fmla="*/ 3 h 104"/>
                <a:gd name="T6" fmla="*/ 82 w 131"/>
                <a:gd name="T7" fmla="*/ 5 h 104"/>
                <a:gd name="T8" fmla="*/ 91 w 131"/>
                <a:gd name="T9" fmla="*/ 26 h 104"/>
                <a:gd name="T10" fmla="*/ 94 w 131"/>
                <a:gd name="T11" fmla="*/ 33 h 104"/>
                <a:gd name="T12" fmla="*/ 104 w 131"/>
                <a:gd name="T13" fmla="*/ 41 h 104"/>
                <a:gd name="T14" fmla="*/ 119 w 131"/>
                <a:gd name="T15" fmla="*/ 41 h 104"/>
                <a:gd name="T16" fmla="*/ 118 w 131"/>
                <a:gd name="T17" fmla="*/ 51 h 104"/>
                <a:gd name="T18" fmla="*/ 110 w 131"/>
                <a:gd name="T19" fmla="*/ 57 h 104"/>
                <a:gd name="T20" fmla="*/ 108 w 131"/>
                <a:gd name="T21" fmla="*/ 66 h 104"/>
                <a:gd name="T22" fmla="*/ 118 w 131"/>
                <a:gd name="T23" fmla="*/ 70 h 104"/>
                <a:gd name="T24" fmla="*/ 129 w 131"/>
                <a:gd name="T25" fmla="*/ 69 h 104"/>
                <a:gd name="T26" fmla="*/ 130 w 131"/>
                <a:gd name="T27" fmla="*/ 84 h 104"/>
                <a:gd name="T28" fmla="*/ 110 w 131"/>
                <a:gd name="T29" fmla="*/ 101 h 104"/>
                <a:gd name="T30" fmla="*/ 95 w 131"/>
                <a:gd name="T31" fmla="*/ 95 h 104"/>
                <a:gd name="T32" fmla="*/ 83 w 131"/>
                <a:gd name="T33" fmla="*/ 88 h 104"/>
                <a:gd name="T34" fmla="*/ 73 w 131"/>
                <a:gd name="T35" fmla="*/ 94 h 104"/>
                <a:gd name="T36" fmla="*/ 69 w 131"/>
                <a:gd name="T37" fmla="*/ 102 h 104"/>
                <a:gd name="T38" fmla="*/ 53 w 131"/>
                <a:gd name="T39" fmla="*/ 95 h 104"/>
                <a:gd name="T40" fmla="*/ 45 w 131"/>
                <a:gd name="T41" fmla="*/ 89 h 104"/>
                <a:gd name="T42" fmla="*/ 37 w 131"/>
                <a:gd name="T43" fmla="*/ 95 h 104"/>
                <a:gd name="T44" fmla="*/ 19 w 131"/>
                <a:gd name="T45" fmla="*/ 93 h 104"/>
                <a:gd name="T46" fmla="*/ 7 w 131"/>
                <a:gd name="T47" fmla="*/ 80 h 104"/>
                <a:gd name="T48" fmla="*/ 3 w 131"/>
                <a:gd name="T49" fmla="*/ 70 h 104"/>
                <a:gd name="T50" fmla="*/ 14 w 131"/>
                <a:gd name="T51" fmla="*/ 60 h 104"/>
                <a:gd name="T52" fmla="*/ 11 w 131"/>
                <a:gd name="T53" fmla="*/ 51 h 104"/>
                <a:gd name="T54" fmla="*/ 9 w 131"/>
                <a:gd name="T55" fmla="*/ 41 h 104"/>
                <a:gd name="T56" fmla="*/ 11 w 131"/>
                <a:gd name="T57" fmla="*/ 32 h 104"/>
                <a:gd name="T58" fmla="*/ 24 w 131"/>
                <a:gd name="T59" fmla="*/ 24 h 104"/>
                <a:gd name="T60" fmla="*/ 35 w 131"/>
                <a:gd name="T61" fmla="*/ 17 h 104"/>
                <a:gd name="T62" fmla="*/ 49 w 131"/>
                <a:gd name="T63" fmla="*/ 6 h 104"/>
                <a:gd name="T64" fmla="*/ 51 w 131"/>
                <a:gd name="T65" fmla="*/ 10 h 104"/>
                <a:gd name="T66" fmla="*/ 59 w 131"/>
                <a:gd name="T67" fmla="*/ 1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1" h="104">
                  <a:moveTo>
                    <a:pt x="59" y="16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81" y="0"/>
                    <a:pt x="82" y="5"/>
                  </a:cubicBezTo>
                  <a:cubicBezTo>
                    <a:pt x="83" y="9"/>
                    <a:pt x="91" y="26"/>
                    <a:pt x="91" y="26"/>
                  </a:cubicBezTo>
                  <a:cubicBezTo>
                    <a:pt x="91" y="26"/>
                    <a:pt x="91" y="29"/>
                    <a:pt x="94" y="33"/>
                  </a:cubicBezTo>
                  <a:cubicBezTo>
                    <a:pt x="97" y="37"/>
                    <a:pt x="104" y="41"/>
                    <a:pt x="104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1" y="51"/>
                    <a:pt x="118" y="51"/>
                  </a:cubicBezTo>
                  <a:cubicBezTo>
                    <a:pt x="115" y="52"/>
                    <a:pt x="112" y="49"/>
                    <a:pt x="110" y="57"/>
                  </a:cubicBezTo>
                  <a:cubicBezTo>
                    <a:pt x="108" y="66"/>
                    <a:pt x="106" y="63"/>
                    <a:pt x="108" y="66"/>
                  </a:cubicBezTo>
                  <a:cubicBezTo>
                    <a:pt x="110" y="69"/>
                    <a:pt x="118" y="70"/>
                    <a:pt x="118" y="70"/>
                  </a:cubicBezTo>
                  <a:cubicBezTo>
                    <a:pt x="118" y="70"/>
                    <a:pt x="129" y="67"/>
                    <a:pt x="129" y="69"/>
                  </a:cubicBezTo>
                  <a:cubicBezTo>
                    <a:pt x="130" y="71"/>
                    <a:pt x="131" y="79"/>
                    <a:pt x="130" y="84"/>
                  </a:cubicBezTo>
                  <a:cubicBezTo>
                    <a:pt x="129" y="89"/>
                    <a:pt x="113" y="99"/>
                    <a:pt x="110" y="101"/>
                  </a:cubicBezTo>
                  <a:cubicBezTo>
                    <a:pt x="107" y="104"/>
                    <a:pt x="95" y="95"/>
                    <a:pt x="95" y="95"/>
                  </a:cubicBezTo>
                  <a:cubicBezTo>
                    <a:pt x="95" y="95"/>
                    <a:pt x="87" y="87"/>
                    <a:pt x="83" y="88"/>
                  </a:cubicBezTo>
                  <a:cubicBezTo>
                    <a:pt x="78" y="89"/>
                    <a:pt x="73" y="92"/>
                    <a:pt x="73" y="94"/>
                  </a:cubicBezTo>
                  <a:cubicBezTo>
                    <a:pt x="73" y="96"/>
                    <a:pt x="69" y="102"/>
                    <a:pt x="69" y="102"/>
                  </a:cubicBezTo>
                  <a:cubicBezTo>
                    <a:pt x="69" y="102"/>
                    <a:pt x="55" y="98"/>
                    <a:pt x="53" y="95"/>
                  </a:cubicBezTo>
                  <a:cubicBezTo>
                    <a:pt x="51" y="93"/>
                    <a:pt x="48" y="87"/>
                    <a:pt x="45" y="89"/>
                  </a:cubicBezTo>
                  <a:cubicBezTo>
                    <a:pt x="43" y="90"/>
                    <a:pt x="40" y="93"/>
                    <a:pt x="37" y="95"/>
                  </a:cubicBezTo>
                  <a:cubicBezTo>
                    <a:pt x="35" y="97"/>
                    <a:pt x="19" y="93"/>
                    <a:pt x="19" y="93"/>
                  </a:cubicBezTo>
                  <a:cubicBezTo>
                    <a:pt x="19" y="93"/>
                    <a:pt x="7" y="83"/>
                    <a:pt x="7" y="80"/>
                  </a:cubicBezTo>
                  <a:cubicBezTo>
                    <a:pt x="7" y="77"/>
                    <a:pt x="0" y="74"/>
                    <a:pt x="3" y="70"/>
                  </a:cubicBezTo>
                  <a:cubicBezTo>
                    <a:pt x="5" y="66"/>
                    <a:pt x="14" y="60"/>
                    <a:pt x="14" y="60"/>
                  </a:cubicBezTo>
                  <a:cubicBezTo>
                    <a:pt x="14" y="60"/>
                    <a:pt x="11" y="55"/>
                    <a:pt x="11" y="51"/>
                  </a:cubicBezTo>
                  <a:cubicBezTo>
                    <a:pt x="10" y="47"/>
                    <a:pt x="9" y="41"/>
                    <a:pt x="9" y="41"/>
                  </a:cubicBezTo>
                  <a:cubicBezTo>
                    <a:pt x="9" y="41"/>
                    <a:pt x="7" y="37"/>
                    <a:pt x="11" y="32"/>
                  </a:cubicBezTo>
                  <a:cubicBezTo>
                    <a:pt x="16" y="27"/>
                    <a:pt x="21" y="25"/>
                    <a:pt x="24" y="24"/>
                  </a:cubicBezTo>
                  <a:cubicBezTo>
                    <a:pt x="27" y="23"/>
                    <a:pt x="33" y="19"/>
                    <a:pt x="35" y="17"/>
                  </a:cubicBezTo>
                  <a:cubicBezTo>
                    <a:pt x="37" y="15"/>
                    <a:pt x="49" y="6"/>
                    <a:pt x="49" y="6"/>
                  </a:cubicBezTo>
                  <a:cubicBezTo>
                    <a:pt x="49" y="6"/>
                    <a:pt x="50" y="5"/>
                    <a:pt x="51" y="10"/>
                  </a:cubicBezTo>
                  <a:cubicBezTo>
                    <a:pt x="53" y="15"/>
                    <a:pt x="59" y="16"/>
                    <a:pt x="59" y="1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25">
              <a:extLst>
                <a:ext uri="{FF2B5EF4-FFF2-40B4-BE49-F238E27FC236}">
                  <a16:creationId xmlns:a16="http://schemas.microsoft.com/office/drawing/2014/main" id="{1306D55C-90FD-46E6-81A5-3D88004AF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3175" y="1179513"/>
              <a:ext cx="195263" cy="174625"/>
            </a:xfrm>
            <a:custGeom>
              <a:avLst/>
              <a:gdLst>
                <a:gd name="T0" fmla="*/ 3 w 84"/>
                <a:gd name="T1" fmla="*/ 0 h 75"/>
                <a:gd name="T2" fmla="*/ 13 w 84"/>
                <a:gd name="T3" fmla="*/ 1 h 75"/>
                <a:gd name="T4" fmla="*/ 22 w 84"/>
                <a:gd name="T5" fmla="*/ 5 h 75"/>
                <a:gd name="T6" fmla="*/ 30 w 84"/>
                <a:gd name="T7" fmla="*/ 10 h 75"/>
                <a:gd name="T8" fmla="*/ 39 w 84"/>
                <a:gd name="T9" fmla="*/ 14 h 75"/>
                <a:gd name="T10" fmla="*/ 47 w 84"/>
                <a:gd name="T11" fmla="*/ 20 h 75"/>
                <a:gd name="T12" fmla="*/ 56 w 84"/>
                <a:gd name="T13" fmla="*/ 25 h 75"/>
                <a:gd name="T14" fmla="*/ 65 w 84"/>
                <a:gd name="T15" fmla="*/ 22 h 75"/>
                <a:gd name="T16" fmla="*/ 68 w 84"/>
                <a:gd name="T17" fmla="*/ 13 h 75"/>
                <a:gd name="T18" fmla="*/ 72 w 84"/>
                <a:gd name="T19" fmla="*/ 11 h 75"/>
                <a:gd name="T20" fmla="*/ 78 w 84"/>
                <a:gd name="T21" fmla="*/ 22 h 75"/>
                <a:gd name="T22" fmla="*/ 84 w 84"/>
                <a:gd name="T23" fmla="*/ 38 h 75"/>
                <a:gd name="T24" fmla="*/ 84 w 84"/>
                <a:gd name="T25" fmla="*/ 51 h 75"/>
                <a:gd name="T26" fmla="*/ 71 w 84"/>
                <a:gd name="T27" fmla="*/ 60 h 75"/>
                <a:gd name="T28" fmla="*/ 61 w 84"/>
                <a:gd name="T29" fmla="*/ 64 h 75"/>
                <a:gd name="T30" fmla="*/ 52 w 84"/>
                <a:gd name="T31" fmla="*/ 60 h 75"/>
                <a:gd name="T32" fmla="*/ 48 w 84"/>
                <a:gd name="T33" fmla="*/ 68 h 75"/>
                <a:gd name="T34" fmla="*/ 47 w 84"/>
                <a:gd name="T35" fmla="*/ 75 h 75"/>
                <a:gd name="T36" fmla="*/ 37 w 84"/>
                <a:gd name="T37" fmla="*/ 64 h 75"/>
                <a:gd name="T38" fmla="*/ 25 w 84"/>
                <a:gd name="T39" fmla="*/ 60 h 75"/>
                <a:gd name="T40" fmla="*/ 19 w 84"/>
                <a:gd name="T41" fmla="*/ 52 h 75"/>
                <a:gd name="T42" fmla="*/ 16 w 84"/>
                <a:gd name="T43" fmla="*/ 44 h 75"/>
                <a:gd name="T44" fmla="*/ 15 w 84"/>
                <a:gd name="T45" fmla="*/ 30 h 75"/>
                <a:gd name="T46" fmla="*/ 6 w 84"/>
                <a:gd name="T47" fmla="*/ 22 h 75"/>
                <a:gd name="T48" fmla="*/ 1 w 84"/>
                <a:gd name="T49" fmla="*/ 19 h 75"/>
                <a:gd name="T50" fmla="*/ 3 w 84"/>
                <a:gd name="T51" fmla="*/ 2 h 75"/>
                <a:gd name="T52" fmla="*/ 3 w 84"/>
                <a:gd name="T5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75">
                  <a:moveTo>
                    <a:pt x="3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22" y="4"/>
                    <a:pt x="22" y="5"/>
                  </a:cubicBezTo>
                  <a:cubicBezTo>
                    <a:pt x="22" y="6"/>
                    <a:pt x="29" y="10"/>
                    <a:pt x="30" y="10"/>
                  </a:cubicBezTo>
                  <a:cubicBezTo>
                    <a:pt x="31" y="11"/>
                    <a:pt x="38" y="12"/>
                    <a:pt x="39" y="14"/>
                  </a:cubicBezTo>
                  <a:cubicBezTo>
                    <a:pt x="41" y="16"/>
                    <a:pt x="47" y="20"/>
                    <a:pt x="47" y="20"/>
                  </a:cubicBezTo>
                  <a:cubicBezTo>
                    <a:pt x="47" y="20"/>
                    <a:pt x="54" y="25"/>
                    <a:pt x="56" y="25"/>
                  </a:cubicBezTo>
                  <a:cubicBezTo>
                    <a:pt x="58" y="25"/>
                    <a:pt x="65" y="24"/>
                    <a:pt x="65" y="22"/>
                  </a:cubicBezTo>
                  <a:cubicBezTo>
                    <a:pt x="65" y="21"/>
                    <a:pt x="68" y="13"/>
                    <a:pt x="68" y="13"/>
                  </a:cubicBezTo>
                  <a:cubicBezTo>
                    <a:pt x="68" y="13"/>
                    <a:pt x="70" y="7"/>
                    <a:pt x="72" y="11"/>
                  </a:cubicBezTo>
                  <a:cubicBezTo>
                    <a:pt x="73" y="14"/>
                    <a:pt x="78" y="20"/>
                    <a:pt x="78" y="22"/>
                  </a:cubicBezTo>
                  <a:cubicBezTo>
                    <a:pt x="79" y="24"/>
                    <a:pt x="84" y="36"/>
                    <a:pt x="84" y="38"/>
                  </a:cubicBezTo>
                  <a:cubicBezTo>
                    <a:pt x="84" y="39"/>
                    <a:pt x="84" y="51"/>
                    <a:pt x="84" y="51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62" y="64"/>
                    <a:pt x="61" y="64"/>
                  </a:cubicBezTo>
                  <a:cubicBezTo>
                    <a:pt x="60" y="65"/>
                    <a:pt x="54" y="58"/>
                    <a:pt x="52" y="60"/>
                  </a:cubicBezTo>
                  <a:cubicBezTo>
                    <a:pt x="50" y="62"/>
                    <a:pt x="48" y="64"/>
                    <a:pt x="48" y="68"/>
                  </a:cubicBezTo>
                  <a:cubicBezTo>
                    <a:pt x="48" y="72"/>
                    <a:pt x="47" y="75"/>
                    <a:pt x="47" y="75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26" y="60"/>
                    <a:pt x="25" y="60"/>
                  </a:cubicBezTo>
                  <a:cubicBezTo>
                    <a:pt x="24" y="59"/>
                    <a:pt x="19" y="52"/>
                    <a:pt x="19" y="52"/>
                  </a:cubicBezTo>
                  <a:cubicBezTo>
                    <a:pt x="19" y="52"/>
                    <a:pt x="15" y="47"/>
                    <a:pt x="16" y="44"/>
                  </a:cubicBezTo>
                  <a:cubicBezTo>
                    <a:pt x="17" y="41"/>
                    <a:pt x="17" y="32"/>
                    <a:pt x="15" y="30"/>
                  </a:cubicBezTo>
                  <a:cubicBezTo>
                    <a:pt x="13" y="29"/>
                    <a:pt x="8" y="22"/>
                    <a:pt x="6" y="22"/>
                  </a:cubicBezTo>
                  <a:cubicBezTo>
                    <a:pt x="4" y="22"/>
                    <a:pt x="0" y="20"/>
                    <a:pt x="1" y="19"/>
                  </a:cubicBezTo>
                  <a:cubicBezTo>
                    <a:pt x="2" y="18"/>
                    <a:pt x="3" y="2"/>
                    <a:pt x="3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80B06D-0B59-4283-BCF9-79007F3A00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50250910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F9D9550D-A254-475F-8AB6-0373616446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6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9D9550D-A254-475F-8AB6-037361644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320CAE-4DDD-4595-9A80-D2D7D6E3CE9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Österrei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22BEF4-A8C3-4687-AC08-CA1BC4F925F7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6D71D19E-52AB-4685-BA8A-18D297BFBEC9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AAD47D-58B4-49FD-8AA8-03049E1F99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69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3059408-7ACC-4F07-AE20-E1B171E6495D}"/>
              </a:ext>
            </a:extLst>
          </p:cNvPr>
          <p:cNvGrpSpPr>
            <a:grpSpLocks/>
          </p:cNvGrpSpPr>
          <p:nvPr/>
        </p:nvGrpSpPr>
        <p:grpSpPr bwMode="gray">
          <a:xfrm>
            <a:off x="2796541" y="1925110"/>
            <a:ext cx="6598920" cy="3470518"/>
            <a:chOff x="2286028" y="1425321"/>
            <a:chExt cx="7619066" cy="4007034"/>
          </a:xfrm>
          <a:solidFill>
            <a:schemeClr val="bg2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B2B8D72-33F1-4C48-A7E2-4EA90F186A12}"/>
                </a:ext>
              </a:extLst>
            </p:cNvPr>
            <p:cNvSpPr/>
            <p:nvPr/>
          </p:nvSpPr>
          <p:spPr bwMode="gray">
            <a:xfrm>
              <a:off x="8836999" y="2594886"/>
              <a:ext cx="1068095" cy="2038130"/>
            </a:xfrm>
            <a:custGeom>
              <a:avLst/>
              <a:gdLst>
                <a:gd name="connsiteX0" fmla="*/ 964654 w 1068095"/>
                <a:gd name="connsiteY0" fmla="*/ 295 h 2038130"/>
                <a:gd name="connsiteX1" fmla="*/ 937527 w 1068095"/>
                <a:gd name="connsiteY1" fmla="*/ 27403 h 2038130"/>
                <a:gd name="connsiteX2" fmla="*/ 911428 w 1068095"/>
                <a:gd name="connsiteY2" fmla="*/ 53502 h 2038130"/>
                <a:gd name="connsiteX3" fmla="*/ 901398 w 1068095"/>
                <a:gd name="connsiteY3" fmla="*/ 41453 h 2038130"/>
                <a:gd name="connsiteX4" fmla="*/ 857231 w 1068095"/>
                <a:gd name="connsiteY4" fmla="*/ 57521 h 2038130"/>
                <a:gd name="connsiteX5" fmla="*/ 869271 w 1068095"/>
                <a:gd name="connsiteY5" fmla="*/ 91649 h 2038130"/>
                <a:gd name="connsiteX6" fmla="*/ 867280 w 1068095"/>
                <a:gd name="connsiteY6" fmla="*/ 123768 h 2038130"/>
                <a:gd name="connsiteX7" fmla="*/ 855222 w 1068095"/>
                <a:gd name="connsiteY7" fmla="*/ 139846 h 2038130"/>
                <a:gd name="connsiteX8" fmla="*/ 833142 w 1068095"/>
                <a:gd name="connsiteY8" fmla="*/ 123768 h 2038130"/>
                <a:gd name="connsiteX9" fmla="*/ 792995 w 1068095"/>
                <a:gd name="connsiteY9" fmla="*/ 95660 h 2038130"/>
                <a:gd name="connsiteX10" fmla="*/ 758857 w 1068095"/>
                <a:gd name="connsiteY10" fmla="*/ 95660 h 2038130"/>
                <a:gd name="connsiteX11" fmla="*/ 726748 w 1068095"/>
                <a:gd name="connsiteY11" fmla="*/ 123768 h 2038130"/>
                <a:gd name="connsiteX12" fmla="*/ 702659 w 1068095"/>
                <a:gd name="connsiteY12" fmla="*/ 157896 h 2038130"/>
                <a:gd name="connsiteX13" fmla="*/ 660483 w 1068095"/>
                <a:gd name="connsiteY13" fmla="*/ 181994 h 2038130"/>
                <a:gd name="connsiteX14" fmla="*/ 622345 w 1068095"/>
                <a:gd name="connsiteY14" fmla="*/ 198063 h 2038130"/>
                <a:gd name="connsiteX15" fmla="*/ 592227 w 1068095"/>
                <a:gd name="connsiteY15" fmla="*/ 214141 h 2038130"/>
                <a:gd name="connsiteX16" fmla="*/ 590217 w 1068095"/>
                <a:gd name="connsiteY16" fmla="*/ 258309 h 2038130"/>
                <a:gd name="connsiteX17" fmla="*/ 582178 w 1068095"/>
                <a:gd name="connsiteY17" fmla="*/ 282407 h 2038130"/>
                <a:gd name="connsiteX18" fmla="*/ 552060 w 1068095"/>
                <a:gd name="connsiteY18" fmla="*/ 298475 h 2038130"/>
                <a:gd name="connsiteX19" fmla="*/ 525961 w 1068095"/>
                <a:gd name="connsiteY19" fmla="*/ 310534 h 2038130"/>
                <a:gd name="connsiteX20" fmla="*/ 525961 w 1068095"/>
                <a:gd name="connsiteY20" fmla="*/ 344662 h 2038130"/>
                <a:gd name="connsiteX21" fmla="*/ 505911 w 1068095"/>
                <a:gd name="connsiteY21" fmla="*/ 362721 h 2038130"/>
                <a:gd name="connsiteX22" fmla="*/ 477803 w 1068095"/>
                <a:gd name="connsiteY22" fmla="*/ 384801 h 2038130"/>
                <a:gd name="connsiteX23" fmla="*/ 457715 w 1068095"/>
                <a:gd name="connsiteY23" fmla="*/ 364731 h 2038130"/>
                <a:gd name="connsiteX24" fmla="*/ 419576 w 1068095"/>
                <a:gd name="connsiteY24" fmla="*/ 340643 h 2038130"/>
                <a:gd name="connsiteX25" fmla="*/ 395507 w 1068095"/>
                <a:gd name="connsiteY25" fmla="*/ 348672 h 2038130"/>
                <a:gd name="connsiteX26" fmla="*/ 345300 w 1068095"/>
                <a:gd name="connsiteY26" fmla="*/ 358702 h 2038130"/>
                <a:gd name="connsiteX27" fmla="*/ 317211 w 1068095"/>
                <a:gd name="connsiteY27" fmla="*/ 382800 h 2038130"/>
                <a:gd name="connsiteX28" fmla="*/ 303143 w 1068095"/>
                <a:gd name="connsiteY28" fmla="*/ 402869 h 2038130"/>
                <a:gd name="connsiteX29" fmla="*/ 275054 w 1068095"/>
                <a:gd name="connsiteY29" fmla="*/ 443027 h 2038130"/>
                <a:gd name="connsiteX30" fmla="*/ 281064 w 1068095"/>
                <a:gd name="connsiteY30" fmla="*/ 475145 h 2038130"/>
                <a:gd name="connsiteX31" fmla="*/ 287093 w 1068095"/>
                <a:gd name="connsiteY31" fmla="*/ 513293 h 2038130"/>
                <a:gd name="connsiteX32" fmla="*/ 269034 w 1068095"/>
                <a:gd name="connsiteY32" fmla="*/ 543411 h 2038130"/>
                <a:gd name="connsiteX33" fmla="*/ 269034 w 1068095"/>
                <a:gd name="connsiteY33" fmla="*/ 571500 h 2038130"/>
                <a:gd name="connsiteX34" fmla="*/ 242935 w 1068095"/>
                <a:gd name="connsiteY34" fmla="*/ 567481 h 2038130"/>
                <a:gd name="connsiteX35" fmla="*/ 218847 w 1068095"/>
                <a:gd name="connsiteY35" fmla="*/ 589559 h 2038130"/>
                <a:gd name="connsiteX36" fmla="*/ 218847 w 1068095"/>
                <a:gd name="connsiteY36" fmla="*/ 635746 h 2038130"/>
                <a:gd name="connsiteX37" fmla="*/ 226886 w 1068095"/>
                <a:gd name="connsiteY37" fmla="*/ 669874 h 2038130"/>
                <a:gd name="connsiteX38" fmla="*/ 232915 w 1068095"/>
                <a:gd name="connsiteY38" fmla="*/ 687934 h 2038130"/>
                <a:gd name="connsiteX39" fmla="*/ 250974 w 1068095"/>
                <a:gd name="connsiteY39" fmla="*/ 716042 h 2038130"/>
                <a:gd name="connsiteX40" fmla="*/ 273035 w 1068095"/>
                <a:gd name="connsiteY40" fmla="*/ 734101 h 2038130"/>
                <a:gd name="connsiteX41" fmla="*/ 307172 w 1068095"/>
                <a:gd name="connsiteY41" fmla="*/ 768229 h 2038130"/>
                <a:gd name="connsiteX42" fmla="*/ 321221 w 1068095"/>
                <a:gd name="connsiteY42" fmla="*/ 786298 h 2038130"/>
                <a:gd name="connsiteX43" fmla="*/ 323231 w 1068095"/>
                <a:gd name="connsiteY43" fmla="*/ 808368 h 2038130"/>
                <a:gd name="connsiteX44" fmla="*/ 305172 w 1068095"/>
                <a:gd name="connsiteY44" fmla="*/ 830447 h 2038130"/>
                <a:gd name="connsiteX45" fmla="*/ 305172 w 1068095"/>
                <a:gd name="connsiteY45" fmla="*/ 854535 h 2038130"/>
                <a:gd name="connsiteX46" fmla="*/ 297152 w 1068095"/>
                <a:gd name="connsiteY46" fmla="*/ 876605 h 2038130"/>
                <a:gd name="connsiteX47" fmla="*/ 277063 w 1068095"/>
                <a:gd name="connsiteY47" fmla="*/ 892673 h 2038130"/>
                <a:gd name="connsiteX48" fmla="*/ 273044 w 1068095"/>
                <a:gd name="connsiteY48" fmla="*/ 916753 h 2038130"/>
                <a:gd name="connsiteX49" fmla="*/ 275054 w 1068095"/>
                <a:gd name="connsiteY49" fmla="*/ 956920 h 2038130"/>
                <a:gd name="connsiteX50" fmla="*/ 307181 w 1068095"/>
                <a:gd name="connsiteY50" fmla="*/ 989048 h 2038130"/>
                <a:gd name="connsiteX51" fmla="*/ 295123 w 1068095"/>
                <a:gd name="connsiteY51" fmla="*/ 1021156 h 2038130"/>
                <a:gd name="connsiteX52" fmla="*/ 267015 w 1068095"/>
                <a:gd name="connsiteY52" fmla="*/ 1053265 h 2038130"/>
                <a:gd name="connsiteX53" fmla="*/ 234906 w 1068095"/>
                <a:gd name="connsiteY53" fmla="*/ 1079364 h 2038130"/>
                <a:gd name="connsiteX54" fmla="*/ 200768 w 1068095"/>
                <a:gd name="connsiteY54" fmla="*/ 1109482 h 2038130"/>
                <a:gd name="connsiteX55" fmla="*/ 162630 w 1068095"/>
                <a:gd name="connsiteY55" fmla="*/ 1113501 h 2038130"/>
                <a:gd name="connsiteX56" fmla="*/ 116434 w 1068095"/>
                <a:gd name="connsiteY56" fmla="*/ 1117521 h 2038130"/>
                <a:gd name="connsiteX57" fmla="*/ 118443 w 1068095"/>
                <a:gd name="connsiteY57" fmla="*/ 1119530 h 2038130"/>
                <a:gd name="connsiteX58" fmla="*/ 90354 w 1068095"/>
                <a:gd name="connsiteY58" fmla="*/ 1165708 h 2038130"/>
                <a:gd name="connsiteX59" fmla="*/ 60217 w 1068095"/>
                <a:gd name="connsiteY59" fmla="*/ 1207894 h 2038130"/>
                <a:gd name="connsiteX60" fmla="*/ 38158 w 1068095"/>
                <a:gd name="connsiteY60" fmla="*/ 1163698 h 2038130"/>
                <a:gd name="connsiteX61" fmla="*/ 18088 w 1068095"/>
                <a:gd name="connsiteY61" fmla="*/ 1163698 h 2038130"/>
                <a:gd name="connsiteX62" fmla="*/ 18088 w 1068095"/>
                <a:gd name="connsiteY62" fmla="*/ 1179776 h 2038130"/>
                <a:gd name="connsiteX63" fmla="*/ 16078 w 1068095"/>
                <a:gd name="connsiteY63" fmla="*/ 1205875 h 2038130"/>
                <a:gd name="connsiteX64" fmla="*/ 0 w 1068095"/>
                <a:gd name="connsiteY64" fmla="*/ 1215904 h 2038130"/>
                <a:gd name="connsiteX65" fmla="*/ 14050 w 1068095"/>
                <a:gd name="connsiteY65" fmla="*/ 1260072 h 2038130"/>
                <a:gd name="connsiteX66" fmla="*/ 32128 w 1068095"/>
                <a:gd name="connsiteY66" fmla="*/ 1304258 h 2038130"/>
                <a:gd name="connsiteX67" fmla="*/ 44168 w 1068095"/>
                <a:gd name="connsiteY67" fmla="*/ 1338377 h 2038130"/>
                <a:gd name="connsiteX68" fmla="*/ 64256 w 1068095"/>
                <a:gd name="connsiteY68" fmla="*/ 1382554 h 2038130"/>
                <a:gd name="connsiteX69" fmla="*/ 72276 w 1068095"/>
                <a:gd name="connsiteY69" fmla="*/ 1428750 h 2038130"/>
                <a:gd name="connsiteX70" fmla="*/ 74286 w 1068095"/>
                <a:gd name="connsiteY70" fmla="*/ 1466888 h 2038130"/>
                <a:gd name="connsiteX71" fmla="*/ 90364 w 1068095"/>
                <a:gd name="connsiteY71" fmla="*/ 1494996 h 2038130"/>
                <a:gd name="connsiteX72" fmla="*/ 108423 w 1068095"/>
                <a:gd name="connsiteY72" fmla="*/ 1519085 h 2038130"/>
                <a:gd name="connsiteX73" fmla="*/ 110414 w 1068095"/>
                <a:gd name="connsiteY73" fmla="*/ 1541155 h 2038130"/>
                <a:gd name="connsiteX74" fmla="*/ 110414 w 1068095"/>
                <a:gd name="connsiteY74" fmla="*/ 1575292 h 2038130"/>
                <a:gd name="connsiteX75" fmla="*/ 98374 w 1068095"/>
                <a:gd name="connsiteY75" fmla="*/ 1621479 h 2038130"/>
                <a:gd name="connsiteX76" fmla="*/ 104385 w 1068095"/>
                <a:gd name="connsiteY76" fmla="*/ 1657626 h 2038130"/>
                <a:gd name="connsiteX77" fmla="*/ 136513 w 1068095"/>
                <a:gd name="connsiteY77" fmla="*/ 1691745 h 2038130"/>
                <a:gd name="connsiteX78" fmla="*/ 170650 w 1068095"/>
                <a:gd name="connsiteY78" fmla="*/ 1713814 h 2038130"/>
                <a:gd name="connsiteX79" fmla="*/ 168640 w 1068095"/>
                <a:gd name="connsiteY79" fmla="*/ 1753991 h 2038130"/>
                <a:gd name="connsiteX80" fmla="*/ 148552 w 1068095"/>
                <a:gd name="connsiteY80" fmla="*/ 1784080 h 2038130"/>
                <a:gd name="connsiteX81" fmla="*/ 126492 w 1068095"/>
                <a:gd name="connsiteY81" fmla="*/ 1824257 h 2038130"/>
                <a:gd name="connsiteX82" fmla="*/ 104413 w 1068095"/>
                <a:gd name="connsiteY82" fmla="*/ 1860385 h 2038130"/>
                <a:gd name="connsiteX83" fmla="*/ 88335 w 1068095"/>
                <a:gd name="connsiteY83" fmla="*/ 1892484 h 2038130"/>
                <a:gd name="connsiteX84" fmla="*/ 74266 w 1068095"/>
                <a:gd name="connsiteY84" fmla="*/ 1894503 h 2038130"/>
                <a:gd name="connsiteX85" fmla="*/ 44168 w 1068095"/>
                <a:gd name="connsiteY85" fmla="*/ 1918583 h 2038130"/>
                <a:gd name="connsiteX86" fmla="*/ 48168 w 1068095"/>
                <a:gd name="connsiteY86" fmla="*/ 1970780 h 2038130"/>
                <a:gd name="connsiteX87" fmla="*/ 62236 w 1068095"/>
                <a:gd name="connsiteY87" fmla="*/ 1990839 h 2038130"/>
                <a:gd name="connsiteX88" fmla="*/ 84315 w 1068095"/>
                <a:gd name="connsiteY88" fmla="*/ 2010927 h 2038130"/>
                <a:gd name="connsiteX89" fmla="*/ 84315 w 1068095"/>
                <a:gd name="connsiteY89" fmla="*/ 2035016 h 2038130"/>
                <a:gd name="connsiteX90" fmla="*/ 84315 w 1068095"/>
                <a:gd name="connsiteY90" fmla="*/ 2038131 h 2038130"/>
                <a:gd name="connsiteX91" fmla="*/ 106395 w 1068095"/>
                <a:gd name="connsiteY91" fmla="*/ 2022948 h 2038130"/>
                <a:gd name="connsiteX92" fmla="*/ 144552 w 1068095"/>
                <a:gd name="connsiteY92" fmla="*/ 1992830 h 2038130"/>
                <a:gd name="connsiteX93" fmla="*/ 182689 w 1068095"/>
                <a:gd name="connsiteY93" fmla="*/ 1982800 h 2038130"/>
                <a:gd name="connsiteX94" fmla="*/ 220847 w 1068095"/>
                <a:gd name="connsiteY94" fmla="*/ 1924574 h 2038130"/>
                <a:gd name="connsiteX95" fmla="*/ 240916 w 1068095"/>
                <a:gd name="connsiteY95" fmla="*/ 1898504 h 2038130"/>
                <a:gd name="connsiteX96" fmla="*/ 248955 w 1068095"/>
                <a:gd name="connsiteY96" fmla="*/ 1866376 h 2038130"/>
                <a:gd name="connsiteX97" fmla="*/ 285083 w 1068095"/>
                <a:gd name="connsiteY97" fmla="*/ 1862376 h 2038130"/>
                <a:gd name="connsiteX98" fmla="*/ 293123 w 1068095"/>
                <a:gd name="connsiteY98" fmla="*/ 1844297 h 2038130"/>
                <a:gd name="connsiteX99" fmla="*/ 301162 w 1068095"/>
                <a:gd name="connsiteY99" fmla="*/ 1818199 h 2038130"/>
                <a:gd name="connsiteX100" fmla="*/ 321231 w 1068095"/>
                <a:gd name="connsiteY100" fmla="*/ 1798139 h 2038130"/>
                <a:gd name="connsiteX101" fmla="*/ 329270 w 1068095"/>
                <a:gd name="connsiteY101" fmla="*/ 1774050 h 2038130"/>
                <a:gd name="connsiteX102" fmla="*/ 333290 w 1068095"/>
                <a:gd name="connsiteY102" fmla="*/ 1749962 h 2038130"/>
                <a:gd name="connsiteX103" fmla="*/ 347339 w 1068095"/>
                <a:gd name="connsiteY103" fmla="*/ 1762011 h 2038130"/>
                <a:gd name="connsiteX104" fmla="*/ 363417 w 1068095"/>
                <a:gd name="connsiteY104" fmla="*/ 1762011 h 2038130"/>
                <a:gd name="connsiteX105" fmla="*/ 397536 w 1068095"/>
                <a:gd name="connsiteY105" fmla="*/ 1747952 h 2038130"/>
                <a:gd name="connsiteX106" fmla="*/ 423634 w 1068095"/>
                <a:gd name="connsiteY106" fmla="*/ 1756001 h 2038130"/>
                <a:gd name="connsiteX107" fmla="*/ 447742 w 1068095"/>
                <a:gd name="connsiteY107" fmla="*/ 1741923 h 2038130"/>
                <a:gd name="connsiteX108" fmla="*/ 477841 w 1068095"/>
                <a:gd name="connsiteY108" fmla="*/ 1760001 h 2038130"/>
                <a:gd name="connsiteX109" fmla="*/ 495900 w 1068095"/>
                <a:gd name="connsiteY109" fmla="*/ 1745923 h 2038130"/>
                <a:gd name="connsiteX110" fmla="*/ 511979 w 1068095"/>
                <a:gd name="connsiteY110" fmla="*/ 1749952 h 2038130"/>
                <a:gd name="connsiteX111" fmla="*/ 550136 w 1068095"/>
                <a:gd name="connsiteY111" fmla="*/ 1747933 h 2038130"/>
                <a:gd name="connsiteX112" fmla="*/ 560165 w 1068095"/>
                <a:gd name="connsiteY112" fmla="*/ 1737903 h 2038130"/>
                <a:gd name="connsiteX113" fmla="*/ 550136 w 1068095"/>
                <a:gd name="connsiteY113" fmla="*/ 1723835 h 2038130"/>
                <a:gd name="connsiteX114" fmla="*/ 522027 w 1068095"/>
                <a:gd name="connsiteY114" fmla="*/ 1715814 h 2038130"/>
                <a:gd name="connsiteX115" fmla="*/ 487890 w 1068095"/>
                <a:gd name="connsiteY115" fmla="*/ 1715814 h 2038130"/>
                <a:gd name="connsiteX116" fmla="*/ 493919 w 1068095"/>
                <a:gd name="connsiteY116" fmla="*/ 1693735 h 2038130"/>
                <a:gd name="connsiteX117" fmla="*/ 544116 w 1068095"/>
                <a:gd name="connsiteY117" fmla="*/ 1671657 h 2038130"/>
                <a:gd name="connsiteX118" fmla="*/ 558165 w 1068095"/>
                <a:gd name="connsiteY118" fmla="*/ 1643558 h 2038130"/>
                <a:gd name="connsiteX119" fmla="*/ 528066 w 1068095"/>
                <a:gd name="connsiteY119" fmla="*/ 1643558 h 2038130"/>
                <a:gd name="connsiteX120" fmla="*/ 506006 w 1068095"/>
                <a:gd name="connsiteY120" fmla="*/ 1605410 h 2038130"/>
                <a:gd name="connsiteX121" fmla="*/ 524056 w 1068095"/>
                <a:gd name="connsiteY121" fmla="*/ 1585332 h 2038130"/>
                <a:gd name="connsiteX122" fmla="*/ 540135 w 1068095"/>
                <a:gd name="connsiteY122" fmla="*/ 1567272 h 2038130"/>
                <a:gd name="connsiteX123" fmla="*/ 552174 w 1068095"/>
                <a:gd name="connsiteY123" fmla="*/ 1559233 h 2038130"/>
                <a:gd name="connsiteX124" fmla="*/ 562223 w 1068095"/>
                <a:gd name="connsiteY124" fmla="*/ 1537154 h 2038130"/>
                <a:gd name="connsiteX125" fmla="*/ 548174 w 1068095"/>
                <a:gd name="connsiteY125" fmla="*/ 1519095 h 2038130"/>
                <a:gd name="connsiteX126" fmla="*/ 522075 w 1068095"/>
                <a:gd name="connsiteY126" fmla="*/ 1521104 h 2038130"/>
                <a:gd name="connsiteX127" fmla="*/ 485947 w 1068095"/>
                <a:gd name="connsiteY127" fmla="*/ 1547203 h 2038130"/>
                <a:gd name="connsiteX128" fmla="*/ 475898 w 1068095"/>
                <a:gd name="connsiteY128" fmla="*/ 1511056 h 2038130"/>
                <a:gd name="connsiteX129" fmla="*/ 487937 w 1068095"/>
                <a:gd name="connsiteY129" fmla="*/ 1494987 h 2038130"/>
                <a:gd name="connsiteX130" fmla="*/ 475898 w 1068095"/>
                <a:gd name="connsiteY130" fmla="*/ 1472918 h 2038130"/>
                <a:gd name="connsiteX131" fmla="*/ 459820 w 1068095"/>
                <a:gd name="connsiteY131" fmla="*/ 1472918 h 2038130"/>
                <a:gd name="connsiteX132" fmla="*/ 445770 w 1068095"/>
                <a:gd name="connsiteY132" fmla="*/ 1442799 h 2038130"/>
                <a:gd name="connsiteX133" fmla="*/ 459820 w 1068095"/>
                <a:gd name="connsiteY133" fmla="*/ 1420720 h 2038130"/>
                <a:gd name="connsiteX134" fmla="*/ 461829 w 1068095"/>
                <a:gd name="connsiteY134" fmla="*/ 1360484 h 2038130"/>
                <a:gd name="connsiteX135" fmla="*/ 459820 w 1068095"/>
                <a:gd name="connsiteY135" fmla="*/ 1322346 h 2038130"/>
                <a:gd name="connsiteX136" fmla="*/ 475898 w 1068095"/>
                <a:gd name="connsiteY136" fmla="*/ 1294238 h 2038130"/>
                <a:gd name="connsiteX137" fmla="*/ 473888 w 1068095"/>
                <a:gd name="connsiteY137" fmla="*/ 1244041 h 2038130"/>
                <a:gd name="connsiteX138" fmla="*/ 445780 w 1068095"/>
                <a:gd name="connsiteY138" fmla="*/ 1238012 h 2038130"/>
                <a:gd name="connsiteX139" fmla="*/ 451809 w 1068095"/>
                <a:gd name="connsiteY139" fmla="*/ 1181814 h 2038130"/>
                <a:gd name="connsiteX140" fmla="*/ 439750 w 1068095"/>
                <a:gd name="connsiteY140" fmla="*/ 1143657 h 2038130"/>
                <a:gd name="connsiteX141" fmla="*/ 449799 w 1068095"/>
                <a:gd name="connsiteY141" fmla="*/ 1123588 h 2038130"/>
                <a:gd name="connsiteX142" fmla="*/ 467859 w 1068095"/>
                <a:gd name="connsiteY142" fmla="*/ 1123588 h 2038130"/>
                <a:gd name="connsiteX143" fmla="*/ 495948 w 1068095"/>
                <a:gd name="connsiteY143" fmla="*/ 1151696 h 2038130"/>
                <a:gd name="connsiteX144" fmla="*/ 520037 w 1068095"/>
                <a:gd name="connsiteY144" fmla="*/ 1123588 h 2038130"/>
                <a:gd name="connsiteX145" fmla="*/ 566233 w 1068095"/>
                <a:gd name="connsiteY145" fmla="*/ 1121578 h 2038130"/>
                <a:gd name="connsiteX146" fmla="*/ 632479 w 1068095"/>
                <a:gd name="connsiteY146" fmla="*/ 1059361 h 2038130"/>
                <a:gd name="connsiteX147" fmla="*/ 656568 w 1068095"/>
                <a:gd name="connsiteY147" fmla="*/ 1029243 h 2038130"/>
                <a:gd name="connsiteX148" fmla="*/ 646519 w 1068095"/>
                <a:gd name="connsiteY148" fmla="*/ 1003144 h 2038130"/>
                <a:gd name="connsiteX149" fmla="*/ 638499 w 1068095"/>
                <a:gd name="connsiteY149" fmla="*/ 973026 h 2038130"/>
                <a:gd name="connsiteX150" fmla="*/ 666608 w 1068095"/>
                <a:gd name="connsiteY150" fmla="*/ 960968 h 2038130"/>
                <a:gd name="connsiteX151" fmla="*/ 688667 w 1068095"/>
                <a:gd name="connsiteY151" fmla="*/ 942908 h 2038130"/>
                <a:gd name="connsiteX152" fmla="*/ 686658 w 1068095"/>
                <a:gd name="connsiteY152" fmla="*/ 908790 h 2038130"/>
                <a:gd name="connsiteX153" fmla="*/ 642490 w 1068095"/>
                <a:gd name="connsiteY153" fmla="*/ 880682 h 2038130"/>
                <a:gd name="connsiteX154" fmla="*/ 638470 w 1068095"/>
                <a:gd name="connsiteY154" fmla="*/ 824475 h 2038130"/>
                <a:gd name="connsiteX155" fmla="*/ 598323 w 1068095"/>
                <a:gd name="connsiteY155" fmla="*/ 790346 h 2038130"/>
                <a:gd name="connsiteX156" fmla="*/ 564185 w 1068095"/>
                <a:gd name="connsiteY156" fmla="*/ 804405 h 2038130"/>
                <a:gd name="connsiteX157" fmla="*/ 485880 w 1068095"/>
                <a:gd name="connsiteY157" fmla="*/ 774287 h 2038130"/>
                <a:gd name="connsiteX158" fmla="*/ 457791 w 1068095"/>
                <a:gd name="connsiteY158" fmla="*/ 784336 h 2038130"/>
                <a:gd name="connsiteX159" fmla="*/ 387525 w 1068095"/>
                <a:gd name="connsiteY159" fmla="*/ 756237 h 2038130"/>
                <a:gd name="connsiteX160" fmla="*/ 407594 w 1068095"/>
                <a:gd name="connsiteY160" fmla="*/ 726119 h 2038130"/>
                <a:gd name="connsiteX161" fmla="*/ 433693 w 1068095"/>
                <a:gd name="connsiteY161" fmla="*/ 726119 h 2038130"/>
                <a:gd name="connsiteX162" fmla="*/ 453762 w 1068095"/>
                <a:gd name="connsiteY162" fmla="*/ 691991 h 2038130"/>
                <a:gd name="connsiteX163" fmla="*/ 501948 w 1068095"/>
                <a:gd name="connsiteY163" fmla="*/ 665893 h 2038130"/>
                <a:gd name="connsiteX164" fmla="*/ 487880 w 1068095"/>
                <a:gd name="connsiteY164" fmla="*/ 629755 h 2038130"/>
                <a:gd name="connsiteX165" fmla="*/ 497929 w 1068095"/>
                <a:gd name="connsiteY165" fmla="*/ 607676 h 2038130"/>
                <a:gd name="connsiteX166" fmla="*/ 542097 w 1068095"/>
                <a:gd name="connsiteY166" fmla="*/ 607676 h 2038130"/>
                <a:gd name="connsiteX167" fmla="*/ 574224 w 1068095"/>
                <a:gd name="connsiteY167" fmla="*/ 591607 h 2038130"/>
                <a:gd name="connsiteX168" fmla="*/ 606333 w 1068095"/>
                <a:gd name="connsiteY168" fmla="*/ 615696 h 2038130"/>
                <a:gd name="connsiteX169" fmla="*/ 640471 w 1068095"/>
                <a:gd name="connsiteY169" fmla="*/ 613696 h 2038130"/>
                <a:gd name="connsiteX170" fmla="*/ 646481 w 1068095"/>
                <a:gd name="connsiteY170" fmla="*/ 627755 h 2038130"/>
                <a:gd name="connsiteX171" fmla="*/ 664559 w 1068095"/>
                <a:gd name="connsiteY171" fmla="*/ 627755 h 2038130"/>
                <a:gd name="connsiteX172" fmla="*/ 680618 w 1068095"/>
                <a:gd name="connsiteY172" fmla="*/ 637785 h 2038130"/>
                <a:gd name="connsiteX173" fmla="*/ 692678 w 1068095"/>
                <a:gd name="connsiteY173" fmla="*/ 669903 h 2038130"/>
                <a:gd name="connsiteX174" fmla="*/ 718776 w 1068095"/>
                <a:gd name="connsiteY174" fmla="*/ 683971 h 2038130"/>
                <a:gd name="connsiteX175" fmla="*/ 793042 w 1068095"/>
                <a:gd name="connsiteY175" fmla="*/ 704040 h 2038130"/>
                <a:gd name="connsiteX176" fmla="*/ 817150 w 1068095"/>
                <a:gd name="connsiteY176" fmla="*/ 633774 h 2038130"/>
                <a:gd name="connsiteX177" fmla="*/ 841239 w 1068095"/>
                <a:gd name="connsiteY177" fmla="*/ 671922 h 2038130"/>
                <a:gd name="connsiteX178" fmla="*/ 983780 w 1068095"/>
                <a:gd name="connsiteY178" fmla="*/ 629755 h 2038130"/>
                <a:gd name="connsiteX179" fmla="*/ 1041988 w 1068095"/>
                <a:gd name="connsiteY179" fmla="*/ 627755 h 2038130"/>
                <a:gd name="connsiteX180" fmla="*/ 1017899 w 1068095"/>
                <a:gd name="connsiteY180" fmla="*/ 587607 h 2038130"/>
                <a:gd name="connsiteX181" fmla="*/ 1019909 w 1068095"/>
                <a:gd name="connsiteY181" fmla="*/ 527371 h 2038130"/>
                <a:gd name="connsiteX182" fmla="*/ 997830 w 1068095"/>
                <a:gd name="connsiteY182" fmla="*/ 503282 h 2038130"/>
                <a:gd name="connsiteX183" fmla="*/ 995820 w 1068095"/>
                <a:gd name="connsiteY183" fmla="*/ 485223 h 2038130"/>
                <a:gd name="connsiteX184" fmla="*/ 1005869 w 1068095"/>
                <a:gd name="connsiteY184" fmla="*/ 463144 h 2038130"/>
                <a:gd name="connsiteX185" fmla="*/ 993810 w 1068095"/>
                <a:gd name="connsiteY185" fmla="*/ 441074 h 2038130"/>
                <a:gd name="connsiteX186" fmla="*/ 943613 w 1068095"/>
                <a:gd name="connsiteY186" fmla="*/ 404946 h 2038130"/>
                <a:gd name="connsiteX187" fmla="*/ 943613 w 1068095"/>
                <a:gd name="connsiteY187" fmla="*/ 392878 h 2038130"/>
                <a:gd name="connsiteX188" fmla="*/ 989791 w 1068095"/>
                <a:gd name="connsiteY188" fmla="*/ 382848 h 2038130"/>
                <a:gd name="connsiteX189" fmla="*/ 1023928 w 1068095"/>
                <a:gd name="connsiteY189" fmla="*/ 342700 h 2038130"/>
                <a:gd name="connsiteX190" fmla="*/ 1019909 w 1068095"/>
                <a:gd name="connsiteY190" fmla="*/ 280464 h 2038130"/>
                <a:gd name="connsiteX191" fmla="*/ 1029938 w 1068095"/>
                <a:gd name="connsiteY191" fmla="*/ 246336 h 2038130"/>
                <a:gd name="connsiteX192" fmla="*/ 1021899 w 1068095"/>
                <a:gd name="connsiteY192" fmla="*/ 224257 h 2038130"/>
                <a:gd name="connsiteX193" fmla="*/ 1068096 w 1068095"/>
                <a:gd name="connsiteY193" fmla="*/ 158001 h 2038130"/>
                <a:gd name="connsiteX194" fmla="*/ 1052017 w 1068095"/>
                <a:gd name="connsiteY194" fmla="*/ 137932 h 2038130"/>
                <a:gd name="connsiteX195" fmla="*/ 993810 w 1068095"/>
                <a:gd name="connsiteY195" fmla="*/ 135931 h 2038130"/>
                <a:gd name="connsiteX196" fmla="*/ 983780 w 1068095"/>
                <a:gd name="connsiteY196" fmla="*/ 89745 h 2038130"/>
                <a:gd name="connsiteX197" fmla="*/ 981770 w 1068095"/>
                <a:gd name="connsiteY197" fmla="*/ 43567 h 2038130"/>
                <a:gd name="connsiteX198" fmla="*/ 975741 w 1068095"/>
                <a:gd name="connsiteY198" fmla="*/ 13449 h 2038130"/>
                <a:gd name="connsiteX199" fmla="*/ 964825 w 1068095"/>
                <a:gd name="connsiteY199" fmla="*/ 0 h 203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068095" h="2038130">
                  <a:moveTo>
                    <a:pt x="964654" y="295"/>
                  </a:moveTo>
                  <a:lnTo>
                    <a:pt x="937527" y="27403"/>
                  </a:lnTo>
                  <a:lnTo>
                    <a:pt x="911428" y="53502"/>
                  </a:lnTo>
                  <a:lnTo>
                    <a:pt x="901398" y="41453"/>
                  </a:lnTo>
                  <a:lnTo>
                    <a:pt x="857231" y="57521"/>
                  </a:lnTo>
                  <a:lnTo>
                    <a:pt x="869271" y="91649"/>
                  </a:lnTo>
                  <a:lnTo>
                    <a:pt x="867280" y="123768"/>
                  </a:lnTo>
                  <a:lnTo>
                    <a:pt x="855222" y="139846"/>
                  </a:lnTo>
                  <a:lnTo>
                    <a:pt x="833142" y="123768"/>
                  </a:lnTo>
                  <a:lnTo>
                    <a:pt x="792995" y="95660"/>
                  </a:lnTo>
                  <a:lnTo>
                    <a:pt x="758857" y="95660"/>
                  </a:lnTo>
                  <a:lnTo>
                    <a:pt x="726748" y="123768"/>
                  </a:lnTo>
                  <a:lnTo>
                    <a:pt x="702659" y="157896"/>
                  </a:lnTo>
                  <a:lnTo>
                    <a:pt x="660483" y="181994"/>
                  </a:lnTo>
                  <a:lnTo>
                    <a:pt x="622345" y="198063"/>
                  </a:lnTo>
                  <a:lnTo>
                    <a:pt x="592227" y="214141"/>
                  </a:lnTo>
                  <a:lnTo>
                    <a:pt x="590217" y="258309"/>
                  </a:lnTo>
                  <a:lnTo>
                    <a:pt x="582178" y="282407"/>
                  </a:lnTo>
                  <a:lnTo>
                    <a:pt x="552060" y="298475"/>
                  </a:lnTo>
                  <a:lnTo>
                    <a:pt x="525961" y="310534"/>
                  </a:lnTo>
                  <a:lnTo>
                    <a:pt x="525961" y="344662"/>
                  </a:lnTo>
                  <a:lnTo>
                    <a:pt x="505911" y="362721"/>
                  </a:lnTo>
                  <a:lnTo>
                    <a:pt x="477803" y="384801"/>
                  </a:lnTo>
                  <a:lnTo>
                    <a:pt x="457715" y="364731"/>
                  </a:lnTo>
                  <a:lnTo>
                    <a:pt x="419576" y="340643"/>
                  </a:lnTo>
                  <a:lnTo>
                    <a:pt x="395507" y="348672"/>
                  </a:lnTo>
                  <a:lnTo>
                    <a:pt x="345300" y="358702"/>
                  </a:lnTo>
                  <a:lnTo>
                    <a:pt x="317211" y="382800"/>
                  </a:lnTo>
                  <a:lnTo>
                    <a:pt x="303143" y="402869"/>
                  </a:lnTo>
                  <a:lnTo>
                    <a:pt x="275054" y="443027"/>
                  </a:lnTo>
                  <a:lnTo>
                    <a:pt x="281064" y="475145"/>
                  </a:lnTo>
                  <a:lnTo>
                    <a:pt x="287093" y="513293"/>
                  </a:lnTo>
                  <a:lnTo>
                    <a:pt x="269034" y="543411"/>
                  </a:lnTo>
                  <a:lnTo>
                    <a:pt x="269034" y="571500"/>
                  </a:lnTo>
                  <a:lnTo>
                    <a:pt x="242935" y="567481"/>
                  </a:lnTo>
                  <a:lnTo>
                    <a:pt x="218847" y="589559"/>
                  </a:lnTo>
                  <a:lnTo>
                    <a:pt x="218847" y="635746"/>
                  </a:lnTo>
                  <a:lnTo>
                    <a:pt x="226886" y="669874"/>
                  </a:lnTo>
                  <a:lnTo>
                    <a:pt x="232915" y="687934"/>
                  </a:lnTo>
                  <a:lnTo>
                    <a:pt x="250974" y="716042"/>
                  </a:lnTo>
                  <a:lnTo>
                    <a:pt x="273035" y="734101"/>
                  </a:lnTo>
                  <a:lnTo>
                    <a:pt x="307172" y="768229"/>
                  </a:lnTo>
                  <a:lnTo>
                    <a:pt x="321221" y="786298"/>
                  </a:lnTo>
                  <a:lnTo>
                    <a:pt x="323231" y="808368"/>
                  </a:lnTo>
                  <a:lnTo>
                    <a:pt x="305172" y="830447"/>
                  </a:lnTo>
                  <a:lnTo>
                    <a:pt x="305172" y="854535"/>
                  </a:lnTo>
                  <a:lnTo>
                    <a:pt x="297152" y="876605"/>
                  </a:lnTo>
                  <a:lnTo>
                    <a:pt x="277063" y="892673"/>
                  </a:lnTo>
                  <a:lnTo>
                    <a:pt x="273044" y="916753"/>
                  </a:lnTo>
                  <a:lnTo>
                    <a:pt x="275054" y="956920"/>
                  </a:lnTo>
                  <a:lnTo>
                    <a:pt x="307181" y="989048"/>
                  </a:lnTo>
                  <a:lnTo>
                    <a:pt x="295123" y="1021156"/>
                  </a:lnTo>
                  <a:lnTo>
                    <a:pt x="267015" y="1053265"/>
                  </a:lnTo>
                  <a:lnTo>
                    <a:pt x="234906" y="1079364"/>
                  </a:lnTo>
                  <a:lnTo>
                    <a:pt x="200768" y="1109482"/>
                  </a:lnTo>
                  <a:lnTo>
                    <a:pt x="162630" y="1113501"/>
                  </a:lnTo>
                  <a:lnTo>
                    <a:pt x="116434" y="1117521"/>
                  </a:lnTo>
                  <a:lnTo>
                    <a:pt x="118443" y="1119530"/>
                  </a:lnTo>
                  <a:lnTo>
                    <a:pt x="90354" y="1165708"/>
                  </a:lnTo>
                  <a:lnTo>
                    <a:pt x="60217" y="1207894"/>
                  </a:lnTo>
                  <a:lnTo>
                    <a:pt x="38158" y="1163698"/>
                  </a:lnTo>
                  <a:lnTo>
                    <a:pt x="18088" y="1163698"/>
                  </a:lnTo>
                  <a:lnTo>
                    <a:pt x="18088" y="1179776"/>
                  </a:lnTo>
                  <a:lnTo>
                    <a:pt x="16078" y="1205875"/>
                  </a:lnTo>
                  <a:lnTo>
                    <a:pt x="0" y="1215904"/>
                  </a:lnTo>
                  <a:lnTo>
                    <a:pt x="14050" y="1260072"/>
                  </a:lnTo>
                  <a:lnTo>
                    <a:pt x="32128" y="1304258"/>
                  </a:lnTo>
                  <a:lnTo>
                    <a:pt x="44168" y="1338377"/>
                  </a:lnTo>
                  <a:lnTo>
                    <a:pt x="64256" y="1382554"/>
                  </a:lnTo>
                  <a:lnTo>
                    <a:pt x="72276" y="1428750"/>
                  </a:lnTo>
                  <a:lnTo>
                    <a:pt x="74286" y="1466888"/>
                  </a:lnTo>
                  <a:lnTo>
                    <a:pt x="90364" y="1494996"/>
                  </a:lnTo>
                  <a:lnTo>
                    <a:pt x="108423" y="1519085"/>
                  </a:lnTo>
                  <a:lnTo>
                    <a:pt x="110414" y="1541155"/>
                  </a:lnTo>
                  <a:lnTo>
                    <a:pt x="110414" y="1575292"/>
                  </a:lnTo>
                  <a:lnTo>
                    <a:pt x="98374" y="1621479"/>
                  </a:lnTo>
                  <a:lnTo>
                    <a:pt x="104385" y="1657626"/>
                  </a:lnTo>
                  <a:lnTo>
                    <a:pt x="136513" y="1691745"/>
                  </a:lnTo>
                  <a:lnTo>
                    <a:pt x="170650" y="1713814"/>
                  </a:lnTo>
                  <a:lnTo>
                    <a:pt x="168640" y="1753991"/>
                  </a:lnTo>
                  <a:lnTo>
                    <a:pt x="148552" y="1784080"/>
                  </a:lnTo>
                  <a:lnTo>
                    <a:pt x="126492" y="1824257"/>
                  </a:lnTo>
                  <a:lnTo>
                    <a:pt x="104413" y="1860385"/>
                  </a:lnTo>
                  <a:lnTo>
                    <a:pt x="88335" y="1892484"/>
                  </a:lnTo>
                  <a:lnTo>
                    <a:pt x="74266" y="1894503"/>
                  </a:lnTo>
                  <a:lnTo>
                    <a:pt x="44168" y="1918583"/>
                  </a:lnTo>
                  <a:lnTo>
                    <a:pt x="48168" y="1970780"/>
                  </a:lnTo>
                  <a:lnTo>
                    <a:pt x="62236" y="1990839"/>
                  </a:lnTo>
                  <a:lnTo>
                    <a:pt x="84315" y="2010927"/>
                  </a:lnTo>
                  <a:lnTo>
                    <a:pt x="84315" y="2035016"/>
                  </a:lnTo>
                  <a:lnTo>
                    <a:pt x="84315" y="2038131"/>
                  </a:lnTo>
                  <a:lnTo>
                    <a:pt x="106395" y="2022948"/>
                  </a:lnTo>
                  <a:lnTo>
                    <a:pt x="144552" y="1992830"/>
                  </a:lnTo>
                  <a:lnTo>
                    <a:pt x="182689" y="1982800"/>
                  </a:lnTo>
                  <a:lnTo>
                    <a:pt x="220847" y="1924574"/>
                  </a:lnTo>
                  <a:lnTo>
                    <a:pt x="240916" y="1898504"/>
                  </a:lnTo>
                  <a:lnTo>
                    <a:pt x="248955" y="1866376"/>
                  </a:lnTo>
                  <a:lnTo>
                    <a:pt x="285083" y="1862376"/>
                  </a:lnTo>
                  <a:lnTo>
                    <a:pt x="293123" y="1844297"/>
                  </a:lnTo>
                  <a:lnTo>
                    <a:pt x="301162" y="1818199"/>
                  </a:lnTo>
                  <a:lnTo>
                    <a:pt x="321231" y="1798139"/>
                  </a:lnTo>
                  <a:lnTo>
                    <a:pt x="329270" y="1774050"/>
                  </a:lnTo>
                  <a:lnTo>
                    <a:pt x="333290" y="1749962"/>
                  </a:lnTo>
                  <a:lnTo>
                    <a:pt x="347339" y="1762011"/>
                  </a:lnTo>
                  <a:lnTo>
                    <a:pt x="363417" y="1762011"/>
                  </a:lnTo>
                  <a:lnTo>
                    <a:pt x="397536" y="1747952"/>
                  </a:lnTo>
                  <a:lnTo>
                    <a:pt x="423634" y="1756001"/>
                  </a:lnTo>
                  <a:lnTo>
                    <a:pt x="447742" y="1741923"/>
                  </a:lnTo>
                  <a:lnTo>
                    <a:pt x="477841" y="1760001"/>
                  </a:lnTo>
                  <a:lnTo>
                    <a:pt x="495900" y="1745923"/>
                  </a:lnTo>
                  <a:lnTo>
                    <a:pt x="511979" y="1749952"/>
                  </a:lnTo>
                  <a:lnTo>
                    <a:pt x="550136" y="1747933"/>
                  </a:lnTo>
                  <a:lnTo>
                    <a:pt x="560165" y="1737903"/>
                  </a:lnTo>
                  <a:lnTo>
                    <a:pt x="550136" y="1723835"/>
                  </a:lnTo>
                  <a:lnTo>
                    <a:pt x="522027" y="1715814"/>
                  </a:lnTo>
                  <a:lnTo>
                    <a:pt x="487890" y="1715814"/>
                  </a:lnTo>
                  <a:lnTo>
                    <a:pt x="493919" y="1693735"/>
                  </a:lnTo>
                  <a:lnTo>
                    <a:pt x="544116" y="1671657"/>
                  </a:lnTo>
                  <a:lnTo>
                    <a:pt x="558165" y="1643558"/>
                  </a:lnTo>
                  <a:lnTo>
                    <a:pt x="528066" y="1643558"/>
                  </a:lnTo>
                  <a:lnTo>
                    <a:pt x="506006" y="1605410"/>
                  </a:lnTo>
                  <a:lnTo>
                    <a:pt x="524056" y="1585332"/>
                  </a:lnTo>
                  <a:lnTo>
                    <a:pt x="540135" y="1567272"/>
                  </a:lnTo>
                  <a:lnTo>
                    <a:pt x="552174" y="1559233"/>
                  </a:lnTo>
                  <a:lnTo>
                    <a:pt x="562223" y="1537154"/>
                  </a:lnTo>
                  <a:lnTo>
                    <a:pt x="548174" y="1519095"/>
                  </a:lnTo>
                  <a:lnTo>
                    <a:pt x="522075" y="1521104"/>
                  </a:lnTo>
                  <a:lnTo>
                    <a:pt x="485947" y="1547203"/>
                  </a:lnTo>
                  <a:lnTo>
                    <a:pt x="475898" y="1511056"/>
                  </a:lnTo>
                  <a:lnTo>
                    <a:pt x="487937" y="1494987"/>
                  </a:lnTo>
                  <a:lnTo>
                    <a:pt x="475898" y="1472918"/>
                  </a:lnTo>
                  <a:lnTo>
                    <a:pt x="459820" y="1472918"/>
                  </a:lnTo>
                  <a:lnTo>
                    <a:pt x="445770" y="1442799"/>
                  </a:lnTo>
                  <a:lnTo>
                    <a:pt x="459820" y="1420720"/>
                  </a:lnTo>
                  <a:lnTo>
                    <a:pt x="461829" y="1360484"/>
                  </a:lnTo>
                  <a:lnTo>
                    <a:pt x="459820" y="1322346"/>
                  </a:lnTo>
                  <a:lnTo>
                    <a:pt x="475898" y="1294238"/>
                  </a:lnTo>
                  <a:lnTo>
                    <a:pt x="473888" y="1244041"/>
                  </a:lnTo>
                  <a:lnTo>
                    <a:pt x="445780" y="1238012"/>
                  </a:lnTo>
                  <a:lnTo>
                    <a:pt x="451809" y="1181814"/>
                  </a:lnTo>
                  <a:lnTo>
                    <a:pt x="439750" y="1143657"/>
                  </a:lnTo>
                  <a:lnTo>
                    <a:pt x="449799" y="1123588"/>
                  </a:lnTo>
                  <a:lnTo>
                    <a:pt x="467859" y="1123588"/>
                  </a:lnTo>
                  <a:lnTo>
                    <a:pt x="495948" y="1151696"/>
                  </a:lnTo>
                  <a:lnTo>
                    <a:pt x="520037" y="1123588"/>
                  </a:lnTo>
                  <a:lnTo>
                    <a:pt x="566233" y="1121578"/>
                  </a:lnTo>
                  <a:lnTo>
                    <a:pt x="632479" y="1059361"/>
                  </a:lnTo>
                  <a:lnTo>
                    <a:pt x="656568" y="1029243"/>
                  </a:lnTo>
                  <a:lnTo>
                    <a:pt x="646519" y="1003144"/>
                  </a:lnTo>
                  <a:lnTo>
                    <a:pt x="638499" y="973026"/>
                  </a:lnTo>
                  <a:lnTo>
                    <a:pt x="666608" y="960968"/>
                  </a:lnTo>
                  <a:lnTo>
                    <a:pt x="688667" y="942908"/>
                  </a:lnTo>
                  <a:lnTo>
                    <a:pt x="686658" y="908790"/>
                  </a:lnTo>
                  <a:lnTo>
                    <a:pt x="642490" y="880682"/>
                  </a:lnTo>
                  <a:lnTo>
                    <a:pt x="638470" y="824475"/>
                  </a:lnTo>
                  <a:lnTo>
                    <a:pt x="598323" y="790346"/>
                  </a:lnTo>
                  <a:lnTo>
                    <a:pt x="564185" y="804405"/>
                  </a:lnTo>
                  <a:lnTo>
                    <a:pt x="485880" y="774287"/>
                  </a:lnTo>
                  <a:lnTo>
                    <a:pt x="457791" y="784336"/>
                  </a:lnTo>
                  <a:lnTo>
                    <a:pt x="387525" y="756237"/>
                  </a:lnTo>
                  <a:lnTo>
                    <a:pt x="407594" y="726119"/>
                  </a:lnTo>
                  <a:lnTo>
                    <a:pt x="433693" y="726119"/>
                  </a:lnTo>
                  <a:lnTo>
                    <a:pt x="453762" y="691991"/>
                  </a:lnTo>
                  <a:lnTo>
                    <a:pt x="501948" y="665893"/>
                  </a:lnTo>
                  <a:lnTo>
                    <a:pt x="487880" y="629755"/>
                  </a:lnTo>
                  <a:lnTo>
                    <a:pt x="497929" y="607676"/>
                  </a:lnTo>
                  <a:lnTo>
                    <a:pt x="542097" y="607676"/>
                  </a:lnTo>
                  <a:lnTo>
                    <a:pt x="574224" y="591607"/>
                  </a:lnTo>
                  <a:lnTo>
                    <a:pt x="606333" y="615696"/>
                  </a:lnTo>
                  <a:lnTo>
                    <a:pt x="640471" y="613696"/>
                  </a:lnTo>
                  <a:lnTo>
                    <a:pt x="646481" y="627755"/>
                  </a:lnTo>
                  <a:lnTo>
                    <a:pt x="664559" y="627755"/>
                  </a:lnTo>
                  <a:lnTo>
                    <a:pt x="680618" y="637785"/>
                  </a:lnTo>
                  <a:lnTo>
                    <a:pt x="692678" y="669903"/>
                  </a:lnTo>
                  <a:lnTo>
                    <a:pt x="718776" y="683971"/>
                  </a:lnTo>
                  <a:lnTo>
                    <a:pt x="793042" y="704040"/>
                  </a:lnTo>
                  <a:lnTo>
                    <a:pt x="817150" y="633774"/>
                  </a:lnTo>
                  <a:lnTo>
                    <a:pt x="841239" y="671922"/>
                  </a:lnTo>
                  <a:lnTo>
                    <a:pt x="983780" y="629755"/>
                  </a:lnTo>
                  <a:lnTo>
                    <a:pt x="1041988" y="627755"/>
                  </a:lnTo>
                  <a:lnTo>
                    <a:pt x="1017899" y="587607"/>
                  </a:lnTo>
                  <a:lnTo>
                    <a:pt x="1019909" y="527371"/>
                  </a:lnTo>
                  <a:lnTo>
                    <a:pt x="997830" y="503282"/>
                  </a:lnTo>
                  <a:lnTo>
                    <a:pt x="995820" y="485223"/>
                  </a:lnTo>
                  <a:lnTo>
                    <a:pt x="1005869" y="463144"/>
                  </a:lnTo>
                  <a:lnTo>
                    <a:pt x="993810" y="441074"/>
                  </a:lnTo>
                  <a:lnTo>
                    <a:pt x="943613" y="404946"/>
                  </a:lnTo>
                  <a:lnTo>
                    <a:pt x="943613" y="392878"/>
                  </a:lnTo>
                  <a:lnTo>
                    <a:pt x="989791" y="382848"/>
                  </a:lnTo>
                  <a:lnTo>
                    <a:pt x="1023928" y="342700"/>
                  </a:lnTo>
                  <a:lnTo>
                    <a:pt x="1019909" y="280464"/>
                  </a:lnTo>
                  <a:lnTo>
                    <a:pt x="1029938" y="246336"/>
                  </a:lnTo>
                  <a:lnTo>
                    <a:pt x="1021899" y="224257"/>
                  </a:lnTo>
                  <a:lnTo>
                    <a:pt x="1068096" y="158001"/>
                  </a:lnTo>
                  <a:lnTo>
                    <a:pt x="1052017" y="137932"/>
                  </a:lnTo>
                  <a:lnTo>
                    <a:pt x="993810" y="135931"/>
                  </a:lnTo>
                  <a:lnTo>
                    <a:pt x="983780" y="89745"/>
                  </a:lnTo>
                  <a:lnTo>
                    <a:pt x="981770" y="43567"/>
                  </a:lnTo>
                  <a:lnTo>
                    <a:pt x="975741" y="13449"/>
                  </a:lnTo>
                  <a:lnTo>
                    <a:pt x="964825" y="0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31741A8-51F1-4322-9ED4-FF72BC29E232}"/>
                </a:ext>
              </a:extLst>
            </p:cNvPr>
            <p:cNvSpPr/>
            <p:nvPr/>
          </p:nvSpPr>
          <p:spPr bwMode="gray">
            <a:xfrm>
              <a:off x="5443651" y="4402474"/>
              <a:ext cx="2557005" cy="1029881"/>
            </a:xfrm>
            <a:custGeom>
              <a:avLst/>
              <a:gdLst>
                <a:gd name="connsiteX0" fmla="*/ 0 w 2557005"/>
                <a:gd name="connsiteY0" fmla="*/ 46196 h 1029881"/>
                <a:gd name="connsiteX1" fmla="*/ 20069 w 2557005"/>
                <a:gd name="connsiteY1" fmla="*/ 30118 h 1029881"/>
                <a:gd name="connsiteX2" fmla="*/ 26089 w 2557005"/>
                <a:gd name="connsiteY2" fmla="*/ 0 h 1029881"/>
                <a:gd name="connsiteX3" fmla="*/ 76295 w 2557005"/>
                <a:gd name="connsiteY3" fmla="*/ 24108 h 1029881"/>
                <a:gd name="connsiteX4" fmla="*/ 104404 w 2557005"/>
                <a:gd name="connsiteY4" fmla="*/ 42167 h 1029881"/>
                <a:gd name="connsiteX5" fmla="*/ 136522 w 2557005"/>
                <a:gd name="connsiteY5" fmla="*/ 62236 h 1029881"/>
                <a:gd name="connsiteX6" fmla="*/ 184709 w 2557005"/>
                <a:gd name="connsiteY6" fmla="*/ 68266 h 1029881"/>
                <a:gd name="connsiteX7" fmla="*/ 242935 w 2557005"/>
                <a:gd name="connsiteY7" fmla="*/ 76286 h 1029881"/>
                <a:gd name="connsiteX8" fmla="*/ 283083 w 2557005"/>
                <a:gd name="connsiteY8" fmla="*/ 76286 h 1029881"/>
                <a:gd name="connsiteX9" fmla="*/ 327260 w 2557005"/>
                <a:gd name="connsiteY9" fmla="*/ 100374 h 1029881"/>
                <a:gd name="connsiteX10" fmla="*/ 371437 w 2557005"/>
                <a:gd name="connsiteY10" fmla="*/ 124473 h 1029881"/>
                <a:gd name="connsiteX11" fmla="*/ 415604 w 2557005"/>
                <a:gd name="connsiteY11" fmla="*/ 150571 h 1029881"/>
                <a:gd name="connsiteX12" fmla="*/ 463791 w 2557005"/>
                <a:gd name="connsiteY12" fmla="*/ 140522 h 1029881"/>
                <a:gd name="connsiteX13" fmla="*/ 499920 w 2557005"/>
                <a:gd name="connsiteY13" fmla="*/ 140522 h 1029881"/>
                <a:gd name="connsiteX14" fmla="*/ 542096 w 2557005"/>
                <a:gd name="connsiteY14" fmla="*/ 144542 h 1029881"/>
                <a:gd name="connsiteX15" fmla="*/ 590283 w 2557005"/>
                <a:gd name="connsiteY15" fmla="*/ 126464 h 1029881"/>
                <a:gd name="connsiteX16" fmla="*/ 620392 w 2557005"/>
                <a:gd name="connsiteY16" fmla="*/ 120453 h 1029881"/>
                <a:gd name="connsiteX17" fmla="*/ 628431 w 2557005"/>
                <a:gd name="connsiteY17" fmla="*/ 92355 h 1029881"/>
                <a:gd name="connsiteX18" fmla="*/ 648500 w 2557005"/>
                <a:gd name="connsiteY18" fmla="*/ 52197 h 1029881"/>
                <a:gd name="connsiteX19" fmla="*/ 692677 w 2557005"/>
                <a:gd name="connsiteY19" fmla="*/ 40138 h 1029881"/>
                <a:gd name="connsiteX20" fmla="*/ 724805 w 2557005"/>
                <a:gd name="connsiteY20" fmla="*/ 52197 h 1029881"/>
                <a:gd name="connsiteX21" fmla="*/ 760933 w 2557005"/>
                <a:gd name="connsiteY21" fmla="*/ 72285 h 1029881"/>
                <a:gd name="connsiteX22" fmla="*/ 805101 w 2557005"/>
                <a:gd name="connsiteY22" fmla="*/ 76286 h 1029881"/>
                <a:gd name="connsiteX23" fmla="*/ 849268 w 2557005"/>
                <a:gd name="connsiteY23" fmla="*/ 78296 h 1029881"/>
                <a:gd name="connsiteX24" fmla="*/ 881396 w 2557005"/>
                <a:gd name="connsiteY24" fmla="*/ 78296 h 1029881"/>
                <a:gd name="connsiteX25" fmla="*/ 923554 w 2557005"/>
                <a:gd name="connsiteY25" fmla="*/ 92345 h 1029881"/>
                <a:gd name="connsiteX26" fmla="*/ 943642 w 2557005"/>
                <a:gd name="connsiteY26" fmla="*/ 100394 h 1029881"/>
                <a:gd name="connsiteX27" fmla="*/ 991829 w 2557005"/>
                <a:gd name="connsiteY27" fmla="*/ 98384 h 1029881"/>
                <a:gd name="connsiteX28" fmla="*/ 1027957 w 2557005"/>
                <a:gd name="connsiteY28" fmla="*/ 98384 h 1029881"/>
                <a:gd name="connsiteX29" fmla="*/ 1050036 w 2557005"/>
                <a:gd name="connsiteY29" fmla="*/ 112452 h 1029881"/>
                <a:gd name="connsiteX30" fmla="*/ 1074125 w 2557005"/>
                <a:gd name="connsiteY30" fmla="*/ 136541 h 1029881"/>
                <a:gd name="connsiteX31" fmla="*/ 1100223 w 2557005"/>
                <a:gd name="connsiteY31" fmla="*/ 158610 h 1029881"/>
                <a:gd name="connsiteX32" fmla="*/ 1132332 w 2557005"/>
                <a:gd name="connsiteY32" fmla="*/ 172669 h 1029881"/>
                <a:gd name="connsiteX33" fmla="*/ 1176499 w 2557005"/>
                <a:gd name="connsiteY33" fmla="*/ 204797 h 1029881"/>
                <a:gd name="connsiteX34" fmla="*/ 1182529 w 2557005"/>
                <a:gd name="connsiteY34" fmla="*/ 202787 h 1029881"/>
                <a:gd name="connsiteX35" fmla="*/ 1208627 w 2557005"/>
                <a:gd name="connsiteY35" fmla="*/ 244945 h 1029881"/>
                <a:gd name="connsiteX36" fmla="*/ 1236736 w 2557005"/>
                <a:gd name="connsiteY36" fmla="*/ 265033 h 1029881"/>
                <a:gd name="connsiteX37" fmla="*/ 1258796 w 2557005"/>
                <a:gd name="connsiteY37" fmla="*/ 275082 h 1029881"/>
                <a:gd name="connsiteX38" fmla="*/ 1302963 w 2557005"/>
                <a:gd name="connsiteY38" fmla="*/ 254994 h 1029881"/>
                <a:gd name="connsiteX39" fmla="*/ 1315022 w 2557005"/>
                <a:gd name="connsiteY39" fmla="*/ 226914 h 1029881"/>
                <a:gd name="connsiteX40" fmla="*/ 1347150 w 2557005"/>
                <a:gd name="connsiteY40" fmla="*/ 198806 h 1029881"/>
                <a:gd name="connsiteX41" fmla="*/ 1375258 w 2557005"/>
                <a:gd name="connsiteY41" fmla="*/ 184728 h 1029881"/>
                <a:gd name="connsiteX42" fmla="*/ 1389307 w 2557005"/>
                <a:gd name="connsiteY42" fmla="*/ 158639 h 1029881"/>
                <a:gd name="connsiteX43" fmla="*/ 1403357 w 2557005"/>
                <a:gd name="connsiteY43" fmla="*/ 130550 h 1029881"/>
                <a:gd name="connsiteX44" fmla="*/ 1427464 w 2557005"/>
                <a:gd name="connsiteY44" fmla="*/ 108471 h 1029881"/>
                <a:gd name="connsiteX45" fmla="*/ 1457563 w 2557005"/>
                <a:gd name="connsiteY45" fmla="*/ 96412 h 1029881"/>
                <a:gd name="connsiteX46" fmla="*/ 1489691 w 2557005"/>
                <a:gd name="connsiteY46" fmla="*/ 76343 h 1029881"/>
                <a:gd name="connsiteX47" fmla="*/ 1521800 w 2557005"/>
                <a:gd name="connsiteY47" fmla="*/ 60265 h 1029881"/>
                <a:gd name="connsiteX48" fmla="*/ 1545889 w 2557005"/>
                <a:gd name="connsiteY48" fmla="*/ 48216 h 1029881"/>
                <a:gd name="connsiteX49" fmla="*/ 1572006 w 2557005"/>
                <a:gd name="connsiteY49" fmla="*/ 44196 h 1029881"/>
                <a:gd name="connsiteX50" fmla="*/ 1586055 w 2557005"/>
                <a:gd name="connsiteY50" fmla="*/ 44196 h 1029881"/>
                <a:gd name="connsiteX51" fmla="*/ 1604115 w 2557005"/>
                <a:gd name="connsiteY51" fmla="*/ 38167 h 1029881"/>
                <a:gd name="connsiteX52" fmla="*/ 1622174 w 2557005"/>
                <a:gd name="connsiteY52" fmla="*/ 34147 h 1029881"/>
                <a:gd name="connsiteX53" fmla="*/ 1634214 w 2557005"/>
                <a:gd name="connsiteY53" fmla="*/ 54235 h 1029881"/>
                <a:gd name="connsiteX54" fmla="*/ 1648282 w 2557005"/>
                <a:gd name="connsiteY54" fmla="*/ 78315 h 1029881"/>
                <a:gd name="connsiteX55" fmla="*/ 1674381 w 2557005"/>
                <a:gd name="connsiteY55" fmla="*/ 84344 h 1029881"/>
                <a:gd name="connsiteX56" fmla="*/ 1702489 w 2557005"/>
                <a:gd name="connsiteY56" fmla="*/ 82334 h 1029881"/>
                <a:gd name="connsiteX57" fmla="*/ 1742637 w 2557005"/>
                <a:gd name="connsiteY57" fmla="*/ 78315 h 1029881"/>
                <a:gd name="connsiteX58" fmla="*/ 1754696 w 2557005"/>
                <a:gd name="connsiteY58" fmla="*/ 74295 h 1029881"/>
                <a:gd name="connsiteX59" fmla="*/ 1770755 w 2557005"/>
                <a:gd name="connsiteY59" fmla="*/ 112452 h 1029881"/>
                <a:gd name="connsiteX60" fmla="*/ 1784823 w 2557005"/>
                <a:gd name="connsiteY60" fmla="*/ 120472 h 1029881"/>
                <a:gd name="connsiteX61" fmla="*/ 1810922 w 2557005"/>
                <a:gd name="connsiteY61" fmla="*/ 120472 h 1029881"/>
                <a:gd name="connsiteX62" fmla="*/ 1837001 w 2557005"/>
                <a:gd name="connsiteY62" fmla="*/ 106423 h 1029881"/>
                <a:gd name="connsiteX63" fmla="*/ 1857070 w 2557005"/>
                <a:gd name="connsiteY63" fmla="*/ 88364 h 1029881"/>
                <a:gd name="connsiteX64" fmla="*/ 1877158 w 2557005"/>
                <a:gd name="connsiteY64" fmla="*/ 74304 h 1029881"/>
                <a:gd name="connsiteX65" fmla="*/ 1893218 w 2557005"/>
                <a:gd name="connsiteY65" fmla="*/ 74304 h 1029881"/>
                <a:gd name="connsiteX66" fmla="*/ 1911277 w 2557005"/>
                <a:gd name="connsiteY66" fmla="*/ 68275 h 1029881"/>
                <a:gd name="connsiteX67" fmla="*/ 1961474 w 2557005"/>
                <a:gd name="connsiteY67" fmla="*/ 66265 h 1029881"/>
                <a:gd name="connsiteX68" fmla="*/ 1979552 w 2557005"/>
                <a:gd name="connsiteY68" fmla="*/ 56217 h 1029881"/>
                <a:gd name="connsiteX69" fmla="*/ 1997602 w 2557005"/>
                <a:gd name="connsiteY69" fmla="*/ 56217 h 1029881"/>
                <a:gd name="connsiteX70" fmla="*/ 2021691 w 2557005"/>
                <a:gd name="connsiteY70" fmla="*/ 62246 h 1029881"/>
                <a:gd name="connsiteX71" fmla="*/ 2039750 w 2557005"/>
                <a:gd name="connsiteY71" fmla="*/ 62246 h 1029881"/>
                <a:gd name="connsiteX72" fmla="*/ 2063858 w 2557005"/>
                <a:gd name="connsiteY72" fmla="*/ 54226 h 1029881"/>
                <a:gd name="connsiteX73" fmla="*/ 2085937 w 2557005"/>
                <a:gd name="connsiteY73" fmla="*/ 54226 h 1029881"/>
                <a:gd name="connsiteX74" fmla="*/ 2116036 w 2557005"/>
                <a:gd name="connsiteY74" fmla="*/ 52216 h 1029881"/>
                <a:gd name="connsiteX75" fmla="*/ 2144145 w 2557005"/>
                <a:gd name="connsiteY75" fmla="*/ 48187 h 1029881"/>
                <a:gd name="connsiteX76" fmla="*/ 2166204 w 2557005"/>
                <a:gd name="connsiteY76" fmla="*/ 46177 h 1029881"/>
                <a:gd name="connsiteX77" fmla="*/ 2192303 w 2557005"/>
                <a:gd name="connsiteY77" fmla="*/ 46177 h 1029881"/>
                <a:gd name="connsiteX78" fmla="*/ 2212391 w 2557005"/>
                <a:gd name="connsiteY78" fmla="*/ 40167 h 1029881"/>
                <a:gd name="connsiteX79" fmla="*/ 2248538 w 2557005"/>
                <a:gd name="connsiteY79" fmla="*/ 26098 h 1029881"/>
                <a:gd name="connsiteX80" fmla="*/ 2272608 w 2557005"/>
                <a:gd name="connsiteY80" fmla="*/ 18059 h 1029881"/>
                <a:gd name="connsiteX81" fmla="*/ 2296697 w 2557005"/>
                <a:gd name="connsiteY81" fmla="*/ 42139 h 1029881"/>
                <a:gd name="connsiteX82" fmla="*/ 2328825 w 2557005"/>
                <a:gd name="connsiteY82" fmla="*/ 58217 h 1029881"/>
                <a:gd name="connsiteX83" fmla="*/ 2348894 w 2557005"/>
                <a:gd name="connsiteY83" fmla="*/ 82296 h 1029881"/>
                <a:gd name="connsiteX84" fmla="*/ 2370973 w 2557005"/>
                <a:gd name="connsiteY84" fmla="*/ 118443 h 1029881"/>
                <a:gd name="connsiteX85" fmla="*/ 2393051 w 2557005"/>
                <a:gd name="connsiteY85" fmla="*/ 148542 h 1029881"/>
                <a:gd name="connsiteX86" fmla="*/ 2423170 w 2557005"/>
                <a:gd name="connsiteY86" fmla="*/ 186700 h 1029881"/>
                <a:gd name="connsiteX87" fmla="*/ 2439229 w 2557005"/>
                <a:gd name="connsiteY87" fmla="*/ 210788 h 1029881"/>
                <a:gd name="connsiteX88" fmla="*/ 2441239 w 2557005"/>
                <a:gd name="connsiteY88" fmla="*/ 246936 h 1029881"/>
                <a:gd name="connsiteX89" fmla="*/ 2423179 w 2557005"/>
                <a:gd name="connsiteY89" fmla="*/ 279044 h 1029881"/>
                <a:gd name="connsiteX90" fmla="*/ 2415140 w 2557005"/>
                <a:gd name="connsiteY90" fmla="*/ 305143 h 1029881"/>
                <a:gd name="connsiteX91" fmla="*/ 2421169 w 2557005"/>
                <a:gd name="connsiteY91" fmla="*/ 337271 h 1029881"/>
                <a:gd name="connsiteX92" fmla="*/ 2433209 w 2557005"/>
                <a:gd name="connsiteY92" fmla="*/ 359340 h 1029881"/>
                <a:gd name="connsiteX93" fmla="*/ 2447277 w 2557005"/>
                <a:gd name="connsiteY93" fmla="*/ 375409 h 1029881"/>
                <a:gd name="connsiteX94" fmla="*/ 2459336 w 2557005"/>
                <a:gd name="connsiteY94" fmla="*/ 411556 h 1029881"/>
                <a:gd name="connsiteX95" fmla="*/ 2459336 w 2557005"/>
                <a:gd name="connsiteY95" fmla="*/ 459743 h 1029881"/>
                <a:gd name="connsiteX96" fmla="*/ 2465366 w 2557005"/>
                <a:gd name="connsiteY96" fmla="*/ 505930 h 1029881"/>
                <a:gd name="connsiteX97" fmla="*/ 2469366 w 2557005"/>
                <a:gd name="connsiteY97" fmla="*/ 521989 h 1029881"/>
                <a:gd name="connsiteX98" fmla="*/ 2495464 w 2557005"/>
                <a:gd name="connsiteY98" fmla="*/ 532038 h 1029881"/>
                <a:gd name="connsiteX99" fmla="*/ 2529602 w 2557005"/>
                <a:gd name="connsiteY99" fmla="*/ 560146 h 1029881"/>
                <a:gd name="connsiteX100" fmla="*/ 2557005 w 2557005"/>
                <a:gd name="connsiteY100" fmla="*/ 575958 h 1029881"/>
                <a:gd name="connsiteX101" fmla="*/ 2549671 w 2557005"/>
                <a:gd name="connsiteY101" fmla="*/ 582225 h 1029881"/>
                <a:gd name="connsiteX102" fmla="*/ 2479405 w 2557005"/>
                <a:gd name="connsiteY102" fmla="*/ 598284 h 1029881"/>
                <a:gd name="connsiteX103" fmla="*/ 2457327 w 2557005"/>
                <a:gd name="connsiteY103" fmla="*/ 642461 h 1029881"/>
                <a:gd name="connsiteX104" fmla="*/ 2445267 w 2557005"/>
                <a:gd name="connsiteY104" fmla="*/ 662540 h 1029881"/>
                <a:gd name="connsiteX105" fmla="*/ 2405120 w 2557005"/>
                <a:gd name="connsiteY105" fmla="*/ 620363 h 1029881"/>
                <a:gd name="connsiteX106" fmla="*/ 2381031 w 2557005"/>
                <a:gd name="connsiteY106" fmla="*/ 654501 h 1029881"/>
                <a:gd name="connsiteX107" fmla="*/ 2322824 w 2557005"/>
                <a:gd name="connsiteY107" fmla="*/ 660511 h 1029881"/>
                <a:gd name="connsiteX108" fmla="*/ 2278657 w 2557005"/>
                <a:gd name="connsiteY108" fmla="*/ 819102 h 1029881"/>
                <a:gd name="connsiteX109" fmla="*/ 2196332 w 2557005"/>
                <a:gd name="connsiteY109" fmla="*/ 837171 h 1029881"/>
                <a:gd name="connsiteX110" fmla="*/ 2174253 w 2557005"/>
                <a:gd name="connsiteY110" fmla="*/ 891359 h 1029881"/>
                <a:gd name="connsiteX111" fmla="*/ 2148154 w 2557005"/>
                <a:gd name="connsiteY111" fmla="*/ 895379 h 1029881"/>
                <a:gd name="connsiteX112" fmla="*/ 2130095 w 2557005"/>
                <a:gd name="connsiteY112" fmla="*/ 925497 h 1029881"/>
                <a:gd name="connsiteX113" fmla="*/ 2053799 w 2557005"/>
                <a:gd name="connsiteY113" fmla="*/ 947576 h 1029881"/>
                <a:gd name="connsiteX114" fmla="*/ 2053799 w 2557005"/>
                <a:gd name="connsiteY114" fmla="*/ 999763 h 1029881"/>
                <a:gd name="connsiteX115" fmla="*/ 2035740 w 2557005"/>
                <a:gd name="connsiteY115" fmla="*/ 1029881 h 1029881"/>
                <a:gd name="connsiteX116" fmla="*/ 1977533 w 2557005"/>
                <a:gd name="connsiteY116" fmla="*/ 975674 h 1029881"/>
                <a:gd name="connsiteX117" fmla="*/ 1959474 w 2557005"/>
                <a:gd name="connsiteY117" fmla="*/ 993753 h 1029881"/>
                <a:gd name="connsiteX118" fmla="*/ 1931384 w 2557005"/>
                <a:gd name="connsiteY118" fmla="*/ 981685 h 1029881"/>
                <a:gd name="connsiteX119" fmla="*/ 1907296 w 2557005"/>
                <a:gd name="connsiteY119" fmla="*/ 965625 h 1029881"/>
                <a:gd name="connsiteX120" fmla="*/ 1883188 w 2557005"/>
                <a:gd name="connsiteY120" fmla="*/ 939527 h 1029881"/>
                <a:gd name="connsiteX121" fmla="*/ 1808902 w 2557005"/>
                <a:gd name="connsiteY121" fmla="*/ 955596 h 1029881"/>
                <a:gd name="connsiteX122" fmla="*/ 1768755 w 2557005"/>
                <a:gd name="connsiteY122" fmla="*/ 969645 h 1029881"/>
                <a:gd name="connsiteX123" fmla="*/ 1740665 w 2557005"/>
                <a:gd name="connsiteY123" fmla="*/ 955596 h 1029881"/>
                <a:gd name="connsiteX124" fmla="*/ 1676410 w 2557005"/>
                <a:gd name="connsiteY124" fmla="*/ 965645 h 1029881"/>
                <a:gd name="connsiteX125" fmla="*/ 1608153 w 2557005"/>
                <a:gd name="connsiteY125" fmla="*/ 975674 h 1029881"/>
                <a:gd name="connsiteX126" fmla="*/ 1563986 w 2557005"/>
                <a:gd name="connsiteY126" fmla="*/ 911419 h 1029881"/>
                <a:gd name="connsiteX127" fmla="*/ 1497721 w 2557005"/>
                <a:gd name="connsiteY127" fmla="*/ 903399 h 1029881"/>
                <a:gd name="connsiteX128" fmla="*/ 1437504 w 2557005"/>
                <a:gd name="connsiteY128" fmla="*/ 907399 h 1029881"/>
                <a:gd name="connsiteX129" fmla="*/ 1363218 w 2557005"/>
                <a:gd name="connsiteY129" fmla="*/ 857222 h 1029881"/>
                <a:gd name="connsiteX130" fmla="*/ 1294962 w 2557005"/>
                <a:gd name="connsiteY130" fmla="*/ 859212 h 1029881"/>
                <a:gd name="connsiteX131" fmla="*/ 1246756 w 2557005"/>
                <a:gd name="connsiteY131" fmla="*/ 887321 h 1029881"/>
                <a:gd name="connsiteX132" fmla="*/ 1158450 w 2557005"/>
                <a:gd name="connsiteY132" fmla="*/ 879272 h 1029881"/>
                <a:gd name="connsiteX133" fmla="*/ 1054027 w 2557005"/>
                <a:gd name="connsiteY133" fmla="*/ 841115 h 1029881"/>
                <a:gd name="connsiteX134" fmla="*/ 1019908 w 2557005"/>
                <a:gd name="connsiteY134" fmla="*/ 861203 h 1029881"/>
                <a:gd name="connsiteX135" fmla="*/ 987781 w 2557005"/>
                <a:gd name="connsiteY135" fmla="*/ 831085 h 1029881"/>
                <a:gd name="connsiteX136" fmla="*/ 955672 w 2557005"/>
                <a:gd name="connsiteY136" fmla="*/ 839124 h 1029881"/>
                <a:gd name="connsiteX137" fmla="*/ 925554 w 2557005"/>
                <a:gd name="connsiteY137" fmla="*/ 815045 h 1029881"/>
                <a:gd name="connsiteX138" fmla="*/ 869356 w 2557005"/>
                <a:gd name="connsiteY138" fmla="*/ 833104 h 1029881"/>
                <a:gd name="connsiteX139" fmla="*/ 833209 w 2557005"/>
                <a:gd name="connsiteY139" fmla="*/ 809015 h 1029881"/>
                <a:gd name="connsiteX140" fmla="*/ 744884 w 2557005"/>
                <a:gd name="connsiteY140" fmla="*/ 843153 h 1029881"/>
                <a:gd name="connsiteX141" fmla="*/ 664588 w 2557005"/>
                <a:gd name="connsiteY141" fmla="*/ 847154 h 1029881"/>
                <a:gd name="connsiteX142" fmla="*/ 578234 w 2557005"/>
                <a:gd name="connsiteY142" fmla="*/ 802967 h 1029881"/>
                <a:gd name="connsiteX143" fmla="*/ 485880 w 2557005"/>
                <a:gd name="connsiteY143" fmla="*/ 796957 h 1029881"/>
                <a:gd name="connsiteX144" fmla="*/ 375466 w 2557005"/>
                <a:gd name="connsiteY144" fmla="*/ 790928 h 1029881"/>
                <a:gd name="connsiteX145" fmla="*/ 273072 w 2557005"/>
                <a:gd name="connsiteY145" fmla="*/ 792937 h 1029881"/>
                <a:gd name="connsiteX146" fmla="*/ 186747 w 2557005"/>
                <a:gd name="connsiteY146" fmla="*/ 746760 h 1029881"/>
                <a:gd name="connsiteX147" fmla="*/ 166669 w 2557005"/>
                <a:gd name="connsiteY147" fmla="*/ 736702 h 1029881"/>
                <a:gd name="connsiteX148" fmla="*/ 104432 w 2557005"/>
                <a:gd name="connsiteY148" fmla="*/ 738711 h 1029881"/>
                <a:gd name="connsiteX149" fmla="*/ 62494 w 2557005"/>
                <a:gd name="connsiteY149" fmla="*/ 736102 h 1029881"/>
                <a:gd name="connsiteX150" fmla="*/ 68752 w 2557005"/>
                <a:gd name="connsiteY150" fmla="*/ 739378 h 1029881"/>
                <a:gd name="connsiteX151" fmla="*/ 74314 w 2557005"/>
                <a:gd name="connsiteY151" fmla="*/ 718633 h 1029881"/>
                <a:gd name="connsiteX152" fmla="*/ 100403 w 2557005"/>
                <a:gd name="connsiteY152" fmla="*/ 676465 h 1029881"/>
                <a:gd name="connsiteX153" fmla="*/ 114472 w 2557005"/>
                <a:gd name="connsiteY153" fmla="*/ 626269 h 1029881"/>
                <a:gd name="connsiteX154" fmla="*/ 116472 w 2557005"/>
                <a:gd name="connsiteY154" fmla="*/ 574072 h 1029881"/>
                <a:gd name="connsiteX155" fmla="*/ 150600 w 2557005"/>
                <a:gd name="connsiteY155" fmla="*/ 576091 h 1029881"/>
                <a:gd name="connsiteX156" fmla="*/ 192757 w 2557005"/>
                <a:gd name="connsiteY156" fmla="*/ 578101 h 1029881"/>
                <a:gd name="connsiteX157" fmla="*/ 230905 w 2557005"/>
                <a:gd name="connsiteY157" fmla="*/ 556022 h 1029881"/>
                <a:gd name="connsiteX158" fmla="*/ 275072 w 2557005"/>
                <a:gd name="connsiteY158" fmla="*/ 529923 h 1029881"/>
                <a:gd name="connsiteX159" fmla="*/ 307191 w 2557005"/>
                <a:gd name="connsiteY159" fmla="*/ 558013 h 1029881"/>
                <a:gd name="connsiteX160" fmla="*/ 341319 w 2557005"/>
                <a:gd name="connsiteY160" fmla="*/ 562032 h 1029881"/>
                <a:gd name="connsiteX161" fmla="*/ 333289 w 2557005"/>
                <a:gd name="connsiteY161" fmla="*/ 515855 h 1029881"/>
                <a:gd name="connsiteX162" fmla="*/ 303171 w 2557005"/>
                <a:gd name="connsiteY162" fmla="*/ 485737 h 1029881"/>
                <a:gd name="connsiteX163" fmla="*/ 271053 w 2557005"/>
                <a:gd name="connsiteY163" fmla="*/ 441570 h 1029881"/>
                <a:gd name="connsiteX164" fmla="*/ 234915 w 2557005"/>
                <a:gd name="connsiteY164" fmla="*/ 411451 h 1029881"/>
                <a:gd name="connsiteX165" fmla="*/ 204807 w 2557005"/>
                <a:gd name="connsiteY165" fmla="*/ 377333 h 1029881"/>
                <a:gd name="connsiteX166" fmla="*/ 200796 w 2557005"/>
                <a:gd name="connsiteY166" fmla="*/ 333137 h 1029881"/>
                <a:gd name="connsiteX167" fmla="*/ 184738 w 2557005"/>
                <a:gd name="connsiteY167" fmla="*/ 288970 h 1029881"/>
                <a:gd name="connsiteX168" fmla="*/ 146590 w 2557005"/>
                <a:gd name="connsiteY168" fmla="*/ 282959 h 1029881"/>
                <a:gd name="connsiteX169" fmla="*/ 132521 w 2557005"/>
                <a:gd name="connsiteY169" fmla="*/ 248822 h 1029881"/>
                <a:gd name="connsiteX170" fmla="*/ 108442 w 2557005"/>
                <a:gd name="connsiteY170" fmla="*/ 218704 h 1029881"/>
                <a:gd name="connsiteX171" fmla="*/ 118481 w 2557005"/>
                <a:gd name="connsiteY171" fmla="*/ 180565 h 1029881"/>
                <a:gd name="connsiteX172" fmla="*/ 138541 w 2557005"/>
                <a:gd name="connsiteY172" fmla="*/ 126359 h 1029881"/>
                <a:gd name="connsiteX173" fmla="*/ 76314 w 2557005"/>
                <a:gd name="connsiteY173" fmla="*/ 108299 h 1029881"/>
                <a:gd name="connsiteX174" fmla="*/ 12068 w 2557005"/>
                <a:gd name="connsiteY174" fmla="*/ 94250 h 1029881"/>
                <a:gd name="connsiteX175" fmla="*/ 0 w 2557005"/>
                <a:gd name="connsiteY175" fmla="*/ 46196 h 1029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2557005" h="1029881">
                  <a:moveTo>
                    <a:pt x="0" y="46196"/>
                  </a:moveTo>
                  <a:lnTo>
                    <a:pt x="20069" y="30118"/>
                  </a:lnTo>
                  <a:lnTo>
                    <a:pt x="26089" y="0"/>
                  </a:lnTo>
                  <a:lnTo>
                    <a:pt x="76295" y="24108"/>
                  </a:lnTo>
                  <a:lnTo>
                    <a:pt x="104404" y="42167"/>
                  </a:lnTo>
                  <a:lnTo>
                    <a:pt x="136522" y="62236"/>
                  </a:lnTo>
                  <a:lnTo>
                    <a:pt x="184709" y="68266"/>
                  </a:lnTo>
                  <a:lnTo>
                    <a:pt x="242935" y="76286"/>
                  </a:lnTo>
                  <a:lnTo>
                    <a:pt x="283083" y="76286"/>
                  </a:lnTo>
                  <a:lnTo>
                    <a:pt x="327260" y="100374"/>
                  </a:lnTo>
                  <a:lnTo>
                    <a:pt x="371437" y="124473"/>
                  </a:lnTo>
                  <a:lnTo>
                    <a:pt x="415604" y="150571"/>
                  </a:lnTo>
                  <a:lnTo>
                    <a:pt x="463791" y="140522"/>
                  </a:lnTo>
                  <a:lnTo>
                    <a:pt x="499920" y="140522"/>
                  </a:lnTo>
                  <a:lnTo>
                    <a:pt x="542096" y="144542"/>
                  </a:lnTo>
                  <a:lnTo>
                    <a:pt x="590283" y="126464"/>
                  </a:lnTo>
                  <a:lnTo>
                    <a:pt x="620392" y="120453"/>
                  </a:lnTo>
                  <a:lnTo>
                    <a:pt x="628431" y="92355"/>
                  </a:lnTo>
                  <a:lnTo>
                    <a:pt x="648500" y="52197"/>
                  </a:lnTo>
                  <a:lnTo>
                    <a:pt x="692677" y="40138"/>
                  </a:lnTo>
                  <a:lnTo>
                    <a:pt x="724805" y="52197"/>
                  </a:lnTo>
                  <a:lnTo>
                    <a:pt x="760933" y="72285"/>
                  </a:lnTo>
                  <a:lnTo>
                    <a:pt x="805101" y="76286"/>
                  </a:lnTo>
                  <a:lnTo>
                    <a:pt x="849268" y="78296"/>
                  </a:lnTo>
                  <a:lnTo>
                    <a:pt x="881396" y="78296"/>
                  </a:lnTo>
                  <a:lnTo>
                    <a:pt x="923554" y="92345"/>
                  </a:lnTo>
                  <a:lnTo>
                    <a:pt x="943642" y="100394"/>
                  </a:lnTo>
                  <a:lnTo>
                    <a:pt x="991829" y="98384"/>
                  </a:lnTo>
                  <a:lnTo>
                    <a:pt x="1027957" y="98384"/>
                  </a:lnTo>
                  <a:lnTo>
                    <a:pt x="1050036" y="112452"/>
                  </a:lnTo>
                  <a:lnTo>
                    <a:pt x="1074125" y="136541"/>
                  </a:lnTo>
                  <a:lnTo>
                    <a:pt x="1100223" y="158610"/>
                  </a:lnTo>
                  <a:lnTo>
                    <a:pt x="1132332" y="172669"/>
                  </a:lnTo>
                  <a:lnTo>
                    <a:pt x="1176499" y="204797"/>
                  </a:lnTo>
                  <a:lnTo>
                    <a:pt x="1182529" y="202787"/>
                  </a:lnTo>
                  <a:lnTo>
                    <a:pt x="1208627" y="244945"/>
                  </a:lnTo>
                  <a:lnTo>
                    <a:pt x="1236736" y="265033"/>
                  </a:lnTo>
                  <a:lnTo>
                    <a:pt x="1258796" y="275082"/>
                  </a:lnTo>
                  <a:lnTo>
                    <a:pt x="1302963" y="254994"/>
                  </a:lnTo>
                  <a:lnTo>
                    <a:pt x="1315022" y="226914"/>
                  </a:lnTo>
                  <a:lnTo>
                    <a:pt x="1347150" y="198806"/>
                  </a:lnTo>
                  <a:lnTo>
                    <a:pt x="1375258" y="184728"/>
                  </a:lnTo>
                  <a:lnTo>
                    <a:pt x="1389307" y="158639"/>
                  </a:lnTo>
                  <a:lnTo>
                    <a:pt x="1403357" y="130550"/>
                  </a:lnTo>
                  <a:lnTo>
                    <a:pt x="1427464" y="108471"/>
                  </a:lnTo>
                  <a:lnTo>
                    <a:pt x="1457563" y="96412"/>
                  </a:lnTo>
                  <a:lnTo>
                    <a:pt x="1489691" y="76343"/>
                  </a:lnTo>
                  <a:lnTo>
                    <a:pt x="1521800" y="60265"/>
                  </a:lnTo>
                  <a:lnTo>
                    <a:pt x="1545889" y="48216"/>
                  </a:lnTo>
                  <a:lnTo>
                    <a:pt x="1572006" y="44196"/>
                  </a:lnTo>
                  <a:lnTo>
                    <a:pt x="1586055" y="44196"/>
                  </a:lnTo>
                  <a:lnTo>
                    <a:pt x="1604115" y="38167"/>
                  </a:lnTo>
                  <a:lnTo>
                    <a:pt x="1622174" y="34147"/>
                  </a:lnTo>
                  <a:lnTo>
                    <a:pt x="1634214" y="54235"/>
                  </a:lnTo>
                  <a:lnTo>
                    <a:pt x="1648282" y="78315"/>
                  </a:lnTo>
                  <a:lnTo>
                    <a:pt x="1674381" y="84344"/>
                  </a:lnTo>
                  <a:lnTo>
                    <a:pt x="1702489" y="82334"/>
                  </a:lnTo>
                  <a:lnTo>
                    <a:pt x="1742637" y="78315"/>
                  </a:lnTo>
                  <a:lnTo>
                    <a:pt x="1754696" y="74295"/>
                  </a:lnTo>
                  <a:lnTo>
                    <a:pt x="1770755" y="112452"/>
                  </a:lnTo>
                  <a:lnTo>
                    <a:pt x="1784823" y="120472"/>
                  </a:lnTo>
                  <a:lnTo>
                    <a:pt x="1810922" y="120472"/>
                  </a:lnTo>
                  <a:lnTo>
                    <a:pt x="1837001" y="106423"/>
                  </a:lnTo>
                  <a:lnTo>
                    <a:pt x="1857070" y="88364"/>
                  </a:lnTo>
                  <a:lnTo>
                    <a:pt x="1877158" y="74304"/>
                  </a:lnTo>
                  <a:lnTo>
                    <a:pt x="1893218" y="74304"/>
                  </a:lnTo>
                  <a:lnTo>
                    <a:pt x="1911277" y="68275"/>
                  </a:lnTo>
                  <a:lnTo>
                    <a:pt x="1961474" y="66265"/>
                  </a:lnTo>
                  <a:lnTo>
                    <a:pt x="1979552" y="56217"/>
                  </a:lnTo>
                  <a:lnTo>
                    <a:pt x="1997602" y="56217"/>
                  </a:lnTo>
                  <a:lnTo>
                    <a:pt x="2021691" y="62246"/>
                  </a:lnTo>
                  <a:lnTo>
                    <a:pt x="2039750" y="62246"/>
                  </a:lnTo>
                  <a:lnTo>
                    <a:pt x="2063858" y="54226"/>
                  </a:lnTo>
                  <a:lnTo>
                    <a:pt x="2085937" y="54226"/>
                  </a:lnTo>
                  <a:lnTo>
                    <a:pt x="2116036" y="52216"/>
                  </a:lnTo>
                  <a:lnTo>
                    <a:pt x="2144145" y="48187"/>
                  </a:lnTo>
                  <a:lnTo>
                    <a:pt x="2166204" y="46177"/>
                  </a:lnTo>
                  <a:lnTo>
                    <a:pt x="2192303" y="46177"/>
                  </a:lnTo>
                  <a:lnTo>
                    <a:pt x="2212391" y="40167"/>
                  </a:lnTo>
                  <a:lnTo>
                    <a:pt x="2248538" y="26098"/>
                  </a:lnTo>
                  <a:lnTo>
                    <a:pt x="2272608" y="18059"/>
                  </a:lnTo>
                  <a:lnTo>
                    <a:pt x="2296697" y="42139"/>
                  </a:lnTo>
                  <a:lnTo>
                    <a:pt x="2328825" y="58217"/>
                  </a:lnTo>
                  <a:lnTo>
                    <a:pt x="2348894" y="82296"/>
                  </a:lnTo>
                  <a:lnTo>
                    <a:pt x="2370973" y="118443"/>
                  </a:lnTo>
                  <a:lnTo>
                    <a:pt x="2393051" y="148542"/>
                  </a:lnTo>
                  <a:lnTo>
                    <a:pt x="2423170" y="186700"/>
                  </a:lnTo>
                  <a:lnTo>
                    <a:pt x="2439229" y="210788"/>
                  </a:lnTo>
                  <a:lnTo>
                    <a:pt x="2441239" y="246936"/>
                  </a:lnTo>
                  <a:lnTo>
                    <a:pt x="2423179" y="279044"/>
                  </a:lnTo>
                  <a:lnTo>
                    <a:pt x="2415140" y="305143"/>
                  </a:lnTo>
                  <a:lnTo>
                    <a:pt x="2421169" y="337271"/>
                  </a:lnTo>
                  <a:lnTo>
                    <a:pt x="2433209" y="359340"/>
                  </a:lnTo>
                  <a:lnTo>
                    <a:pt x="2447277" y="375409"/>
                  </a:lnTo>
                  <a:lnTo>
                    <a:pt x="2459336" y="411556"/>
                  </a:lnTo>
                  <a:lnTo>
                    <a:pt x="2459336" y="459743"/>
                  </a:lnTo>
                  <a:lnTo>
                    <a:pt x="2465366" y="505930"/>
                  </a:lnTo>
                  <a:lnTo>
                    <a:pt x="2469366" y="521989"/>
                  </a:lnTo>
                  <a:lnTo>
                    <a:pt x="2495464" y="532038"/>
                  </a:lnTo>
                  <a:lnTo>
                    <a:pt x="2529602" y="560146"/>
                  </a:lnTo>
                  <a:lnTo>
                    <a:pt x="2557005" y="575958"/>
                  </a:lnTo>
                  <a:lnTo>
                    <a:pt x="2549671" y="582225"/>
                  </a:lnTo>
                  <a:lnTo>
                    <a:pt x="2479405" y="598284"/>
                  </a:lnTo>
                  <a:lnTo>
                    <a:pt x="2457327" y="642461"/>
                  </a:lnTo>
                  <a:lnTo>
                    <a:pt x="2445267" y="662540"/>
                  </a:lnTo>
                  <a:lnTo>
                    <a:pt x="2405120" y="620363"/>
                  </a:lnTo>
                  <a:lnTo>
                    <a:pt x="2381031" y="654501"/>
                  </a:lnTo>
                  <a:lnTo>
                    <a:pt x="2322824" y="660511"/>
                  </a:lnTo>
                  <a:lnTo>
                    <a:pt x="2278657" y="819102"/>
                  </a:lnTo>
                  <a:lnTo>
                    <a:pt x="2196332" y="837171"/>
                  </a:lnTo>
                  <a:lnTo>
                    <a:pt x="2174253" y="891359"/>
                  </a:lnTo>
                  <a:lnTo>
                    <a:pt x="2148154" y="895379"/>
                  </a:lnTo>
                  <a:lnTo>
                    <a:pt x="2130095" y="925497"/>
                  </a:lnTo>
                  <a:lnTo>
                    <a:pt x="2053799" y="947576"/>
                  </a:lnTo>
                  <a:lnTo>
                    <a:pt x="2053799" y="999763"/>
                  </a:lnTo>
                  <a:lnTo>
                    <a:pt x="2035740" y="1029881"/>
                  </a:lnTo>
                  <a:lnTo>
                    <a:pt x="1977533" y="975674"/>
                  </a:lnTo>
                  <a:lnTo>
                    <a:pt x="1959474" y="993753"/>
                  </a:lnTo>
                  <a:lnTo>
                    <a:pt x="1931384" y="981685"/>
                  </a:lnTo>
                  <a:lnTo>
                    <a:pt x="1907296" y="965625"/>
                  </a:lnTo>
                  <a:lnTo>
                    <a:pt x="1883188" y="939527"/>
                  </a:lnTo>
                  <a:lnTo>
                    <a:pt x="1808902" y="955596"/>
                  </a:lnTo>
                  <a:lnTo>
                    <a:pt x="1768755" y="969645"/>
                  </a:lnTo>
                  <a:lnTo>
                    <a:pt x="1740665" y="955596"/>
                  </a:lnTo>
                  <a:lnTo>
                    <a:pt x="1676410" y="965645"/>
                  </a:lnTo>
                  <a:lnTo>
                    <a:pt x="1608153" y="975674"/>
                  </a:lnTo>
                  <a:lnTo>
                    <a:pt x="1563986" y="911419"/>
                  </a:lnTo>
                  <a:lnTo>
                    <a:pt x="1497721" y="903399"/>
                  </a:lnTo>
                  <a:lnTo>
                    <a:pt x="1437504" y="907399"/>
                  </a:lnTo>
                  <a:lnTo>
                    <a:pt x="1363218" y="857222"/>
                  </a:lnTo>
                  <a:lnTo>
                    <a:pt x="1294962" y="859212"/>
                  </a:lnTo>
                  <a:lnTo>
                    <a:pt x="1246756" y="887321"/>
                  </a:lnTo>
                  <a:lnTo>
                    <a:pt x="1158450" y="879272"/>
                  </a:lnTo>
                  <a:lnTo>
                    <a:pt x="1054027" y="841115"/>
                  </a:lnTo>
                  <a:lnTo>
                    <a:pt x="1019908" y="861203"/>
                  </a:lnTo>
                  <a:lnTo>
                    <a:pt x="987781" y="831085"/>
                  </a:lnTo>
                  <a:lnTo>
                    <a:pt x="955672" y="839124"/>
                  </a:lnTo>
                  <a:lnTo>
                    <a:pt x="925554" y="815045"/>
                  </a:lnTo>
                  <a:lnTo>
                    <a:pt x="869356" y="833104"/>
                  </a:lnTo>
                  <a:lnTo>
                    <a:pt x="833209" y="809015"/>
                  </a:lnTo>
                  <a:lnTo>
                    <a:pt x="744884" y="843153"/>
                  </a:lnTo>
                  <a:lnTo>
                    <a:pt x="664588" y="847154"/>
                  </a:lnTo>
                  <a:lnTo>
                    <a:pt x="578234" y="802967"/>
                  </a:lnTo>
                  <a:lnTo>
                    <a:pt x="485880" y="796957"/>
                  </a:lnTo>
                  <a:lnTo>
                    <a:pt x="375466" y="790928"/>
                  </a:lnTo>
                  <a:lnTo>
                    <a:pt x="273072" y="792937"/>
                  </a:lnTo>
                  <a:lnTo>
                    <a:pt x="186747" y="746760"/>
                  </a:lnTo>
                  <a:lnTo>
                    <a:pt x="166669" y="736702"/>
                  </a:lnTo>
                  <a:lnTo>
                    <a:pt x="104432" y="738711"/>
                  </a:lnTo>
                  <a:lnTo>
                    <a:pt x="62494" y="736102"/>
                  </a:lnTo>
                  <a:lnTo>
                    <a:pt x="68752" y="739378"/>
                  </a:lnTo>
                  <a:lnTo>
                    <a:pt x="74314" y="718633"/>
                  </a:lnTo>
                  <a:cubicBezTo>
                    <a:pt x="74314" y="718633"/>
                    <a:pt x="90383" y="682504"/>
                    <a:pt x="100403" y="676465"/>
                  </a:cubicBezTo>
                  <a:cubicBezTo>
                    <a:pt x="110452" y="670455"/>
                    <a:pt x="114472" y="626269"/>
                    <a:pt x="114472" y="626269"/>
                  </a:cubicBezTo>
                  <a:lnTo>
                    <a:pt x="116472" y="574072"/>
                  </a:lnTo>
                  <a:lnTo>
                    <a:pt x="150600" y="576091"/>
                  </a:lnTo>
                  <a:lnTo>
                    <a:pt x="192757" y="578101"/>
                  </a:lnTo>
                  <a:lnTo>
                    <a:pt x="230905" y="556022"/>
                  </a:lnTo>
                  <a:lnTo>
                    <a:pt x="275072" y="529923"/>
                  </a:lnTo>
                  <a:lnTo>
                    <a:pt x="307191" y="558013"/>
                  </a:lnTo>
                  <a:lnTo>
                    <a:pt x="341319" y="562032"/>
                  </a:lnTo>
                  <a:lnTo>
                    <a:pt x="333289" y="515855"/>
                  </a:lnTo>
                  <a:lnTo>
                    <a:pt x="303171" y="485737"/>
                  </a:lnTo>
                  <a:lnTo>
                    <a:pt x="271053" y="441570"/>
                  </a:lnTo>
                  <a:lnTo>
                    <a:pt x="234915" y="411451"/>
                  </a:lnTo>
                  <a:lnTo>
                    <a:pt x="204807" y="377333"/>
                  </a:lnTo>
                  <a:lnTo>
                    <a:pt x="200796" y="333137"/>
                  </a:lnTo>
                  <a:lnTo>
                    <a:pt x="184738" y="288970"/>
                  </a:lnTo>
                  <a:lnTo>
                    <a:pt x="146590" y="282959"/>
                  </a:lnTo>
                  <a:lnTo>
                    <a:pt x="132521" y="248822"/>
                  </a:lnTo>
                  <a:lnTo>
                    <a:pt x="108442" y="218704"/>
                  </a:lnTo>
                  <a:lnTo>
                    <a:pt x="118481" y="180565"/>
                  </a:lnTo>
                  <a:lnTo>
                    <a:pt x="138541" y="126359"/>
                  </a:lnTo>
                  <a:lnTo>
                    <a:pt x="76314" y="108299"/>
                  </a:lnTo>
                  <a:lnTo>
                    <a:pt x="12068" y="94250"/>
                  </a:lnTo>
                  <a:lnTo>
                    <a:pt x="0" y="4619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1E02E63-1283-4640-8076-5622F4118489}"/>
                </a:ext>
              </a:extLst>
            </p:cNvPr>
            <p:cNvSpPr/>
            <p:nvPr/>
          </p:nvSpPr>
          <p:spPr bwMode="gray">
            <a:xfrm>
              <a:off x="7178401" y="1425321"/>
              <a:ext cx="2624995" cy="2286800"/>
            </a:xfrm>
            <a:custGeom>
              <a:avLst/>
              <a:gdLst>
                <a:gd name="connsiteX0" fmla="*/ 463734 w 2624995"/>
                <a:gd name="connsiteY0" fmla="*/ 0 h 2286800"/>
                <a:gd name="connsiteX1" fmla="*/ 459696 w 2624995"/>
                <a:gd name="connsiteY1" fmla="*/ 34195 h 2286800"/>
                <a:gd name="connsiteX2" fmla="*/ 447713 w 2624995"/>
                <a:gd name="connsiteY2" fmla="*/ 66342 h 2286800"/>
                <a:gd name="connsiteX3" fmla="*/ 469792 w 2624995"/>
                <a:gd name="connsiteY3" fmla="*/ 158667 h 2286800"/>
                <a:gd name="connsiteX4" fmla="*/ 463725 w 2624995"/>
                <a:gd name="connsiteY4" fmla="*/ 188814 h 2286800"/>
                <a:gd name="connsiteX5" fmla="*/ 455781 w 2624995"/>
                <a:gd name="connsiteY5" fmla="*/ 220847 h 2286800"/>
                <a:gd name="connsiteX6" fmla="*/ 459686 w 2624995"/>
                <a:gd name="connsiteY6" fmla="*/ 246955 h 2286800"/>
                <a:gd name="connsiteX7" fmla="*/ 457810 w 2624995"/>
                <a:gd name="connsiteY7" fmla="*/ 271043 h 2286800"/>
                <a:gd name="connsiteX8" fmla="*/ 445704 w 2624995"/>
                <a:gd name="connsiteY8" fmla="*/ 309258 h 2286800"/>
                <a:gd name="connsiteX9" fmla="*/ 453780 w 2624995"/>
                <a:gd name="connsiteY9" fmla="*/ 335375 h 2286800"/>
                <a:gd name="connsiteX10" fmla="*/ 467811 w 2624995"/>
                <a:gd name="connsiteY10" fmla="*/ 361474 h 2286800"/>
                <a:gd name="connsiteX11" fmla="*/ 455809 w 2624995"/>
                <a:gd name="connsiteY11" fmla="*/ 387582 h 2286800"/>
                <a:gd name="connsiteX12" fmla="*/ 443712 w 2624995"/>
                <a:gd name="connsiteY12" fmla="*/ 387582 h 2286800"/>
                <a:gd name="connsiteX13" fmla="*/ 421653 w 2624995"/>
                <a:gd name="connsiteY13" fmla="*/ 375476 h 2286800"/>
                <a:gd name="connsiteX14" fmla="*/ 369437 w 2624995"/>
                <a:gd name="connsiteY14" fmla="*/ 367389 h 2286800"/>
                <a:gd name="connsiteX15" fmla="*/ 311286 w 2624995"/>
                <a:gd name="connsiteY15" fmla="*/ 367389 h 2286800"/>
                <a:gd name="connsiteX16" fmla="*/ 301200 w 2624995"/>
                <a:gd name="connsiteY16" fmla="*/ 441684 h 2286800"/>
                <a:gd name="connsiteX17" fmla="*/ 239011 w 2624995"/>
                <a:gd name="connsiteY17" fmla="*/ 508025 h 2286800"/>
                <a:gd name="connsiteX18" fmla="*/ 224895 w 2624995"/>
                <a:gd name="connsiteY18" fmla="*/ 562146 h 2286800"/>
                <a:gd name="connsiteX19" fmla="*/ 228952 w 2624995"/>
                <a:gd name="connsiteY19" fmla="*/ 632393 h 2286800"/>
                <a:gd name="connsiteX20" fmla="*/ 214922 w 2624995"/>
                <a:gd name="connsiteY20" fmla="*/ 680571 h 2286800"/>
                <a:gd name="connsiteX21" fmla="*/ 216818 w 2624995"/>
                <a:gd name="connsiteY21" fmla="*/ 678685 h 2286800"/>
                <a:gd name="connsiteX22" fmla="*/ 216818 w 2624995"/>
                <a:gd name="connsiteY22" fmla="*/ 700754 h 2286800"/>
                <a:gd name="connsiteX23" fmla="*/ 250993 w 2624995"/>
                <a:gd name="connsiteY23" fmla="*/ 700754 h 2286800"/>
                <a:gd name="connsiteX24" fmla="*/ 285188 w 2624995"/>
                <a:gd name="connsiteY24" fmla="*/ 706679 h 2286800"/>
                <a:gd name="connsiteX25" fmla="*/ 325279 w 2624995"/>
                <a:gd name="connsiteY25" fmla="*/ 722824 h 2286800"/>
                <a:gd name="connsiteX26" fmla="*/ 361502 w 2624995"/>
                <a:gd name="connsiteY26" fmla="*/ 734806 h 2286800"/>
                <a:gd name="connsiteX27" fmla="*/ 405651 w 2624995"/>
                <a:gd name="connsiteY27" fmla="*/ 738845 h 2286800"/>
                <a:gd name="connsiteX28" fmla="*/ 443732 w 2624995"/>
                <a:gd name="connsiteY28" fmla="*/ 762943 h 2286800"/>
                <a:gd name="connsiteX29" fmla="*/ 437683 w 2624995"/>
                <a:gd name="connsiteY29" fmla="*/ 785012 h 2286800"/>
                <a:gd name="connsiteX30" fmla="*/ 417633 w 2624995"/>
                <a:gd name="connsiteY30" fmla="*/ 787022 h 2286800"/>
                <a:gd name="connsiteX31" fmla="*/ 399583 w 2624995"/>
                <a:gd name="connsiteY31" fmla="*/ 813121 h 2286800"/>
                <a:gd name="connsiteX32" fmla="*/ 393516 w 2624995"/>
                <a:gd name="connsiteY32" fmla="*/ 831152 h 2286800"/>
                <a:gd name="connsiteX33" fmla="*/ 399583 w 2624995"/>
                <a:gd name="connsiteY33" fmla="*/ 851202 h 2286800"/>
                <a:gd name="connsiteX34" fmla="*/ 445761 w 2624995"/>
                <a:gd name="connsiteY34" fmla="*/ 887406 h 2286800"/>
                <a:gd name="connsiteX35" fmla="*/ 465811 w 2624995"/>
                <a:gd name="connsiteY35" fmla="*/ 895493 h 2286800"/>
                <a:gd name="connsiteX36" fmla="*/ 467820 w 2624995"/>
                <a:gd name="connsiteY36" fmla="*/ 945690 h 2286800"/>
                <a:gd name="connsiteX37" fmla="*/ 491909 w 2624995"/>
                <a:gd name="connsiteY37" fmla="*/ 945690 h 2286800"/>
                <a:gd name="connsiteX38" fmla="*/ 491909 w 2624995"/>
                <a:gd name="connsiteY38" fmla="*/ 959691 h 2286800"/>
                <a:gd name="connsiteX39" fmla="*/ 493919 w 2624995"/>
                <a:gd name="connsiteY39" fmla="*/ 997791 h 2286800"/>
                <a:gd name="connsiteX40" fmla="*/ 491909 w 2624995"/>
                <a:gd name="connsiteY40" fmla="*/ 1017975 h 2286800"/>
                <a:gd name="connsiteX41" fmla="*/ 507949 w 2624995"/>
                <a:gd name="connsiteY41" fmla="*/ 1043969 h 2286800"/>
                <a:gd name="connsiteX42" fmla="*/ 511988 w 2624995"/>
                <a:gd name="connsiteY42" fmla="*/ 1074115 h 2286800"/>
                <a:gd name="connsiteX43" fmla="*/ 509959 w 2624995"/>
                <a:gd name="connsiteY43" fmla="*/ 1120283 h 2286800"/>
                <a:gd name="connsiteX44" fmla="*/ 511988 w 2624995"/>
                <a:gd name="connsiteY44" fmla="*/ 1160536 h 2286800"/>
                <a:gd name="connsiteX45" fmla="*/ 518036 w 2624995"/>
                <a:gd name="connsiteY45" fmla="*/ 1224725 h 2286800"/>
                <a:gd name="connsiteX46" fmla="*/ 504025 w 2624995"/>
                <a:gd name="connsiteY46" fmla="*/ 1216647 h 2286800"/>
                <a:gd name="connsiteX47" fmla="*/ 485870 w 2624995"/>
                <a:gd name="connsiteY47" fmla="*/ 1208703 h 2286800"/>
                <a:gd name="connsiteX48" fmla="*/ 469849 w 2624995"/>
                <a:gd name="connsiteY48" fmla="*/ 1194578 h 2286800"/>
                <a:gd name="connsiteX49" fmla="*/ 447770 w 2624995"/>
                <a:gd name="connsiteY49" fmla="*/ 1196588 h 2286800"/>
                <a:gd name="connsiteX50" fmla="*/ 429739 w 2624995"/>
                <a:gd name="connsiteY50" fmla="*/ 1198607 h 2286800"/>
                <a:gd name="connsiteX51" fmla="*/ 409690 w 2624995"/>
                <a:gd name="connsiteY51" fmla="*/ 1212733 h 2286800"/>
                <a:gd name="connsiteX52" fmla="*/ 383572 w 2624995"/>
                <a:gd name="connsiteY52" fmla="*/ 1240727 h 2286800"/>
                <a:gd name="connsiteX53" fmla="*/ 363388 w 2624995"/>
                <a:gd name="connsiteY53" fmla="*/ 1266825 h 2286800"/>
                <a:gd name="connsiteX54" fmla="*/ 343348 w 2624995"/>
                <a:gd name="connsiteY54" fmla="*/ 1274912 h 2286800"/>
                <a:gd name="connsiteX55" fmla="*/ 319259 w 2624995"/>
                <a:gd name="connsiteY55" fmla="*/ 1280970 h 2286800"/>
                <a:gd name="connsiteX56" fmla="*/ 297199 w 2624995"/>
                <a:gd name="connsiteY56" fmla="*/ 1286894 h 2286800"/>
                <a:gd name="connsiteX57" fmla="*/ 273110 w 2624995"/>
                <a:gd name="connsiteY57" fmla="*/ 1292943 h 2286800"/>
                <a:gd name="connsiteX58" fmla="*/ 237039 w 2624995"/>
                <a:gd name="connsiteY58" fmla="*/ 1303049 h 2286800"/>
                <a:gd name="connsiteX59" fmla="*/ 196796 w 2624995"/>
                <a:gd name="connsiteY59" fmla="*/ 1290942 h 2286800"/>
                <a:gd name="connsiteX60" fmla="*/ 182766 w 2624995"/>
                <a:gd name="connsiteY60" fmla="*/ 1280979 h 2286800"/>
                <a:gd name="connsiteX61" fmla="*/ 160706 w 2624995"/>
                <a:gd name="connsiteY61" fmla="*/ 1256881 h 2286800"/>
                <a:gd name="connsiteX62" fmla="*/ 136617 w 2624995"/>
                <a:gd name="connsiteY62" fmla="*/ 1230782 h 2286800"/>
                <a:gd name="connsiteX63" fmla="*/ 130569 w 2624995"/>
                <a:gd name="connsiteY63" fmla="*/ 1214638 h 2286800"/>
                <a:gd name="connsiteX64" fmla="*/ 102441 w 2624995"/>
                <a:gd name="connsiteY64" fmla="*/ 1212752 h 2286800"/>
                <a:gd name="connsiteX65" fmla="*/ 66370 w 2624995"/>
                <a:gd name="connsiteY65" fmla="*/ 1208713 h 2286800"/>
                <a:gd name="connsiteX66" fmla="*/ 26127 w 2624995"/>
                <a:gd name="connsiteY66" fmla="*/ 1240746 h 2286800"/>
                <a:gd name="connsiteX67" fmla="*/ 22222 w 2624995"/>
                <a:gd name="connsiteY67" fmla="*/ 1276941 h 2286800"/>
                <a:gd name="connsiteX68" fmla="*/ 26127 w 2624995"/>
                <a:gd name="connsiteY68" fmla="*/ 1319070 h 2286800"/>
                <a:gd name="connsiteX69" fmla="*/ 16154 w 2624995"/>
                <a:gd name="connsiteY69" fmla="*/ 1359179 h 2286800"/>
                <a:gd name="connsiteX70" fmla="*/ 36205 w 2624995"/>
                <a:gd name="connsiteY70" fmla="*/ 1397403 h 2286800"/>
                <a:gd name="connsiteX71" fmla="*/ 28127 w 2624995"/>
                <a:gd name="connsiteY71" fmla="*/ 1411415 h 2286800"/>
                <a:gd name="connsiteX72" fmla="*/ 18136 w 2624995"/>
                <a:gd name="connsiteY72" fmla="*/ 1439532 h 2286800"/>
                <a:gd name="connsiteX73" fmla="*/ 0 w 2624995"/>
                <a:gd name="connsiteY73" fmla="*/ 1477766 h 2286800"/>
                <a:gd name="connsiteX74" fmla="*/ 8077 w 2624995"/>
                <a:gd name="connsiteY74" fmla="*/ 1507770 h 2286800"/>
                <a:gd name="connsiteX75" fmla="*/ 48187 w 2624995"/>
                <a:gd name="connsiteY75" fmla="*/ 1539935 h 2286800"/>
                <a:gd name="connsiteX76" fmla="*/ 70380 w 2624995"/>
                <a:gd name="connsiteY76" fmla="*/ 1557976 h 2286800"/>
                <a:gd name="connsiteX77" fmla="*/ 92440 w 2624995"/>
                <a:gd name="connsiteY77" fmla="*/ 1576140 h 2286800"/>
                <a:gd name="connsiteX78" fmla="*/ 114500 w 2624995"/>
                <a:gd name="connsiteY78" fmla="*/ 1580055 h 2286800"/>
                <a:gd name="connsiteX79" fmla="*/ 134550 w 2624995"/>
                <a:gd name="connsiteY79" fmla="*/ 1592161 h 2286800"/>
                <a:gd name="connsiteX80" fmla="*/ 150571 w 2624995"/>
                <a:gd name="connsiteY80" fmla="*/ 1608182 h 2286800"/>
                <a:gd name="connsiteX81" fmla="*/ 180708 w 2624995"/>
                <a:gd name="connsiteY81" fmla="*/ 1632280 h 2286800"/>
                <a:gd name="connsiteX82" fmla="*/ 212874 w 2624995"/>
                <a:gd name="connsiteY82" fmla="*/ 1642377 h 2286800"/>
                <a:gd name="connsiteX83" fmla="*/ 236982 w 2624995"/>
                <a:gd name="connsiteY83" fmla="*/ 1652340 h 2286800"/>
                <a:gd name="connsiteX84" fmla="*/ 259023 w 2624995"/>
                <a:gd name="connsiteY84" fmla="*/ 1652340 h 2286800"/>
                <a:gd name="connsiteX85" fmla="*/ 291075 w 2624995"/>
                <a:gd name="connsiteY85" fmla="*/ 1666456 h 2286800"/>
                <a:gd name="connsiteX86" fmla="*/ 327279 w 2624995"/>
                <a:gd name="connsiteY86" fmla="*/ 1696603 h 2286800"/>
                <a:gd name="connsiteX87" fmla="*/ 333327 w 2624995"/>
                <a:gd name="connsiteY87" fmla="*/ 1728645 h 2286800"/>
                <a:gd name="connsiteX88" fmla="*/ 317202 w 2624995"/>
                <a:gd name="connsiteY88" fmla="*/ 1740751 h 2286800"/>
                <a:gd name="connsiteX89" fmla="*/ 317202 w 2624995"/>
                <a:gd name="connsiteY89" fmla="*/ 1768878 h 2286800"/>
                <a:gd name="connsiteX90" fmla="*/ 303190 w 2624995"/>
                <a:gd name="connsiteY90" fmla="*/ 1798901 h 2286800"/>
                <a:gd name="connsiteX91" fmla="*/ 293084 w 2624995"/>
                <a:gd name="connsiteY91" fmla="*/ 1817075 h 2286800"/>
                <a:gd name="connsiteX92" fmla="*/ 293084 w 2624995"/>
                <a:gd name="connsiteY92" fmla="*/ 1841154 h 2286800"/>
                <a:gd name="connsiteX93" fmla="*/ 307200 w 2624995"/>
                <a:gd name="connsiteY93" fmla="*/ 1879245 h 2286800"/>
                <a:gd name="connsiteX94" fmla="*/ 300390 w 2624995"/>
                <a:gd name="connsiteY94" fmla="*/ 1914192 h 2286800"/>
                <a:gd name="connsiteX95" fmla="*/ 309229 w 2624995"/>
                <a:gd name="connsiteY95" fmla="*/ 1929460 h 2286800"/>
                <a:gd name="connsiteX96" fmla="*/ 331308 w 2624995"/>
                <a:gd name="connsiteY96" fmla="*/ 1947491 h 2286800"/>
                <a:gd name="connsiteX97" fmla="*/ 355378 w 2624995"/>
                <a:gd name="connsiteY97" fmla="*/ 1927450 h 2286800"/>
                <a:gd name="connsiteX98" fmla="*/ 411509 w 2624995"/>
                <a:gd name="connsiteY98" fmla="*/ 1929460 h 2286800"/>
                <a:gd name="connsiteX99" fmla="*/ 433721 w 2624995"/>
                <a:gd name="connsiteY99" fmla="*/ 1933499 h 2286800"/>
                <a:gd name="connsiteX100" fmla="*/ 449742 w 2624995"/>
                <a:gd name="connsiteY100" fmla="*/ 1941443 h 2286800"/>
                <a:gd name="connsiteX101" fmla="*/ 481889 w 2624995"/>
                <a:gd name="connsiteY101" fmla="*/ 1969570 h 2286800"/>
                <a:gd name="connsiteX102" fmla="*/ 507892 w 2624995"/>
                <a:gd name="connsiteY102" fmla="*/ 1973609 h 2286800"/>
                <a:gd name="connsiteX103" fmla="*/ 533972 w 2624995"/>
                <a:gd name="connsiteY103" fmla="*/ 1963645 h 2286800"/>
                <a:gd name="connsiteX104" fmla="*/ 554155 w 2624995"/>
                <a:gd name="connsiteY104" fmla="*/ 1917354 h 2286800"/>
                <a:gd name="connsiteX105" fmla="*/ 578263 w 2624995"/>
                <a:gd name="connsiteY105" fmla="*/ 1911429 h 2286800"/>
                <a:gd name="connsiteX106" fmla="*/ 614334 w 2624995"/>
                <a:gd name="connsiteY106" fmla="*/ 1907381 h 2286800"/>
                <a:gd name="connsiteX107" fmla="*/ 638423 w 2624995"/>
                <a:gd name="connsiteY107" fmla="*/ 1921402 h 2286800"/>
                <a:gd name="connsiteX108" fmla="*/ 658473 w 2624995"/>
                <a:gd name="connsiteY108" fmla="*/ 1915468 h 2286800"/>
                <a:gd name="connsiteX109" fmla="*/ 692648 w 2624995"/>
                <a:gd name="connsiteY109" fmla="*/ 1897304 h 2286800"/>
                <a:gd name="connsiteX110" fmla="*/ 730729 w 2624995"/>
                <a:gd name="connsiteY110" fmla="*/ 1881283 h 2286800"/>
                <a:gd name="connsiteX111" fmla="*/ 773002 w 2624995"/>
                <a:gd name="connsiteY111" fmla="*/ 1871177 h 2286800"/>
                <a:gd name="connsiteX112" fmla="*/ 789022 w 2624995"/>
                <a:gd name="connsiteY112" fmla="*/ 1825009 h 2286800"/>
                <a:gd name="connsiteX113" fmla="*/ 801005 w 2624995"/>
                <a:gd name="connsiteY113" fmla="*/ 1817075 h 2286800"/>
                <a:gd name="connsiteX114" fmla="*/ 821188 w 2624995"/>
                <a:gd name="connsiteY114" fmla="*/ 1795005 h 2286800"/>
                <a:gd name="connsiteX115" fmla="*/ 847306 w 2624995"/>
                <a:gd name="connsiteY115" fmla="*/ 1800939 h 2286800"/>
                <a:gd name="connsiteX116" fmla="*/ 879338 w 2624995"/>
                <a:gd name="connsiteY116" fmla="*/ 1792996 h 2286800"/>
                <a:gd name="connsiteX117" fmla="*/ 897369 w 2624995"/>
                <a:gd name="connsiteY117" fmla="*/ 1774831 h 2286800"/>
                <a:gd name="connsiteX118" fmla="*/ 917553 w 2624995"/>
                <a:gd name="connsiteY118" fmla="*/ 1770926 h 2286800"/>
                <a:gd name="connsiteX119" fmla="*/ 949585 w 2624995"/>
                <a:gd name="connsiteY119" fmla="*/ 1770926 h 2286800"/>
                <a:gd name="connsiteX120" fmla="*/ 989829 w 2624995"/>
                <a:gd name="connsiteY120" fmla="*/ 1809017 h 2286800"/>
                <a:gd name="connsiteX121" fmla="*/ 1013917 w 2624995"/>
                <a:gd name="connsiteY121" fmla="*/ 1839173 h 2286800"/>
                <a:gd name="connsiteX122" fmla="*/ 1058066 w 2624995"/>
                <a:gd name="connsiteY122" fmla="*/ 1843211 h 2286800"/>
                <a:gd name="connsiteX123" fmla="*/ 1098175 w 2624995"/>
                <a:gd name="connsiteY123" fmla="*/ 1855194 h 2286800"/>
                <a:gd name="connsiteX124" fmla="*/ 1126303 w 2624995"/>
                <a:gd name="connsiteY124" fmla="*/ 1889379 h 2286800"/>
                <a:gd name="connsiteX125" fmla="*/ 1168422 w 2624995"/>
                <a:gd name="connsiteY125" fmla="*/ 1883321 h 2286800"/>
                <a:gd name="connsiteX126" fmla="*/ 1212571 w 2624995"/>
                <a:gd name="connsiteY126" fmla="*/ 1883321 h 2286800"/>
                <a:gd name="connsiteX127" fmla="*/ 1230726 w 2624995"/>
                <a:gd name="connsiteY127" fmla="*/ 1923421 h 2286800"/>
                <a:gd name="connsiteX128" fmla="*/ 1254833 w 2624995"/>
                <a:gd name="connsiteY128" fmla="*/ 1927460 h 2286800"/>
                <a:gd name="connsiteX129" fmla="*/ 1286866 w 2624995"/>
                <a:gd name="connsiteY129" fmla="*/ 1931499 h 2286800"/>
                <a:gd name="connsiteX130" fmla="*/ 1323070 w 2624995"/>
                <a:gd name="connsiteY130" fmla="*/ 1931499 h 2286800"/>
                <a:gd name="connsiteX131" fmla="*/ 1341120 w 2624995"/>
                <a:gd name="connsiteY131" fmla="*/ 1981705 h 2286800"/>
                <a:gd name="connsiteX132" fmla="*/ 1369228 w 2624995"/>
                <a:gd name="connsiteY132" fmla="*/ 2049942 h 2286800"/>
                <a:gd name="connsiteX133" fmla="*/ 1393317 w 2624995"/>
                <a:gd name="connsiteY133" fmla="*/ 2005803 h 2286800"/>
                <a:gd name="connsiteX134" fmla="*/ 1435455 w 2624995"/>
                <a:gd name="connsiteY134" fmla="*/ 2007813 h 2286800"/>
                <a:gd name="connsiteX135" fmla="*/ 1449571 w 2624995"/>
                <a:gd name="connsiteY135" fmla="*/ 2060010 h 2286800"/>
                <a:gd name="connsiteX136" fmla="*/ 1445533 w 2624995"/>
                <a:gd name="connsiteY136" fmla="*/ 2100120 h 2286800"/>
                <a:gd name="connsiteX137" fmla="*/ 1487671 w 2624995"/>
                <a:gd name="connsiteY137" fmla="*/ 2096081 h 2286800"/>
                <a:gd name="connsiteX138" fmla="*/ 1513770 w 2624995"/>
                <a:gd name="connsiteY138" fmla="*/ 2118160 h 2286800"/>
                <a:gd name="connsiteX139" fmla="*/ 1531801 w 2624995"/>
                <a:gd name="connsiteY139" fmla="*/ 2146259 h 2286800"/>
                <a:gd name="connsiteX140" fmla="*/ 1545936 w 2624995"/>
                <a:gd name="connsiteY140" fmla="*/ 2176415 h 2286800"/>
                <a:gd name="connsiteX141" fmla="*/ 1586046 w 2624995"/>
                <a:gd name="connsiteY141" fmla="*/ 2176415 h 2286800"/>
                <a:gd name="connsiteX142" fmla="*/ 1632223 w 2624995"/>
                <a:gd name="connsiteY142" fmla="*/ 2176415 h 2286800"/>
                <a:gd name="connsiteX143" fmla="*/ 1642329 w 2624995"/>
                <a:gd name="connsiteY143" fmla="*/ 2190436 h 2286800"/>
                <a:gd name="connsiteX144" fmla="*/ 1656340 w 2624995"/>
                <a:gd name="connsiteY144" fmla="*/ 2198513 h 2286800"/>
                <a:gd name="connsiteX145" fmla="*/ 1694555 w 2624995"/>
                <a:gd name="connsiteY145" fmla="*/ 2196484 h 2286800"/>
                <a:gd name="connsiteX146" fmla="*/ 1718643 w 2624995"/>
                <a:gd name="connsiteY146" fmla="*/ 2172395 h 2286800"/>
                <a:gd name="connsiteX147" fmla="*/ 1722568 w 2624995"/>
                <a:gd name="connsiteY147" fmla="*/ 2234584 h 2286800"/>
                <a:gd name="connsiteX148" fmla="*/ 1744761 w 2624995"/>
                <a:gd name="connsiteY148" fmla="*/ 2256777 h 2286800"/>
                <a:gd name="connsiteX149" fmla="*/ 1776793 w 2624995"/>
                <a:gd name="connsiteY149" fmla="*/ 2286800 h 2286800"/>
                <a:gd name="connsiteX150" fmla="*/ 1822971 w 2624995"/>
                <a:gd name="connsiteY150" fmla="*/ 2282752 h 2286800"/>
                <a:gd name="connsiteX151" fmla="*/ 1861185 w 2624995"/>
                <a:gd name="connsiteY151" fmla="*/ 2278837 h 2286800"/>
                <a:gd name="connsiteX152" fmla="*/ 1895227 w 2624995"/>
                <a:gd name="connsiteY152" fmla="*/ 2248700 h 2286800"/>
                <a:gd name="connsiteX153" fmla="*/ 1927393 w 2624995"/>
                <a:gd name="connsiteY153" fmla="*/ 2222583 h 2286800"/>
                <a:gd name="connsiteX154" fmla="*/ 1955521 w 2624995"/>
                <a:gd name="connsiteY154" fmla="*/ 2190417 h 2286800"/>
                <a:gd name="connsiteX155" fmla="*/ 1967503 w 2624995"/>
                <a:gd name="connsiteY155" fmla="*/ 2158384 h 2286800"/>
                <a:gd name="connsiteX156" fmla="*/ 1935470 w 2624995"/>
                <a:gd name="connsiteY156" fmla="*/ 2126218 h 2286800"/>
                <a:gd name="connsiteX157" fmla="*/ 1933442 w 2624995"/>
                <a:gd name="connsiteY157" fmla="*/ 2086128 h 2286800"/>
                <a:gd name="connsiteX158" fmla="*/ 1937480 w 2624995"/>
                <a:gd name="connsiteY158" fmla="*/ 2062039 h 2286800"/>
                <a:gd name="connsiteX159" fmla="*/ 1957550 w 2624995"/>
                <a:gd name="connsiteY159" fmla="*/ 2045903 h 2286800"/>
                <a:gd name="connsiteX160" fmla="*/ 1965474 w 2624995"/>
                <a:gd name="connsiteY160" fmla="*/ 2023824 h 2286800"/>
                <a:gd name="connsiteX161" fmla="*/ 1965474 w 2624995"/>
                <a:gd name="connsiteY161" fmla="*/ 1999736 h 2286800"/>
                <a:gd name="connsiteX162" fmla="*/ 1983648 w 2624995"/>
                <a:gd name="connsiteY162" fmla="*/ 1977676 h 2286800"/>
                <a:gd name="connsiteX163" fmla="*/ 1981619 w 2624995"/>
                <a:gd name="connsiteY163" fmla="*/ 1955606 h 2286800"/>
                <a:gd name="connsiteX164" fmla="*/ 1967503 w 2624995"/>
                <a:gd name="connsiteY164" fmla="*/ 1937576 h 2286800"/>
                <a:gd name="connsiteX165" fmla="*/ 1933461 w 2624995"/>
                <a:gd name="connsiteY165" fmla="*/ 1903381 h 2286800"/>
                <a:gd name="connsiteX166" fmla="*/ 1911382 w 2624995"/>
                <a:gd name="connsiteY166" fmla="*/ 1885340 h 2286800"/>
                <a:gd name="connsiteX167" fmla="*/ 1893227 w 2624995"/>
                <a:gd name="connsiteY167" fmla="*/ 1857213 h 2286800"/>
                <a:gd name="connsiteX168" fmla="*/ 1887312 w 2624995"/>
                <a:gd name="connsiteY168" fmla="*/ 1839182 h 2286800"/>
                <a:gd name="connsiteX169" fmla="*/ 1879216 w 2624995"/>
                <a:gd name="connsiteY169" fmla="*/ 1804997 h 2286800"/>
                <a:gd name="connsiteX170" fmla="*/ 1879216 w 2624995"/>
                <a:gd name="connsiteY170" fmla="*/ 1758820 h 2286800"/>
                <a:gd name="connsiteX171" fmla="*/ 1903305 w 2624995"/>
                <a:gd name="connsiteY171" fmla="*/ 1736750 h 2286800"/>
                <a:gd name="connsiteX172" fmla="*/ 1929422 w 2624995"/>
                <a:gd name="connsiteY172" fmla="*/ 1740789 h 2286800"/>
                <a:gd name="connsiteX173" fmla="*/ 1929422 w 2624995"/>
                <a:gd name="connsiteY173" fmla="*/ 1712662 h 2286800"/>
                <a:gd name="connsiteX174" fmla="*/ 1947453 w 2624995"/>
                <a:gd name="connsiteY174" fmla="*/ 1682515 h 2286800"/>
                <a:gd name="connsiteX175" fmla="*/ 1941386 w 2624995"/>
                <a:gd name="connsiteY175" fmla="*/ 1644425 h 2286800"/>
                <a:gd name="connsiteX176" fmla="*/ 1935470 w 2624995"/>
                <a:gd name="connsiteY176" fmla="*/ 1612259 h 2286800"/>
                <a:gd name="connsiteX177" fmla="*/ 1963598 w 2624995"/>
                <a:gd name="connsiteY177" fmla="*/ 1572149 h 2286800"/>
                <a:gd name="connsiteX178" fmla="*/ 1977590 w 2624995"/>
                <a:gd name="connsiteY178" fmla="*/ 1552099 h 2286800"/>
                <a:gd name="connsiteX179" fmla="*/ 2005717 w 2624995"/>
                <a:gd name="connsiteY179" fmla="*/ 1528010 h 2286800"/>
                <a:gd name="connsiteX180" fmla="*/ 2055923 w 2624995"/>
                <a:gd name="connsiteY180" fmla="*/ 1517904 h 2286800"/>
                <a:gd name="connsiteX181" fmla="*/ 2079993 w 2624995"/>
                <a:gd name="connsiteY181" fmla="*/ 1509836 h 2286800"/>
                <a:gd name="connsiteX182" fmla="*/ 2118074 w 2624995"/>
                <a:gd name="connsiteY182" fmla="*/ 1533925 h 2286800"/>
                <a:gd name="connsiteX183" fmla="*/ 2138143 w 2624995"/>
                <a:gd name="connsiteY183" fmla="*/ 1553966 h 2286800"/>
                <a:gd name="connsiteX184" fmla="*/ 2166252 w 2624995"/>
                <a:gd name="connsiteY184" fmla="*/ 1531896 h 2286800"/>
                <a:gd name="connsiteX185" fmla="*/ 2186302 w 2624995"/>
                <a:gd name="connsiteY185" fmla="*/ 1513856 h 2286800"/>
                <a:gd name="connsiteX186" fmla="*/ 2186302 w 2624995"/>
                <a:gd name="connsiteY186" fmla="*/ 1479804 h 2286800"/>
                <a:gd name="connsiteX187" fmla="*/ 2212420 w 2624995"/>
                <a:gd name="connsiteY187" fmla="*/ 1467698 h 2286800"/>
                <a:gd name="connsiteX188" fmla="*/ 2242557 w 2624995"/>
                <a:gd name="connsiteY188" fmla="*/ 1451667 h 2286800"/>
                <a:gd name="connsiteX189" fmla="*/ 2250634 w 2624995"/>
                <a:gd name="connsiteY189" fmla="*/ 1427578 h 2286800"/>
                <a:gd name="connsiteX190" fmla="*/ 2252643 w 2624995"/>
                <a:gd name="connsiteY190" fmla="*/ 1383316 h 2286800"/>
                <a:gd name="connsiteX191" fmla="*/ 2282667 w 2624995"/>
                <a:gd name="connsiteY191" fmla="*/ 1367295 h 2286800"/>
                <a:gd name="connsiteX192" fmla="*/ 2320881 w 2624995"/>
                <a:gd name="connsiteY192" fmla="*/ 1351264 h 2286800"/>
                <a:gd name="connsiteX193" fmla="*/ 2363019 w 2624995"/>
                <a:gd name="connsiteY193" fmla="*/ 1327185 h 2286800"/>
                <a:gd name="connsiteX194" fmla="*/ 2387108 w 2624995"/>
                <a:gd name="connsiteY194" fmla="*/ 1293009 h 2286800"/>
                <a:gd name="connsiteX195" fmla="*/ 2419274 w 2624995"/>
                <a:gd name="connsiteY195" fmla="*/ 1264882 h 2286800"/>
                <a:gd name="connsiteX196" fmla="*/ 2453316 w 2624995"/>
                <a:gd name="connsiteY196" fmla="*/ 1264882 h 2286800"/>
                <a:gd name="connsiteX197" fmla="*/ 2493560 w 2624995"/>
                <a:gd name="connsiteY197" fmla="*/ 1293009 h 2286800"/>
                <a:gd name="connsiteX198" fmla="*/ 2515638 w 2624995"/>
                <a:gd name="connsiteY198" fmla="*/ 1309145 h 2286800"/>
                <a:gd name="connsiteX199" fmla="*/ 2527602 w 2624995"/>
                <a:gd name="connsiteY199" fmla="*/ 1293009 h 2286800"/>
                <a:gd name="connsiteX200" fmla="*/ 2529631 w 2624995"/>
                <a:gd name="connsiteY200" fmla="*/ 1260967 h 2286800"/>
                <a:gd name="connsiteX201" fmla="*/ 2517648 w 2624995"/>
                <a:gd name="connsiteY201" fmla="*/ 1226791 h 2286800"/>
                <a:gd name="connsiteX202" fmla="*/ 2561797 w 2624995"/>
                <a:gd name="connsiteY202" fmla="*/ 1210761 h 2286800"/>
                <a:gd name="connsiteX203" fmla="*/ 2571750 w 2624995"/>
                <a:gd name="connsiteY203" fmla="*/ 1222743 h 2286800"/>
                <a:gd name="connsiteX204" fmla="*/ 2597868 w 2624995"/>
                <a:gd name="connsiteY204" fmla="*/ 1196635 h 2286800"/>
                <a:gd name="connsiteX205" fmla="*/ 2624995 w 2624995"/>
                <a:gd name="connsiteY205" fmla="*/ 1169508 h 2286800"/>
                <a:gd name="connsiteX206" fmla="*/ 2624252 w 2624995"/>
                <a:gd name="connsiteY206" fmla="*/ 1168117 h 2286800"/>
                <a:gd name="connsiteX207" fmla="*/ 2610002 w 2624995"/>
                <a:gd name="connsiteY207" fmla="*/ 1150458 h 2286800"/>
                <a:gd name="connsiteX208" fmla="*/ 2591952 w 2624995"/>
                <a:gd name="connsiteY208" fmla="*/ 1150458 h 2286800"/>
                <a:gd name="connsiteX209" fmla="*/ 2567864 w 2624995"/>
                <a:gd name="connsiteY209" fmla="*/ 1142381 h 2286800"/>
                <a:gd name="connsiteX210" fmla="*/ 2541765 w 2624995"/>
                <a:gd name="connsiteY210" fmla="*/ 1114387 h 2286800"/>
                <a:gd name="connsiteX211" fmla="*/ 2519686 w 2624995"/>
                <a:gd name="connsiteY211" fmla="*/ 1110348 h 2286800"/>
                <a:gd name="connsiteX212" fmla="*/ 2507590 w 2624995"/>
                <a:gd name="connsiteY212" fmla="*/ 1068095 h 2286800"/>
                <a:gd name="connsiteX213" fmla="*/ 2499493 w 2624995"/>
                <a:gd name="connsiteY213" fmla="*/ 1038073 h 2286800"/>
                <a:gd name="connsiteX214" fmla="*/ 2487511 w 2624995"/>
                <a:gd name="connsiteY214" fmla="*/ 1005916 h 2286800"/>
                <a:gd name="connsiteX215" fmla="*/ 2487511 w 2624995"/>
                <a:gd name="connsiteY215" fmla="*/ 959749 h 2286800"/>
                <a:gd name="connsiteX216" fmla="*/ 2457374 w 2624995"/>
                <a:gd name="connsiteY216" fmla="*/ 951662 h 2286800"/>
                <a:gd name="connsiteX217" fmla="*/ 2449297 w 2624995"/>
                <a:gd name="connsiteY217" fmla="*/ 939689 h 2286800"/>
                <a:gd name="connsiteX218" fmla="*/ 2427218 w 2624995"/>
                <a:gd name="connsiteY218" fmla="*/ 911562 h 2286800"/>
                <a:gd name="connsiteX219" fmla="*/ 2419274 w 2624995"/>
                <a:gd name="connsiteY219" fmla="*/ 875357 h 2286800"/>
                <a:gd name="connsiteX220" fmla="*/ 2367058 w 2624995"/>
                <a:gd name="connsiteY220" fmla="*/ 847363 h 2286800"/>
                <a:gd name="connsiteX221" fmla="*/ 2354961 w 2624995"/>
                <a:gd name="connsiteY221" fmla="*/ 811159 h 2286800"/>
                <a:gd name="connsiteX222" fmla="*/ 2369058 w 2624995"/>
                <a:gd name="connsiteY222" fmla="*/ 793128 h 2286800"/>
                <a:gd name="connsiteX223" fmla="*/ 2367048 w 2624995"/>
                <a:gd name="connsiteY223" fmla="*/ 690715 h 2286800"/>
                <a:gd name="connsiteX224" fmla="*/ 2391137 w 2624995"/>
                <a:gd name="connsiteY224" fmla="*/ 638499 h 2286800"/>
                <a:gd name="connsiteX225" fmla="*/ 2415245 w 2624995"/>
                <a:gd name="connsiteY225" fmla="*/ 594360 h 2286800"/>
                <a:gd name="connsiteX226" fmla="*/ 2443353 w 2624995"/>
                <a:gd name="connsiteY226" fmla="*/ 546183 h 2286800"/>
                <a:gd name="connsiteX227" fmla="*/ 2423303 w 2624995"/>
                <a:gd name="connsiteY227" fmla="*/ 489918 h 2286800"/>
                <a:gd name="connsiteX228" fmla="*/ 2423303 w 2624995"/>
                <a:gd name="connsiteY228" fmla="*/ 459905 h 2286800"/>
                <a:gd name="connsiteX229" fmla="*/ 2413216 w 2624995"/>
                <a:gd name="connsiteY229" fmla="*/ 425720 h 2286800"/>
                <a:gd name="connsiteX230" fmla="*/ 2379021 w 2624995"/>
                <a:gd name="connsiteY230" fmla="*/ 317249 h 2286800"/>
                <a:gd name="connsiteX231" fmla="*/ 2349018 w 2624995"/>
                <a:gd name="connsiteY231" fmla="*/ 281168 h 2286800"/>
                <a:gd name="connsiteX232" fmla="*/ 2306745 w 2624995"/>
                <a:gd name="connsiteY232" fmla="*/ 305267 h 2286800"/>
                <a:gd name="connsiteX233" fmla="*/ 2248605 w 2624995"/>
                <a:gd name="connsiteY233" fmla="*/ 305267 h 2286800"/>
                <a:gd name="connsiteX234" fmla="*/ 2220477 w 2624995"/>
                <a:gd name="connsiteY234" fmla="*/ 273101 h 2286800"/>
                <a:gd name="connsiteX235" fmla="*/ 2176329 w 2624995"/>
                <a:gd name="connsiteY235" fmla="*/ 267052 h 2286800"/>
                <a:gd name="connsiteX236" fmla="*/ 2170281 w 2624995"/>
                <a:gd name="connsiteY236" fmla="*/ 285217 h 2286800"/>
                <a:gd name="connsiteX237" fmla="*/ 2150231 w 2624995"/>
                <a:gd name="connsiteY237" fmla="*/ 295180 h 2286800"/>
                <a:gd name="connsiteX238" fmla="*/ 2142154 w 2624995"/>
                <a:gd name="connsiteY238" fmla="*/ 269081 h 2286800"/>
                <a:gd name="connsiteX239" fmla="*/ 2142154 w 2624995"/>
                <a:gd name="connsiteY239" fmla="*/ 235020 h 2286800"/>
                <a:gd name="connsiteX240" fmla="*/ 2111997 w 2624995"/>
                <a:gd name="connsiteY240" fmla="*/ 206902 h 2286800"/>
                <a:gd name="connsiteX241" fmla="*/ 2069878 w 2624995"/>
                <a:gd name="connsiteY241" fmla="*/ 226962 h 2286800"/>
                <a:gd name="connsiteX242" fmla="*/ 1995573 w 2624995"/>
                <a:gd name="connsiteY242" fmla="*/ 186852 h 2286800"/>
                <a:gd name="connsiteX243" fmla="*/ 1965417 w 2624995"/>
                <a:gd name="connsiteY243" fmla="*/ 206893 h 2286800"/>
                <a:gd name="connsiteX244" fmla="*/ 1925308 w 2624995"/>
                <a:gd name="connsiteY244" fmla="*/ 196796 h 2286800"/>
                <a:gd name="connsiteX245" fmla="*/ 1893141 w 2624995"/>
                <a:gd name="connsiteY245" fmla="*/ 287226 h 2286800"/>
                <a:gd name="connsiteX246" fmla="*/ 1849012 w 2624995"/>
                <a:gd name="connsiteY246" fmla="*/ 319268 h 2286800"/>
                <a:gd name="connsiteX247" fmla="*/ 1830962 w 2624995"/>
                <a:gd name="connsiteY247" fmla="*/ 303238 h 2286800"/>
                <a:gd name="connsiteX248" fmla="*/ 1812912 w 2624995"/>
                <a:gd name="connsiteY248" fmla="*/ 303238 h 2286800"/>
                <a:gd name="connsiteX249" fmla="*/ 1796768 w 2624995"/>
                <a:gd name="connsiteY249" fmla="*/ 327346 h 2286800"/>
                <a:gd name="connsiteX250" fmla="*/ 1782776 w 2624995"/>
                <a:gd name="connsiteY250" fmla="*/ 313325 h 2286800"/>
                <a:gd name="connsiteX251" fmla="*/ 1772688 w 2624995"/>
                <a:gd name="connsiteY251" fmla="*/ 313325 h 2286800"/>
                <a:gd name="connsiteX252" fmla="*/ 1706461 w 2624995"/>
                <a:gd name="connsiteY252" fmla="*/ 319249 h 2286800"/>
                <a:gd name="connsiteX253" fmla="*/ 1634185 w 2624995"/>
                <a:gd name="connsiteY253" fmla="*/ 305238 h 2286800"/>
                <a:gd name="connsiteX254" fmla="*/ 1614135 w 2624995"/>
                <a:gd name="connsiteY254" fmla="*/ 321269 h 2286800"/>
                <a:gd name="connsiteX255" fmla="*/ 1569987 w 2624995"/>
                <a:gd name="connsiteY255" fmla="*/ 321269 h 2286800"/>
                <a:gd name="connsiteX256" fmla="*/ 1431370 w 2624995"/>
                <a:gd name="connsiteY256" fmla="*/ 242945 h 2286800"/>
                <a:gd name="connsiteX257" fmla="*/ 1411319 w 2624995"/>
                <a:gd name="connsiteY257" fmla="*/ 210903 h 2286800"/>
                <a:gd name="connsiteX258" fmla="*/ 1298934 w 2624995"/>
                <a:gd name="connsiteY258" fmla="*/ 152629 h 2286800"/>
                <a:gd name="connsiteX259" fmla="*/ 1244708 w 2624995"/>
                <a:gd name="connsiteY259" fmla="*/ 152629 h 2286800"/>
                <a:gd name="connsiteX260" fmla="*/ 1240670 w 2624995"/>
                <a:gd name="connsiteY260" fmla="*/ 166754 h 2286800"/>
                <a:gd name="connsiteX261" fmla="*/ 1230696 w 2624995"/>
                <a:gd name="connsiteY261" fmla="*/ 186804 h 2286800"/>
                <a:gd name="connsiteX262" fmla="*/ 1158421 w 2624995"/>
                <a:gd name="connsiteY262" fmla="*/ 180737 h 2286800"/>
                <a:gd name="connsiteX263" fmla="*/ 1148334 w 2624995"/>
                <a:gd name="connsiteY263" fmla="*/ 166735 h 2286800"/>
                <a:gd name="connsiteX264" fmla="*/ 1124226 w 2624995"/>
                <a:gd name="connsiteY264" fmla="*/ 150590 h 2286800"/>
                <a:gd name="connsiteX265" fmla="*/ 1090050 w 2624995"/>
                <a:gd name="connsiteY265" fmla="*/ 132550 h 2286800"/>
                <a:gd name="connsiteX266" fmla="*/ 1039968 w 2624995"/>
                <a:gd name="connsiteY266" fmla="*/ 126502 h 2286800"/>
                <a:gd name="connsiteX267" fmla="*/ 981703 w 2624995"/>
                <a:gd name="connsiteY267" fmla="*/ 114510 h 2286800"/>
                <a:gd name="connsiteX268" fmla="*/ 943623 w 2624995"/>
                <a:gd name="connsiteY268" fmla="*/ 62303 h 2286800"/>
                <a:gd name="connsiteX269" fmla="*/ 895417 w 2624995"/>
                <a:gd name="connsiteY269" fmla="*/ 62303 h 2286800"/>
                <a:gd name="connsiteX270" fmla="*/ 817093 w 2624995"/>
                <a:gd name="connsiteY270" fmla="*/ 24089 h 2286800"/>
                <a:gd name="connsiteX271" fmla="*/ 780888 w 2624995"/>
                <a:gd name="connsiteY271" fmla="*/ 38205 h 2286800"/>
                <a:gd name="connsiteX272" fmla="*/ 748855 w 2624995"/>
                <a:gd name="connsiteY272" fmla="*/ 16145 h 2286800"/>
                <a:gd name="connsiteX273" fmla="*/ 734739 w 2624995"/>
                <a:gd name="connsiteY273" fmla="*/ 78315 h 2286800"/>
                <a:gd name="connsiteX274" fmla="*/ 688562 w 2624995"/>
                <a:gd name="connsiteY274" fmla="*/ 76305 h 2286800"/>
                <a:gd name="connsiteX275" fmla="*/ 658406 w 2624995"/>
                <a:gd name="connsiteY275" fmla="*/ 100394 h 2286800"/>
                <a:gd name="connsiteX276" fmla="*/ 628402 w 2624995"/>
                <a:gd name="connsiteY276" fmla="*/ 96479 h 2286800"/>
                <a:gd name="connsiteX277" fmla="*/ 648452 w 2624995"/>
                <a:gd name="connsiteY277" fmla="*/ 60265 h 2286800"/>
                <a:gd name="connsiteX278" fmla="*/ 622354 w 2624995"/>
                <a:gd name="connsiteY278" fmla="*/ 20174 h 2286800"/>
                <a:gd name="connsiteX279" fmla="*/ 552088 w 2624995"/>
                <a:gd name="connsiteY279" fmla="*/ 20174 h 2286800"/>
                <a:gd name="connsiteX280" fmla="*/ 535943 w 2624995"/>
                <a:gd name="connsiteY280" fmla="*/ 4029 h 2286800"/>
                <a:gd name="connsiteX281" fmla="*/ 463734 w 2624995"/>
                <a:gd name="connsiteY281" fmla="*/ 0 h 2286800"/>
                <a:gd name="connsiteX282" fmla="*/ 1918145 w 2624995"/>
                <a:gd name="connsiteY282" fmla="*/ 898312 h 2286800"/>
                <a:gd name="connsiteX283" fmla="*/ 1919040 w 2624995"/>
                <a:gd name="connsiteY283" fmla="*/ 898312 h 2286800"/>
                <a:gd name="connsiteX284" fmla="*/ 1930260 w 2624995"/>
                <a:gd name="connsiteY284" fmla="*/ 904866 h 2286800"/>
                <a:gd name="connsiteX285" fmla="*/ 1938357 w 2624995"/>
                <a:gd name="connsiteY285" fmla="*/ 923677 h 2286800"/>
                <a:gd name="connsiteX286" fmla="*/ 1941633 w 2624995"/>
                <a:gd name="connsiteY286" fmla="*/ 954443 h 2286800"/>
                <a:gd name="connsiteX287" fmla="*/ 1984515 w 2624995"/>
                <a:gd name="connsiteY287" fmla="*/ 985342 h 2286800"/>
                <a:gd name="connsiteX288" fmla="*/ 1989820 w 2624995"/>
                <a:gd name="connsiteY288" fmla="*/ 987990 h 2286800"/>
                <a:gd name="connsiteX289" fmla="*/ 1994859 w 2624995"/>
                <a:gd name="connsiteY289" fmla="*/ 974874 h 2286800"/>
                <a:gd name="connsiteX290" fmla="*/ 1992982 w 2624995"/>
                <a:gd name="connsiteY290" fmla="*/ 953948 h 2286800"/>
                <a:gd name="connsiteX291" fmla="*/ 2028549 w 2624995"/>
                <a:gd name="connsiteY291" fmla="*/ 963273 h 2286800"/>
                <a:gd name="connsiteX292" fmla="*/ 2028291 w 2624995"/>
                <a:gd name="connsiteY292" fmla="*/ 981199 h 2286800"/>
                <a:gd name="connsiteX293" fmla="*/ 2032464 w 2624995"/>
                <a:gd name="connsiteY293" fmla="*/ 999230 h 2286800"/>
                <a:gd name="connsiteX294" fmla="*/ 2052142 w 2624995"/>
                <a:gd name="connsiteY294" fmla="*/ 1009564 h 2286800"/>
                <a:gd name="connsiteX295" fmla="*/ 2072831 w 2624995"/>
                <a:gd name="connsiteY295" fmla="*/ 1008421 h 2286800"/>
                <a:gd name="connsiteX296" fmla="*/ 2063496 w 2624995"/>
                <a:gd name="connsiteY296" fmla="*/ 1045635 h 2286800"/>
                <a:gd name="connsiteX297" fmla="*/ 2080536 w 2624995"/>
                <a:gd name="connsiteY297" fmla="*/ 1052446 h 2286800"/>
                <a:gd name="connsiteX298" fmla="*/ 2072964 w 2624995"/>
                <a:gd name="connsiteY298" fmla="*/ 1084745 h 2286800"/>
                <a:gd name="connsiteX299" fmla="*/ 2066154 w 2624995"/>
                <a:gd name="connsiteY299" fmla="*/ 1109091 h 2286800"/>
                <a:gd name="connsiteX300" fmla="*/ 2062877 w 2624995"/>
                <a:gd name="connsiteY300" fmla="*/ 1130151 h 2286800"/>
                <a:gd name="connsiteX301" fmla="*/ 2062353 w 2624995"/>
                <a:gd name="connsiteY301" fmla="*/ 1153363 h 2286800"/>
                <a:gd name="connsiteX302" fmla="*/ 2060715 w 2624995"/>
                <a:gd name="connsiteY302" fmla="*/ 1172794 h 2286800"/>
                <a:gd name="connsiteX303" fmla="*/ 2071935 w 2624995"/>
                <a:gd name="connsiteY303" fmla="*/ 1168384 h 2286800"/>
                <a:gd name="connsiteX304" fmla="*/ 2076231 w 2624995"/>
                <a:gd name="connsiteY304" fmla="*/ 1169518 h 2286800"/>
                <a:gd name="connsiteX305" fmla="*/ 2076345 w 2624995"/>
                <a:gd name="connsiteY305" fmla="*/ 1169651 h 2286800"/>
                <a:gd name="connsiteX306" fmla="*/ 2076498 w 2624995"/>
                <a:gd name="connsiteY306" fmla="*/ 1169784 h 2286800"/>
                <a:gd name="connsiteX307" fmla="*/ 2076612 w 2624995"/>
                <a:gd name="connsiteY307" fmla="*/ 1169908 h 2286800"/>
                <a:gd name="connsiteX308" fmla="*/ 2076745 w 2624995"/>
                <a:gd name="connsiteY308" fmla="*/ 1170042 h 2286800"/>
                <a:gd name="connsiteX309" fmla="*/ 2076879 w 2624995"/>
                <a:gd name="connsiteY309" fmla="*/ 1170175 h 2286800"/>
                <a:gd name="connsiteX310" fmla="*/ 2076879 w 2624995"/>
                <a:gd name="connsiteY310" fmla="*/ 1170299 h 2286800"/>
                <a:gd name="connsiteX311" fmla="*/ 2074107 w 2624995"/>
                <a:gd name="connsiteY311" fmla="*/ 1185691 h 2286800"/>
                <a:gd name="connsiteX312" fmla="*/ 2074716 w 2624995"/>
                <a:gd name="connsiteY312" fmla="*/ 1186567 h 2286800"/>
                <a:gd name="connsiteX313" fmla="*/ 2077355 w 2624995"/>
                <a:gd name="connsiteY313" fmla="*/ 1188587 h 2286800"/>
                <a:gd name="connsiteX314" fmla="*/ 2077355 w 2624995"/>
                <a:gd name="connsiteY314" fmla="*/ 1188710 h 2286800"/>
                <a:gd name="connsiteX315" fmla="*/ 2080650 w 2624995"/>
                <a:gd name="connsiteY315" fmla="*/ 1195654 h 2286800"/>
                <a:gd name="connsiteX316" fmla="*/ 2083289 w 2624995"/>
                <a:gd name="connsiteY316" fmla="*/ 1197426 h 2286800"/>
                <a:gd name="connsiteX317" fmla="*/ 2084165 w 2624995"/>
                <a:gd name="connsiteY317" fmla="*/ 1197426 h 2286800"/>
                <a:gd name="connsiteX318" fmla="*/ 2087699 w 2624995"/>
                <a:gd name="connsiteY318" fmla="*/ 1193768 h 2286800"/>
                <a:gd name="connsiteX319" fmla="*/ 2089204 w 2624995"/>
                <a:gd name="connsiteY319" fmla="*/ 1196921 h 2286800"/>
                <a:gd name="connsiteX320" fmla="*/ 2089833 w 2624995"/>
                <a:gd name="connsiteY320" fmla="*/ 1197559 h 2286800"/>
                <a:gd name="connsiteX321" fmla="*/ 2090461 w 2624995"/>
                <a:gd name="connsiteY321" fmla="*/ 1197940 h 2286800"/>
                <a:gd name="connsiteX322" fmla="*/ 2090699 w 2624995"/>
                <a:gd name="connsiteY322" fmla="*/ 1198064 h 2286800"/>
                <a:gd name="connsiteX323" fmla="*/ 2091204 w 2624995"/>
                <a:gd name="connsiteY323" fmla="*/ 1198188 h 2286800"/>
                <a:gd name="connsiteX324" fmla="*/ 2091709 w 2624995"/>
                <a:gd name="connsiteY324" fmla="*/ 1198188 h 2286800"/>
                <a:gd name="connsiteX325" fmla="*/ 2092338 w 2624995"/>
                <a:gd name="connsiteY325" fmla="*/ 1198188 h 2286800"/>
                <a:gd name="connsiteX326" fmla="*/ 2101939 w 2624995"/>
                <a:gd name="connsiteY326" fmla="*/ 1193778 h 2286800"/>
                <a:gd name="connsiteX327" fmla="*/ 2106483 w 2624995"/>
                <a:gd name="connsiteY327" fmla="*/ 1208913 h 2286800"/>
                <a:gd name="connsiteX328" fmla="*/ 2110254 w 2624995"/>
                <a:gd name="connsiteY328" fmla="*/ 1228963 h 2286800"/>
                <a:gd name="connsiteX329" fmla="*/ 2110759 w 2624995"/>
                <a:gd name="connsiteY329" fmla="*/ 1240441 h 2286800"/>
                <a:gd name="connsiteX330" fmla="*/ 2110521 w 2624995"/>
                <a:gd name="connsiteY330" fmla="*/ 1240822 h 2286800"/>
                <a:gd name="connsiteX331" fmla="*/ 2110283 w 2624995"/>
                <a:gd name="connsiteY331" fmla="*/ 1241060 h 2286800"/>
                <a:gd name="connsiteX332" fmla="*/ 2109778 w 2624995"/>
                <a:gd name="connsiteY332" fmla="*/ 1241441 h 2286800"/>
                <a:gd name="connsiteX333" fmla="*/ 2109388 w 2624995"/>
                <a:gd name="connsiteY333" fmla="*/ 1241689 h 2286800"/>
                <a:gd name="connsiteX334" fmla="*/ 2077726 w 2624995"/>
                <a:gd name="connsiteY334" fmla="*/ 1232478 h 2286800"/>
                <a:gd name="connsiteX335" fmla="*/ 2041407 w 2624995"/>
                <a:gd name="connsiteY335" fmla="*/ 1204865 h 2286800"/>
                <a:gd name="connsiteX336" fmla="*/ 2016680 w 2624995"/>
                <a:gd name="connsiteY336" fmla="*/ 1205113 h 2286800"/>
                <a:gd name="connsiteX337" fmla="*/ 1999526 w 2624995"/>
                <a:gd name="connsiteY337" fmla="*/ 1207894 h 2286800"/>
                <a:gd name="connsiteX338" fmla="*/ 1991449 w 2624995"/>
                <a:gd name="connsiteY338" fmla="*/ 1205732 h 2286800"/>
                <a:gd name="connsiteX339" fmla="*/ 1990058 w 2624995"/>
                <a:gd name="connsiteY339" fmla="*/ 1206246 h 2286800"/>
                <a:gd name="connsiteX340" fmla="*/ 1989430 w 2624995"/>
                <a:gd name="connsiteY340" fmla="*/ 1206637 h 2286800"/>
                <a:gd name="connsiteX341" fmla="*/ 1983648 w 2624995"/>
                <a:gd name="connsiteY341" fmla="*/ 1214571 h 2286800"/>
                <a:gd name="connsiteX342" fmla="*/ 1967741 w 2624995"/>
                <a:gd name="connsiteY342" fmla="*/ 1230706 h 2286800"/>
                <a:gd name="connsiteX343" fmla="*/ 1934070 w 2624995"/>
                <a:gd name="connsiteY343" fmla="*/ 1240555 h 2286800"/>
                <a:gd name="connsiteX344" fmla="*/ 1933813 w 2624995"/>
                <a:gd name="connsiteY344" fmla="*/ 1261377 h 2286800"/>
                <a:gd name="connsiteX345" fmla="*/ 1936213 w 2624995"/>
                <a:gd name="connsiteY345" fmla="*/ 1271340 h 2286800"/>
                <a:gd name="connsiteX346" fmla="*/ 1936080 w 2624995"/>
                <a:gd name="connsiteY346" fmla="*/ 1271721 h 2286800"/>
                <a:gd name="connsiteX347" fmla="*/ 1936080 w 2624995"/>
                <a:gd name="connsiteY347" fmla="*/ 1271959 h 2286800"/>
                <a:gd name="connsiteX348" fmla="*/ 1935966 w 2624995"/>
                <a:gd name="connsiteY348" fmla="*/ 1272207 h 2286800"/>
                <a:gd name="connsiteX349" fmla="*/ 1935966 w 2624995"/>
                <a:gd name="connsiteY349" fmla="*/ 1272331 h 2286800"/>
                <a:gd name="connsiteX350" fmla="*/ 1935832 w 2624995"/>
                <a:gd name="connsiteY350" fmla="*/ 1272464 h 2286800"/>
                <a:gd name="connsiteX351" fmla="*/ 1935442 w 2624995"/>
                <a:gd name="connsiteY351" fmla="*/ 1272835 h 2286800"/>
                <a:gd name="connsiteX352" fmla="*/ 1935309 w 2624995"/>
                <a:gd name="connsiteY352" fmla="*/ 1272969 h 2286800"/>
                <a:gd name="connsiteX353" fmla="*/ 1934433 w 2624995"/>
                <a:gd name="connsiteY353" fmla="*/ 1273093 h 2286800"/>
                <a:gd name="connsiteX354" fmla="*/ 1927622 w 2624995"/>
                <a:gd name="connsiteY354" fmla="*/ 1271454 h 2286800"/>
                <a:gd name="connsiteX355" fmla="*/ 1908572 w 2624995"/>
                <a:gd name="connsiteY355" fmla="*/ 1272969 h 2286800"/>
                <a:gd name="connsiteX356" fmla="*/ 1905562 w 2624995"/>
                <a:gd name="connsiteY356" fmla="*/ 1277264 h 2286800"/>
                <a:gd name="connsiteX357" fmla="*/ 1905172 w 2624995"/>
                <a:gd name="connsiteY357" fmla="*/ 1277493 h 2286800"/>
                <a:gd name="connsiteX358" fmla="*/ 1904800 w 2624995"/>
                <a:gd name="connsiteY358" fmla="*/ 1277617 h 2286800"/>
                <a:gd name="connsiteX359" fmla="*/ 1904295 w 2624995"/>
                <a:gd name="connsiteY359" fmla="*/ 1277617 h 2286800"/>
                <a:gd name="connsiteX360" fmla="*/ 1903905 w 2624995"/>
                <a:gd name="connsiteY360" fmla="*/ 1277617 h 2286800"/>
                <a:gd name="connsiteX361" fmla="*/ 1903533 w 2624995"/>
                <a:gd name="connsiteY361" fmla="*/ 1277493 h 2286800"/>
                <a:gd name="connsiteX362" fmla="*/ 1903029 w 2624995"/>
                <a:gd name="connsiteY362" fmla="*/ 1277369 h 2286800"/>
                <a:gd name="connsiteX363" fmla="*/ 1902638 w 2624995"/>
                <a:gd name="connsiteY363" fmla="*/ 1277122 h 2286800"/>
                <a:gd name="connsiteX364" fmla="*/ 1894541 w 2624995"/>
                <a:gd name="connsiteY364" fmla="*/ 1270321 h 2286800"/>
                <a:gd name="connsiteX365" fmla="*/ 1866043 w 2624995"/>
                <a:gd name="connsiteY365" fmla="*/ 1262377 h 2286800"/>
                <a:gd name="connsiteX366" fmla="*/ 1832239 w 2624995"/>
                <a:gd name="connsiteY366" fmla="*/ 1251785 h 2286800"/>
                <a:gd name="connsiteX367" fmla="*/ 1800330 w 2624995"/>
                <a:gd name="connsiteY367" fmla="*/ 1241441 h 2286800"/>
                <a:gd name="connsiteX368" fmla="*/ 1799197 w 2624995"/>
                <a:gd name="connsiteY368" fmla="*/ 1242336 h 2286800"/>
                <a:gd name="connsiteX369" fmla="*/ 1791119 w 2624995"/>
                <a:gd name="connsiteY369" fmla="*/ 1260748 h 2286800"/>
                <a:gd name="connsiteX370" fmla="*/ 1789986 w 2624995"/>
                <a:gd name="connsiteY370" fmla="*/ 1264158 h 2286800"/>
                <a:gd name="connsiteX371" fmla="*/ 1789223 w 2624995"/>
                <a:gd name="connsiteY371" fmla="*/ 1264901 h 2286800"/>
                <a:gd name="connsiteX372" fmla="*/ 1789090 w 2624995"/>
                <a:gd name="connsiteY372" fmla="*/ 1265034 h 2286800"/>
                <a:gd name="connsiteX373" fmla="*/ 1788852 w 2624995"/>
                <a:gd name="connsiteY373" fmla="*/ 1265158 h 2286800"/>
                <a:gd name="connsiteX374" fmla="*/ 1788595 w 2624995"/>
                <a:gd name="connsiteY374" fmla="*/ 1265282 h 2286800"/>
                <a:gd name="connsiteX375" fmla="*/ 1788376 w 2624995"/>
                <a:gd name="connsiteY375" fmla="*/ 1265282 h 2286800"/>
                <a:gd name="connsiteX376" fmla="*/ 1788119 w 2624995"/>
                <a:gd name="connsiteY376" fmla="*/ 1265415 h 2286800"/>
                <a:gd name="connsiteX377" fmla="*/ 1785109 w 2624995"/>
                <a:gd name="connsiteY377" fmla="*/ 1265539 h 2286800"/>
                <a:gd name="connsiteX378" fmla="*/ 1784871 w 2624995"/>
                <a:gd name="connsiteY378" fmla="*/ 1265539 h 2286800"/>
                <a:gd name="connsiteX379" fmla="*/ 1784614 w 2624995"/>
                <a:gd name="connsiteY379" fmla="*/ 1265663 h 2286800"/>
                <a:gd name="connsiteX380" fmla="*/ 1784395 w 2624995"/>
                <a:gd name="connsiteY380" fmla="*/ 1265796 h 2286800"/>
                <a:gd name="connsiteX381" fmla="*/ 1784242 w 2624995"/>
                <a:gd name="connsiteY381" fmla="*/ 1265920 h 2286800"/>
                <a:gd name="connsiteX382" fmla="*/ 1783632 w 2624995"/>
                <a:gd name="connsiteY382" fmla="*/ 1266549 h 2286800"/>
                <a:gd name="connsiteX383" fmla="*/ 1782366 w 2624995"/>
                <a:gd name="connsiteY383" fmla="*/ 1271968 h 2286800"/>
                <a:gd name="connsiteX384" fmla="*/ 1780975 w 2624995"/>
                <a:gd name="connsiteY384" fmla="*/ 1275369 h 2286800"/>
                <a:gd name="connsiteX385" fmla="*/ 1779975 w 2624995"/>
                <a:gd name="connsiteY385" fmla="*/ 1275617 h 2286800"/>
                <a:gd name="connsiteX386" fmla="*/ 1766859 w 2624995"/>
                <a:gd name="connsiteY386" fmla="*/ 1265273 h 2286800"/>
                <a:gd name="connsiteX387" fmla="*/ 1764592 w 2624995"/>
                <a:gd name="connsiteY387" fmla="*/ 1257081 h 2286800"/>
                <a:gd name="connsiteX388" fmla="*/ 1753248 w 2624995"/>
                <a:gd name="connsiteY388" fmla="*/ 1254547 h 2286800"/>
                <a:gd name="connsiteX389" fmla="*/ 1752638 w 2624995"/>
                <a:gd name="connsiteY389" fmla="*/ 1254928 h 2286800"/>
                <a:gd name="connsiteX390" fmla="*/ 1752381 w 2624995"/>
                <a:gd name="connsiteY390" fmla="*/ 1255062 h 2286800"/>
                <a:gd name="connsiteX391" fmla="*/ 1722873 w 2624995"/>
                <a:gd name="connsiteY391" fmla="*/ 1251014 h 2286800"/>
                <a:gd name="connsiteX392" fmla="*/ 1681477 w 2624995"/>
                <a:gd name="connsiteY392" fmla="*/ 1259472 h 2286800"/>
                <a:gd name="connsiteX393" fmla="*/ 1661550 w 2624995"/>
                <a:gd name="connsiteY393" fmla="*/ 1263634 h 2286800"/>
                <a:gd name="connsiteX394" fmla="*/ 1680972 w 2624995"/>
                <a:gd name="connsiteY394" fmla="*/ 1254433 h 2286800"/>
                <a:gd name="connsiteX395" fmla="*/ 1689811 w 2624995"/>
                <a:gd name="connsiteY395" fmla="*/ 1249518 h 2286800"/>
                <a:gd name="connsiteX396" fmla="*/ 1690183 w 2624995"/>
                <a:gd name="connsiteY396" fmla="*/ 1248880 h 2286800"/>
                <a:gd name="connsiteX397" fmla="*/ 1690811 w 2624995"/>
                <a:gd name="connsiteY397" fmla="*/ 1246994 h 2286800"/>
                <a:gd name="connsiteX398" fmla="*/ 1689421 w 2624995"/>
                <a:gd name="connsiteY398" fmla="*/ 1241441 h 2286800"/>
                <a:gd name="connsiteX399" fmla="*/ 1668885 w 2624995"/>
                <a:gd name="connsiteY399" fmla="*/ 1244603 h 2286800"/>
                <a:gd name="connsiteX400" fmla="*/ 1658779 w 2624995"/>
                <a:gd name="connsiteY400" fmla="*/ 1224791 h 2286800"/>
                <a:gd name="connsiteX401" fmla="*/ 1656245 w 2624995"/>
                <a:gd name="connsiteY401" fmla="*/ 1221019 h 2286800"/>
                <a:gd name="connsiteX402" fmla="*/ 1656112 w 2624995"/>
                <a:gd name="connsiteY402" fmla="*/ 1220638 h 2286800"/>
                <a:gd name="connsiteX403" fmla="*/ 1656112 w 2624995"/>
                <a:gd name="connsiteY403" fmla="*/ 1220515 h 2286800"/>
                <a:gd name="connsiteX404" fmla="*/ 1656112 w 2624995"/>
                <a:gd name="connsiteY404" fmla="*/ 1220381 h 2286800"/>
                <a:gd name="connsiteX405" fmla="*/ 1656112 w 2624995"/>
                <a:gd name="connsiteY405" fmla="*/ 1220257 h 2286800"/>
                <a:gd name="connsiteX406" fmla="*/ 1656112 w 2624995"/>
                <a:gd name="connsiteY406" fmla="*/ 1220124 h 2286800"/>
                <a:gd name="connsiteX407" fmla="*/ 1656245 w 2624995"/>
                <a:gd name="connsiteY407" fmla="*/ 1219991 h 2286800"/>
                <a:gd name="connsiteX408" fmla="*/ 1656245 w 2624995"/>
                <a:gd name="connsiteY408" fmla="*/ 1219867 h 2286800"/>
                <a:gd name="connsiteX409" fmla="*/ 1656245 w 2624995"/>
                <a:gd name="connsiteY409" fmla="*/ 1219743 h 2286800"/>
                <a:gd name="connsiteX410" fmla="*/ 1656379 w 2624995"/>
                <a:gd name="connsiteY410" fmla="*/ 1219486 h 2286800"/>
                <a:gd name="connsiteX411" fmla="*/ 1656493 w 2624995"/>
                <a:gd name="connsiteY411" fmla="*/ 1219362 h 2286800"/>
                <a:gd name="connsiteX412" fmla="*/ 1673028 w 2624995"/>
                <a:gd name="connsiteY412" fmla="*/ 1213428 h 2286800"/>
                <a:gd name="connsiteX413" fmla="*/ 1673267 w 2624995"/>
                <a:gd name="connsiteY413" fmla="*/ 1213047 h 2286800"/>
                <a:gd name="connsiteX414" fmla="*/ 1673400 w 2624995"/>
                <a:gd name="connsiteY414" fmla="*/ 1212799 h 2286800"/>
                <a:gd name="connsiteX415" fmla="*/ 1673533 w 2624995"/>
                <a:gd name="connsiteY415" fmla="*/ 1212561 h 2286800"/>
                <a:gd name="connsiteX416" fmla="*/ 1673533 w 2624995"/>
                <a:gd name="connsiteY416" fmla="*/ 1212171 h 2286800"/>
                <a:gd name="connsiteX417" fmla="*/ 1673647 w 2624995"/>
                <a:gd name="connsiteY417" fmla="*/ 1211790 h 2286800"/>
                <a:gd name="connsiteX418" fmla="*/ 1673647 w 2624995"/>
                <a:gd name="connsiteY418" fmla="*/ 1211542 h 2286800"/>
                <a:gd name="connsiteX419" fmla="*/ 1648044 w 2624995"/>
                <a:gd name="connsiteY419" fmla="*/ 1208389 h 2286800"/>
                <a:gd name="connsiteX420" fmla="*/ 1644139 w 2624995"/>
                <a:gd name="connsiteY420" fmla="*/ 1209656 h 2286800"/>
                <a:gd name="connsiteX421" fmla="*/ 1643139 w 2624995"/>
                <a:gd name="connsiteY421" fmla="*/ 1209656 h 2286800"/>
                <a:gd name="connsiteX422" fmla="*/ 1642900 w 2624995"/>
                <a:gd name="connsiteY422" fmla="*/ 1209656 h 2286800"/>
                <a:gd name="connsiteX423" fmla="*/ 1642663 w 2624995"/>
                <a:gd name="connsiteY423" fmla="*/ 1209532 h 2286800"/>
                <a:gd name="connsiteX424" fmla="*/ 1642405 w 2624995"/>
                <a:gd name="connsiteY424" fmla="*/ 1209399 h 2286800"/>
                <a:gd name="connsiteX425" fmla="*/ 1642272 w 2624995"/>
                <a:gd name="connsiteY425" fmla="*/ 1209399 h 2286800"/>
                <a:gd name="connsiteX426" fmla="*/ 1642158 w 2624995"/>
                <a:gd name="connsiteY426" fmla="*/ 1209265 h 2286800"/>
                <a:gd name="connsiteX427" fmla="*/ 1641920 w 2624995"/>
                <a:gd name="connsiteY427" fmla="*/ 1209142 h 2286800"/>
                <a:gd name="connsiteX428" fmla="*/ 1641786 w 2624995"/>
                <a:gd name="connsiteY428" fmla="*/ 1209018 h 2286800"/>
                <a:gd name="connsiteX429" fmla="*/ 1641653 w 2624995"/>
                <a:gd name="connsiteY429" fmla="*/ 1208885 h 2286800"/>
                <a:gd name="connsiteX430" fmla="*/ 1641520 w 2624995"/>
                <a:gd name="connsiteY430" fmla="*/ 1208761 h 2286800"/>
                <a:gd name="connsiteX431" fmla="*/ 1636347 w 2624995"/>
                <a:gd name="connsiteY431" fmla="*/ 1188196 h 2286800"/>
                <a:gd name="connsiteX432" fmla="*/ 1632947 w 2624995"/>
                <a:gd name="connsiteY432" fmla="*/ 1185672 h 2286800"/>
                <a:gd name="connsiteX433" fmla="*/ 1622860 w 2624995"/>
                <a:gd name="connsiteY433" fmla="*/ 1182386 h 2286800"/>
                <a:gd name="connsiteX434" fmla="*/ 1628270 w 2624995"/>
                <a:gd name="connsiteY434" fmla="*/ 1168003 h 2286800"/>
                <a:gd name="connsiteX435" fmla="*/ 1641253 w 2624995"/>
                <a:gd name="connsiteY435" fmla="*/ 1153620 h 2286800"/>
                <a:gd name="connsiteX436" fmla="*/ 1647187 w 2624995"/>
                <a:gd name="connsiteY436" fmla="*/ 1134961 h 2286800"/>
                <a:gd name="connsiteX437" fmla="*/ 1646682 w 2624995"/>
                <a:gd name="connsiteY437" fmla="*/ 1116302 h 2286800"/>
                <a:gd name="connsiteX438" fmla="*/ 1653864 w 2624995"/>
                <a:gd name="connsiteY438" fmla="*/ 1108482 h 2286800"/>
                <a:gd name="connsiteX439" fmla="*/ 1654102 w 2624995"/>
                <a:gd name="connsiteY439" fmla="*/ 1107862 h 2286800"/>
                <a:gd name="connsiteX440" fmla="*/ 1654235 w 2624995"/>
                <a:gd name="connsiteY440" fmla="*/ 1107234 h 2286800"/>
                <a:gd name="connsiteX441" fmla="*/ 1654235 w 2624995"/>
                <a:gd name="connsiteY441" fmla="*/ 1106729 h 2286800"/>
                <a:gd name="connsiteX442" fmla="*/ 1653997 w 2624995"/>
                <a:gd name="connsiteY442" fmla="*/ 1105853 h 2286800"/>
                <a:gd name="connsiteX443" fmla="*/ 1653474 w 2624995"/>
                <a:gd name="connsiteY443" fmla="*/ 1105100 h 2286800"/>
                <a:gd name="connsiteX444" fmla="*/ 1653235 w 2624995"/>
                <a:gd name="connsiteY444" fmla="*/ 1104852 h 2286800"/>
                <a:gd name="connsiteX445" fmla="*/ 1648692 w 2624995"/>
                <a:gd name="connsiteY445" fmla="*/ 1102586 h 2286800"/>
                <a:gd name="connsiteX446" fmla="*/ 1647930 w 2624995"/>
                <a:gd name="connsiteY446" fmla="*/ 1102966 h 2286800"/>
                <a:gd name="connsiteX447" fmla="*/ 1647425 w 2624995"/>
                <a:gd name="connsiteY447" fmla="*/ 1103100 h 2286800"/>
                <a:gd name="connsiteX448" fmla="*/ 1647034 w 2624995"/>
                <a:gd name="connsiteY448" fmla="*/ 1103224 h 2286800"/>
                <a:gd name="connsiteX449" fmla="*/ 1646663 w 2624995"/>
                <a:gd name="connsiteY449" fmla="*/ 1103348 h 2286800"/>
                <a:gd name="connsiteX450" fmla="*/ 1646139 w 2624995"/>
                <a:gd name="connsiteY450" fmla="*/ 1103348 h 2286800"/>
                <a:gd name="connsiteX451" fmla="*/ 1638719 w 2624995"/>
                <a:gd name="connsiteY451" fmla="*/ 1087326 h 2286800"/>
                <a:gd name="connsiteX452" fmla="*/ 1638833 w 2624995"/>
                <a:gd name="connsiteY452" fmla="*/ 1087203 h 2286800"/>
                <a:gd name="connsiteX453" fmla="*/ 1638967 w 2624995"/>
                <a:gd name="connsiteY453" fmla="*/ 1087069 h 2286800"/>
                <a:gd name="connsiteX454" fmla="*/ 1639205 w 2624995"/>
                <a:gd name="connsiteY454" fmla="*/ 1086945 h 2286800"/>
                <a:gd name="connsiteX455" fmla="*/ 1639338 w 2624995"/>
                <a:gd name="connsiteY455" fmla="*/ 1086812 h 2286800"/>
                <a:gd name="connsiteX456" fmla="*/ 1639595 w 2624995"/>
                <a:gd name="connsiteY456" fmla="*/ 1086688 h 2286800"/>
                <a:gd name="connsiteX457" fmla="*/ 1639815 w 2624995"/>
                <a:gd name="connsiteY457" fmla="*/ 1086555 h 2286800"/>
                <a:gd name="connsiteX458" fmla="*/ 1640710 w 2624995"/>
                <a:gd name="connsiteY458" fmla="*/ 1086174 h 2286800"/>
                <a:gd name="connsiteX459" fmla="*/ 1641843 w 2624995"/>
                <a:gd name="connsiteY459" fmla="*/ 1086050 h 2286800"/>
                <a:gd name="connsiteX460" fmla="*/ 1642977 w 2624995"/>
                <a:gd name="connsiteY460" fmla="*/ 1086050 h 2286800"/>
                <a:gd name="connsiteX461" fmla="*/ 1642843 w 2624995"/>
                <a:gd name="connsiteY461" fmla="*/ 1085288 h 2286800"/>
                <a:gd name="connsiteX462" fmla="*/ 1642710 w 2624995"/>
                <a:gd name="connsiteY462" fmla="*/ 1085040 h 2286800"/>
                <a:gd name="connsiteX463" fmla="*/ 1642596 w 2624995"/>
                <a:gd name="connsiteY463" fmla="*/ 1084802 h 2286800"/>
                <a:gd name="connsiteX464" fmla="*/ 1642463 w 2624995"/>
                <a:gd name="connsiteY464" fmla="*/ 1084545 h 2286800"/>
                <a:gd name="connsiteX465" fmla="*/ 1625946 w 2624995"/>
                <a:gd name="connsiteY465" fmla="*/ 1082278 h 2286800"/>
                <a:gd name="connsiteX466" fmla="*/ 1625708 w 2624995"/>
                <a:gd name="connsiteY466" fmla="*/ 1082154 h 2286800"/>
                <a:gd name="connsiteX467" fmla="*/ 1625575 w 2624995"/>
                <a:gd name="connsiteY467" fmla="*/ 1082154 h 2286800"/>
                <a:gd name="connsiteX468" fmla="*/ 1625575 w 2624995"/>
                <a:gd name="connsiteY468" fmla="*/ 1082021 h 2286800"/>
                <a:gd name="connsiteX469" fmla="*/ 1625575 w 2624995"/>
                <a:gd name="connsiteY469" fmla="*/ 1081897 h 2286800"/>
                <a:gd name="connsiteX470" fmla="*/ 1625575 w 2624995"/>
                <a:gd name="connsiteY470" fmla="*/ 1081764 h 2286800"/>
                <a:gd name="connsiteX471" fmla="*/ 1625575 w 2624995"/>
                <a:gd name="connsiteY471" fmla="*/ 1081640 h 2286800"/>
                <a:gd name="connsiteX472" fmla="*/ 1630118 w 2624995"/>
                <a:gd name="connsiteY472" fmla="*/ 1078487 h 2286800"/>
                <a:gd name="connsiteX473" fmla="*/ 1641357 w 2624995"/>
                <a:gd name="connsiteY473" fmla="*/ 1070915 h 2286800"/>
                <a:gd name="connsiteX474" fmla="*/ 1641491 w 2624995"/>
                <a:gd name="connsiteY474" fmla="*/ 1070781 h 2286800"/>
                <a:gd name="connsiteX475" fmla="*/ 1641729 w 2624995"/>
                <a:gd name="connsiteY475" fmla="*/ 1070400 h 2286800"/>
                <a:gd name="connsiteX476" fmla="*/ 1641863 w 2624995"/>
                <a:gd name="connsiteY476" fmla="*/ 1070162 h 2286800"/>
                <a:gd name="connsiteX477" fmla="*/ 1641863 w 2624995"/>
                <a:gd name="connsiteY477" fmla="*/ 1070029 h 2286800"/>
                <a:gd name="connsiteX478" fmla="*/ 1641977 w 2624995"/>
                <a:gd name="connsiteY478" fmla="*/ 1069791 h 2286800"/>
                <a:gd name="connsiteX479" fmla="*/ 1641977 w 2624995"/>
                <a:gd name="connsiteY479" fmla="*/ 1069410 h 2286800"/>
                <a:gd name="connsiteX480" fmla="*/ 1641977 w 2624995"/>
                <a:gd name="connsiteY480" fmla="*/ 1069029 h 2286800"/>
                <a:gd name="connsiteX481" fmla="*/ 1641977 w 2624995"/>
                <a:gd name="connsiteY481" fmla="*/ 1068400 h 2286800"/>
                <a:gd name="connsiteX482" fmla="*/ 1637062 w 2624995"/>
                <a:gd name="connsiteY482" fmla="*/ 1040025 h 2286800"/>
                <a:gd name="connsiteX483" fmla="*/ 1646272 w 2624995"/>
                <a:gd name="connsiteY483" fmla="*/ 1019842 h 2286800"/>
                <a:gd name="connsiteX484" fmla="*/ 1650816 w 2624995"/>
                <a:gd name="connsiteY484" fmla="*/ 1008736 h 2286800"/>
                <a:gd name="connsiteX485" fmla="*/ 1651949 w 2624995"/>
                <a:gd name="connsiteY485" fmla="*/ 1007478 h 2286800"/>
                <a:gd name="connsiteX486" fmla="*/ 1652845 w 2624995"/>
                <a:gd name="connsiteY486" fmla="*/ 1007088 h 2286800"/>
                <a:gd name="connsiteX487" fmla="*/ 1653721 w 2624995"/>
                <a:gd name="connsiteY487" fmla="*/ 1007212 h 2286800"/>
                <a:gd name="connsiteX488" fmla="*/ 1657017 w 2624995"/>
                <a:gd name="connsiteY488" fmla="*/ 1009488 h 2286800"/>
                <a:gd name="connsiteX489" fmla="*/ 1683620 w 2624995"/>
                <a:gd name="connsiteY489" fmla="*/ 1032186 h 2286800"/>
                <a:gd name="connsiteX490" fmla="*/ 1691326 w 2624995"/>
                <a:gd name="connsiteY490" fmla="*/ 1035720 h 2286800"/>
                <a:gd name="connsiteX491" fmla="*/ 1690583 w 2624995"/>
                <a:gd name="connsiteY491" fmla="*/ 1046826 h 2286800"/>
                <a:gd name="connsiteX492" fmla="*/ 1708985 w 2624995"/>
                <a:gd name="connsiteY492" fmla="*/ 1051370 h 2286800"/>
                <a:gd name="connsiteX493" fmla="*/ 1713548 w 2624995"/>
                <a:gd name="connsiteY493" fmla="*/ 1050112 h 2286800"/>
                <a:gd name="connsiteX494" fmla="*/ 1715558 w 2624995"/>
                <a:gd name="connsiteY494" fmla="*/ 1042540 h 2286800"/>
                <a:gd name="connsiteX495" fmla="*/ 1715948 w 2624995"/>
                <a:gd name="connsiteY495" fmla="*/ 1041911 h 2286800"/>
                <a:gd name="connsiteX496" fmla="*/ 1716453 w 2624995"/>
                <a:gd name="connsiteY496" fmla="*/ 1041406 h 2286800"/>
                <a:gd name="connsiteX497" fmla="*/ 1720120 w 2624995"/>
                <a:gd name="connsiteY497" fmla="*/ 1041025 h 2286800"/>
                <a:gd name="connsiteX498" fmla="*/ 1730226 w 2624995"/>
                <a:gd name="connsiteY498" fmla="*/ 1026271 h 2286800"/>
                <a:gd name="connsiteX499" fmla="*/ 1725796 w 2624995"/>
                <a:gd name="connsiteY499" fmla="*/ 1025385 h 2286800"/>
                <a:gd name="connsiteX500" fmla="*/ 1725663 w 2624995"/>
                <a:gd name="connsiteY500" fmla="*/ 1025261 h 2286800"/>
                <a:gd name="connsiteX501" fmla="*/ 1725549 w 2624995"/>
                <a:gd name="connsiteY501" fmla="*/ 1025128 h 2286800"/>
                <a:gd name="connsiteX502" fmla="*/ 1725549 w 2624995"/>
                <a:gd name="connsiteY502" fmla="*/ 1025004 h 2286800"/>
                <a:gd name="connsiteX503" fmla="*/ 1725549 w 2624995"/>
                <a:gd name="connsiteY503" fmla="*/ 1024880 h 2286800"/>
                <a:gd name="connsiteX504" fmla="*/ 1725549 w 2624995"/>
                <a:gd name="connsiteY504" fmla="*/ 1024747 h 2286800"/>
                <a:gd name="connsiteX505" fmla="*/ 1725787 w 2624995"/>
                <a:gd name="connsiteY505" fmla="*/ 1024509 h 2286800"/>
                <a:gd name="connsiteX506" fmla="*/ 1725920 w 2624995"/>
                <a:gd name="connsiteY506" fmla="*/ 1024376 h 2286800"/>
                <a:gd name="connsiteX507" fmla="*/ 1726530 w 2624995"/>
                <a:gd name="connsiteY507" fmla="*/ 1023995 h 2286800"/>
                <a:gd name="connsiteX508" fmla="*/ 1739408 w 2624995"/>
                <a:gd name="connsiteY508" fmla="*/ 1020975 h 2286800"/>
                <a:gd name="connsiteX509" fmla="*/ 1757934 w 2624995"/>
                <a:gd name="connsiteY509" fmla="*/ 1009869 h 2286800"/>
                <a:gd name="connsiteX510" fmla="*/ 1760725 w 2624995"/>
                <a:gd name="connsiteY510" fmla="*/ 1005954 h 2286800"/>
                <a:gd name="connsiteX511" fmla="*/ 1760096 w 2624995"/>
                <a:gd name="connsiteY511" fmla="*/ 1004811 h 2286800"/>
                <a:gd name="connsiteX512" fmla="*/ 1751524 w 2624995"/>
                <a:gd name="connsiteY512" fmla="*/ 1001039 h 2286800"/>
                <a:gd name="connsiteX513" fmla="*/ 1751409 w 2624995"/>
                <a:gd name="connsiteY513" fmla="*/ 1000801 h 2286800"/>
                <a:gd name="connsiteX514" fmla="*/ 1751276 w 2624995"/>
                <a:gd name="connsiteY514" fmla="*/ 1000668 h 2286800"/>
                <a:gd name="connsiteX515" fmla="*/ 1751143 w 2624995"/>
                <a:gd name="connsiteY515" fmla="*/ 1000420 h 2286800"/>
                <a:gd name="connsiteX516" fmla="*/ 1751143 w 2624995"/>
                <a:gd name="connsiteY516" fmla="*/ 1000039 h 2286800"/>
                <a:gd name="connsiteX517" fmla="*/ 1752143 w 2624995"/>
                <a:gd name="connsiteY517" fmla="*/ 998525 h 2286800"/>
                <a:gd name="connsiteX518" fmla="*/ 1769297 w 2624995"/>
                <a:gd name="connsiteY518" fmla="*/ 990324 h 2286800"/>
                <a:gd name="connsiteX519" fmla="*/ 1792386 w 2624995"/>
                <a:gd name="connsiteY519" fmla="*/ 981123 h 2286800"/>
                <a:gd name="connsiteX520" fmla="*/ 1805131 w 2624995"/>
                <a:gd name="connsiteY520" fmla="*/ 980361 h 2286800"/>
                <a:gd name="connsiteX521" fmla="*/ 1805874 w 2624995"/>
                <a:gd name="connsiteY521" fmla="*/ 979608 h 2286800"/>
                <a:gd name="connsiteX522" fmla="*/ 1807769 w 2624995"/>
                <a:gd name="connsiteY522" fmla="*/ 976208 h 2286800"/>
                <a:gd name="connsiteX523" fmla="*/ 1821780 w 2624995"/>
                <a:gd name="connsiteY523" fmla="*/ 963330 h 2286800"/>
                <a:gd name="connsiteX524" fmla="*/ 1820390 w 2624995"/>
                <a:gd name="connsiteY524" fmla="*/ 960692 h 2286800"/>
                <a:gd name="connsiteX525" fmla="*/ 1820390 w 2624995"/>
                <a:gd name="connsiteY525" fmla="*/ 960568 h 2286800"/>
                <a:gd name="connsiteX526" fmla="*/ 1820523 w 2624995"/>
                <a:gd name="connsiteY526" fmla="*/ 960444 h 2286800"/>
                <a:gd name="connsiteX527" fmla="*/ 1820523 w 2624995"/>
                <a:gd name="connsiteY527" fmla="*/ 960320 h 2286800"/>
                <a:gd name="connsiteX528" fmla="*/ 1820523 w 2624995"/>
                <a:gd name="connsiteY528" fmla="*/ 960196 h 2286800"/>
                <a:gd name="connsiteX529" fmla="*/ 1820637 w 2624995"/>
                <a:gd name="connsiteY529" fmla="*/ 960063 h 2286800"/>
                <a:gd name="connsiteX530" fmla="*/ 1820637 w 2624995"/>
                <a:gd name="connsiteY530" fmla="*/ 959939 h 2286800"/>
                <a:gd name="connsiteX531" fmla="*/ 1821161 w 2624995"/>
                <a:gd name="connsiteY531" fmla="*/ 959549 h 2286800"/>
                <a:gd name="connsiteX532" fmla="*/ 1834410 w 2624995"/>
                <a:gd name="connsiteY532" fmla="*/ 968874 h 2286800"/>
                <a:gd name="connsiteX533" fmla="*/ 1834277 w 2624995"/>
                <a:gd name="connsiteY533" fmla="*/ 969626 h 2286800"/>
                <a:gd name="connsiteX534" fmla="*/ 1834039 w 2624995"/>
                <a:gd name="connsiteY534" fmla="*/ 970255 h 2286800"/>
                <a:gd name="connsiteX535" fmla="*/ 1854355 w 2624995"/>
                <a:gd name="connsiteY535" fmla="*/ 974169 h 2286800"/>
                <a:gd name="connsiteX536" fmla="*/ 1855098 w 2624995"/>
                <a:gd name="connsiteY536" fmla="*/ 963949 h 2286800"/>
                <a:gd name="connsiteX537" fmla="*/ 1863300 w 2624995"/>
                <a:gd name="connsiteY537" fmla="*/ 962187 h 2286800"/>
                <a:gd name="connsiteX538" fmla="*/ 1866576 w 2624995"/>
                <a:gd name="connsiteY538" fmla="*/ 960549 h 2286800"/>
                <a:gd name="connsiteX539" fmla="*/ 1863300 w 2624995"/>
                <a:gd name="connsiteY539" fmla="*/ 944280 h 2286800"/>
                <a:gd name="connsiteX540" fmla="*/ 1863909 w 2624995"/>
                <a:gd name="connsiteY540" fmla="*/ 939613 h 2286800"/>
                <a:gd name="connsiteX541" fmla="*/ 1872482 w 2624995"/>
                <a:gd name="connsiteY541" fmla="*/ 937079 h 2286800"/>
                <a:gd name="connsiteX542" fmla="*/ 1873482 w 2624995"/>
                <a:gd name="connsiteY542" fmla="*/ 935812 h 2286800"/>
                <a:gd name="connsiteX543" fmla="*/ 1872215 w 2624995"/>
                <a:gd name="connsiteY543" fmla="*/ 932659 h 2286800"/>
                <a:gd name="connsiteX544" fmla="*/ 1867805 w 2624995"/>
                <a:gd name="connsiteY544" fmla="*/ 915124 h 2286800"/>
                <a:gd name="connsiteX545" fmla="*/ 1868681 w 2624995"/>
                <a:gd name="connsiteY545" fmla="*/ 908818 h 2286800"/>
                <a:gd name="connsiteX546" fmla="*/ 1879654 w 2624995"/>
                <a:gd name="connsiteY546" fmla="*/ 901370 h 2286800"/>
                <a:gd name="connsiteX547" fmla="*/ 1880530 w 2624995"/>
                <a:gd name="connsiteY547" fmla="*/ 900627 h 2286800"/>
                <a:gd name="connsiteX548" fmla="*/ 1881035 w 2624995"/>
                <a:gd name="connsiteY548" fmla="*/ 900379 h 2286800"/>
                <a:gd name="connsiteX549" fmla="*/ 1881559 w 2624995"/>
                <a:gd name="connsiteY549" fmla="*/ 900255 h 2286800"/>
                <a:gd name="connsiteX550" fmla="*/ 1881931 w 2624995"/>
                <a:gd name="connsiteY550" fmla="*/ 900255 h 2286800"/>
                <a:gd name="connsiteX551" fmla="*/ 1882454 w 2624995"/>
                <a:gd name="connsiteY551" fmla="*/ 900379 h 2286800"/>
                <a:gd name="connsiteX552" fmla="*/ 1883588 w 2624995"/>
                <a:gd name="connsiteY552" fmla="*/ 901141 h 2286800"/>
                <a:gd name="connsiteX553" fmla="*/ 1895304 w 2624995"/>
                <a:gd name="connsiteY553" fmla="*/ 908837 h 2286800"/>
                <a:gd name="connsiteX554" fmla="*/ 1918145 w 2624995"/>
                <a:gd name="connsiteY554" fmla="*/ 898312 h 228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</a:cxnLst>
              <a:rect l="l" t="t" r="r" b="b"/>
              <a:pathLst>
                <a:path w="2624995" h="2286800">
                  <a:moveTo>
                    <a:pt x="463734" y="0"/>
                  </a:moveTo>
                  <a:lnTo>
                    <a:pt x="459696" y="34195"/>
                  </a:lnTo>
                  <a:lnTo>
                    <a:pt x="447713" y="66342"/>
                  </a:lnTo>
                  <a:lnTo>
                    <a:pt x="469792" y="158667"/>
                  </a:lnTo>
                  <a:lnTo>
                    <a:pt x="463725" y="188814"/>
                  </a:lnTo>
                  <a:lnTo>
                    <a:pt x="455781" y="220847"/>
                  </a:lnTo>
                  <a:lnTo>
                    <a:pt x="459686" y="246955"/>
                  </a:lnTo>
                  <a:lnTo>
                    <a:pt x="457810" y="271043"/>
                  </a:lnTo>
                  <a:lnTo>
                    <a:pt x="445704" y="309258"/>
                  </a:lnTo>
                  <a:lnTo>
                    <a:pt x="453780" y="335375"/>
                  </a:lnTo>
                  <a:lnTo>
                    <a:pt x="467811" y="361474"/>
                  </a:lnTo>
                  <a:lnTo>
                    <a:pt x="455809" y="387582"/>
                  </a:lnTo>
                  <a:lnTo>
                    <a:pt x="443712" y="387582"/>
                  </a:lnTo>
                  <a:lnTo>
                    <a:pt x="421653" y="375476"/>
                  </a:lnTo>
                  <a:lnTo>
                    <a:pt x="369437" y="367389"/>
                  </a:lnTo>
                  <a:lnTo>
                    <a:pt x="311286" y="367389"/>
                  </a:lnTo>
                  <a:lnTo>
                    <a:pt x="301200" y="441684"/>
                  </a:lnTo>
                  <a:lnTo>
                    <a:pt x="239011" y="508025"/>
                  </a:lnTo>
                  <a:lnTo>
                    <a:pt x="224895" y="562146"/>
                  </a:lnTo>
                  <a:lnTo>
                    <a:pt x="228952" y="632393"/>
                  </a:lnTo>
                  <a:lnTo>
                    <a:pt x="214922" y="680571"/>
                  </a:lnTo>
                  <a:lnTo>
                    <a:pt x="216818" y="678685"/>
                  </a:lnTo>
                  <a:lnTo>
                    <a:pt x="216818" y="700754"/>
                  </a:lnTo>
                  <a:lnTo>
                    <a:pt x="250993" y="700754"/>
                  </a:lnTo>
                  <a:lnTo>
                    <a:pt x="285188" y="706679"/>
                  </a:lnTo>
                  <a:lnTo>
                    <a:pt x="325279" y="722824"/>
                  </a:lnTo>
                  <a:lnTo>
                    <a:pt x="361502" y="734806"/>
                  </a:lnTo>
                  <a:lnTo>
                    <a:pt x="405651" y="738845"/>
                  </a:lnTo>
                  <a:lnTo>
                    <a:pt x="443732" y="762943"/>
                  </a:lnTo>
                  <a:lnTo>
                    <a:pt x="437683" y="785012"/>
                  </a:lnTo>
                  <a:lnTo>
                    <a:pt x="417633" y="787022"/>
                  </a:lnTo>
                  <a:lnTo>
                    <a:pt x="399583" y="813121"/>
                  </a:lnTo>
                  <a:lnTo>
                    <a:pt x="393516" y="831152"/>
                  </a:lnTo>
                  <a:lnTo>
                    <a:pt x="399583" y="851202"/>
                  </a:lnTo>
                  <a:lnTo>
                    <a:pt x="445761" y="887406"/>
                  </a:lnTo>
                  <a:lnTo>
                    <a:pt x="465811" y="895493"/>
                  </a:lnTo>
                  <a:lnTo>
                    <a:pt x="467820" y="945690"/>
                  </a:lnTo>
                  <a:lnTo>
                    <a:pt x="491909" y="945690"/>
                  </a:lnTo>
                  <a:lnTo>
                    <a:pt x="491909" y="959691"/>
                  </a:lnTo>
                  <a:lnTo>
                    <a:pt x="493919" y="997791"/>
                  </a:lnTo>
                  <a:lnTo>
                    <a:pt x="491909" y="1017975"/>
                  </a:lnTo>
                  <a:lnTo>
                    <a:pt x="507949" y="1043969"/>
                  </a:lnTo>
                  <a:lnTo>
                    <a:pt x="511988" y="1074115"/>
                  </a:lnTo>
                  <a:lnTo>
                    <a:pt x="509959" y="1120283"/>
                  </a:lnTo>
                  <a:lnTo>
                    <a:pt x="511988" y="1160536"/>
                  </a:lnTo>
                  <a:lnTo>
                    <a:pt x="518036" y="1224725"/>
                  </a:lnTo>
                  <a:lnTo>
                    <a:pt x="504025" y="1216647"/>
                  </a:lnTo>
                  <a:lnTo>
                    <a:pt x="485870" y="1208703"/>
                  </a:lnTo>
                  <a:lnTo>
                    <a:pt x="469849" y="1194578"/>
                  </a:lnTo>
                  <a:lnTo>
                    <a:pt x="447770" y="1196588"/>
                  </a:lnTo>
                  <a:lnTo>
                    <a:pt x="429739" y="1198607"/>
                  </a:lnTo>
                  <a:lnTo>
                    <a:pt x="409690" y="1212733"/>
                  </a:lnTo>
                  <a:lnTo>
                    <a:pt x="383572" y="1240727"/>
                  </a:lnTo>
                  <a:lnTo>
                    <a:pt x="363388" y="1266825"/>
                  </a:lnTo>
                  <a:lnTo>
                    <a:pt x="343348" y="1274912"/>
                  </a:lnTo>
                  <a:lnTo>
                    <a:pt x="319259" y="1280970"/>
                  </a:lnTo>
                  <a:lnTo>
                    <a:pt x="297199" y="1286894"/>
                  </a:lnTo>
                  <a:lnTo>
                    <a:pt x="273110" y="1292943"/>
                  </a:lnTo>
                  <a:lnTo>
                    <a:pt x="237039" y="1303049"/>
                  </a:lnTo>
                  <a:lnTo>
                    <a:pt x="196796" y="1290942"/>
                  </a:lnTo>
                  <a:lnTo>
                    <a:pt x="182766" y="1280979"/>
                  </a:lnTo>
                  <a:lnTo>
                    <a:pt x="160706" y="1256881"/>
                  </a:lnTo>
                  <a:lnTo>
                    <a:pt x="136617" y="1230782"/>
                  </a:lnTo>
                  <a:lnTo>
                    <a:pt x="130569" y="1214638"/>
                  </a:lnTo>
                  <a:lnTo>
                    <a:pt x="102441" y="1212752"/>
                  </a:lnTo>
                  <a:lnTo>
                    <a:pt x="66370" y="1208713"/>
                  </a:lnTo>
                  <a:lnTo>
                    <a:pt x="26127" y="1240746"/>
                  </a:lnTo>
                  <a:lnTo>
                    <a:pt x="22222" y="1276941"/>
                  </a:lnTo>
                  <a:lnTo>
                    <a:pt x="26127" y="1319070"/>
                  </a:lnTo>
                  <a:lnTo>
                    <a:pt x="16154" y="1359179"/>
                  </a:lnTo>
                  <a:lnTo>
                    <a:pt x="36205" y="1397403"/>
                  </a:lnTo>
                  <a:lnTo>
                    <a:pt x="28127" y="1411415"/>
                  </a:lnTo>
                  <a:lnTo>
                    <a:pt x="18136" y="1439532"/>
                  </a:lnTo>
                  <a:lnTo>
                    <a:pt x="0" y="1477766"/>
                  </a:lnTo>
                  <a:lnTo>
                    <a:pt x="8077" y="1507770"/>
                  </a:lnTo>
                  <a:lnTo>
                    <a:pt x="48187" y="1539935"/>
                  </a:lnTo>
                  <a:lnTo>
                    <a:pt x="70380" y="1557976"/>
                  </a:lnTo>
                  <a:lnTo>
                    <a:pt x="92440" y="1576140"/>
                  </a:lnTo>
                  <a:lnTo>
                    <a:pt x="114500" y="1580055"/>
                  </a:lnTo>
                  <a:lnTo>
                    <a:pt x="134550" y="1592161"/>
                  </a:lnTo>
                  <a:lnTo>
                    <a:pt x="150571" y="1608182"/>
                  </a:lnTo>
                  <a:lnTo>
                    <a:pt x="180708" y="1632280"/>
                  </a:lnTo>
                  <a:lnTo>
                    <a:pt x="212874" y="1642377"/>
                  </a:lnTo>
                  <a:lnTo>
                    <a:pt x="236982" y="1652340"/>
                  </a:lnTo>
                  <a:lnTo>
                    <a:pt x="259023" y="1652340"/>
                  </a:lnTo>
                  <a:lnTo>
                    <a:pt x="291075" y="1666456"/>
                  </a:lnTo>
                  <a:lnTo>
                    <a:pt x="327279" y="1696603"/>
                  </a:lnTo>
                  <a:lnTo>
                    <a:pt x="333327" y="1728645"/>
                  </a:lnTo>
                  <a:lnTo>
                    <a:pt x="317202" y="1740751"/>
                  </a:lnTo>
                  <a:lnTo>
                    <a:pt x="317202" y="1768878"/>
                  </a:lnTo>
                  <a:lnTo>
                    <a:pt x="303190" y="1798901"/>
                  </a:lnTo>
                  <a:lnTo>
                    <a:pt x="293084" y="1817075"/>
                  </a:lnTo>
                  <a:lnTo>
                    <a:pt x="293084" y="1841154"/>
                  </a:lnTo>
                  <a:lnTo>
                    <a:pt x="307200" y="1879245"/>
                  </a:lnTo>
                  <a:lnTo>
                    <a:pt x="300390" y="1914192"/>
                  </a:lnTo>
                  <a:lnTo>
                    <a:pt x="309229" y="1929460"/>
                  </a:lnTo>
                  <a:lnTo>
                    <a:pt x="331308" y="1947491"/>
                  </a:lnTo>
                  <a:lnTo>
                    <a:pt x="355378" y="1927450"/>
                  </a:lnTo>
                  <a:lnTo>
                    <a:pt x="411509" y="1929460"/>
                  </a:lnTo>
                  <a:lnTo>
                    <a:pt x="433721" y="1933499"/>
                  </a:lnTo>
                  <a:lnTo>
                    <a:pt x="449742" y="1941443"/>
                  </a:lnTo>
                  <a:lnTo>
                    <a:pt x="481889" y="1969570"/>
                  </a:lnTo>
                  <a:cubicBezTo>
                    <a:pt x="481889" y="1969570"/>
                    <a:pt x="495843" y="1971589"/>
                    <a:pt x="507892" y="1973609"/>
                  </a:cubicBezTo>
                  <a:cubicBezTo>
                    <a:pt x="519932" y="1975609"/>
                    <a:pt x="533972" y="1963645"/>
                    <a:pt x="533972" y="1963645"/>
                  </a:cubicBezTo>
                  <a:lnTo>
                    <a:pt x="554155" y="1917354"/>
                  </a:lnTo>
                  <a:lnTo>
                    <a:pt x="578263" y="1911429"/>
                  </a:lnTo>
                  <a:lnTo>
                    <a:pt x="614334" y="1907381"/>
                  </a:lnTo>
                  <a:lnTo>
                    <a:pt x="638423" y="1921402"/>
                  </a:lnTo>
                  <a:lnTo>
                    <a:pt x="658473" y="1915468"/>
                  </a:lnTo>
                  <a:lnTo>
                    <a:pt x="692648" y="1897304"/>
                  </a:lnTo>
                  <a:lnTo>
                    <a:pt x="730729" y="1881283"/>
                  </a:lnTo>
                  <a:lnTo>
                    <a:pt x="773002" y="1871177"/>
                  </a:lnTo>
                  <a:lnTo>
                    <a:pt x="789022" y="1825009"/>
                  </a:lnTo>
                  <a:lnTo>
                    <a:pt x="801005" y="1817075"/>
                  </a:lnTo>
                  <a:lnTo>
                    <a:pt x="821188" y="1795005"/>
                  </a:lnTo>
                  <a:lnTo>
                    <a:pt x="847306" y="1800939"/>
                  </a:lnTo>
                  <a:lnTo>
                    <a:pt x="879338" y="1792996"/>
                  </a:lnTo>
                  <a:lnTo>
                    <a:pt x="897369" y="1774831"/>
                  </a:lnTo>
                  <a:lnTo>
                    <a:pt x="917553" y="1770926"/>
                  </a:lnTo>
                  <a:cubicBezTo>
                    <a:pt x="917553" y="1770926"/>
                    <a:pt x="935527" y="1770926"/>
                    <a:pt x="949585" y="1770926"/>
                  </a:cubicBezTo>
                  <a:cubicBezTo>
                    <a:pt x="963644" y="1770926"/>
                    <a:pt x="989829" y="1809017"/>
                    <a:pt x="989829" y="1809017"/>
                  </a:cubicBezTo>
                  <a:lnTo>
                    <a:pt x="1013917" y="1839173"/>
                  </a:lnTo>
                  <a:cubicBezTo>
                    <a:pt x="1013917" y="1839173"/>
                    <a:pt x="1050027" y="1843211"/>
                    <a:pt x="1058066" y="1843211"/>
                  </a:cubicBezTo>
                  <a:cubicBezTo>
                    <a:pt x="1066105" y="1843211"/>
                    <a:pt x="1098175" y="1855194"/>
                    <a:pt x="1098175" y="1855194"/>
                  </a:cubicBezTo>
                  <a:lnTo>
                    <a:pt x="1126303" y="1889379"/>
                  </a:lnTo>
                  <a:lnTo>
                    <a:pt x="1168422" y="1883321"/>
                  </a:lnTo>
                  <a:lnTo>
                    <a:pt x="1212571" y="1883321"/>
                  </a:lnTo>
                  <a:lnTo>
                    <a:pt x="1230726" y="1923421"/>
                  </a:lnTo>
                  <a:lnTo>
                    <a:pt x="1254833" y="1927460"/>
                  </a:lnTo>
                  <a:lnTo>
                    <a:pt x="1286866" y="1931499"/>
                  </a:lnTo>
                  <a:lnTo>
                    <a:pt x="1323070" y="1931499"/>
                  </a:lnTo>
                  <a:lnTo>
                    <a:pt x="1341120" y="1981705"/>
                  </a:lnTo>
                  <a:lnTo>
                    <a:pt x="1369228" y="2049942"/>
                  </a:lnTo>
                  <a:lnTo>
                    <a:pt x="1393317" y="2005803"/>
                  </a:lnTo>
                  <a:lnTo>
                    <a:pt x="1435455" y="2007813"/>
                  </a:lnTo>
                  <a:lnTo>
                    <a:pt x="1449571" y="2060010"/>
                  </a:lnTo>
                  <a:lnTo>
                    <a:pt x="1445533" y="2100120"/>
                  </a:lnTo>
                  <a:lnTo>
                    <a:pt x="1487671" y="2096081"/>
                  </a:lnTo>
                  <a:lnTo>
                    <a:pt x="1513770" y="2118160"/>
                  </a:lnTo>
                  <a:lnTo>
                    <a:pt x="1531801" y="2146259"/>
                  </a:lnTo>
                  <a:lnTo>
                    <a:pt x="1545936" y="2176415"/>
                  </a:lnTo>
                  <a:lnTo>
                    <a:pt x="1586046" y="2176415"/>
                  </a:lnTo>
                  <a:lnTo>
                    <a:pt x="1632223" y="2176415"/>
                  </a:lnTo>
                  <a:lnTo>
                    <a:pt x="1642329" y="2190436"/>
                  </a:lnTo>
                  <a:lnTo>
                    <a:pt x="1656340" y="2198513"/>
                  </a:lnTo>
                  <a:lnTo>
                    <a:pt x="1694555" y="2196484"/>
                  </a:lnTo>
                  <a:lnTo>
                    <a:pt x="1718643" y="2172395"/>
                  </a:lnTo>
                  <a:lnTo>
                    <a:pt x="1722568" y="2234584"/>
                  </a:lnTo>
                  <a:lnTo>
                    <a:pt x="1744761" y="2256777"/>
                  </a:lnTo>
                  <a:lnTo>
                    <a:pt x="1776793" y="2286800"/>
                  </a:lnTo>
                  <a:lnTo>
                    <a:pt x="1822971" y="2282752"/>
                  </a:lnTo>
                  <a:lnTo>
                    <a:pt x="1861185" y="2278837"/>
                  </a:lnTo>
                  <a:lnTo>
                    <a:pt x="1895227" y="2248700"/>
                  </a:lnTo>
                  <a:lnTo>
                    <a:pt x="1927393" y="2222583"/>
                  </a:lnTo>
                  <a:lnTo>
                    <a:pt x="1955521" y="2190417"/>
                  </a:lnTo>
                  <a:lnTo>
                    <a:pt x="1967503" y="2158384"/>
                  </a:lnTo>
                  <a:lnTo>
                    <a:pt x="1935470" y="2126218"/>
                  </a:lnTo>
                  <a:lnTo>
                    <a:pt x="1933442" y="2086128"/>
                  </a:lnTo>
                  <a:lnTo>
                    <a:pt x="1937480" y="2062039"/>
                  </a:lnTo>
                  <a:lnTo>
                    <a:pt x="1957550" y="2045903"/>
                  </a:lnTo>
                  <a:lnTo>
                    <a:pt x="1965474" y="2023824"/>
                  </a:lnTo>
                  <a:lnTo>
                    <a:pt x="1965474" y="1999736"/>
                  </a:lnTo>
                  <a:lnTo>
                    <a:pt x="1983648" y="1977676"/>
                  </a:lnTo>
                  <a:lnTo>
                    <a:pt x="1981619" y="1955606"/>
                  </a:lnTo>
                  <a:lnTo>
                    <a:pt x="1967503" y="1937576"/>
                  </a:lnTo>
                  <a:lnTo>
                    <a:pt x="1933461" y="1903381"/>
                  </a:lnTo>
                  <a:lnTo>
                    <a:pt x="1911382" y="1885340"/>
                  </a:lnTo>
                  <a:lnTo>
                    <a:pt x="1893227" y="1857213"/>
                  </a:lnTo>
                  <a:lnTo>
                    <a:pt x="1887312" y="1839182"/>
                  </a:lnTo>
                  <a:lnTo>
                    <a:pt x="1879216" y="1804997"/>
                  </a:lnTo>
                  <a:lnTo>
                    <a:pt x="1879216" y="1758820"/>
                  </a:lnTo>
                  <a:lnTo>
                    <a:pt x="1903305" y="1736750"/>
                  </a:lnTo>
                  <a:lnTo>
                    <a:pt x="1929422" y="1740789"/>
                  </a:lnTo>
                  <a:lnTo>
                    <a:pt x="1929422" y="1712662"/>
                  </a:lnTo>
                  <a:lnTo>
                    <a:pt x="1947453" y="1682515"/>
                  </a:lnTo>
                  <a:lnTo>
                    <a:pt x="1941386" y="1644425"/>
                  </a:lnTo>
                  <a:lnTo>
                    <a:pt x="1935470" y="1612259"/>
                  </a:lnTo>
                  <a:lnTo>
                    <a:pt x="1963598" y="1572149"/>
                  </a:lnTo>
                  <a:lnTo>
                    <a:pt x="1977590" y="1552099"/>
                  </a:lnTo>
                  <a:lnTo>
                    <a:pt x="2005717" y="1528010"/>
                  </a:lnTo>
                  <a:lnTo>
                    <a:pt x="2055923" y="1517904"/>
                  </a:lnTo>
                  <a:lnTo>
                    <a:pt x="2079993" y="1509836"/>
                  </a:lnTo>
                  <a:lnTo>
                    <a:pt x="2118074" y="1533925"/>
                  </a:lnTo>
                  <a:lnTo>
                    <a:pt x="2138143" y="1553966"/>
                  </a:lnTo>
                  <a:lnTo>
                    <a:pt x="2166252" y="1531896"/>
                  </a:lnTo>
                  <a:lnTo>
                    <a:pt x="2186302" y="1513856"/>
                  </a:lnTo>
                  <a:lnTo>
                    <a:pt x="2186302" y="1479804"/>
                  </a:lnTo>
                  <a:lnTo>
                    <a:pt x="2212420" y="1467698"/>
                  </a:lnTo>
                  <a:lnTo>
                    <a:pt x="2242557" y="1451667"/>
                  </a:lnTo>
                  <a:lnTo>
                    <a:pt x="2250634" y="1427578"/>
                  </a:lnTo>
                  <a:lnTo>
                    <a:pt x="2252643" y="1383316"/>
                  </a:lnTo>
                  <a:lnTo>
                    <a:pt x="2282667" y="1367295"/>
                  </a:lnTo>
                  <a:lnTo>
                    <a:pt x="2320881" y="1351264"/>
                  </a:lnTo>
                  <a:lnTo>
                    <a:pt x="2363019" y="1327185"/>
                  </a:lnTo>
                  <a:lnTo>
                    <a:pt x="2387108" y="1293009"/>
                  </a:lnTo>
                  <a:lnTo>
                    <a:pt x="2419274" y="1264882"/>
                  </a:lnTo>
                  <a:lnTo>
                    <a:pt x="2453316" y="1264882"/>
                  </a:lnTo>
                  <a:lnTo>
                    <a:pt x="2493560" y="1293009"/>
                  </a:lnTo>
                  <a:lnTo>
                    <a:pt x="2515638" y="1309145"/>
                  </a:lnTo>
                  <a:lnTo>
                    <a:pt x="2527602" y="1293009"/>
                  </a:lnTo>
                  <a:lnTo>
                    <a:pt x="2529631" y="1260967"/>
                  </a:lnTo>
                  <a:lnTo>
                    <a:pt x="2517648" y="1226791"/>
                  </a:lnTo>
                  <a:lnTo>
                    <a:pt x="2561797" y="1210761"/>
                  </a:lnTo>
                  <a:lnTo>
                    <a:pt x="2571750" y="1222743"/>
                  </a:lnTo>
                  <a:lnTo>
                    <a:pt x="2597868" y="1196635"/>
                  </a:lnTo>
                  <a:lnTo>
                    <a:pt x="2624995" y="1169508"/>
                  </a:lnTo>
                  <a:lnTo>
                    <a:pt x="2624252" y="1168117"/>
                  </a:lnTo>
                  <a:lnTo>
                    <a:pt x="2610002" y="1150458"/>
                  </a:lnTo>
                  <a:lnTo>
                    <a:pt x="2591952" y="1150458"/>
                  </a:lnTo>
                  <a:lnTo>
                    <a:pt x="2567864" y="1142381"/>
                  </a:lnTo>
                  <a:lnTo>
                    <a:pt x="2541765" y="1114387"/>
                  </a:lnTo>
                  <a:lnTo>
                    <a:pt x="2519686" y="1110348"/>
                  </a:lnTo>
                  <a:lnTo>
                    <a:pt x="2507590" y="1068095"/>
                  </a:lnTo>
                  <a:lnTo>
                    <a:pt x="2499493" y="1038073"/>
                  </a:lnTo>
                  <a:lnTo>
                    <a:pt x="2487511" y="1005916"/>
                  </a:lnTo>
                  <a:lnTo>
                    <a:pt x="2487511" y="959749"/>
                  </a:lnTo>
                  <a:lnTo>
                    <a:pt x="2457374" y="951662"/>
                  </a:lnTo>
                  <a:lnTo>
                    <a:pt x="2449297" y="939689"/>
                  </a:lnTo>
                  <a:lnTo>
                    <a:pt x="2427218" y="911562"/>
                  </a:lnTo>
                  <a:lnTo>
                    <a:pt x="2419274" y="875357"/>
                  </a:lnTo>
                  <a:lnTo>
                    <a:pt x="2367058" y="847363"/>
                  </a:lnTo>
                  <a:lnTo>
                    <a:pt x="2354961" y="811159"/>
                  </a:lnTo>
                  <a:lnTo>
                    <a:pt x="2369058" y="793128"/>
                  </a:lnTo>
                  <a:lnTo>
                    <a:pt x="2367048" y="690715"/>
                  </a:lnTo>
                  <a:lnTo>
                    <a:pt x="2391137" y="638499"/>
                  </a:lnTo>
                  <a:lnTo>
                    <a:pt x="2415245" y="594360"/>
                  </a:lnTo>
                  <a:lnTo>
                    <a:pt x="2443353" y="546183"/>
                  </a:lnTo>
                  <a:lnTo>
                    <a:pt x="2423303" y="489918"/>
                  </a:lnTo>
                  <a:lnTo>
                    <a:pt x="2423303" y="459905"/>
                  </a:lnTo>
                  <a:lnTo>
                    <a:pt x="2413216" y="425720"/>
                  </a:lnTo>
                  <a:lnTo>
                    <a:pt x="2379021" y="317249"/>
                  </a:lnTo>
                  <a:lnTo>
                    <a:pt x="2349018" y="281168"/>
                  </a:lnTo>
                  <a:lnTo>
                    <a:pt x="2306745" y="305267"/>
                  </a:lnTo>
                  <a:lnTo>
                    <a:pt x="2248605" y="305267"/>
                  </a:lnTo>
                  <a:lnTo>
                    <a:pt x="2220477" y="273101"/>
                  </a:lnTo>
                  <a:lnTo>
                    <a:pt x="2176329" y="267052"/>
                  </a:lnTo>
                  <a:lnTo>
                    <a:pt x="2170281" y="285217"/>
                  </a:lnTo>
                  <a:lnTo>
                    <a:pt x="2150231" y="295180"/>
                  </a:lnTo>
                  <a:lnTo>
                    <a:pt x="2142154" y="269081"/>
                  </a:lnTo>
                  <a:lnTo>
                    <a:pt x="2142154" y="235020"/>
                  </a:lnTo>
                  <a:lnTo>
                    <a:pt x="2111997" y="206902"/>
                  </a:lnTo>
                  <a:lnTo>
                    <a:pt x="2069878" y="226962"/>
                  </a:lnTo>
                  <a:lnTo>
                    <a:pt x="1995573" y="186852"/>
                  </a:lnTo>
                  <a:lnTo>
                    <a:pt x="1965417" y="206893"/>
                  </a:lnTo>
                  <a:lnTo>
                    <a:pt x="1925308" y="196796"/>
                  </a:lnTo>
                  <a:lnTo>
                    <a:pt x="1893141" y="287226"/>
                  </a:lnTo>
                  <a:lnTo>
                    <a:pt x="1849012" y="319268"/>
                  </a:lnTo>
                  <a:lnTo>
                    <a:pt x="1830962" y="303238"/>
                  </a:lnTo>
                  <a:lnTo>
                    <a:pt x="1812912" y="303238"/>
                  </a:lnTo>
                  <a:lnTo>
                    <a:pt x="1796768" y="327346"/>
                  </a:lnTo>
                  <a:lnTo>
                    <a:pt x="1782776" y="313325"/>
                  </a:lnTo>
                  <a:lnTo>
                    <a:pt x="1772688" y="313325"/>
                  </a:lnTo>
                  <a:lnTo>
                    <a:pt x="1706461" y="319249"/>
                  </a:lnTo>
                  <a:lnTo>
                    <a:pt x="1634185" y="305238"/>
                  </a:lnTo>
                  <a:lnTo>
                    <a:pt x="1614135" y="321269"/>
                  </a:lnTo>
                  <a:lnTo>
                    <a:pt x="1569987" y="321269"/>
                  </a:lnTo>
                  <a:lnTo>
                    <a:pt x="1431370" y="242945"/>
                  </a:lnTo>
                  <a:lnTo>
                    <a:pt x="1411319" y="210903"/>
                  </a:lnTo>
                  <a:lnTo>
                    <a:pt x="1298934" y="152629"/>
                  </a:lnTo>
                  <a:lnTo>
                    <a:pt x="1244708" y="152629"/>
                  </a:lnTo>
                  <a:lnTo>
                    <a:pt x="1240670" y="166754"/>
                  </a:lnTo>
                  <a:lnTo>
                    <a:pt x="1230696" y="186804"/>
                  </a:lnTo>
                  <a:lnTo>
                    <a:pt x="1158421" y="180737"/>
                  </a:lnTo>
                  <a:lnTo>
                    <a:pt x="1148334" y="166735"/>
                  </a:lnTo>
                  <a:lnTo>
                    <a:pt x="1124226" y="150590"/>
                  </a:lnTo>
                  <a:lnTo>
                    <a:pt x="1090050" y="132550"/>
                  </a:lnTo>
                  <a:lnTo>
                    <a:pt x="1039968" y="126502"/>
                  </a:lnTo>
                  <a:lnTo>
                    <a:pt x="981703" y="114510"/>
                  </a:lnTo>
                  <a:lnTo>
                    <a:pt x="943623" y="62303"/>
                  </a:lnTo>
                  <a:lnTo>
                    <a:pt x="895417" y="62303"/>
                  </a:lnTo>
                  <a:lnTo>
                    <a:pt x="817093" y="24089"/>
                  </a:lnTo>
                  <a:lnTo>
                    <a:pt x="780888" y="38205"/>
                  </a:lnTo>
                  <a:lnTo>
                    <a:pt x="748855" y="16145"/>
                  </a:lnTo>
                  <a:lnTo>
                    <a:pt x="734739" y="78315"/>
                  </a:lnTo>
                  <a:lnTo>
                    <a:pt x="688562" y="76305"/>
                  </a:lnTo>
                  <a:lnTo>
                    <a:pt x="658406" y="100394"/>
                  </a:lnTo>
                  <a:lnTo>
                    <a:pt x="628402" y="96479"/>
                  </a:lnTo>
                  <a:lnTo>
                    <a:pt x="648452" y="60265"/>
                  </a:lnTo>
                  <a:lnTo>
                    <a:pt x="622354" y="20174"/>
                  </a:lnTo>
                  <a:lnTo>
                    <a:pt x="552088" y="20174"/>
                  </a:lnTo>
                  <a:lnTo>
                    <a:pt x="535943" y="4029"/>
                  </a:lnTo>
                  <a:lnTo>
                    <a:pt x="463734" y="0"/>
                  </a:lnTo>
                  <a:close/>
                  <a:moveTo>
                    <a:pt x="1918145" y="898312"/>
                  </a:moveTo>
                  <a:cubicBezTo>
                    <a:pt x="1918421" y="898284"/>
                    <a:pt x="1918754" y="898331"/>
                    <a:pt x="1919040" y="898312"/>
                  </a:cubicBezTo>
                  <a:cubicBezTo>
                    <a:pt x="1922783" y="900522"/>
                    <a:pt x="1926746" y="902341"/>
                    <a:pt x="1930260" y="904866"/>
                  </a:cubicBezTo>
                  <a:cubicBezTo>
                    <a:pt x="1939319" y="907647"/>
                    <a:pt x="1938166" y="916010"/>
                    <a:pt x="1938357" y="923677"/>
                  </a:cubicBezTo>
                  <a:cubicBezTo>
                    <a:pt x="1944510" y="932612"/>
                    <a:pt x="1940443" y="944251"/>
                    <a:pt x="1941633" y="954443"/>
                  </a:cubicBezTo>
                  <a:cubicBezTo>
                    <a:pt x="1956073" y="964568"/>
                    <a:pt x="1970408" y="974769"/>
                    <a:pt x="1984515" y="985342"/>
                  </a:cubicBezTo>
                  <a:cubicBezTo>
                    <a:pt x="1986391" y="988066"/>
                    <a:pt x="1988258" y="988600"/>
                    <a:pt x="1989820" y="987990"/>
                  </a:cubicBezTo>
                  <a:cubicBezTo>
                    <a:pt x="1993316" y="986485"/>
                    <a:pt x="1995659" y="978865"/>
                    <a:pt x="1994859" y="974874"/>
                  </a:cubicBezTo>
                  <a:cubicBezTo>
                    <a:pt x="1995078" y="968121"/>
                    <a:pt x="1990411" y="959225"/>
                    <a:pt x="1992982" y="953948"/>
                  </a:cubicBezTo>
                  <a:cubicBezTo>
                    <a:pt x="2005593" y="952481"/>
                    <a:pt x="2017929" y="956710"/>
                    <a:pt x="2028549" y="963273"/>
                  </a:cubicBezTo>
                  <a:cubicBezTo>
                    <a:pt x="2038760" y="966997"/>
                    <a:pt x="2030987" y="975027"/>
                    <a:pt x="2028291" y="981199"/>
                  </a:cubicBezTo>
                  <a:cubicBezTo>
                    <a:pt x="2021205" y="989238"/>
                    <a:pt x="2032816" y="991343"/>
                    <a:pt x="2032464" y="999230"/>
                  </a:cubicBezTo>
                  <a:cubicBezTo>
                    <a:pt x="2040503" y="1001830"/>
                    <a:pt x="2042513" y="1010698"/>
                    <a:pt x="2052142" y="1009564"/>
                  </a:cubicBezTo>
                  <a:cubicBezTo>
                    <a:pt x="2058953" y="1008907"/>
                    <a:pt x="2065496" y="1005364"/>
                    <a:pt x="2072831" y="1008421"/>
                  </a:cubicBezTo>
                  <a:cubicBezTo>
                    <a:pt x="2071488" y="1021223"/>
                    <a:pt x="2066039" y="1033091"/>
                    <a:pt x="2063496" y="1045635"/>
                  </a:cubicBezTo>
                  <a:cubicBezTo>
                    <a:pt x="2072650" y="1045140"/>
                    <a:pt x="2072869" y="1052817"/>
                    <a:pt x="2080536" y="1052446"/>
                  </a:cubicBezTo>
                  <a:cubicBezTo>
                    <a:pt x="2076279" y="1062761"/>
                    <a:pt x="2074526" y="1073763"/>
                    <a:pt x="2072964" y="1084745"/>
                  </a:cubicBezTo>
                  <a:cubicBezTo>
                    <a:pt x="2074060" y="1093670"/>
                    <a:pt x="2069973" y="1101281"/>
                    <a:pt x="2066154" y="1109091"/>
                  </a:cubicBezTo>
                  <a:cubicBezTo>
                    <a:pt x="2061743" y="1115616"/>
                    <a:pt x="2060029" y="1122617"/>
                    <a:pt x="2062877" y="1130151"/>
                  </a:cubicBezTo>
                  <a:cubicBezTo>
                    <a:pt x="2066487" y="1137914"/>
                    <a:pt x="2065706" y="1145667"/>
                    <a:pt x="2062353" y="1153363"/>
                  </a:cubicBezTo>
                  <a:cubicBezTo>
                    <a:pt x="2066449" y="1158697"/>
                    <a:pt x="2058648" y="1165346"/>
                    <a:pt x="2060715" y="1172794"/>
                  </a:cubicBezTo>
                  <a:cubicBezTo>
                    <a:pt x="2062296" y="1181710"/>
                    <a:pt x="2076412" y="1175804"/>
                    <a:pt x="2071935" y="1168384"/>
                  </a:cubicBezTo>
                  <a:cubicBezTo>
                    <a:pt x="2074060" y="1168556"/>
                    <a:pt x="2075450" y="1168918"/>
                    <a:pt x="2076231" y="1169518"/>
                  </a:cubicBezTo>
                  <a:cubicBezTo>
                    <a:pt x="2076250" y="1169537"/>
                    <a:pt x="2076326" y="1169632"/>
                    <a:pt x="2076345" y="1169651"/>
                  </a:cubicBezTo>
                  <a:cubicBezTo>
                    <a:pt x="2076365" y="1169680"/>
                    <a:pt x="2076479" y="1169765"/>
                    <a:pt x="2076498" y="1169784"/>
                  </a:cubicBezTo>
                  <a:cubicBezTo>
                    <a:pt x="2076517" y="1169822"/>
                    <a:pt x="2076593" y="1169870"/>
                    <a:pt x="2076612" y="1169908"/>
                  </a:cubicBezTo>
                  <a:cubicBezTo>
                    <a:pt x="2076631" y="1169937"/>
                    <a:pt x="2076726" y="1170023"/>
                    <a:pt x="2076745" y="1170042"/>
                  </a:cubicBezTo>
                  <a:cubicBezTo>
                    <a:pt x="2076765" y="1170089"/>
                    <a:pt x="2076860" y="1170137"/>
                    <a:pt x="2076879" y="1170175"/>
                  </a:cubicBezTo>
                  <a:cubicBezTo>
                    <a:pt x="2076898" y="1170194"/>
                    <a:pt x="2076860" y="1170280"/>
                    <a:pt x="2076879" y="1170299"/>
                  </a:cubicBezTo>
                  <a:cubicBezTo>
                    <a:pt x="2078555" y="1173671"/>
                    <a:pt x="2071221" y="1180529"/>
                    <a:pt x="2074107" y="1185691"/>
                  </a:cubicBezTo>
                  <a:cubicBezTo>
                    <a:pt x="2074259" y="1185967"/>
                    <a:pt x="2074516" y="1186291"/>
                    <a:pt x="2074716" y="1186567"/>
                  </a:cubicBezTo>
                  <a:cubicBezTo>
                    <a:pt x="2075326" y="1187282"/>
                    <a:pt x="2076222" y="1187977"/>
                    <a:pt x="2077355" y="1188587"/>
                  </a:cubicBezTo>
                  <a:cubicBezTo>
                    <a:pt x="2077355" y="1188606"/>
                    <a:pt x="2077355" y="1188691"/>
                    <a:pt x="2077355" y="1188710"/>
                  </a:cubicBezTo>
                  <a:cubicBezTo>
                    <a:pt x="2077450" y="1190254"/>
                    <a:pt x="2078841" y="1193597"/>
                    <a:pt x="2080650" y="1195654"/>
                  </a:cubicBezTo>
                  <a:cubicBezTo>
                    <a:pt x="2081432" y="1196531"/>
                    <a:pt x="2082403" y="1197216"/>
                    <a:pt x="2083289" y="1197426"/>
                  </a:cubicBezTo>
                  <a:cubicBezTo>
                    <a:pt x="2083527" y="1197483"/>
                    <a:pt x="2083898" y="1197454"/>
                    <a:pt x="2084165" y="1197426"/>
                  </a:cubicBezTo>
                  <a:cubicBezTo>
                    <a:pt x="2085337" y="1197226"/>
                    <a:pt x="2086642" y="1196235"/>
                    <a:pt x="2087699" y="1193768"/>
                  </a:cubicBezTo>
                  <a:cubicBezTo>
                    <a:pt x="2088089" y="1195159"/>
                    <a:pt x="2088652" y="1196226"/>
                    <a:pt x="2089204" y="1196921"/>
                  </a:cubicBezTo>
                  <a:cubicBezTo>
                    <a:pt x="2089395" y="1197140"/>
                    <a:pt x="2089652" y="1197397"/>
                    <a:pt x="2089833" y="1197559"/>
                  </a:cubicBezTo>
                  <a:cubicBezTo>
                    <a:pt x="2090023" y="1197683"/>
                    <a:pt x="2090281" y="1197836"/>
                    <a:pt x="2090461" y="1197940"/>
                  </a:cubicBezTo>
                  <a:cubicBezTo>
                    <a:pt x="2090518" y="1197969"/>
                    <a:pt x="2090652" y="1198045"/>
                    <a:pt x="2090699" y="1198064"/>
                  </a:cubicBezTo>
                  <a:cubicBezTo>
                    <a:pt x="2090833" y="1198102"/>
                    <a:pt x="2091071" y="1198169"/>
                    <a:pt x="2091204" y="1198188"/>
                  </a:cubicBezTo>
                  <a:cubicBezTo>
                    <a:pt x="2091338" y="1198207"/>
                    <a:pt x="2091576" y="1198188"/>
                    <a:pt x="2091709" y="1198188"/>
                  </a:cubicBezTo>
                  <a:cubicBezTo>
                    <a:pt x="2091900" y="1198188"/>
                    <a:pt x="2092176" y="1198207"/>
                    <a:pt x="2092338" y="1198188"/>
                  </a:cubicBezTo>
                  <a:cubicBezTo>
                    <a:pt x="2094890" y="1197921"/>
                    <a:pt x="2098138" y="1195673"/>
                    <a:pt x="2101939" y="1193778"/>
                  </a:cubicBezTo>
                  <a:cubicBezTo>
                    <a:pt x="2111035" y="1192254"/>
                    <a:pt x="2111388" y="1204293"/>
                    <a:pt x="2106483" y="1208913"/>
                  </a:cubicBezTo>
                  <a:cubicBezTo>
                    <a:pt x="2112236" y="1213504"/>
                    <a:pt x="2114188" y="1223639"/>
                    <a:pt x="2110254" y="1228963"/>
                  </a:cubicBezTo>
                  <a:cubicBezTo>
                    <a:pt x="2112007" y="1234954"/>
                    <a:pt x="2111988" y="1238526"/>
                    <a:pt x="2110759" y="1240441"/>
                  </a:cubicBezTo>
                  <a:cubicBezTo>
                    <a:pt x="2110683" y="1240536"/>
                    <a:pt x="2110568" y="1240736"/>
                    <a:pt x="2110521" y="1240822"/>
                  </a:cubicBezTo>
                  <a:cubicBezTo>
                    <a:pt x="2110464" y="1240879"/>
                    <a:pt x="2110321" y="1241022"/>
                    <a:pt x="2110283" y="1241060"/>
                  </a:cubicBezTo>
                  <a:cubicBezTo>
                    <a:pt x="2110150" y="1241203"/>
                    <a:pt x="2109931" y="1241327"/>
                    <a:pt x="2109778" y="1241441"/>
                  </a:cubicBezTo>
                  <a:cubicBezTo>
                    <a:pt x="2109664" y="1241517"/>
                    <a:pt x="2109502" y="1241641"/>
                    <a:pt x="2109388" y="1241689"/>
                  </a:cubicBezTo>
                  <a:cubicBezTo>
                    <a:pt x="2103235" y="1244708"/>
                    <a:pt x="2086709" y="1233573"/>
                    <a:pt x="2077726" y="1232478"/>
                  </a:cubicBezTo>
                  <a:cubicBezTo>
                    <a:pt x="2061467" y="1229782"/>
                    <a:pt x="2055571" y="1211409"/>
                    <a:pt x="2041407" y="1204865"/>
                  </a:cubicBezTo>
                  <a:cubicBezTo>
                    <a:pt x="2034188" y="1197616"/>
                    <a:pt x="2024682" y="1202198"/>
                    <a:pt x="2016680" y="1205113"/>
                  </a:cubicBezTo>
                  <a:cubicBezTo>
                    <a:pt x="2009241" y="1202693"/>
                    <a:pt x="2005422" y="1202112"/>
                    <a:pt x="1999526" y="1207894"/>
                  </a:cubicBezTo>
                  <a:cubicBezTo>
                    <a:pt x="1995935" y="1206056"/>
                    <a:pt x="1993402" y="1205408"/>
                    <a:pt x="1991449" y="1205732"/>
                  </a:cubicBezTo>
                  <a:cubicBezTo>
                    <a:pt x="1990982" y="1205827"/>
                    <a:pt x="1990449" y="1206046"/>
                    <a:pt x="1990058" y="1206246"/>
                  </a:cubicBezTo>
                  <a:cubicBezTo>
                    <a:pt x="1989868" y="1206332"/>
                    <a:pt x="1989591" y="1206503"/>
                    <a:pt x="1989430" y="1206637"/>
                  </a:cubicBezTo>
                  <a:cubicBezTo>
                    <a:pt x="1987325" y="1208027"/>
                    <a:pt x="1985763" y="1210923"/>
                    <a:pt x="1983648" y="1214571"/>
                  </a:cubicBezTo>
                  <a:cubicBezTo>
                    <a:pt x="1976695" y="1219048"/>
                    <a:pt x="1974513" y="1226630"/>
                    <a:pt x="1967741" y="1230706"/>
                  </a:cubicBezTo>
                  <a:cubicBezTo>
                    <a:pt x="1960169" y="1242736"/>
                    <a:pt x="1947310" y="1240603"/>
                    <a:pt x="1934070" y="1240555"/>
                  </a:cubicBezTo>
                  <a:cubicBezTo>
                    <a:pt x="1926907" y="1243441"/>
                    <a:pt x="1936119" y="1254966"/>
                    <a:pt x="1933813" y="1261377"/>
                  </a:cubicBezTo>
                  <a:cubicBezTo>
                    <a:pt x="1934575" y="1265482"/>
                    <a:pt x="1936252" y="1269235"/>
                    <a:pt x="1936213" y="1271340"/>
                  </a:cubicBezTo>
                  <a:cubicBezTo>
                    <a:pt x="1936213" y="1271435"/>
                    <a:pt x="1936099" y="1271616"/>
                    <a:pt x="1936080" y="1271721"/>
                  </a:cubicBezTo>
                  <a:cubicBezTo>
                    <a:pt x="1936080" y="1271788"/>
                    <a:pt x="1936099" y="1271921"/>
                    <a:pt x="1936080" y="1271959"/>
                  </a:cubicBezTo>
                  <a:cubicBezTo>
                    <a:pt x="1936080" y="1272016"/>
                    <a:pt x="1935985" y="1272159"/>
                    <a:pt x="1935966" y="1272207"/>
                  </a:cubicBezTo>
                  <a:cubicBezTo>
                    <a:pt x="1935947" y="1272226"/>
                    <a:pt x="1935966" y="1272302"/>
                    <a:pt x="1935966" y="1272331"/>
                  </a:cubicBezTo>
                  <a:cubicBezTo>
                    <a:pt x="1935947" y="1272350"/>
                    <a:pt x="1935852" y="1272435"/>
                    <a:pt x="1935832" y="1272464"/>
                  </a:cubicBezTo>
                  <a:cubicBezTo>
                    <a:pt x="1935737" y="1272588"/>
                    <a:pt x="1935594" y="1272750"/>
                    <a:pt x="1935442" y="1272835"/>
                  </a:cubicBezTo>
                  <a:cubicBezTo>
                    <a:pt x="1935423" y="1272864"/>
                    <a:pt x="1935346" y="1272959"/>
                    <a:pt x="1935309" y="1272969"/>
                  </a:cubicBezTo>
                  <a:cubicBezTo>
                    <a:pt x="1935109" y="1273064"/>
                    <a:pt x="1934727" y="1273064"/>
                    <a:pt x="1934433" y="1273093"/>
                  </a:cubicBezTo>
                  <a:cubicBezTo>
                    <a:pt x="1933147" y="1273169"/>
                    <a:pt x="1930937" y="1272731"/>
                    <a:pt x="1927622" y="1271454"/>
                  </a:cubicBezTo>
                  <a:cubicBezTo>
                    <a:pt x="1919526" y="1263672"/>
                    <a:pt x="1917297" y="1277198"/>
                    <a:pt x="1908572" y="1272969"/>
                  </a:cubicBezTo>
                  <a:cubicBezTo>
                    <a:pt x="1907534" y="1275293"/>
                    <a:pt x="1906486" y="1276655"/>
                    <a:pt x="1905562" y="1277264"/>
                  </a:cubicBezTo>
                  <a:cubicBezTo>
                    <a:pt x="1905467" y="1277322"/>
                    <a:pt x="1905286" y="1277465"/>
                    <a:pt x="1905172" y="1277493"/>
                  </a:cubicBezTo>
                  <a:cubicBezTo>
                    <a:pt x="1905095" y="1277541"/>
                    <a:pt x="1904895" y="1277598"/>
                    <a:pt x="1904800" y="1277617"/>
                  </a:cubicBezTo>
                  <a:cubicBezTo>
                    <a:pt x="1904667" y="1277655"/>
                    <a:pt x="1904409" y="1277617"/>
                    <a:pt x="1904295" y="1277617"/>
                  </a:cubicBezTo>
                  <a:cubicBezTo>
                    <a:pt x="1904200" y="1277617"/>
                    <a:pt x="1904019" y="1277636"/>
                    <a:pt x="1903905" y="1277617"/>
                  </a:cubicBezTo>
                  <a:cubicBezTo>
                    <a:pt x="1903809" y="1277598"/>
                    <a:pt x="1903629" y="1277522"/>
                    <a:pt x="1903533" y="1277493"/>
                  </a:cubicBezTo>
                  <a:cubicBezTo>
                    <a:pt x="1903381" y="1277445"/>
                    <a:pt x="1903162" y="1277426"/>
                    <a:pt x="1903029" y="1277369"/>
                  </a:cubicBezTo>
                  <a:cubicBezTo>
                    <a:pt x="1902914" y="1277312"/>
                    <a:pt x="1902733" y="1277169"/>
                    <a:pt x="1902638" y="1277122"/>
                  </a:cubicBezTo>
                  <a:cubicBezTo>
                    <a:pt x="1900390" y="1275750"/>
                    <a:pt x="1897913" y="1272226"/>
                    <a:pt x="1894541" y="1270321"/>
                  </a:cubicBezTo>
                  <a:cubicBezTo>
                    <a:pt x="1884216" y="1269559"/>
                    <a:pt x="1876663" y="1260596"/>
                    <a:pt x="1866043" y="1262377"/>
                  </a:cubicBezTo>
                  <a:cubicBezTo>
                    <a:pt x="1854841" y="1258776"/>
                    <a:pt x="1841954" y="1258776"/>
                    <a:pt x="1832239" y="1251785"/>
                  </a:cubicBezTo>
                  <a:cubicBezTo>
                    <a:pt x="1822189" y="1247175"/>
                    <a:pt x="1810617" y="1245984"/>
                    <a:pt x="1800330" y="1241441"/>
                  </a:cubicBezTo>
                  <a:cubicBezTo>
                    <a:pt x="1799958" y="1241689"/>
                    <a:pt x="1799511" y="1242012"/>
                    <a:pt x="1799197" y="1242336"/>
                  </a:cubicBezTo>
                  <a:cubicBezTo>
                    <a:pt x="1795310" y="1246251"/>
                    <a:pt x="1793824" y="1255233"/>
                    <a:pt x="1791119" y="1260748"/>
                  </a:cubicBezTo>
                  <a:cubicBezTo>
                    <a:pt x="1790881" y="1262301"/>
                    <a:pt x="1790433" y="1263463"/>
                    <a:pt x="1789986" y="1264158"/>
                  </a:cubicBezTo>
                  <a:cubicBezTo>
                    <a:pt x="1789766" y="1264434"/>
                    <a:pt x="1789443" y="1264739"/>
                    <a:pt x="1789223" y="1264901"/>
                  </a:cubicBezTo>
                  <a:cubicBezTo>
                    <a:pt x="1789205" y="1264930"/>
                    <a:pt x="1789109" y="1265015"/>
                    <a:pt x="1789090" y="1265034"/>
                  </a:cubicBezTo>
                  <a:cubicBezTo>
                    <a:pt x="1789033" y="1265072"/>
                    <a:pt x="1788890" y="1265130"/>
                    <a:pt x="1788852" y="1265158"/>
                  </a:cubicBezTo>
                  <a:cubicBezTo>
                    <a:pt x="1788795" y="1265177"/>
                    <a:pt x="1788652" y="1265263"/>
                    <a:pt x="1788595" y="1265282"/>
                  </a:cubicBezTo>
                  <a:cubicBezTo>
                    <a:pt x="1788557" y="1265301"/>
                    <a:pt x="1788404" y="1265263"/>
                    <a:pt x="1788376" y="1265282"/>
                  </a:cubicBezTo>
                  <a:cubicBezTo>
                    <a:pt x="1788300" y="1265292"/>
                    <a:pt x="1788176" y="1265406"/>
                    <a:pt x="1788119" y="1265415"/>
                  </a:cubicBezTo>
                  <a:cubicBezTo>
                    <a:pt x="1787167" y="1265558"/>
                    <a:pt x="1786014" y="1265339"/>
                    <a:pt x="1785109" y="1265539"/>
                  </a:cubicBezTo>
                  <a:cubicBezTo>
                    <a:pt x="1785052" y="1265549"/>
                    <a:pt x="1784909" y="1265520"/>
                    <a:pt x="1784871" y="1265539"/>
                  </a:cubicBezTo>
                  <a:cubicBezTo>
                    <a:pt x="1784814" y="1265558"/>
                    <a:pt x="1784671" y="1265634"/>
                    <a:pt x="1784614" y="1265663"/>
                  </a:cubicBezTo>
                  <a:cubicBezTo>
                    <a:pt x="1784575" y="1265692"/>
                    <a:pt x="1784423" y="1265768"/>
                    <a:pt x="1784395" y="1265796"/>
                  </a:cubicBezTo>
                  <a:cubicBezTo>
                    <a:pt x="1784356" y="1265815"/>
                    <a:pt x="1784280" y="1265901"/>
                    <a:pt x="1784242" y="1265920"/>
                  </a:cubicBezTo>
                  <a:cubicBezTo>
                    <a:pt x="1784052" y="1266073"/>
                    <a:pt x="1783795" y="1266311"/>
                    <a:pt x="1783632" y="1266549"/>
                  </a:cubicBezTo>
                  <a:cubicBezTo>
                    <a:pt x="1783004" y="1267473"/>
                    <a:pt x="1782537" y="1269121"/>
                    <a:pt x="1782366" y="1271968"/>
                  </a:cubicBezTo>
                  <a:cubicBezTo>
                    <a:pt x="1782213" y="1273788"/>
                    <a:pt x="1781661" y="1274893"/>
                    <a:pt x="1780975" y="1275369"/>
                  </a:cubicBezTo>
                  <a:cubicBezTo>
                    <a:pt x="1780718" y="1275550"/>
                    <a:pt x="1780308" y="1275598"/>
                    <a:pt x="1779975" y="1275617"/>
                  </a:cubicBezTo>
                  <a:cubicBezTo>
                    <a:pt x="1776403" y="1275550"/>
                    <a:pt x="1769783" y="1267673"/>
                    <a:pt x="1766859" y="1265273"/>
                  </a:cubicBezTo>
                  <a:cubicBezTo>
                    <a:pt x="1767716" y="1260710"/>
                    <a:pt x="1766640" y="1258329"/>
                    <a:pt x="1764592" y="1257081"/>
                  </a:cubicBezTo>
                  <a:cubicBezTo>
                    <a:pt x="1761858" y="1255500"/>
                    <a:pt x="1757391" y="1255566"/>
                    <a:pt x="1753248" y="1254547"/>
                  </a:cubicBezTo>
                  <a:cubicBezTo>
                    <a:pt x="1753057" y="1254681"/>
                    <a:pt x="1752800" y="1254824"/>
                    <a:pt x="1752638" y="1254928"/>
                  </a:cubicBezTo>
                  <a:cubicBezTo>
                    <a:pt x="1752562" y="1254957"/>
                    <a:pt x="1752438" y="1255033"/>
                    <a:pt x="1752381" y="1255062"/>
                  </a:cubicBezTo>
                  <a:cubicBezTo>
                    <a:pt x="1744809" y="1258357"/>
                    <a:pt x="1734055" y="1240422"/>
                    <a:pt x="1722873" y="1251014"/>
                  </a:cubicBezTo>
                  <a:cubicBezTo>
                    <a:pt x="1711576" y="1261101"/>
                    <a:pt x="1693345" y="1247575"/>
                    <a:pt x="1681477" y="1259472"/>
                  </a:cubicBezTo>
                  <a:cubicBezTo>
                    <a:pt x="1675266" y="1262825"/>
                    <a:pt x="1667751" y="1268244"/>
                    <a:pt x="1661550" y="1263634"/>
                  </a:cubicBezTo>
                  <a:cubicBezTo>
                    <a:pt x="1665198" y="1255976"/>
                    <a:pt x="1674447" y="1257595"/>
                    <a:pt x="1680972" y="1254433"/>
                  </a:cubicBezTo>
                  <a:cubicBezTo>
                    <a:pt x="1685106" y="1253528"/>
                    <a:pt x="1688268" y="1251833"/>
                    <a:pt x="1689811" y="1249518"/>
                  </a:cubicBezTo>
                  <a:cubicBezTo>
                    <a:pt x="1689925" y="1249318"/>
                    <a:pt x="1690088" y="1249070"/>
                    <a:pt x="1690183" y="1248880"/>
                  </a:cubicBezTo>
                  <a:cubicBezTo>
                    <a:pt x="1690440" y="1248318"/>
                    <a:pt x="1690745" y="1247613"/>
                    <a:pt x="1690811" y="1246994"/>
                  </a:cubicBezTo>
                  <a:cubicBezTo>
                    <a:pt x="1691011" y="1245375"/>
                    <a:pt x="1690592" y="1243498"/>
                    <a:pt x="1689421" y="1241441"/>
                  </a:cubicBezTo>
                  <a:cubicBezTo>
                    <a:pt x="1682572" y="1242593"/>
                    <a:pt x="1675676" y="1243136"/>
                    <a:pt x="1668885" y="1244603"/>
                  </a:cubicBezTo>
                  <a:cubicBezTo>
                    <a:pt x="1668961" y="1236888"/>
                    <a:pt x="1659988" y="1232678"/>
                    <a:pt x="1658779" y="1224791"/>
                  </a:cubicBezTo>
                  <a:cubicBezTo>
                    <a:pt x="1657274" y="1223267"/>
                    <a:pt x="1656493" y="1221953"/>
                    <a:pt x="1656245" y="1221019"/>
                  </a:cubicBezTo>
                  <a:cubicBezTo>
                    <a:pt x="1656226" y="1220924"/>
                    <a:pt x="1656131" y="1220743"/>
                    <a:pt x="1656112" y="1220638"/>
                  </a:cubicBezTo>
                  <a:cubicBezTo>
                    <a:pt x="1656112" y="1220619"/>
                    <a:pt x="1656112" y="1220534"/>
                    <a:pt x="1656112" y="1220515"/>
                  </a:cubicBezTo>
                  <a:cubicBezTo>
                    <a:pt x="1656112" y="1220495"/>
                    <a:pt x="1656112" y="1220410"/>
                    <a:pt x="1656112" y="1220381"/>
                  </a:cubicBezTo>
                  <a:cubicBezTo>
                    <a:pt x="1656112" y="1220353"/>
                    <a:pt x="1656112" y="1220276"/>
                    <a:pt x="1656112" y="1220257"/>
                  </a:cubicBezTo>
                  <a:cubicBezTo>
                    <a:pt x="1656112" y="1220238"/>
                    <a:pt x="1656112" y="1220153"/>
                    <a:pt x="1656112" y="1220124"/>
                  </a:cubicBezTo>
                  <a:cubicBezTo>
                    <a:pt x="1656112" y="1220105"/>
                    <a:pt x="1656245" y="1220010"/>
                    <a:pt x="1656245" y="1219991"/>
                  </a:cubicBezTo>
                  <a:cubicBezTo>
                    <a:pt x="1656264" y="1219972"/>
                    <a:pt x="1656245" y="1219886"/>
                    <a:pt x="1656245" y="1219867"/>
                  </a:cubicBezTo>
                  <a:cubicBezTo>
                    <a:pt x="1656264" y="1219848"/>
                    <a:pt x="1656245" y="1219762"/>
                    <a:pt x="1656245" y="1219743"/>
                  </a:cubicBezTo>
                  <a:cubicBezTo>
                    <a:pt x="1656264" y="1219676"/>
                    <a:pt x="1656340" y="1219543"/>
                    <a:pt x="1656379" y="1219486"/>
                  </a:cubicBezTo>
                  <a:cubicBezTo>
                    <a:pt x="1656379" y="1219476"/>
                    <a:pt x="1656474" y="1219381"/>
                    <a:pt x="1656493" y="1219362"/>
                  </a:cubicBezTo>
                  <a:cubicBezTo>
                    <a:pt x="1658684" y="1216447"/>
                    <a:pt x="1670199" y="1217657"/>
                    <a:pt x="1673028" y="1213428"/>
                  </a:cubicBezTo>
                  <a:cubicBezTo>
                    <a:pt x="1673085" y="1213333"/>
                    <a:pt x="1673219" y="1213161"/>
                    <a:pt x="1673267" y="1213047"/>
                  </a:cubicBezTo>
                  <a:cubicBezTo>
                    <a:pt x="1673285" y="1212999"/>
                    <a:pt x="1673380" y="1212847"/>
                    <a:pt x="1673400" y="1212799"/>
                  </a:cubicBezTo>
                  <a:cubicBezTo>
                    <a:pt x="1673419" y="1212752"/>
                    <a:pt x="1673514" y="1212599"/>
                    <a:pt x="1673533" y="1212561"/>
                  </a:cubicBezTo>
                  <a:cubicBezTo>
                    <a:pt x="1673552" y="1212466"/>
                    <a:pt x="1673495" y="1212275"/>
                    <a:pt x="1673533" y="1212171"/>
                  </a:cubicBezTo>
                  <a:cubicBezTo>
                    <a:pt x="1673533" y="1212075"/>
                    <a:pt x="1673628" y="1211894"/>
                    <a:pt x="1673647" y="1211790"/>
                  </a:cubicBezTo>
                  <a:cubicBezTo>
                    <a:pt x="1673667" y="1211713"/>
                    <a:pt x="1673628" y="1211599"/>
                    <a:pt x="1673647" y="1211542"/>
                  </a:cubicBezTo>
                  <a:cubicBezTo>
                    <a:pt x="1665075" y="1210818"/>
                    <a:pt x="1656569" y="1209780"/>
                    <a:pt x="1648044" y="1208389"/>
                  </a:cubicBezTo>
                  <a:cubicBezTo>
                    <a:pt x="1646501" y="1209189"/>
                    <a:pt x="1645139" y="1209570"/>
                    <a:pt x="1644139" y="1209656"/>
                  </a:cubicBezTo>
                  <a:cubicBezTo>
                    <a:pt x="1643825" y="1209675"/>
                    <a:pt x="1643415" y="1209694"/>
                    <a:pt x="1643139" y="1209656"/>
                  </a:cubicBezTo>
                  <a:cubicBezTo>
                    <a:pt x="1643063" y="1209646"/>
                    <a:pt x="1642939" y="1209666"/>
                    <a:pt x="1642900" y="1209656"/>
                  </a:cubicBezTo>
                  <a:cubicBezTo>
                    <a:pt x="1642843" y="1209637"/>
                    <a:pt x="1642700" y="1209551"/>
                    <a:pt x="1642663" y="1209532"/>
                  </a:cubicBezTo>
                  <a:cubicBezTo>
                    <a:pt x="1642586" y="1209513"/>
                    <a:pt x="1642463" y="1209437"/>
                    <a:pt x="1642405" y="1209399"/>
                  </a:cubicBezTo>
                  <a:cubicBezTo>
                    <a:pt x="1642386" y="1209389"/>
                    <a:pt x="1642310" y="1209408"/>
                    <a:pt x="1642272" y="1209399"/>
                  </a:cubicBezTo>
                  <a:cubicBezTo>
                    <a:pt x="1642253" y="1209389"/>
                    <a:pt x="1642177" y="1209285"/>
                    <a:pt x="1642158" y="1209265"/>
                  </a:cubicBezTo>
                  <a:cubicBezTo>
                    <a:pt x="1642100" y="1209237"/>
                    <a:pt x="1641957" y="1209170"/>
                    <a:pt x="1641920" y="1209142"/>
                  </a:cubicBezTo>
                  <a:cubicBezTo>
                    <a:pt x="1641900" y="1209123"/>
                    <a:pt x="1641805" y="1209037"/>
                    <a:pt x="1641786" y="1209018"/>
                  </a:cubicBezTo>
                  <a:cubicBezTo>
                    <a:pt x="1641748" y="1208999"/>
                    <a:pt x="1641672" y="1208904"/>
                    <a:pt x="1641653" y="1208885"/>
                  </a:cubicBezTo>
                  <a:cubicBezTo>
                    <a:pt x="1641615" y="1208846"/>
                    <a:pt x="1641557" y="1208799"/>
                    <a:pt x="1641520" y="1208761"/>
                  </a:cubicBezTo>
                  <a:cubicBezTo>
                    <a:pt x="1638472" y="1205322"/>
                    <a:pt x="1640700" y="1193825"/>
                    <a:pt x="1636347" y="1188196"/>
                  </a:cubicBezTo>
                  <a:cubicBezTo>
                    <a:pt x="1635490" y="1187148"/>
                    <a:pt x="1634376" y="1186215"/>
                    <a:pt x="1632947" y="1185672"/>
                  </a:cubicBezTo>
                  <a:cubicBezTo>
                    <a:pt x="1626470" y="1185158"/>
                    <a:pt x="1623641" y="1183986"/>
                    <a:pt x="1622860" y="1182386"/>
                  </a:cubicBezTo>
                  <a:cubicBezTo>
                    <a:pt x="1621451" y="1179100"/>
                    <a:pt x="1627975" y="1173871"/>
                    <a:pt x="1628270" y="1168003"/>
                  </a:cubicBezTo>
                  <a:cubicBezTo>
                    <a:pt x="1631728" y="1163345"/>
                    <a:pt x="1638519" y="1158964"/>
                    <a:pt x="1641253" y="1153620"/>
                  </a:cubicBezTo>
                  <a:cubicBezTo>
                    <a:pt x="1646834" y="1150315"/>
                    <a:pt x="1645863" y="1141114"/>
                    <a:pt x="1647187" y="1134961"/>
                  </a:cubicBezTo>
                  <a:cubicBezTo>
                    <a:pt x="1649863" y="1127827"/>
                    <a:pt x="1653740" y="1121997"/>
                    <a:pt x="1646682" y="1116302"/>
                  </a:cubicBezTo>
                  <a:cubicBezTo>
                    <a:pt x="1649473" y="1113453"/>
                    <a:pt x="1652692" y="1110777"/>
                    <a:pt x="1653864" y="1108482"/>
                  </a:cubicBezTo>
                  <a:cubicBezTo>
                    <a:pt x="1653940" y="1108300"/>
                    <a:pt x="1654054" y="1108024"/>
                    <a:pt x="1654102" y="1107862"/>
                  </a:cubicBezTo>
                  <a:cubicBezTo>
                    <a:pt x="1654159" y="1107681"/>
                    <a:pt x="1654217" y="1107405"/>
                    <a:pt x="1654235" y="1107234"/>
                  </a:cubicBezTo>
                  <a:cubicBezTo>
                    <a:pt x="1654254" y="1107100"/>
                    <a:pt x="1654235" y="1106862"/>
                    <a:pt x="1654235" y="1106729"/>
                  </a:cubicBezTo>
                  <a:cubicBezTo>
                    <a:pt x="1654217" y="1106472"/>
                    <a:pt x="1654083" y="1106100"/>
                    <a:pt x="1653997" y="1105853"/>
                  </a:cubicBezTo>
                  <a:cubicBezTo>
                    <a:pt x="1653883" y="1105624"/>
                    <a:pt x="1653683" y="1105300"/>
                    <a:pt x="1653474" y="1105100"/>
                  </a:cubicBezTo>
                  <a:cubicBezTo>
                    <a:pt x="1653416" y="1105033"/>
                    <a:pt x="1653283" y="1104900"/>
                    <a:pt x="1653235" y="1104852"/>
                  </a:cubicBezTo>
                  <a:cubicBezTo>
                    <a:pt x="1652359" y="1104062"/>
                    <a:pt x="1650892" y="1103271"/>
                    <a:pt x="1648692" y="1102586"/>
                  </a:cubicBezTo>
                  <a:cubicBezTo>
                    <a:pt x="1648454" y="1102738"/>
                    <a:pt x="1648149" y="1102862"/>
                    <a:pt x="1647930" y="1102966"/>
                  </a:cubicBezTo>
                  <a:cubicBezTo>
                    <a:pt x="1647816" y="1103014"/>
                    <a:pt x="1647558" y="1103062"/>
                    <a:pt x="1647425" y="1103100"/>
                  </a:cubicBezTo>
                  <a:cubicBezTo>
                    <a:pt x="1647330" y="1103128"/>
                    <a:pt x="1647149" y="1103205"/>
                    <a:pt x="1647034" y="1103224"/>
                  </a:cubicBezTo>
                  <a:cubicBezTo>
                    <a:pt x="1646939" y="1103243"/>
                    <a:pt x="1646758" y="1103328"/>
                    <a:pt x="1646663" y="1103348"/>
                  </a:cubicBezTo>
                  <a:cubicBezTo>
                    <a:pt x="1646530" y="1103367"/>
                    <a:pt x="1646291" y="1103348"/>
                    <a:pt x="1646139" y="1103348"/>
                  </a:cubicBezTo>
                  <a:cubicBezTo>
                    <a:pt x="1640148" y="1103367"/>
                    <a:pt x="1634776" y="1091422"/>
                    <a:pt x="1638719" y="1087326"/>
                  </a:cubicBezTo>
                  <a:cubicBezTo>
                    <a:pt x="1638738" y="1087307"/>
                    <a:pt x="1638815" y="1087231"/>
                    <a:pt x="1638833" y="1087203"/>
                  </a:cubicBezTo>
                  <a:cubicBezTo>
                    <a:pt x="1638872" y="1087184"/>
                    <a:pt x="1638948" y="1087088"/>
                    <a:pt x="1638967" y="1087069"/>
                  </a:cubicBezTo>
                  <a:cubicBezTo>
                    <a:pt x="1639024" y="1087031"/>
                    <a:pt x="1639167" y="1086984"/>
                    <a:pt x="1639205" y="1086945"/>
                  </a:cubicBezTo>
                  <a:cubicBezTo>
                    <a:pt x="1639243" y="1086926"/>
                    <a:pt x="1639319" y="1086831"/>
                    <a:pt x="1639338" y="1086812"/>
                  </a:cubicBezTo>
                  <a:cubicBezTo>
                    <a:pt x="1639395" y="1086784"/>
                    <a:pt x="1639538" y="1086717"/>
                    <a:pt x="1639595" y="1086688"/>
                  </a:cubicBezTo>
                  <a:cubicBezTo>
                    <a:pt x="1639634" y="1086650"/>
                    <a:pt x="1639786" y="1086593"/>
                    <a:pt x="1639815" y="1086555"/>
                  </a:cubicBezTo>
                  <a:cubicBezTo>
                    <a:pt x="1640053" y="1086441"/>
                    <a:pt x="1640424" y="1086250"/>
                    <a:pt x="1640710" y="1086174"/>
                  </a:cubicBezTo>
                  <a:cubicBezTo>
                    <a:pt x="1641024" y="1086088"/>
                    <a:pt x="1641472" y="1086088"/>
                    <a:pt x="1641843" y="1086050"/>
                  </a:cubicBezTo>
                  <a:cubicBezTo>
                    <a:pt x="1642177" y="1086031"/>
                    <a:pt x="1642606" y="1086022"/>
                    <a:pt x="1642977" y="1086050"/>
                  </a:cubicBezTo>
                  <a:cubicBezTo>
                    <a:pt x="1642958" y="1085812"/>
                    <a:pt x="1642900" y="1085488"/>
                    <a:pt x="1642843" y="1085288"/>
                  </a:cubicBezTo>
                  <a:cubicBezTo>
                    <a:pt x="1642824" y="1085231"/>
                    <a:pt x="1642748" y="1085088"/>
                    <a:pt x="1642710" y="1085040"/>
                  </a:cubicBezTo>
                  <a:cubicBezTo>
                    <a:pt x="1642691" y="1084983"/>
                    <a:pt x="1642615" y="1084840"/>
                    <a:pt x="1642596" y="1084802"/>
                  </a:cubicBezTo>
                  <a:cubicBezTo>
                    <a:pt x="1642577" y="1084726"/>
                    <a:pt x="1642482" y="1084593"/>
                    <a:pt x="1642463" y="1084545"/>
                  </a:cubicBezTo>
                  <a:cubicBezTo>
                    <a:pt x="1639948" y="1080392"/>
                    <a:pt x="1628451" y="1082850"/>
                    <a:pt x="1625946" y="1082278"/>
                  </a:cubicBezTo>
                  <a:cubicBezTo>
                    <a:pt x="1625851" y="1082259"/>
                    <a:pt x="1625746" y="1082183"/>
                    <a:pt x="1625708" y="1082154"/>
                  </a:cubicBezTo>
                  <a:cubicBezTo>
                    <a:pt x="1625689" y="1082145"/>
                    <a:pt x="1625594" y="1082154"/>
                    <a:pt x="1625575" y="1082154"/>
                  </a:cubicBezTo>
                  <a:cubicBezTo>
                    <a:pt x="1625575" y="1082145"/>
                    <a:pt x="1625594" y="1082031"/>
                    <a:pt x="1625575" y="1082021"/>
                  </a:cubicBezTo>
                  <a:cubicBezTo>
                    <a:pt x="1625575" y="1082011"/>
                    <a:pt x="1625575" y="1081897"/>
                    <a:pt x="1625575" y="1081897"/>
                  </a:cubicBezTo>
                  <a:cubicBezTo>
                    <a:pt x="1625575" y="1081888"/>
                    <a:pt x="1625575" y="1081783"/>
                    <a:pt x="1625575" y="1081764"/>
                  </a:cubicBezTo>
                  <a:cubicBezTo>
                    <a:pt x="1625594" y="1081745"/>
                    <a:pt x="1625555" y="1081669"/>
                    <a:pt x="1625575" y="1081640"/>
                  </a:cubicBezTo>
                  <a:cubicBezTo>
                    <a:pt x="1625965" y="1081069"/>
                    <a:pt x="1627375" y="1080040"/>
                    <a:pt x="1630118" y="1078487"/>
                  </a:cubicBezTo>
                  <a:cubicBezTo>
                    <a:pt x="1633576" y="1073572"/>
                    <a:pt x="1639386" y="1073087"/>
                    <a:pt x="1641357" y="1070915"/>
                  </a:cubicBezTo>
                  <a:cubicBezTo>
                    <a:pt x="1641377" y="1070896"/>
                    <a:pt x="1641472" y="1070801"/>
                    <a:pt x="1641491" y="1070781"/>
                  </a:cubicBezTo>
                  <a:cubicBezTo>
                    <a:pt x="1641567" y="1070696"/>
                    <a:pt x="1641681" y="1070515"/>
                    <a:pt x="1641729" y="1070400"/>
                  </a:cubicBezTo>
                  <a:cubicBezTo>
                    <a:pt x="1641748" y="1070353"/>
                    <a:pt x="1641843" y="1070200"/>
                    <a:pt x="1641863" y="1070162"/>
                  </a:cubicBezTo>
                  <a:cubicBezTo>
                    <a:pt x="1641863" y="1070134"/>
                    <a:pt x="1641843" y="1070058"/>
                    <a:pt x="1641863" y="1070029"/>
                  </a:cubicBezTo>
                  <a:cubicBezTo>
                    <a:pt x="1641881" y="1069972"/>
                    <a:pt x="1641977" y="1069829"/>
                    <a:pt x="1641977" y="1069791"/>
                  </a:cubicBezTo>
                  <a:cubicBezTo>
                    <a:pt x="1641996" y="1069705"/>
                    <a:pt x="1641977" y="1069505"/>
                    <a:pt x="1641977" y="1069410"/>
                  </a:cubicBezTo>
                  <a:cubicBezTo>
                    <a:pt x="1641996" y="1069324"/>
                    <a:pt x="1641977" y="1069134"/>
                    <a:pt x="1641977" y="1069029"/>
                  </a:cubicBezTo>
                  <a:cubicBezTo>
                    <a:pt x="1641977" y="1068848"/>
                    <a:pt x="1642034" y="1068581"/>
                    <a:pt x="1641977" y="1068400"/>
                  </a:cubicBezTo>
                  <a:cubicBezTo>
                    <a:pt x="1632395" y="1061914"/>
                    <a:pt x="1634700" y="1049407"/>
                    <a:pt x="1637062" y="1040025"/>
                  </a:cubicBezTo>
                  <a:cubicBezTo>
                    <a:pt x="1638509" y="1032643"/>
                    <a:pt x="1643682" y="1027128"/>
                    <a:pt x="1646272" y="1019842"/>
                  </a:cubicBezTo>
                  <a:cubicBezTo>
                    <a:pt x="1648282" y="1017375"/>
                    <a:pt x="1649063" y="1011593"/>
                    <a:pt x="1650816" y="1008736"/>
                  </a:cubicBezTo>
                  <a:cubicBezTo>
                    <a:pt x="1651130" y="1008250"/>
                    <a:pt x="1651559" y="1007745"/>
                    <a:pt x="1651949" y="1007478"/>
                  </a:cubicBezTo>
                  <a:cubicBezTo>
                    <a:pt x="1652188" y="1007307"/>
                    <a:pt x="1652559" y="1007145"/>
                    <a:pt x="1652845" y="1007088"/>
                  </a:cubicBezTo>
                  <a:cubicBezTo>
                    <a:pt x="1653064" y="1007059"/>
                    <a:pt x="1653445" y="1007164"/>
                    <a:pt x="1653721" y="1007212"/>
                  </a:cubicBezTo>
                  <a:cubicBezTo>
                    <a:pt x="1654597" y="1007450"/>
                    <a:pt x="1655731" y="1008116"/>
                    <a:pt x="1657017" y="1009488"/>
                  </a:cubicBezTo>
                  <a:cubicBezTo>
                    <a:pt x="1667903" y="1014622"/>
                    <a:pt x="1675657" y="1023433"/>
                    <a:pt x="1683620" y="1032186"/>
                  </a:cubicBezTo>
                  <a:cubicBezTo>
                    <a:pt x="1687154" y="1032272"/>
                    <a:pt x="1689830" y="1033682"/>
                    <a:pt x="1691326" y="1035720"/>
                  </a:cubicBezTo>
                  <a:cubicBezTo>
                    <a:pt x="1693278" y="1038520"/>
                    <a:pt x="1693164" y="1042626"/>
                    <a:pt x="1690583" y="1046826"/>
                  </a:cubicBezTo>
                  <a:cubicBezTo>
                    <a:pt x="1694136" y="1055599"/>
                    <a:pt x="1702679" y="1053960"/>
                    <a:pt x="1708985" y="1051370"/>
                  </a:cubicBezTo>
                  <a:cubicBezTo>
                    <a:pt x="1711557" y="1052055"/>
                    <a:pt x="1712795" y="1051331"/>
                    <a:pt x="1713548" y="1050112"/>
                  </a:cubicBezTo>
                  <a:cubicBezTo>
                    <a:pt x="1714643" y="1048141"/>
                    <a:pt x="1714538" y="1044635"/>
                    <a:pt x="1715558" y="1042540"/>
                  </a:cubicBezTo>
                  <a:cubicBezTo>
                    <a:pt x="1715652" y="1042349"/>
                    <a:pt x="1715795" y="1042073"/>
                    <a:pt x="1715948" y="1041911"/>
                  </a:cubicBezTo>
                  <a:cubicBezTo>
                    <a:pt x="1716081" y="1041749"/>
                    <a:pt x="1716281" y="1041530"/>
                    <a:pt x="1716453" y="1041406"/>
                  </a:cubicBezTo>
                  <a:cubicBezTo>
                    <a:pt x="1717234" y="1040835"/>
                    <a:pt x="1718386" y="1040635"/>
                    <a:pt x="1720120" y="1041025"/>
                  </a:cubicBezTo>
                  <a:cubicBezTo>
                    <a:pt x="1725483" y="1036539"/>
                    <a:pt x="1727806" y="1031910"/>
                    <a:pt x="1730226" y="1026271"/>
                  </a:cubicBezTo>
                  <a:cubicBezTo>
                    <a:pt x="1727730" y="1026043"/>
                    <a:pt x="1726378" y="1025747"/>
                    <a:pt x="1725796" y="1025385"/>
                  </a:cubicBezTo>
                  <a:cubicBezTo>
                    <a:pt x="1725778" y="1025376"/>
                    <a:pt x="1725683" y="1025281"/>
                    <a:pt x="1725663" y="1025261"/>
                  </a:cubicBezTo>
                  <a:cubicBezTo>
                    <a:pt x="1725644" y="1025214"/>
                    <a:pt x="1725568" y="1025157"/>
                    <a:pt x="1725549" y="1025128"/>
                  </a:cubicBezTo>
                  <a:cubicBezTo>
                    <a:pt x="1725530" y="1025109"/>
                    <a:pt x="1725549" y="1025023"/>
                    <a:pt x="1725549" y="1025004"/>
                  </a:cubicBezTo>
                  <a:cubicBezTo>
                    <a:pt x="1725549" y="1024985"/>
                    <a:pt x="1725549" y="1024900"/>
                    <a:pt x="1725549" y="1024880"/>
                  </a:cubicBezTo>
                  <a:cubicBezTo>
                    <a:pt x="1725549" y="1024861"/>
                    <a:pt x="1725530" y="1024766"/>
                    <a:pt x="1725549" y="1024747"/>
                  </a:cubicBezTo>
                  <a:cubicBezTo>
                    <a:pt x="1725587" y="1024681"/>
                    <a:pt x="1725720" y="1024566"/>
                    <a:pt x="1725787" y="1024509"/>
                  </a:cubicBezTo>
                  <a:cubicBezTo>
                    <a:pt x="1725806" y="1024490"/>
                    <a:pt x="1725883" y="1024395"/>
                    <a:pt x="1725920" y="1024376"/>
                  </a:cubicBezTo>
                  <a:cubicBezTo>
                    <a:pt x="1726073" y="1024271"/>
                    <a:pt x="1726330" y="1024109"/>
                    <a:pt x="1726530" y="1023995"/>
                  </a:cubicBezTo>
                  <a:cubicBezTo>
                    <a:pt x="1729359" y="1022633"/>
                    <a:pt x="1736836" y="1021147"/>
                    <a:pt x="1739408" y="1020975"/>
                  </a:cubicBezTo>
                  <a:cubicBezTo>
                    <a:pt x="1751019" y="1022366"/>
                    <a:pt x="1749324" y="1014012"/>
                    <a:pt x="1757934" y="1009869"/>
                  </a:cubicBezTo>
                  <a:cubicBezTo>
                    <a:pt x="1760020" y="1008174"/>
                    <a:pt x="1760782" y="1006897"/>
                    <a:pt x="1760725" y="1005954"/>
                  </a:cubicBezTo>
                  <a:cubicBezTo>
                    <a:pt x="1760668" y="1005554"/>
                    <a:pt x="1760391" y="1005126"/>
                    <a:pt x="1760096" y="1004811"/>
                  </a:cubicBezTo>
                  <a:cubicBezTo>
                    <a:pt x="1758277" y="1003116"/>
                    <a:pt x="1753010" y="1002535"/>
                    <a:pt x="1751524" y="1001039"/>
                  </a:cubicBezTo>
                  <a:cubicBezTo>
                    <a:pt x="1751486" y="1000992"/>
                    <a:pt x="1751429" y="1000839"/>
                    <a:pt x="1751409" y="1000801"/>
                  </a:cubicBezTo>
                  <a:cubicBezTo>
                    <a:pt x="1751390" y="1000773"/>
                    <a:pt x="1751295" y="1000696"/>
                    <a:pt x="1751276" y="1000668"/>
                  </a:cubicBezTo>
                  <a:cubicBezTo>
                    <a:pt x="1751257" y="1000601"/>
                    <a:pt x="1751162" y="1000468"/>
                    <a:pt x="1751143" y="1000420"/>
                  </a:cubicBezTo>
                  <a:cubicBezTo>
                    <a:pt x="1751123" y="1000335"/>
                    <a:pt x="1751123" y="1000135"/>
                    <a:pt x="1751143" y="1000039"/>
                  </a:cubicBezTo>
                  <a:cubicBezTo>
                    <a:pt x="1751219" y="999630"/>
                    <a:pt x="1751572" y="999087"/>
                    <a:pt x="1752143" y="998525"/>
                  </a:cubicBezTo>
                  <a:cubicBezTo>
                    <a:pt x="1755305" y="992772"/>
                    <a:pt x="1762658" y="989590"/>
                    <a:pt x="1769297" y="990324"/>
                  </a:cubicBezTo>
                  <a:cubicBezTo>
                    <a:pt x="1776984" y="997087"/>
                    <a:pt x="1788605" y="986419"/>
                    <a:pt x="1792386" y="981123"/>
                  </a:cubicBezTo>
                  <a:cubicBezTo>
                    <a:pt x="1797711" y="983123"/>
                    <a:pt x="1802149" y="983066"/>
                    <a:pt x="1805131" y="980361"/>
                  </a:cubicBezTo>
                  <a:cubicBezTo>
                    <a:pt x="1805350" y="980161"/>
                    <a:pt x="1805692" y="979846"/>
                    <a:pt x="1805874" y="979608"/>
                  </a:cubicBezTo>
                  <a:cubicBezTo>
                    <a:pt x="1806635" y="978713"/>
                    <a:pt x="1807264" y="977541"/>
                    <a:pt x="1807769" y="976208"/>
                  </a:cubicBezTo>
                  <a:cubicBezTo>
                    <a:pt x="1812294" y="971988"/>
                    <a:pt x="1827895" y="970969"/>
                    <a:pt x="1821780" y="963330"/>
                  </a:cubicBezTo>
                  <a:cubicBezTo>
                    <a:pt x="1820828" y="962235"/>
                    <a:pt x="1820418" y="961320"/>
                    <a:pt x="1820390" y="960692"/>
                  </a:cubicBezTo>
                  <a:cubicBezTo>
                    <a:pt x="1820390" y="960682"/>
                    <a:pt x="1820390" y="960587"/>
                    <a:pt x="1820390" y="960568"/>
                  </a:cubicBezTo>
                  <a:cubicBezTo>
                    <a:pt x="1820390" y="960549"/>
                    <a:pt x="1820523" y="960453"/>
                    <a:pt x="1820523" y="960444"/>
                  </a:cubicBezTo>
                  <a:cubicBezTo>
                    <a:pt x="1820523" y="960425"/>
                    <a:pt x="1820504" y="960330"/>
                    <a:pt x="1820523" y="960320"/>
                  </a:cubicBezTo>
                  <a:cubicBezTo>
                    <a:pt x="1820523" y="960301"/>
                    <a:pt x="1820504" y="960206"/>
                    <a:pt x="1820523" y="960196"/>
                  </a:cubicBezTo>
                  <a:cubicBezTo>
                    <a:pt x="1820542" y="960158"/>
                    <a:pt x="1820637" y="960091"/>
                    <a:pt x="1820637" y="960063"/>
                  </a:cubicBezTo>
                  <a:cubicBezTo>
                    <a:pt x="1820656" y="960053"/>
                    <a:pt x="1820637" y="959958"/>
                    <a:pt x="1820637" y="959939"/>
                  </a:cubicBezTo>
                  <a:cubicBezTo>
                    <a:pt x="1820752" y="959806"/>
                    <a:pt x="1820970" y="959653"/>
                    <a:pt x="1821161" y="959549"/>
                  </a:cubicBezTo>
                  <a:cubicBezTo>
                    <a:pt x="1824142" y="958186"/>
                    <a:pt x="1834944" y="962501"/>
                    <a:pt x="1834410" y="968874"/>
                  </a:cubicBezTo>
                  <a:cubicBezTo>
                    <a:pt x="1834391" y="969093"/>
                    <a:pt x="1834334" y="969416"/>
                    <a:pt x="1834277" y="969626"/>
                  </a:cubicBezTo>
                  <a:cubicBezTo>
                    <a:pt x="1834219" y="969826"/>
                    <a:pt x="1834086" y="970064"/>
                    <a:pt x="1834039" y="970255"/>
                  </a:cubicBezTo>
                  <a:cubicBezTo>
                    <a:pt x="1841354" y="968635"/>
                    <a:pt x="1848107" y="978113"/>
                    <a:pt x="1854355" y="974169"/>
                  </a:cubicBezTo>
                  <a:cubicBezTo>
                    <a:pt x="1852641" y="970769"/>
                    <a:pt x="1852660" y="966407"/>
                    <a:pt x="1855098" y="963949"/>
                  </a:cubicBezTo>
                  <a:cubicBezTo>
                    <a:pt x="1856718" y="962387"/>
                    <a:pt x="1859470" y="961482"/>
                    <a:pt x="1863300" y="962187"/>
                  </a:cubicBezTo>
                  <a:cubicBezTo>
                    <a:pt x="1865157" y="961996"/>
                    <a:pt x="1866148" y="961425"/>
                    <a:pt x="1866576" y="960549"/>
                  </a:cubicBezTo>
                  <a:cubicBezTo>
                    <a:pt x="1868119" y="956882"/>
                    <a:pt x="1860271" y="948509"/>
                    <a:pt x="1863300" y="944280"/>
                  </a:cubicBezTo>
                  <a:cubicBezTo>
                    <a:pt x="1862757" y="942032"/>
                    <a:pt x="1863147" y="940556"/>
                    <a:pt x="1863909" y="939613"/>
                  </a:cubicBezTo>
                  <a:cubicBezTo>
                    <a:pt x="1865843" y="937431"/>
                    <a:pt x="1870424" y="937955"/>
                    <a:pt x="1872482" y="937079"/>
                  </a:cubicBezTo>
                  <a:cubicBezTo>
                    <a:pt x="1873044" y="936841"/>
                    <a:pt x="1873415" y="936384"/>
                    <a:pt x="1873482" y="935812"/>
                  </a:cubicBezTo>
                  <a:cubicBezTo>
                    <a:pt x="1873539" y="935117"/>
                    <a:pt x="1873149" y="934060"/>
                    <a:pt x="1872215" y="932659"/>
                  </a:cubicBezTo>
                  <a:cubicBezTo>
                    <a:pt x="1869738" y="927640"/>
                    <a:pt x="1872101" y="920715"/>
                    <a:pt x="1867805" y="915124"/>
                  </a:cubicBezTo>
                  <a:cubicBezTo>
                    <a:pt x="1866815" y="912219"/>
                    <a:pt x="1867376" y="910238"/>
                    <a:pt x="1868681" y="908818"/>
                  </a:cubicBezTo>
                  <a:cubicBezTo>
                    <a:pt x="1871624" y="905789"/>
                    <a:pt x="1878054" y="904923"/>
                    <a:pt x="1879654" y="901370"/>
                  </a:cubicBezTo>
                  <a:cubicBezTo>
                    <a:pt x="1879930" y="901027"/>
                    <a:pt x="1880254" y="900808"/>
                    <a:pt x="1880530" y="900627"/>
                  </a:cubicBezTo>
                  <a:cubicBezTo>
                    <a:pt x="1880683" y="900532"/>
                    <a:pt x="1880902" y="900427"/>
                    <a:pt x="1881035" y="900379"/>
                  </a:cubicBezTo>
                  <a:cubicBezTo>
                    <a:pt x="1881188" y="900332"/>
                    <a:pt x="1881407" y="900265"/>
                    <a:pt x="1881559" y="900255"/>
                  </a:cubicBezTo>
                  <a:cubicBezTo>
                    <a:pt x="1881654" y="900255"/>
                    <a:pt x="1881835" y="900246"/>
                    <a:pt x="1881931" y="900255"/>
                  </a:cubicBezTo>
                  <a:cubicBezTo>
                    <a:pt x="1882064" y="900274"/>
                    <a:pt x="1882321" y="900332"/>
                    <a:pt x="1882454" y="900379"/>
                  </a:cubicBezTo>
                  <a:cubicBezTo>
                    <a:pt x="1882807" y="900532"/>
                    <a:pt x="1883236" y="900827"/>
                    <a:pt x="1883588" y="901141"/>
                  </a:cubicBezTo>
                  <a:cubicBezTo>
                    <a:pt x="1886417" y="903713"/>
                    <a:pt x="1889522" y="910504"/>
                    <a:pt x="1895304" y="908837"/>
                  </a:cubicBezTo>
                  <a:cubicBezTo>
                    <a:pt x="1899933" y="901237"/>
                    <a:pt x="1909715" y="899122"/>
                    <a:pt x="1918145" y="898312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DBFCB78-0D23-4AD3-8539-2A43ED7EC021}"/>
                </a:ext>
              </a:extLst>
            </p:cNvPr>
            <p:cNvSpPr/>
            <p:nvPr/>
          </p:nvSpPr>
          <p:spPr bwMode="gray">
            <a:xfrm>
              <a:off x="5498172" y="1873567"/>
              <a:ext cx="2196302" cy="1985400"/>
            </a:xfrm>
            <a:custGeom>
              <a:avLst/>
              <a:gdLst>
                <a:gd name="connsiteX0" fmla="*/ 118472 w 2196302"/>
                <a:gd name="connsiteY0" fmla="*/ 1236669 h 1985400"/>
                <a:gd name="connsiteX1" fmla="*/ 118472 w 2196302"/>
                <a:gd name="connsiteY1" fmla="*/ 1208561 h 1985400"/>
                <a:gd name="connsiteX2" fmla="*/ 108795 w 2196302"/>
                <a:gd name="connsiteY2" fmla="*/ 1184539 h 1985400"/>
                <a:gd name="connsiteX3" fmla="*/ 110433 w 2196302"/>
                <a:gd name="connsiteY3" fmla="*/ 1180452 h 1985400"/>
                <a:gd name="connsiteX4" fmla="*/ 84334 w 2196302"/>
                <a:gd name="connsiteY4" fmla="*/ 1156354 h 1985400"/>
                <a:gd name="connsiteX5" fmla="*/ 34138 w 2196302"/>
                <a:gd name="connsiteY5" fmla="*/ 1126246 h 1985400"/>
                <a:gd name="connsiteX6" fmla="*/ 14069 w 2196302"/>
                <a:gd name="connsiteY6" fmla="*/ 1082069 h 1985400"/>
                <a:gd name="connsiteX7" fmla="*/ 0 w 2196302"/>
                <a:gd name="connsiteY7" fmla="*/ 1029881 h 1985400"/>
                <a:gd name="connsiteX8" fmla="*/ 20088 w 2196302"/>
                <a:gd name="connsiteY8" fmla="*/ 1019842 h 1985400"/>
                <a:gd name="connsiteX9" fmla="*/ 48187 w 2196302"/>
                <a:gd name="connsiteY9" fmla="*/ 1023861 h 1985400"/>
                <a:gd name="connsiteX10" fmla="*/ 46187 w 2196302"/>
                <a:gd name="connsiteY10" fmla="*/ 999763 h 1985400"/>
                <a:gd name="connsiteX11" fmla="*/ 60246 w 2196302"/>
                <a:gd name="connsiteY11" fmla="*/ 979684 h 1985400"/>
                <a:gd name="connsiteX12" fmla="*/ 92364 w 2196302"/>
                <a:gd name="connsiteY12" fmla="*/ 963616 h 1985400"/>
                <a:gd name="connsiteX13" fmla="*/ 96374 w 2196302"/>
                <a:gd name="connsiteY13" fmla="*/ 937517 h 1985400"/>
                <a:gd name="connsiteX14" fmla="*/ 96374 w 2196302"/>
                <a:gd name="connsiteY14" fmla="*/ 911419 h 1985400"/>
                <a:gd name="connsiteX15" fmla="*/ 120472 w 2196302"/>
                <a:gd name="connsiteY15" fmla="*/ 897369 h 1985400"/>
                <a:gd name="connsiteX16" fmla="*/ 156610 w 2196302"/>
                <a:gd name="connsiteY16" fmla="*/ 897369 h 1985400"/>
                <a:gd name="connsiteX17" fmla="*/ 188728 w 2196302"/>
                <a:gd name="connsiteY17" fmla="*/ 891350 h 1985400"/>
                <a:gd name="connsiteX18" fmla="*/ 214827 w 2196302"/>
                <a:gd name="connsiteY18" fmla="*/ 885330 h 1985400"/>
                <a:gd name="connsiteX19" fmla="*/ 224866 w 2196302"/>
                <a:gd name="connsiteY19" fmla="*/ 867270 h 1985400"/>
                <a:gd name="connsiteX20" fmla="*/ 244935 w 2196302"/>
                <a:gd name="connsiteY20" fmla="*/ 833142 h 1985400"/>
                <a:gd name="connsiteX21" fmla="*/ 252975 w 2196302"/>
                <a:gd name="connsiteY21" fmla="*/ 813064 h 1985400"/>
                <a:gd name="connsiteX22" fmla="*/ 279073 w 2196302"/>
                <a:gd name="connsiteY22" fmla="*/ 809044 h 1985400"/>
                <a:gd name="connsiteX23" fmla="*/ 309182 w 2196302"/>
                <a:gd name="connsiteY23" fmla="*/ 809044 h 1985400"/>
                <a:gd name="connsiteX24" fmla="*/ 325250 w 2196302"/>
                <a:gd name="connsiteY24" fmla="*/ 799005 h 1985400"/>
                <a:gd name="connsiteX25" fmla="*/ 337299 w 2196302"/>
                <a:gd name="connsiteY25" fmla="*/ 786956 h 1985400"/>
                <a:gd name="connsiteX26" fmla="*/ 359388 w 2196302"/>
                <a:gd name="connsiteY26" fmla="*/ 784955 h 1985400"/>
                <a:gd name="connsiteX27" fmla="*/ 379457 w 2196302"/>
                <a:gd name="connsiteY27" fmla="*/ 766886 h 1985400"/>
                <a:gd name="connsiteX28" fmla="*/ 413595 w 2196302"/>
                <a:gd name="connsiteY28" fmla="*/ 750818 h 1985400"/>
                <a:gd name="connsiteX29" fmla="*/ 491900 w 2196302"/>
                <a:gd name="connsiteY29" fmla="*/ 748817 h 1985400"/>
                <a:gd name="connsiteX30" fmla="*/ 515979 w 2196302"/>
                <a:gd name="connsiteY30" fmla="*/ 740778 h 1985400"/>
                <a:gd name="connsiteX31" fmla="*/ 560156 w 2196302"/>
                <a:gd name="connsiteY31" fmla="*/ 708660 h 1985400"/>
                <a:gd name="connsiteX32" fmla="*/ 590255 w 2196302"/>
                <a:gd name="connsiteY32" fmla="*/ 674532 h 1985400"/>
                <a:gd name="connsiteX33" fmla="*/ 618363 w 2196302"/>
                <a:gd name="connsiteY33" fmla="*/ 644423 h 1985400"/>
                <a:gd name="connsiteX34" fmla="*/ 638451 w 2196302"/>
                <a:gd name="connsiteY34" fmla="*/ 620335 h 1985400"/>
                <a:gd name="connsiteX35" fmla="*/ 644462 w 2196302"/>
                <a:gd name="connsiteY35" fmla="*/ 596236 h 1985400"/>
                <a:gd name="connsiteX36" fmla="*/ 652501 w 2196302"/>
                <a:gd name="connsiteY36" fmla="*/ 576167 h 1985400"/>
                <a:gd name="connsiteX37" fmla="*/ 658530 w 2196302"/>
                <a:gd name="connsiteY37" fmla="*/ 556089 h 1985400"/>
                <a:gd name="connsiteX38" fmla="*/ 658530 w 2196302"/>
                <a:gd name="connsiteY38" fmla="*/ 525971 h 1985400"/>
                <a:gd name="connsiteX39" fmla="*/ 656520 w 2196302"/>
                <a:gd name="connsiteY39" fmla="*/ 497872 h 1985400"/>
                <a:gd name="connsiteX40" fmla="*/ 656520 w 2196302"/>
                <a:gd name="connsiteY40" fmla="*/ 473783 h 1985400"/>
                <a:gd name="connsiteX41" fmla="*/ 662550 w 2196302"/>
                <a:gd name="connsiteY41" fmla="*/ 449694 h 1985400"/>
                <a:gd name="connsiteX42" fmla="*/ 682619 w 2196302"/>
                <a:gd name="connsiteY42" fmla="*/ 419576 h 1985400"/>
                <a:gd name="connsiteX43" fmla="*/ 668550 w 2196302"/>
                <a:gd name="connsiteY43" fmla="*/ 383438 h 1985400"/>
                <a:gd name="connsiteX44" fmla="*/ 658521 w 2196302"/>
                <a:gd name="connsiteY44" fmla="*/ 355340 h 1985400"/>
                <a:gd name="connsiteX45" fmla="*/ 658521 w 2196302"/>
                <a:gd name="connsiteY45" fmla="*/ 333261 h 1985400"/>
                <a:gd name="connsiteX46" fmla="*/ 678590 w 2196302"/>
                <a:gd name="connsiteY46" fmla="*/ 317192 h 1985400"/>
                <a:gd name="connsiteX47" fmla="*/ 706698 w 2196302"/>
                <a:gd name="connsiteY47" fmla="*/ 305143 h 1985400"/>
                <a:gd name="connsiteX48" fmla="*/ 736797 w 2196302"/>
                <a:gd name="connsiteY48" fmla="*/ 297104 h 1985400"/>
                <a:gd name="connsiteX49" fmla="*/ 762895 w 2196302"/>
                <a:gd name="connsiteY49" fmla="*/ 315173 h 1985400"/>
                <a:gd name="connsiteX50" fmla="*/ 778974 w 2196302"/>
                <a:gd name="connsiteY50" fmla="*/ 331241 h 1985400"/>
                <a:gd name="connsiteX51" fmla="*/ 803062 w 2196302"/>
                <a:gd name="connsiteY51" fmla="*/ 323212 h 1985400"/>
                <a:gd name="connsiteX52" fmla="*/ 817112 w 2196302"/>
                <a:gd name="connsiteY52" fmla="*/ 321212 h 1985400"/>
                <a:gd name="connsiteX53" fmla="*/ 835171 w 2196302"/>
                <a:gd name="connsiteY53" fmla="*/ 335261 h 1985400"/>
                <a:gd name="connsiteX54" fmla="*/ 867299 w 2196302"/>
                <a:gd name="connsiteY54" fmla="*/ 337271 h 1985400"/>
                <a:gd name="connsiteX55" fmla="*/ 875319 w 2196302"/>
                <a:gd name="connsiteY55" fmla="*/ 353339 h 1985400"/>
                <a:gd name="connsiteX56" fmla="*/ 887378 w 2196302"/>
                <a:gd name="connsiteY56" fmla="*/ 367398 h 1985400"/>
                <a:gd name="connsiteX57" fmla="*/ 917496 w 2196302"/>
                <a:gd name="connsiteY57" fmla="*/ 385458 h 1985400"/>
                <a:gd name="connsiteX58" fmla="*/ 935555 w 2196302"/>
                <a:gd name="connsiteY58" fmla="*/ 393487 h 1985400"/>
                <a:gd name="connsiteX59" fmla="*/ 949605 w 2196302"/>
                <a:gd name="connsiteY59" fmla="*/ 375428 h 1985400"/>
                <a:gd name="connsiteX60" fmla="*/ 953624 w 2196302"/>
                <a:gd name="connsiteY60" fmla="*/ 325231 h 1985400"/>
                <a:gd name="connsiteX61" fmla="*/ 979722 w 2196302"/>
                <a:gd name="connsiteY61" fmla="*/ 321212 h 1985400"/>
                <a:gd name="connsiteX62" fmla="*/ 1011850 w 2196302"/>
                <a:gd name="connsiteY62" fmla="*/ 291094 h 1985400"/>
                <a:gd name="connsiteX63" fmla="*/ 1011850 w 2196302"/>
                <a:gd name="connsiteY63" fmla="*/ 258985 h 1985400"/>
                <a:gd name="connsiteX64" fmla="*/ 1035920 w 2196302"/>
                <a:gd name="connsiteY64" fmla="*/ 230877 h 1985400"/>
                <a:gd name="connsiteX65" fmla="*/ 1013860 w 2196302"/>
                <a:gd name="connsiteY65" fmla="*/ 132483 h 1985400"/>
                <a:gd name="connsiteX66" fmla="*/ 1029919 w 2196302"/>
                <a:gd name="connsiteY66" fmla="*/ 108404 h 1985400"/>
                <a:gd name="connsiteX67" fmla="*/ 987762 w 2196302"/>
                <a:gd name="connsiteY67" fmla="*/ 74276 h 1985400"/>
                <a:gd name="connsiteX68" fmla="*/ 1005821 w 2196302"/>
                <a:gd name="connsiteY68" fmla="*/ 52187 h 1985400"/>
                <a:gd name="connsiteX69" fmla="*/ 1013860 w 2196302"/>
                <a:gd name="connsiteY69" fmla="*/ 32109 h 1985400"/>
                <a:gd name="connsiteX70" fmla="*/ 1021899 w 2196302"/>
                <a:gd name="connsiteY70" fmla="*/ 0 h 1985400"/>
                <a:gd name="connsiteX71" fmla="*/ 1047998 w 2196302"/>
                <a:gd name="connsiteY71" fmla="*/ 4020 h 1985400"/>
                <a:gd name="connsiteX72" fmla="*/ 1076106 w 2196302"/>
                <a:gd name="connsiteY72" fmla="*/ 6020 h 1985400"/>
                <a:gd name="connsiteX73" fmla="*/ 1154392 w 2196302"/>
                <a:gd name="connsiteY73" fmla="*/ 70275 h 1985400"/>
                <a:gd name="connsiteX74" fmla="*/ 1194540 w 2196302"/>
                <a:gd name="connsiteY74" fmla="*/ 74295 h 1985400"/>
                <a:gd name="connsiteX75" fmla="*/ 1222648 w 2196302"/>
                <a:gd name="connsiteY75" fmla="*/ 116453 h 1985400"/>
                <a:gd name="connsiteX76" fmla="*/ 1250757 w 2196302"/>
                <a:gd name="connsiteY76" fmla="*/ 134512 h 1985400"/>
                <a:gd name="connsiteX77" fmla="*/ 1250757 w 2196302"/>
                <a:gd name="connsiteY77" fmla="*/ 158601 h 1985400"/>
                <a:gd name="connsiteX78" fmla="*/ 1220638 w 2196302"/>
                <a:gd name="connsiteY78" fmla="*/ 172669 h 1985400"/>
                <a:gd name="connsiteX79" fmla="*/ 1220638 w 2196302"/>
                <a:gd name="connsiteY79" fmla="*/ 190729 h 1985400"/>
                <a:gd name="connsiteX80" fmla="*/ 1240707 w 2196302"/>
                <a:gd name="connsiteY80" fmla="*/ 208798 h 1985400"/>
                <a:gd name="connsiteX81" fmla="*/ 1242717 w 2196302"/>
                <a:gd name="connsiteY81" fmla="*/ 224866 h 1985400"/>
                <a:gd name="connsiteX82" fmla="*/ 1278865 w 2196302"/>
                <a:gd name="connsiteY82" fmla="*/ 244945 h 1985400"/>
                <a:gd name="connsiteX83" fmla="*/ 1401309 w 2196302"/>
                <a:gd name="connsiteY83" fmla="*/ 246945 h 1985400"/>
                <a:gd name="connsiteX84" fmla="*/ 1433436 w 2196302"/>
                <a:gd name="connsiteY84" fmla="*/ 265005 h 1985400"/>
                <a:gd name="connsiteX85" fmla="*/ 1463535 w 2196302"/>
                <a:gd name="connsiteY85" fmla="*/ 267014 h 1985400"/>
                <a:gd name="connsiteX86" fmla="*/ 1489634 w 2196302"/>
                <a:gd name="connsiteY86" fmla="*/ 271015 h 1985400"/>
                <a:gd name="connsiteX87" fmla="*/ 1515733 w 2196302"/>
                <a:gd name="connsiteY87" fmla="*/ 279054 h 1985400"/>
                <a:gd name="connsiteX88" fmla="*/ 1545851 w 2196302"/>
                <a:gd name="connsiteY88" fmla="*/ 299123 h 1985400"/>
                <a:gd name="connsiteX89" fmla="*/ 1575950 w 2196302"/>
                <a:gd name="connsiteY89" fmla="*/ 266995 h 1985400"/>
                <a:gd name="connsiteX90" fmla="*/ 1598028 w 2196302"/>
                <a:gd name="connsiteY90" fmla="*/ 240897 h 1985400"/>
                <a:gd name="connsiteX91" fmla="*/ 1622117 w 2196302"/>
                <a:gd name="connsiteY91" fmla="*/ 242907 h 1985400"/>
                <a:gd name="connsiteX92" fmla="*/ 1640176 w 2196302"/>
                <a:gd name="connsiteY92" fmla="*/ 202740 h 1985400"/>
                <a:gd name="connsiteX93" fmla="*/ 1640176 w 2196302"/>
                <a:gd name="connsiteY93" fmla="*/ 158591 h 1985400"/>
                <a:gd name="connsiteX94" fmla="*/ 1680344 w 2196302"/>
                <a:gd name="connsiteY94" fmla="*/ 148552 h 1985400"/>
                <a:gd name="connsiteX95" fmla="*/ 1704432 w 2196302"/>
                <a:gd name="connsiteY95" fmla="*/ 176651 h 1985400"/>
                <a:gd name="connsiteX96" fmla="*/ 1730531 w 2196302"/>
                <a:gd name="connsiteY96" fmla="*/ 188700 h 1985400"/>
                <a:gd name="connsiteX97" fmla="*/ 1756610 w 2196302"/>
                <a:gd name="connsiteY97" fmla="*/ 200749 h 1985400"/>
                <a:gd name="connsiteX98" fmla="*/ 1776679 w 2196302"/>
                <a:gd name="connsiteY98" fmla="*/ 180680 h 1985400"/>
                <a:gd name="connsiteX99" fmla="*/ 1796767 w 2196302"/>
                <a:gd name="connsiteY99" fmla="*/ 164602 h 1985400"/>
                <a:gd name="connsiteX100" fmla="*/ 1814817 w 2196302"/>
                <a:gd name="connsiteY100" fmla="*/ 174650 h 1985400"/>
                <a:gd name="connsiteX101" fmla="*/ 1820847 w 2196302"/>
                <a:gd name="connsiteY101" fmla="*/ 198739 h 1985400"/>
                <a:gd name="connsiteX102" fmla="*/ 1852955 w 2196302"/>
                <a:gd name="connsiteY102" fmla="*/ 198739 h 1985400"/>
                <a:gd name="connsiteX103" fmla="*/ 1863023 w 2196302"/>
                <a:gd name="connsiteY103" fmla="*/ 230867 h 1985400"/>
                <a:gd name="connsiteX104" fmla="*/ 1893123 w 2196302"/>
                <a:gd name="connsiteY104" fmla="*/ 232858 h 1985400"/>
                <a:gd name="connsiteX105" fmla="*/ 1895132 w 2196302"/>
                <a:gd name="connsiteY105" fmla="*/ 230867 h 1985400"/>
                <a:gd name="connsiteX106" fmla="*/ 1895132 w 2196302"/>
                <a:gd name="connsiteY106" fmla="*/ 252936 h 1985400"/>
                <a:gd name="connsiteX107" fmla="*/ 1929270 w 2196302"/>
                <a:gd name="connsiteY107" fmla="*/ 252936 h 1985400"/>
                <a:gd name="connsiteX108" fmla="*/ 1963389 w 2196302"/>
                <a:gd name="connsiteY108" fmla="*/ 258966 h 1985400"/>
                <a:gd name="connsiteX109" fmla="*/ 2003555 w 2196302"/>
                <a:gd name="connsiteY109" fmla="*/ 275034 h 1985400"/>
                <a:gd name="connsiteX110" fmla="*/ 2039683 w 2196302"/>
                <a:gd name="connsiteY110" fmla="*/ 287083 h 1985400"/>
                <a:gd name="connsiteX111" fmla="*/ 2083870 w 2196302"/>
                <a:gd name="connsiteY111" fmla="*/ 291094 h 1985400"/>
                <a:gd name="connsiteX112" fmla="*/ 2122008 w 2196302"/>
                <a:gd name="connsiteY112" fmla="*/ 315192 h 1985400"/>
                <a:gd name="connsiteX113" fmla="*/ 2115979 w 2196302"/>
                <a:gd name="connsiteY113" fmla="*/ 337280 h 1985400"/>
                <a:gd name="connsiteX114" fmla="*/ 2095910 w 2196302"/>
                <a:gd name="connsiteY114" fmla="*/ 339271 h 1985400"/>
                <a:gd name="connsiteX115" fmla="*/ 2077850 w 2196302"/>
                <a:gd name="connsiteY115" fmla="*/ 365369 h 1985400"/>
                <a:gd name="connsiteX116" fmla="*/ 2071821 w 2196302"/>
                <a:gd name="connsiteY116" fmla="*/ 383438 h 1985400"/>
                <a:gd name="connsiteX117" fmla="*/ 2077850 w 2196302"/>
                <a:gd name="connsiteY117" fmla="*/ 403517 h 1985400"/>
                <a:gd name="connsiteX118" fmla="*/ 2124028 w 2196302"/>
                <a:gd name="connsiteY118" fmla="*/ 439645 h 1985400"/>
                <a:gd name="connsiteX119" fmla="*/ 2144097 w 2196302"/>
                <a:gd name="connsiteY119" fmla="*/ 447684 h 1985400"/>
                <a:gd name="connsiteX120" fmla="*/ 2146107 w 2196302"/>
                <a:gd name="connsiteY120" fmla="*/ 497881 h 1985400"/>
                <a:gd name="connsiteX121" fmla="*/ 2170195 w 2196302"/>
                <a:gd name="connsiteY121" fmla="*/ 497881 h 1985400"/>
                <a:gd name="connsiteX122" fmla="*/ 2170195 w 2196302"/>
                <a:gd name="connsiteY122" fmla="*/ 511950 h 1985400"/>
                <a:gd name="connsiteX123" fmla="*/ 2172205 w 2196302"/>
                <a:gd name="connsiteY123" fmla="*/ 550097 h 1985400"/>
                <a:gd name="connsiteX124" fmla="*/ 2170195 w 2196302"/>
                <a:gd name="connsiteY124" fmla="*/ 570157 h 1985400"/>
                <a:gd name="connsiteX125" fmla="*/ 2186273 w 2196302"/>
                <a:gd name="connsiteY125" fmla="*/ 596256 h 1985400"/>
                <a:gd name="connsiteX126" fmla="*/ 2190293 w 2196302"/>
                <a:gd name="connsiteY126" fmla="*/ 626374 h 1985400"/>
                <a:gd name="connsiteX127" fmla="*/ 2188283 w 2196302"/>
                <a:gd name="connsiteY127" fmla="*/ 672551 h 1985400"/>
                <a:gd name="connsiteX128" fmla="*/ 2190293 w 2196302"/>
                <a:gd name="connsiteY128" fmla="*/ 712708 h 1985400"/>
                <a:gd name="connsiteX129" fmla="*/ 2196303 w 2196302"/>
                <a:gd name="connsiteY129" fmla="*/ 776954 h 1985400"/>
                <a:gd name="connsiteX130" fmla="*/ 2182254 w 2196302"/>
                <a:gd name="connsiteY130" fmla="*/ 768925 h 1985400"/>
                <a:gd name="connsiteX131" fmla="*/ 2164194 w 2196302"/>
                <a:gd name="connsiteY131" fmla="*/ 760895 h 1985400"/>
                <a:gd name="connsiteX132" fmla="*/ 2148136 w 2196302"/>
                <a:gd name="connsiteY132" fmla="*/ 746836 h 1985400"/>
                <a:gd name="connsiteX133" fmla="*/ 2126038 w 2196302"/>
                <a:gd name="connsiteY133" fmla="*/ 748836 h 1985400"/>
                <a:gd name="connsiteX134" fmla="*/ 2107987 w 2196302"/>
                <a:gd name="connsiteY134" fmla="*/ 750846 h 1985400"/>
                <a:gd name="connsiteX135" fmla="*/ 2087937 w 2196302"/>
                <a:gd name="connsiteY135" fmla="*/ 764858 h 1985400"/>
                <a:gd name="connsiteX136" fmla="*/ 2061839 w 2196302"/>
                <a:gd name="connsiteY136" fmla="*/ 792956 h 1985400"/>
                <a:gd name="connsiteX137" fmla="*/ 2041769 w 2196302"/>
                <a:gd name="connsiteY137" fmla="*/ 819055 h 1985400"/>
                <a:gd name="connsiteX138" fmla="*/ 2021700 w 2196302"/>
                <a:gd name="connsiteY138" fmla="*/ 827084 h 1985400"/>
                <a:gd name="connsiteX139" fmla="*/ 1997612 w 2196302"/>
                <a:gd name="connsiteY139" fmla="*/ 833104 h 1985400"/>
                <a:gd name="connsiteX140" fmla="*/ 1975552 w 2196302"/>
                <a:gd name="connsiteY140" fmla="*/ 839124 h 1985400"/>
                <a:gd name="connsiteX141" fmla="*/ 1951444 w 2196302"/>
                <a:gd name="connsiteY141" fmla="*/ 845144 h 1985400"/>
                <a:gd name="connsiteX142" fmla="*/ 1915315 w 2196302"/>
                <a:gd name="connsiteY142" fmla="*/ 855193 h 1985400"/>
                <a:gd name="connsiteX143" fmla="*/ 1875168 w 2196302"/>
                <a:gd name="connsiteY143" fmla="*/ 843134 h 1985400"/>
                <a:gd name="connsiteX144" fmla="*/ 1861119 w 2196302"/>
                <a:gd name="connsiteY144" fmla="*/ 833095 h 1985400"/>
                <a:gd name="connsiteX145" fmla="*/ 1839039 w 2196302"/>
                <a:gd name="connsiteY145" fmla="*/ 808996 h 1985400"/>
                <a:gd name="connsiteX146" fmla="*/ 1814932 w 2196302"/>
                <a:gd name="connsiteY146" fmla="*/ 782898 h 1985400"/>
                <a:gd name="connsiteX147" fmla="*/ 1808921 w 2196302"/>
                <a:gd name="connsiteY147" fmla="*/ 766829 h 1985400"/>
                <a:gd name="connsiteX148" fmla="*/ 1780813 w 2196302"/>
                <a:gd name="connsiteY148" fmla="*/ 764819 h 1985400"/>
                <a:gd name="connsiteX149" fmla="*/ 1744685 w 2196302"/>
                <a:gd name="connsiteY149" fmla="*/ 760809 h 1985400"/>
                <a:gd name="connsiteX150" fmla="*/ 1704518 w 2196302"/>
                <a:gd name="connsiteY150" fmla="*/ 792937 h 1985400"/>
                <a:gd name="connsiteX151" fmla="*/ 1700517 w 2196302"/>
                <a:gd name="connsiteY151" fmla="*/ 829075 h 1985400"/>
                <a:gd name="connsiteX152" fmla="*/ 1704518 w 2196302"/>
                <a:gd name="connsiteY152" fmla="*/ 871233 h 1985400"/>
                <a:gd name="connsiteX153" fmla="*/ 1694488 w 2196302"/>
                <a:gd name="connsiteY153" fmla="*/ 911381 h 1985400"/>
                <a:gd name="connsiteX154" fmla="*/ 1714557 w 2196302"/>
                <a:gd name="connsiteY154" fmla="*/ 949528 h 1985400"/>
                <a:gd name="connsiteX155" fmla="*/ 1706518 w 2196302"/>
                <a:gd name="connsiteY155" fmla="*/ 963587 h 1985400"/>
                <a:gd name="connsiteX156" fmla="*/ 1696488 w 2196302"/>
                <a:gd name="connsiteY156" fmla="*/ 991686 h 1985400"/>
                <a:gd name="connsiteX157" fmla="*/ 1678410 w 2196302"/>
                <a:gd name="connsiteY157" fmla="*/ 1029843 h 1985400"/>
                <a:gd name="connsiteX158" fmla="*/ 1686468 w 2196302"/>
                <a:gd name="connsiteY158" fmla="*/ 1059952 h 1985400"/>
                <a:gd name="connsiteX159" fmla="*/ 1726616 w 2196302"/>
                <a:gd name="connsiteY159" fmla="*/ 1092070 h 1985400"/>
                <a:gd name="connsiteX160" fmla="*/ 1748695 w 2196302"/>
                <a:gd name="connsiteY160" fmla="*/ 1110129 h 1985400"/>
                <a:gd name="connsiteX161" fmla="*/ 1770774 w 2196302"/>
                <a:gd name="connsiteY161" fmla="*/ 1128189 h 1985400"/>
                <a:gd name="connsiteX162" fmla="*/ 1792853 w 2196302"/>
                <a:gd name="connsiteY162" fmla="*/ 1132208 h 1985400"/>
                <a:gd name="connsiteX163" fmla="*/ 1812922 w 2196302"/>
                <a:gd name="connsiteY163" fmla="*/ 1144257 h 1985400"/>
                <a:gd name="connsiteX164" fmla="*/ 1829000 w 2196302"/>
                <a:gd name="connsiteY164" fmla="*/ 1160326 h 1985400"/>
                <a:gd name="connsiteX165" fmla="*/ 1859099 w 2196302"/>
                <a:gd name="connsiteY165" fmla="*/ 1184415 h 1985400"/>
                <a:gd name="connsiteX166" fmla="*/ 1891227 w 2196302"/>
                <a:gd name="connsiteY166" fmla="*/ 1194454 h 1985400"/>
                <a:gd name="connsiteX167" fmla="*/ 1915315 w 2196302"/>
                <a:gd name="connsiteY167" fmla="*/ 1204503 h 1985400"/>
                <a:gd name="connsiteX168" fmla="*/ 1937395 w 2196302"/>
                <a:gd name="connsiteY168" fmla="*/ 1204503 h 1985400"/>
                <a:gd name="connsiteX169" fmla="*/ 1969523 w 2196302"/>
                <a:gd name="connsiteY169" fmla="*/ 1218552 h 1985400"/>
                <a:gd name="connsiteX170" fmla="*/ 2005651 w 2196302"/>
                <a:gd name="connsiteY170" fmla="*/ 1248670 h 1985400"/>
                <a:gd name="connsiteX171" fmla="*/ 2011661 w 2196302"/>
                <a:gd name="connsiteY171" fmla="*/ 1280789 h 1985400"/>
                <a:gd name="connsiteX172" fmla="*/ 1995602 w 2196302"/>
                <a:gd name="connsiteY172" fmla="*/ 1292838 h 1985400"/>
                <a:gd name="connsiteX173" fmla="*/ 1995602 w 2196302"/>
                <a:gd name="connsiteY173" fmla="*/ 1320937 h 1985400"/>
                <a:gd name="connsiteX174" fmla="*/ 1981533 w 2196302"/>
                <a:gd name="connsiteY174" fmla="*/ 1351055 h 1985400"/>
                <a:gd name="connsiteX175" fmla="*/ 1971485 w 2196302"/>
                <a:gd name="connsiteY175" fmla="*/ 1369114 h 1985400"/>
                <a:gd name="connsiteX176" fmla="*/ 1971485 w 2196302"/>
                <a:gd name="connsiteY176" fmla="*/ 1393212 h 1985400"/>
                <a:gd name="connsiteX177" fmla="*/ 1985553 w 2196302"/>
                <a:gd name="connsiteY177" fmla="*/ 1431360 h 1985400"/>
                <a:gd name="connsiteX178" fmla="*/ 1979524 w 2196302"/>
                <a:gd name="connsiteY178" fmla="*/ 1467488 h 1985400"/>
                <a:gd name="connsiteX179" fmla="*/ 1957445 w 2196302"/>
                <a:gd name="connsiteY179" fmla="*/ 1487567 h 1985400"/>
                <a:gd name="connsiteX180" fmla="*/ 1925336 w 2196302"/>
                <a:gd name="connsiteY180" fmla="*/ 1525705 h 1985400"/>
                <a:gd name="connsiteX181" fmla="*/ 1889208 w 2196302"/>
                <a:gd name="connsiteY181" fmla="*/ 1541783 h 1985400"/>
                <a:gd name="connsiteX182" fmla="*/ 1835001 w 2196302"/>
                <a:gd name="connsiteY182" fmla="*/ 1561843 h 1985400"/>
                <a:gd name="connsiteX183" fmla="*/ 1808902 w 2196302"/>
                <a:gd name="connsiteY183" fmla="*/ 1571892 h 1985400"/>
                <a:gd name="connsiteX184" fmla="*/ 1758706 w 2196302"/>
                <a:gd name="connsiteY184" fmla="*/ 1591961 h 1985400"/>
                <a:gd name="connsiteX185" fmla="*/ 1760716 w 2196302"/>
                <a:gd name="connsiteY185" fmla="*/ 1612049 h 1985400"/>
                <a:gd name="connsiteX186" fmla="*/ 1746647 w 2196302"/>
                <a:gd name="connsiteY186" fmla="*/ 1632109 h 1985400"/>
                <a:gd name="connsiteX187" fmla="*/ 1714538 w 2196302"/>
                <a:gd name="connsiteY187" fmla="*/ 1634119 h 1985400"/>
                <a:gd name="connsiteX188" fmla="*/ 1692459 w 2196302"/>
                <a:gd name="connsiteY188" fmla="*/ 1634119 h 1985400"/>
                <a:gd name="connsiteX189" fmla="*/ 1678391 w 2196302"/>
                <a:gd name="connsiteY189" fmla="*/ 1646158 h 1985400"/>
                <a:gd name="connsiteX190" fmla="*/ 1652311 w 2196302"/>
                <a:gd name="connsiteY190" fmla="*/ 1686335 h 1985400"/>
                <a:gd name="connsiteX191" fmla="*/ 1644272 w 2196302"/>
                <a:gd name="connsiteY191" fmla="*/ 1706394 h 1985400"/>
                <a:gd name="connsiteX192" fmla="*/ 1616164 w 2196302"/>
                <a:gd name="connsiteY192" fmla="*/ 1712405 h 1985400"/>
                <a:gd name="connsiteX193" fmla="*/ 1590085 w 2196302"/>
                <a:gd name="connsiteY193" fmla="*/ 1712405 h 1985400"/>
                <a:gd name="connsiteX194" fmla="*/ 1527838 w 2196302"/>
                <a:gd name="connsiteY194" fmla="*/ 1704385 h 1985400"/>
                <a:gd name="connsiteX195" fmla="*/ 1505760 w 2196302"/>
                <a:gd name="connsiteY195" fmla="*/ 1690316 h 1985400"/>
                <a:gd name="connsiteX196" fmla="*/ 1481671 w 2196302"/>
                <a:gd name="connsiteY196" fmla="*/ 1662227 h 1985400"/>
                <a:gd name="connsiteX197" fmla="*/ 1465593 w 2196302"/>
                <a:gd name="connsiteY197" fmla="*/ 1662227 h 1985400"/>
                <a:gd name="connsiteX198" fmla="*/ 1437485 w 2196302"/>
                <a:gd name="connsiteY198" fmla="*/ 1668237 h 1985400"/>
                <a:gd name="connsiteX199" fmla="*/ 1423435 w 2196302"/>
                <a:gd name="connsiteY199" fmla="*/ 1690316 h 1985400"/>
                <a:gd name="connsiteX200" fmla="*/ 1397337 w 2196302"/>
                <a:gd name="connsiteY200" fmla="*/ 1692326 h 1985400"/>
                <a:gd name="connsiteX201" fmla="*/ 1365228 w 2196302"/>
                <a:gd name="connsiteY201" fmla="*/ 1696345 h 1985400"/>
                <a:gd name="connsiteX202" fmla="*/ 1353169 w 2196302"/>
                <a:gd name="connsiteY202" fmla="*/ 1724454 h 1985400"/>
                <a:gd name="connsiteX203" fmla="*/ 1337091 w 2196302"/>
                <a:gd name="connsiteY203" fmla="*/ 1722444 h 1985400"/>
                <a:gd name="connsiteX204" fmla="*/ 1339101 w 2196302"/>
                <a:gd name="connsiteY204" fmla="*/ 1696345 h 1985400"/>
                <a:gd name="connsiteX205" fmla="*/ 1335081 w 2196302"/>
                <a:gd name="connsiteY205" fmla="*/ 1676276 h 1985400"/>
                <a:gd name="connsiteX206" fmla="*/ 1300963 w 2196302"/>
                <a:gd name="connsiteY206" fmla="*/ 1646158 h 1985400"/>
                <a:gd name="connsiteX207" fmla="*/ 1266825 w 2196302"/>
                <a:gd name="connsiteY207" fmla="*/ 1616050 h 1985400"/>
                <a:gd name="connsiteX208" fmla="*/ 1262787 w 2196302"/>
                <a:gd name="connsiteY208" fmla="*/ 1616050 h 1985400"/>
                <a:gd name="connsiteX209" fmla="*/ 1224649 w 2196302"/>
                <a:gd name="connsiteY209" fmla="*/ 1626099 h 1985400"/>
                <a:gd name="connsiteX210" fmla="*/ 1210599 w 2196302"/>
                <a:gd name="connsiteY210" fmla="*/ 1612021 h 1985400"/>
                <a:gd name="connsiteX211" fmla="*/ 1200550 w 2196302"/>
                <a:gd name="connsiteY211" fmla="*/ 1614040 h 1985400"/>
                <a:gd name="connsiteX212" fmla="*/ 1164422 w 2196302"/>
                <a:gd name="connsiteY212" fmla="*/ 1610011 h 1985400"/>
                <a:gd name="connsiteX213" fmla="*/ 1148344 w 2196302"/>
                <a:gd name="connsiteY213" fmla="*/ 1605991 h 1985400"/>
                <a:gd name="connsiteX214" fmla="*/ 1112215 w 2196302"/>
                <a:gd name="connsiteY214" fmla="*/ 1579902 h 1985400"/>
                <a:gd name="connsiteX215" fmla="*/ 1080088 w 2196302"/>
                <a:gd name="connsiteY215" fmla="*/ 1604001 h 1985400"/>
                <a:gd name="connsiteX216" fmla="*/ 1033910 w 2196302"/>
                <a:gd name="connsiteY216" fmla="*/ 1630099 h 1985400"/>
                <a:gd name="connsiteX217" fmla="*/ 967664 w 2196302"/>
                <a:gd name="connsiteY217" fmla="*/ 1670247 h 1985400"/>
                <a:gd name="connsiteX218" fmla="*/ 963644 w 2196302"/>
                <a:gd name="connsiteY218" fmla="*/ 1680277 h 1985400"/>
                <a:gd name="connsiteX219" fmla="*/ 961635 w 2196302"/>
                <a:gd name="connsiteY219" fmla="*/ 1716434 h 1985400"/>
                <a:gd name="connsiteX220" fmla="*/ 961635 w 2196302"/>
                <a:gd name="connsiteY220" fmla="*/ 1748533 h 1985400"/>
                <a:gd name="connsiteX221" fmla="*/ 961635 w 2196302"/>
                <a:gd name="connsiteY221" fmla="*/ 1776641 h 1985400"/>
                <a:gd name="connsiteX222" fmla="*/ 965654 w 2196302"/>
                <a:gd name="connsiteY222" fmla="*/ 1802740 h 1985400"/>
                <a:gd name="connsiteX223" fmla="*/ 977694 w 2196302"/>
                <a:gd name="connsiteY223" fmla="*/ 1824819 h 1985400"/>
                <a:gd name="connsiteX224" fmla="*/ 999792 w 2196302"/>
                <a:gd name="connsiteY224" fmla="*/ 1842878 h 1985400"/>
                <a:gd name="connsiteX225" fmla="*/ 1019861 w 2196302"/>
                <a:gd name="connsiteY225" fmla="*/ 1866967 h 1985400"/>
                <a:gd name="connsiteX226" fmla="*/ 1027881 w 2196302"/>
                <a:gd name="connsiteY226" fmla="*/ 1889036 h 1985400"/>
                <a:gd name="connsiteX227" fmla="*/ 1027881 w 2196302"/>
                <a:gd name="connsiteY227" fmla="*/ 1921164 h 1985400"/>
                <a:gd name="connsiteX228" fmla="*/ 1021871 w 2196302"/>
                <a:gd name="connsiteY228" fmla="*/ 1927203 h 1985400"/>
                <a:gd name="connsiteX229" fmla="*/ 995772 w 2196302"/>
                <a:gd name="connsiteY229" fmla="*/ 1945253 h 1985400"/>
                <a:gd name="connsiteX230" fmla="*/ 989743 w 2196302"/>
                <a:gd name="connsiteY230" fmla="*/ 1963331 h 1985400"/>
                <a:gd name="connsiteX231" fmla="*/ 983714 w 2196302"/>
                <a:gd name="connsiteY231" fmla="*/ 1985400 h 1985400"/>
                <a:gd name="connsiteX232" fmla="*/ 957634 w 2196302"/>
                <a:gd name="connsiteY232" fmla="*/ 1979371 h 1985400"/>
                <a:gd name="connsiteX233" fmla="*/ 911457 w 2196302"/>
                <a:gd name="connsiteY233" fmla="*/ 1973361 h 1985400"/>
                <a:gd name="connsiteX234" fmla="*/ 871290 w 2196302"/>
                <a:gd name="connsiteY234" fmla="*/ 1963312 h 1985400"/>
                <a:gd name="connsiteX235" fmla="*/ 873300 w 2196302"/>
                <a:gd name="connsiteY235" fmla="*/ 1963312 h 1985400"/>
                <a:gd name="connsiteX236" fmla="*/ 837152 w 2196302"/>
                <a:gd name="connsiteY236" fmla="*/ 1939223 h 1985400"/>
                <a:gd name="connsiteX237" fmla="*/ 805044 w 2196302"/>
                <a:gd name="connsiteY237" fmla="*/ 1913125 h 1985400"/>
                <a:gd name="connsiteX238" fmla="*/ 762867 w 2196302"/>
                <a:gd name="connsiteY238" fmla="*/ 1887026 h 1985400"/>
                <a:gd name="connsiteX239" fmla="*/ 760876 w 2196302"/>
                <a:gd name="connsiteY239" fmla="*/ 1852889 h 1985400"/>
                <a:gd name="connsiteX240" fmla="*/ 772935 w 2196302"/>
                <a:gd name="connsiteY240" fmla="*/ 1816760 h 1985400"/>
                <a:gd name="connsiteX241" fmla="*/ 790994 w 2196302"/>
                <a:gd name="connsiteY241" fmla="*/ 1784633 h 1985400"/>
                <a:gd name="connsiteX242" fmla="*/ 786975 w 2196302"/>
                <a:gd name="connsiteY242" fmla="*/ 1752533 h 1985400"/>
                <a:gd name="connsiteX243" fmla="*/ 772906 w 2196302"/>
                <a:gd name="connsiteY243" fmla="*/ 1738474 h 1985400"/>
                <a:gd name="connsiteX244" fmla="*/ 792975 w 2196302"/>
                <a:gd name="connsiteY244" fmla="*/ 1676229 h 1985400"/>
                <a:gd name="connsiteX245" fmla="*/ 811035 w 2196302"/>
                <a:gd name="connsiteY245" fmla="*/ 1620041 h 1985400"/>
                <a:gd name="connsiteX246" fmla="*/ 807034 w 2196302"/>
                <a:gd name="connsiteY246" fmla="*/ 1593942 h 1985400"/>
                <a:gd name="connsiteX247" fmla="*/ 792966 w 2196302"/>
                <a:gd name="connsiteY247" fmla="*/ 1587913 h 1985400"/>
                <a:gd name="connsiteX248" fmla="*/ 758828 w 2196302"/>
                <a:gd name="connsiteY248" fmla="*/ 1583893 h 1985400"/>
                <a:gd name="connsiteX249" fmla="*/ 718680 w 2196302"/>
                <a:gd name="connsiteY249" fmla="*/ 1559805 h 1985400"/>
                <a:gd name="connsiteX250" fmla="*/ 694592 w 2196302"/>
                <a:gd name="connsiteY250" fmla="*/ 1539726 h 1985400"/>
                <a:gd name="connsiteX251" fmla="*/ 694592 w 2196302"/>
                <a:gd name="connsiteY251" fmla="*/ 1531696 h 1985400"/>
                <a:gd name="connsiteX252" fmla="*/ 780917 w 2196302"/>
                <a:gd name="connsiteY252" fmla="*/ 1531696 h 1985400"/>
                <a:gd name="connsiteX253" fmla="*/ 792975 w 2196302"/>
                <a:gd name="connsiteY253" fmla="*/ 1519647 h 1985400"/>
                <a:gd name="connsiteX254" fmla="*/ 790966 w 2196302"/>
                <a:gd name="connsiteY254" fmla="*/ 1501578 h 1985400"/>
                <a:gd name="connsiteX255" fmla="*/ 738778 w 2196302"/>
                <a:gd name="connsiteY255" fmla="*/ 1477489 h 1985400"/>
                <a:gd name="connsiteX256" fmla="*/ 666483 w 2196302"/>
                <a:gd name="connsiteY256" fmla="*/ 1471470 h 1985400"/>
                <a:gd name="connsiteX257" fmla="*/ 632327 w 2196302"/>
                <a:gd name="connsiteY257" fmla="*/ 1473498 h 1985400"/>
                <a:gd name="connsiteX258" fmla="*/ 582130 w 2196302"/>
                <a:gd name="connsiteY258" fmla="*/ 1473498 h 1985400"/>
                <a:gd name="connsiteX259" fmla="*/ 562051 w 2196302"/>
                <a:gd name="connsiteY259" fmla="*/ 1435341 h 1985400"/>
                <a:gd name="connsiteX260" fmla="*/ 537972 w 2196302"/>
                <a:gd name="connsiteY260" fmla="*/ 1359056 h 1985400"/>
                <a:gd name="connsiteX261" fmla="*/ 521894 w 2196302"/>
                <a:gd name="connsiteY261" fmla="*/ 1296819 h 1985400"/>
                <a:gd name="connsiteX262" fmla="*/ 535962 w 2196302"/>
                <a:gd name="connsiteY262" fmla="*/ 1248632 h 1985400"/>
                <a:gd name="connsiteX263" fmla="*/ 586159 w 2196302"/>
                <a:gd name="connsiteY263" fmla="*/ 1250633 h 1985400"/>
                <a:gd name="connsiteX264" fmla="*/ 612267 w 2196302"/>
                <a:gd name="connsiteY264" fmla="*/ 1252633 h 1985400"/>
                <a:gd name="connsiteX265" fmla="*/ 612267 w 2196302"/>
                <a:gd name="connsiteY265" fmla="*/ 1226534 h 1985400"/>
                <a:gd name="connsiteX266" fmla="*/ 596199 w 2196302"/>
                <a:gd name="connsiteY266" fmla="*/ 1202446 h 1985400"/>
                <a:gd name="connsiteX267" fmla="*/ 556051 w 2196302"/>
                <a:gd name="connsiteY267" fmla="*/ 1194406 h 1985400"/>
                <a:gd name="connsiteX268" fmla="*/ 515893 w 2196302"/>
                <a:gd name="connsiteY268" fmla="*/ 1200436 h 1985400"/>
                <a:gd name="connsiteX269" fmla="*/ 489795 w 2196302"/>
                <a:gd name="connsiteY269" fmla="*/ 1224515 h 1985400"/>
                <a:gd name="connsiteX270" fmla="*/ 423539 w 2196302"/>
                <a:gd name="connsiteY270" fmla="*/ 1226515 h 1985400"/>
                <a:gd name="connsiteX271" fmla="*/ 355273 w 2196302"/>
                <a:gd name="connsiteY271" fmla="*/ 1216476 h 1985400"/>
                <a:gd name="connsiteX272" fmla="*/ 311106 w 2196302"/>
                <a:gd name="connsiteY272" fmla="*/ 1176318 h 1985400"/>
                <a:gd name="connsiteX273" fmla="*/ 291027 w 2196302"/>
                <a:gd name="connsiteY273" fmla="*/ 1156249 h 1985400"/>
                <a:gd name="connsiteX274" fmla="*/ 252879 w 2196302"/>
                <a:gd name="connsiteY274" fmla="*/ 1158250 h 1985400"/>
                <a:gd name="connsiteX275" fmla="*/ 220761 w 2196302"/>
                <a:gd name="connsiteY275" fmla="*/ 1168289 h 1985400"/>
                <a:gd name="connsiteX276" fmla="*/ 198682 w 2196302"/>
                <a:gd name="connsiteY276" fmla="*/ 1170308 h 1985400"/>
                <a:gd name="connsiteX277" fmla="*/ 190643 w 2196302"/>
                <a:gd name="connsiteY277" fmla="*/ 1190368 h 1985400"/>
                <a:gd name="connsiteX278" fmla="*/ 178594 w 2196302"/>
                <a:gd name="connsiteY278" fmla="*/ 1224506 h 1985400"/>
                <a:gd name="connsiteX279" fmla="*/ 120253 w 2196302"/>
                <a:gd name="connsiteY279" fmla="*/ 1240146 h 19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2196302" h="1985400">
                  <a:moveTo>
                    <a:pt x="118472" y="1236669"/>
                  </a:moveTo>
                  <a:lnTo>
                    <a:pt x="118472" y="1208561"/>
                  </a:lnTo>
                  <a:lnTo>
                    <a:pt x="108795" y="1184539"/>
                  </a:lnTo>
                  <a:lnTo>
                    <a:pt x="110433" y="1180452"/>
                  </a:lnTo>
                  <a:lnTo>
                    <a:pt x="84334" y="1156354"/>
                  </a:lnTo>
                  <a:lnTo>
                    <a:pt x="34138" y="1126246"/>
                  </a:lnTo>
                  <a:lnTo>
                    <a:pt x="14069" y="1082069"/>
                  </a:lnTo>
                  <a:lnTo>
                    <a:pt x="0" y="1029881"/>
                  </a:lnTo>
                  <a:lnTo>
                    <a:pt x="20088" y="1019842"/>
                  </a:lnTo>
                  <a:lnTo>
                    <a:pt x="48187" y="1023861"/>
                  </a:lnTo>
                  <a:lnTo>
                    <a:pt x="46187" y="999763"/>
                  </a:lnTo>
                  <a:lnTo>
                    <a:pt x="60246" y="979684"/>
                  </a:lnTo>
                  <a:lnTo>
                    <a:pt x="92364" y="963616"/>
                  </a:lnTo>
                  <a:lnTo>
                    <a:pt x="96374" y="937517"/>
                  </a:lnTo>
                  <a:lnTo>
                    <a:pt x="96374" y="911419"/>
                  </a:lnTo>
                  <a:lnTo>
                    <a:pt x="120472" y="897369"/>
                  </a:lnTo>
                  <a:lnTo>
                    <a:pt x="156610" y="897369"/>
                  </a:lnTo>
                  <a:lnTo>
                    <a:pt x="188728" y="891350"/>
                  </a:lnTo>
                  <a:lnTo>
                    <a:pt x="214827" y="885330"/>
                  </a:lnTo>
                  <a:lnTo>
                    <a:pt x="224866" y="867270"/>
                  </a:lnTo>
                  <a:lnTo>
                    <a:pt x="244935" y="833142"/>
                  </a:lnTo>
                  <a:lnTo>
                    <a:pt x="252975" y="813064"/>
                  </a:lnTo>
                  <a:lnTo>
                    <a:pt x="279073" y="809044"/>
                  </a:lnTo>
                  <a:lnTo>
                    <a:pt x="309182" y="809044"/>
                  </a:lnTo>
                  <a:lnTo>
                    <a:pt x="325250" y="799005"/>
                  </a:lnTo>
                  <a:lnTo>
                    <a:pt x="337299" y="786956"/>
                  </a:lnTo>
                  <a:lnTo>
                    <a:pt x="359388" y="784955"/>
                  </a:lnTo>
                  <a:lnTo>
                    <a:pt x="379457" y="766886"/>
                  </a:lnTo>
                  <a:lnTo>
                    <a:pt x="413595" y="750818"/>
                  </a:lnTo>
                  <a:lnTo>
                    <a:pt x="491900" y="748817"/>
                  </a:lnTo>
                  <a:lnTo>
                    <a:pt x="515979" y="740778"/>
                  </a:lnTo>
                  <a:lnTo>
                    <a:pt x="560156" y="708660"/>
                  </a:lnTo>
                  <a:lnTo>
                    <a:pt x="590255" y="674532"/>
                  </a:lnTo>
                  <a:lnTo>
                    <a:pt x="618363" y="644423"/>
                  </a:lnTo>
                  <a:lnTo>
                    <a:pt x="638451" y="620335"/>
                  </a:lnTo>
                  <a:lnTo>
                    <a:pt x="644462" y="596236"/>
                  </a:lnTo>
                  <a:lnTo>
                    <a:pt x="652501" y="576167"/>
                  </a:lnTo>
                  <a:lnTo>
                    <a:pt x="658530" y="556089"/>
                  </a:lnTo>
                  <a:lnTo>
                    <a:pt x="658530" y="525971"/>
                  </a:lnTo>
                  <a:lnTo>
                    <a:pt x="656520" y="497872"/>
                  </a:lnTo>
                  <a:lnTo>
                    <a:pt x="656520" y="473783"/>
                  </a:lnTo>
                  <a:lnTo>
                    <a:pt x="662550" y="449694"/>
                  </a:lnTo>
                  <a:lnTo>
                    <a:pt x="682619" y="419576"/>
                  </a:lnTo>
                  <a:lnTo>
                    <a:pt x="668550" y="383438"/>
                  </a:lnTo>
                  <a:lnTo>
                    <a:pt x="658521" y="355340"/>
                  </a:lnTo>
                  <a:lnTo>
                    <a:pt x="658521" y="333261"/>
                  </a:lnTo>
                  <a:lnTo>
                    <a:pt x="678590" y="317192"/>
                  </a:lnTo>
                  <a:lnTo>
                    <a:pt x="706698" y="305143"/>
                  </a:lnTo>
                  <a:lnTo>
                    <a:pt x="736797" y="297104"/>
                  </a:lnTo>
                  <a:lnTo>
                    <a:pt x="762895" y="315173"/>
                  </a:lnTo>
                  <a:lnTo>
                    <a:pt x="778974" y="331241"/>
                  </a:lnTo>
                  <a:lnTo>
                    <a:pt x="803062" y="323212"/>
                  </a:lnTo>
                  <a:lnTo>
                    <a:pt x="817112" y="321212"/>
                  </a:lnTo>
                  <a:lnTo>
                    <a:pt x="835171" y="335261"/>
                  </a:lnTo>
                  <a:lnTo>
                    <a:pt x="867299" y="337271"/>
                  </a:lnTo>
                  <a:lnTo>
                    <a:pt x="875319" y="353339"/>
                  </a:lnTo>
                  <a:lnTo>
                    <a:pt x="887378" y="367398"/>
                  </a:lnTo>
                  <a:lnTo>
                    <a:pt x="917496" y="385458"/>
                  </a:lnTo>
                  <a:lnTo>
                    <a:pt x="935555" y="393487"/>
                  </a:lnTo>
                  <a:lnTo>
                    <a:pt x="949605" y="375428"/>
                  </a:lnTo>
                  <a:lnTo>
                    <a:pt x="953624" y="325231"/>
                  </a:lnTo>
                  <a:lnTo>
                    <a:pt x="979722" y="321212"/>
                  </a:lnTo>
                  <a:lnTo>
                    <a:pt x="1011850" y="291094"/>
                  </a:lnTo>
                  <a:lnTo>
                    <a:pt x="1011850" y="258985"/>
                  </a:lnTo>
                  <a:lnTo>
                    <a:pt x="1035920" y="230877"/>
                  </a:lnTo>
                  <a:lnTo>
                    <a:pt x="1013860" y="132483"/>
                  </a:lnTo>
                  <a:lnTo>
                    <a:pt x="1029919" y="108404"/>
                  </a:lnTo>
                  <a:lnTo>
                    <a:pt x="987762" y="74276"/>
                  </a:lnTo>
                  <a:lnTo>
                    <a:pt x="1005821" y="52187"/>
                  </a:lnTo>
                  <a:lnTo>
                    <a:pt x="1013860" y="32109"/>
                  </a:lnTo>
                  <a:lnTo>
                    <a:pt x="1021899" y="0"/>
                  </a:lnTo>
                  <a:lnTo>
                    <a:pt x="1047998" y="4020"/>
                  </a:lnTo>
                  <a:lnTo>
                    <a:pt x="1076106" y="6020"/>
                  </a:lnTo>
                  <a:lnTo>
                    <a:pt x="1154392" y="70275"/>
                  </a:lnTo>
                  <a:lnTo>
                    <a:pt x="1194540" y="74295"/>
                  </a:lnTo>
                  <a:lnTo>
                    <a:pt x="1222648" y="116453"/>
                  </a:lnTo>
                  <a:lnTo>
                    <a:pt x="1250757" y="134512"/>
                  </a:lnTo>
                  <a:lnTo>
                    <a:pt x="1250757" y="158601"/>
                  </a:lnTo>
                  <a:lnTo>
                    <a:pt x="1220638" y="172669"/>
                  </a:lnTo>
                  <a:lnTo>
                    <a:pt x="1220638" y="190729"/>
                  </a:lnTo>
                  <a:lnTo>
                    <a:pt x="1240707" y="208798"/>
                  </a:lnTo>
                  <a:lnTo>
                    <a:pt x="1242717" y="224866"/>
                  </a:lnTo>
                  <a:lnTo>
                    <a:pt x="1278865" y="244945"/>
                  </a:lnTo>
                  <a:lnTo>
                    <a:pt x="1401309" y="246945"/>
                  </a:lnTo>
                  <a:lnTo>
                    <a:pt x="1433436" y="265005"/>
                  </a:lnTo>
                  <a:lnTo>
                    <a:pt x="1463535" y="267014"/>
                  </a:lnTo>
                  <a:lnTo>
                    <a:pt x="1489634" y="271015"/>
                  </a:lnTo>
                  <a:lnTo>
                    <a:pt x="1515733" y="279054"/>
                  </a:lnTo>
                  <a:lnTo>
                    <a:pt x="1545851" y="299123"/>
                  </a:lnTo>
                  <a:lnTo>
                    <a:pt x="1575950" y="266995"/>
                  </a:lnTo>
                  <a:lnTo>
                    <a:pt x="1598028" y="240897"/>
                  </a:lnTo>
                  <a:lnTo>
                    <a:pt x="1622117" y="242907"/>
                  </a:lnTo>
                  <a:lnTo>
                    <a:pt x="1640176" y="202740"/>
                  </a:lnTo>
                  <a:lnTo>
                    <a:pt x="1640176" y="158591"/>
                  </a:lnTo>
                  <a:lnTo>
                    <a:pt x="1680344" y="148552"/>
                  </a:lnTo>
                  <a:lnTo>
                    <a:pt x="1704432" y="176651"/>
                  </a:lnTo>
                  <a:lnTo>
                    <a:pt x="1730531" y="188700"/>
                  </a:lnTo>
                  <a:lnTo>
                    <a:pt x="1756610" y="200749"/>
                  </a:lnTo>
                  <a:lnTo>
                    <a:pt x="1776679" y="180680"/>
                  </a:lnTo>
                  <a:lnTo>
                    <a:pt x="1796767" y="164602"/>
                  </a:lnTo>
                  <a:lnTo>
                    <a:pt x="1814817" y="174650"/>
                  </a:lnTo>
                  <a:lnTo>
                    <a:pt x="1820847" y="198739"/>
                  </a:lnTo>
                  <a:lnTo>
                    <a:pt x="1852955" y="198739"/>
                  </a:lnTo>
                  <a:lnTo>
                    <a:pt x="1863023" y="230867"/>
                  </a:lnTo>
                  <a:lnTo>
                    <a:pt x="1893123" y="232858"/>
                  </a:lnTo>
                  <a:lnTo>
                    <a:pt x="1895132" y="230867"/>
                  </a:lnTo>
                  <a:lnTo>
                    <a:pt x="1895132" y="252936"/>
                  </a:lnTo>
                  <a:lnTo>
                    <a:pt x="1929270" y="252936"/>
                  </a:lnTo>
                  <a:lnTo>
                    <a:pt x="1963389" y="258966"/>
                  </a:lnTo>
                  <a:lnTo>
                    <a:pt x="2003555" y="275034"/>
                  </a:lnTo>
                  <a:lnTo>
                    <a:pt x="2039683" y="287083"/>
                  </a:lnTo>
                  <a:lnTo>
                    <a:pt x="2083870" y="291094"/>
                  </a:lnTo>
                  <a:lnTo>
                    <a:pt x="2122008" y="315192"/>
                  </a:lnTo>
                  <a:lnTo>
                    <a:pt x="2115979" y="337280"/>
                  </a:lnTo>
                  <a:lnTo>
                    <a:pt x="2095910" y="339271"/>
                  </a:lnTo>
                  <a:lnTo>
                    <a:pt x="2077850" y="365369"/>
                  </a:lnTo>
                  <a:lnTo>
                    <a:pt x="2071821" y="383438"/>
                  </a:lnTo>
                  <a:lnTo>
                    <a:pt x="2077850" y="403517"/>
                  </a:lnTo>
                  <a:lnTo>
                    <a:pt x="2124028" y="439645"/>
                  </a:lnTo>
                  <a:lnTo>
                    <a:pt x="2144097" y="447684"/>
                  </a:lnTo>
                  <a:lnTo>
                    <a:pt x="2146107" y="497881"/>
                  </a:lnTo>
                  <a:lnTo>
                    <a:pt x="2170195" y="497881"/>
                  </a:lnTo>
                  <a:lnTo>
                    <a:pt x="2170195" y="511950"/>
                  </a:lnTo>
                  <a:lnTo>
                    <a:pt x="2172205" y="550097"/>
                  </a:lnTo>
                  <a:lnTo>
                    <a:pt x="2170195" y="570157"/>
                  </a:lnTo>
                  <a:lnTo>
                    <a:pt x="2186273" y="596256"/>
                  </a:lnTo>
                  <a:lnTo>
                    <a:pt x="2190293" y="626374"/>
                  </a:lnTo>
                  <a:lnTo>
                    <a:pt x="2188283" y="672551"/>
                  </a:lnTo>
                  <a:lnTo>
                    <a:pt x="2190293" y="712708"/>
                  </a:lnTo>
                  <a:lnTo>
                    <a:pt x="2196303" y="776954"/>
                  </a:lnTo>
                  <a:lnTo>
                    <a:pt x="2182254" y="768925"/>
                  </a:lnTo>
                  <a:lnTo>
                    <a:pt x="2164194" y="760895"/>
                  </a:lnTo>
                  <a:lnTo>
                    <a:pt x="2148136" y="746836"/>
                  </a:lnTo>
                  <a:lnTo>
                    <a:pt x="2126038" y="748836"/>
                  </a:lnTo>
                  <a:lnTo>
                    <a:pt x="2107987" y="750846"/>
                  </a:lnTo>
                  <a:lnTo>
                    <a:pt x="2087937" y="764858"/>
                  </a:lnTo>
                  <a:lnTo>
                    <a:pt x="2061839" y="792956"/>
                  </a:lnTo>
                  <a:lnTo>
                    <a:pt x="2041769" y="819055"/>
                  </a:lnTo>
                  <a:lnTo>
                    <a:pt x="2021700" y="827084"/>
                  </a:lnTo>
                  <a:lnTo>
                    <a:pt x="1997612" y="833104"/>
                  </a:lnTo>
                  <a:lnTo>
                    <a:pt x="1975552" y="839124"/>
                  </a:lnTo>
                  <a:lnTo>
                    <a:pt x="1951444" y="845144"/>
                  </a:lnTo>
                  <a:lnTo>
                    <a:pt x="1915315" y="855193"/>
                  </a:lnTo>
                  <a:lnTo>
                    <a:pt x="1875168" y="843134"/>
                  </a:lnTo>
                  <a:lnTo>
                    <a:pt x="1861119" y="833095"/>
                  </a:lnTo>
                  <a:lnTo>
                    <a:pt x="1839039" y="808996"/>
                  </a:lnTo>
                  <a:lnTo>
                    <a:pt x="1814932" y="782898"/>
                  </a:lnTo>
                  <a:lnTo>
                    <a:pt x="1808921" y="766829"/>
                  </a:lnTo>
                  <a:lnTo>
                    <a:pt x="1780813" y="764819"/>
                  </a:lnTo>
                  <a:lnTo>
                    <a:pt x="1744685" y="760809"/>
                  </a:lnTo>
                  <a:lnTo>
                    <a:pt x="1704518" y="792937"/>
                  </a:lnTo>
                  <a:lnTo>
                    <a:pt x="1700517" y="829075"/>
                  </a:lnTo>
                  <a:lnTo>
                    <a:pt x="1704518" y="871233"/>
                  </a:lnTo>
                  <a:lnTo>
                    <a:pt x="1694488" y="911381"/>
                  </a:lnTo>
                  <a:lnTo>
                    <a:pt x="1714557" y="949528"/>
                  </a:lnTo>
                  <a:lnTo>
                    <a:pt x="1706518" y="963587"/>
                  </a:lnTo>
                  <a:lnTo>
                    <a:pt x="1696488" y="991686"/>
                  </a:lnTo>
                  <a:lnTo>
                    <a:pt x="1678410" y="1029843"/>
                  </a:lnTo>
                  <a:lnTo>
                    <a:pt x="1686468" y="1059952"/>
                  </a:lnTo>
                  <a:lnTo>
                    <a:pt x="1726616" y="1092070"/>
                  </a:lnTo>
                  <a:lnTo>
                    <a:pt x="1748695" y="1110129"/>
                  </a:lnTo>
                  <a:lnTo>
                    <a:pt x="1770774" y="1128189"/>
                  </a:lnTo>
                  <a:lnTo>
                    <a:pt x="1792853" y="1132208"/>
                  </a:lnTo>
                  <a:lnTo>
                    <a:pt x="1812922" y="1144257"/>
                  </a:lnTo>
                  <a:lnTo>
                    <a:pt x="1829000" y="1160326"/>
                  </a:lnTo>
                  <a:lnTo>
                    <a:pt x="1859099" y="1184415"/>
                  </a:lnTo>
                  <a:lnTo>
                    <a:pt x="1891227" y="1194454"/>
                  </a:lnTo>
                  <a:lnTo>
                    <a:pt x="1915315" y="1204503"/>
                  </a:lnTo>
                  <a:lnTo>
                    <a:pt x="1937395" y="1204503"/>
                  </a:lnTo>
                  <a:lnTo>
                    <a:pt x="1969523" y="1218552"/>
                  </a:lnTo>
                  <a:lnTo>
                    <a:pt x="2005651" y="1248670"/>
                  </a:lnTo>
                  <a:lnTo>
                    <a:pt x="2011661" y="1280789"/>
                  </a:lnTo>
                  <a:lnTo>
                    <a:pt x="1995602" y="1292838"/>
                  </a:lnTo>
                  <a:lnTo>
                    <a:pt x="1995602" y="1320937"/>
                  </a:lnTo>
                  <a:lnTo>
                    <a:pt x="1981533" y="1351055"/>
                  </a:lnTo>
                  <a:lnTo>
                    <a:pt x="1971485" y="1369114"/>
                  </a:lnTo>
                  <a:lnTo>
                    <a:pt x="1971485" y="1393212"/>
                  </a:lnTo>
                  <a:lnTo>
                    <a:pt x="1985553" y="1431360"/>
                  </a:lnTo>
                  <a:lnTo>
                    <a:pt x="1979524" y="1467488"/>
                  </a:lnTo>
                  <a:lnTo>
                    <a:pt x="1957445" y="1487567"/>
                  </a:lnTo>
                  <a:lnTo>
                    <a:pt x="1925336" y="1525705"/>
                  </a:lnTo>
                  <a:lnTo>
                    <a:pt x="1889208" y="1541783"/>
                  </a:lnTo>
                  <a:lnTo>
                    <a:pt x="1835001" y="1561843"/>
                  </a:lnTo>
                  <a:lnTo>
                    <a:pt x="1808902" y="1571892"/>
                  </a:lnTo>
                  <a:lnTo>
                    <a:pt x="1758706" y="1591961"/>
                  </a:lnTo>
                  <a:lnTo>
                    <a:pt x="1760716" y="1612049"/>
                  </a:lnTo>
                  <a:lnTo>
                    <a:pt x="1746647" y="1632109"/>
                  </a:lnTo>
                  <a:lnTo>
                    <a:pt x="1714538" y="1634119"/>
                  </a:lnTo>
                  <a:lnTo>
                    <a:pt x="1692459" y="1634119"/>
                  </a:lnTo>
                  <a:lnTo>
                    <a:pt x="1678391" y="1646158"/>
                  </a:lnTo>
                  <a:lnTo>
                    <a:pt x="1652311" y="1686335"/>
                  </a:lnTo>
                  <a:lnTo>
                    <a:pt x="1644272" y="1706394"/>
                  </a:lnTo>
                  <a:cubicBezTo>
                    <a:pt x="1644272" y="1706394"/>
                    <a:pt x="1624203" y="1712405"/>
                    <a:pt x="1616164" y="1712405"/>
                  </a:cubicBezTo>
                  <a:cubicBezTo>
                    <a:pt x="1608144" y="1712405"/>
                    <a:pt x="1590085" y="1712405"/>
                    <a:pt x="1590085" y="1712405"/>
                  </a:cubicBezTo>
                  <a:lnTo>
                    <a:pt x="1527838" y="1704385"/>
                  </a:lnTo>
                  <a:lnTo>
                    <a:pt x="1505760" y="1690316"/>
                  </a:lnTo>
                  <a:lnTo>
                    <a:pt x="1481671" y="1662227"/>
                  </a:lnTo>
                  <a:lnTo>
                    <a:pt x="1465593" y="1662227"/>
                  </a:lnTo>
                  <a:lnTo>
                    <a:pt x="1437485" y="1668237"/>
                  </a:lnTo>
                  <a:lnTo>
                    <a:pt x="1423435" y="1690316"/>
                  </a:lnTo>
                  <a:lnTo>
                    <a:pt x="1397337" y="1692326"/>
                  </a:lnTo>
                  <a:lnTo>
                    <a:pt x="1365228" y="1696345"/>
                  </a:lnTo>
                  <a:lnTo>
                    <a:pt x="1353169" y="1724454"/>
                  </a:lnTo>
                  <a:lnTo>
                    <a:pt x="1337091" y="1722444"/>
                  </a:lnTo>
                  <a:lnTo>
                    <a:pt x="1339101" y="1696345"/>
                  </a:lnTo>
                  <a:lnTo>
                    <a:pt x="1335081" y="1676276"/>
                  </a:lnTo>
                  <a:lnTo>
                    <a:pt x="1300963" y="1646158"/>
                  </a:lnTo>
                  <a:lnTo>
                    <a:pt x="1266825" y="1616050"/>
                  </a:lnTo>
                  <a:lnTo>
                    <a:pt x="1262787" y="1616050"/>
                  </a:lnTo>
                  <a:lnTo>
                    <a:pt x="1224649" y="1626099"/>
                  </a:lnTo>
                  <a:lnTo>
                    <a:pt x="1210599" y="1612021"/>
                  </a:lnTo>
                  <a:lnTo>
                    <a:pt x="1200550" y="1614040"/>
                  </a:lnTo>
                  <a:lnTo>
                    <a:pt x="1164422" y="1610011"/>
                  </a:lnTo>
                  <a:lnTo>
                    <a:pt x="1148344" y="1605991"/>
                  </a:lnTo>
                  <a:lnTo>
                    <a:pt x="1112215" y="1579902"/>
                  </a:lnTo>
                  <a:lnTo>
                    <a:pt x="1080088" y="1604001"/>
                  </a:lnTo>
                  <a:lnTo>
                    <a:pt x="1033910" y="1630099"/>
                  </a:lnTo>
                  <a:lnTo>
                    <a:pt x="967664" y="1670247"/>
                  </a:lnTo>
                  <a:lnTo>
                    <a:pt x="963644" y="1680277"/>
                  </a:lnTo>
                  <a:lnTo>
                    <a:pt x="961635" y="1716434"/>
                  </a:lnTo>
                  <a:lnTo>
                    <a:pt x="961635" y="1748533"/>
                  </a:lnTo>
                  <a:lnTo>
                    <a:pt x="961635" y="1776641"/>
                  </a:lnTo>
                  <a:lnTo>
                    <a:pt x="965654" y="1802740"/>
                  </a:lnTo>
                  <a:lnTo>
                    <a:pt x="977694" y="1824819"/>
                  </a:lnTo>
                  <a:lnTo>
                    <a:pt x="999792" y="1842878"/>
                  </a:lnTo>
                  <a:lnTo>
                    <a:pt x="1019861" y="1866967"/>
                  </a:lnTo>
                  <a:lnTo>
                    <a:pt x="1027881" y="1889036"/>
                  </a:lnTo>
                  <a:lnTo>
                    <a:pt x="1027881" y="1921164"/>
                  </a:lnTo>
                  <a:lnTo>
                    <a:pt x="1021871" y="1927203"/>
                  </a:lnTo>
                  <a:lnTo>
                    <a:pt x="995772" y="1945253"/>
                  </a:lnTo>
                  <a:lnTo>
                    <a:pt x="989743" y="1963331"/>
                  </a:lnTo>
                  <a:lnTo>
                    <a:pt x="983714" y="1985400"/>
                  </a:lnTo>
                  <a:lnTo>
                    <a:pt x="957634" y="1979371"/>
                  </a:lnTo>
                  <a:lnTo>
                    <a:pt x="911457" y="1973361"/>
                  </a:lnTo>
                  <a:lnTo>
                    <a:pt x="871290" y="1963312"/>
                  </a:lnTo>
                  <a:lnTo>
                    <a:pt x="873300" y="1963312"/>
                  </a:lnTo>
                  <a:lnTo>
                    <a:pt x="837152" y="1939223"/>
                  </a:lnTo>
                  <a:lnTo>
                    <a:pt x="805044" y="1913125"/>
                  </a:lnTo>
                  <a:lnTo>
                    <a:pt x="762867" y="1887026"/>
                  </a:lnTo>
                  <a:lnTo>
                    <a:pt x="760876" y="1852889"/>
                  </a:lnTo>
                  <a:lnTo>
                    <a:pt x="772935" y="1816760"/>
                  </a:lnTo>
                  <a:lnTo>
                    <a:pt x="790994" y="1784633"/>
                  </a:lnTo>
                  <a:lnTo>
                    <a:pt x="786975" y="1752533"/>
                  </a:lnTo>
                  <a:lnTo>
                    <a:pt x="772906" y="1738474"/>
                  </a:lnTo>
                  <a:lnTo>
                    <a:pt x="792975" y="1676229"/>
                  </a:lnTo>
                  <a:lnTo>
                    <a:pt x="811035" y="1620041"/>
                  </a:lnTo>
                  <a:lnTo>
                    <a:pt x="807034" y="1593942"/>
                  </a:lnTo>
                  <a:lnTo>
                    <a:pt x="792966" y="1587913"/>
                  </a:lnTo>
                  <a:lnTo>
                    <a:pt x="758828" y="1583893"/>
                  </a:lnTo>
                  <a:lnTo>
                    <a:pt x="718680" y="1559805"/>
                  </a:lnTo>
                  <a:lnTo>
                    <a:pt x="694592" y="1539726"/>
                  </a:lnTo>
                  <a:lnTo>
                    <a:pt x="694592" y="1531696"/>
                  </a:lnTo>
                  <a:lnTo>
                    <a:pt x="780917" y="1531696"/>
                  </a:lnTo>
                  <a:lnTo>
                    <a:pt x="792975" y="1519647"/>
                  </a:lnTo>
                  <a:lnTo>
                    <a:pt x="790966" y="1501578"/>
                  </a:lnTo>
                  <a:lnTo>
                    <a:pt x="738778" y="1477489"/>
                  </a:lnTo>
                  <a:lnTo>
                    <a:pt x="666483" y="1471470"/>
                  </a:lnTo>
                  <a:lnTo>
                    <a:pt x="632327" y="1473498"/>
                  </a:lnTo>
                  <a:lnTo>
                    <a:pt x="582130" y="1473498"/>
                  </a:lnTo>
                  <a:lnTo>
                    <a:pt x="562051" y="1435341"/>
                  </a:lnTo>
                  <a:lnTo>
                    <a:pt x="537972" y="1359056"/>
                  </a:lnTo>
                  <a:lnTo>
                    <a:pt x="521894" y="1296819"/>
                  </a:lnTo>
                  <a:lnTo>
                    <a:pt x="535962" y="1248632"/>
                  </a:lnTo>
                  <a:lnTo>
                    <a:pt x="586159" y="1250633"/>
                  </a:lnTo>
                  <a:lnTo>
                    <a:pt x="612267" y="1252633"/>
                  </a:lnTo>
                  <a:lnTo>
                    <a:pt x="612267" y="1226534"/>
                  </a:lnTo>
                  <a:lnTo>
                    <a:pt x="596199" y="1202446"/>
                  </a:lnTo>
                  <a:lnTo>
                    <a:pt x="556051" y="1194406"/>
                  </a:lnTo>
                  <a:lnTo>
                    <a:pt x="515893" y="1200436"/>
                  </a:lnTo>
                  <a:lnTo>
                    <a:pt x="489795" y="1224515"/>
                  </a:lnTo>
                  <a:lnTo>
                    <a:pt x="423539" y="1226515"/>
                  </a:lnTo>
                  <a:lnTo>
                    <a:pt x="355273" y="1216476"/>
                  </a:lnTo>
                  <a:lnTo>
                    <a:pt x="311106" y="1176318"/>
                  </a:lnTo>
                  <a:lnTo>
                    <a:pt x="291027" y="1156249"/>
                  </a:lnTo>
                  <a:lnTo>
                    <a:pt x="252879" y="1158250"/>
                  </a:lnTo>
                  <a:lnTo>
                    <a:pt x="220761" y="1168289"/>
                  </a:lnTo>
                  <a:lnTo>
                    <a:pt x="198682" y="1170308"/>
                  </a:lnTo>
                  <a:lnTo>
                    <a:pt x="190643" y="1190368"/>
                  </a:lnTo>
                  <a:lnTo>
                    <a:pt x="178594" y="1224506"/>
                  </a:lnTo>
                  <a:lnTo>
                    <a:pt x="120253" y="1240146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9347137E-F33E-4159-93A7-16540F61682C}"/>
                </a:ext>
              </a:extLst>
            </p:cNvPr>
            <p:cNvSpPr/>
            <p:nvPr/>
          </p:nvSpPr>
          <p:spPr bwMode="gray">
            <a:xfrm>
              <a:off x="4876857" y="3030207"/>
              <a:ext cx="1895160" cy="1577978"/>
            </a:xfrm>
            <a:custGeom>
              <a:avLst/>
              <a:gdLst>
                <a:gd name="connsiteX0" fmla="*/ 564071 w 1895160"/>
                <a:gd name="connsiteY0" fmla="*/ 1419387 h 1577978"/>
                <a:gd name="connsiteX1" fmla="*/ 584140 w 1895160"/>
                <a:gd name="connsiteY1" fmla="*/ 1403309 h 1577978"/>
                <a:gd name="connsiteX2" fmla="*/ 590169 w 1895160"/>
                <a:gd name="connsiteY2" fmla="*/ 1373191 h 1577978"/>
                <a:gd name="connsiteX3" fmla="*/ 640356 w 1895160"/>
                <a:gd name="connsiteY3" fmla="*/ 1397298 h 1577978"/>
                <a:gd name="connsiteX4" fmla="*/ 668464 w 1895160"/>
                <a:gd name="connsiteY4" fmla="*/ 1415358 h 1577978"/>
                <a:gd name="connsiteX5" fmla="*/ 700583 w 1895160"/>
                <a:gd name="connsiteY5" fmla="*/ 1435427 h 1577978"/>
                <a:gd name="connsiteX6" fmla="*/ 748760 w 1895160"/>
                <a:gd name="connsiteY6" fmla="*/ 1441437 h 1577978"/>
                <a:gd name="connsiteX7" fmla="*/ 806987 w 1895160"/>
                <a:gd name="connsiteY7" fmla="*/ 1449495 h 1577978"/>
                <a:gd name="connsiteX8" fmla="*/ 847144 w 1895160"/>
                <a:gd name="connsiteY8" fmla="*/ 1449495 h 1577978"/>
                <a:gd name="connsiteX9" fmla="*/ 891311 w 1895160"/>
                <a:gd name="connsiteY9" fmla="*/ 1473565 h 1577978"/>
                <a:gd name="connsiteX10" fmla="*/ 935488 w 1895160"/>
                <a:gd name="connsiteY10" fmla="*/ 1497673 h 1577978"/>
                <a:gd name="connsiteX11" fmla="*/ 979656 w 1895160"/>
                <a:gd name="connsiteY11" fmla="*/ 1523771 h 1577978"/>
                <a:gd name="connsiteX12" fmla="*/ 1027843 w 1895160"/>
                <a:gd name="connsiteY12" fmla="*/ 1513713 h 1577978"/>
                <a:gd name="connsiteX13" fmla="*/ 1063980 w 1895160"/>
                <a:gd name="connsiteY13" fmla="*/ 1513713 h 1577978"/>
                <a:gd name="connsiteX14" fmla="*/ 1106138 w 1895160"/>
                <a:gd name="connsiteY14" fmla="*/ 1517733 h 1577978"/>
                <a:gd name="connsiteX15" fmla="*/ 1154325 w 1895160"/>
                <a:gd name="connsiteY15" fmla="*/ 1499673 h 1577978"/>
                <a:gd name="connsiteX16" fmla="*/ 1184434 w 1895160"/>
                <a:gd name="connsiteY16" fmla="*/ 1493644 h 1577978"/>
                <a:gd name="connsiteX17" fmla="*/ 1192473 w 1895160"/>
                <a:gd name="connsiteY17" fmla="*/ 1465555 h 1577978"/>
                <a:gd name="connsiteX18" fmla="*/ 1212552 w 1895160"/>
                <a:gd name="connsiteY18" fmla="*/ 1425388 h 1577978"/>
                <a:gd name="connsiteX19" fmla="*/ 1256719 w 1895160"/>
                <a:gd name="connsiteY19" fmla="*/ 1413339 h 1577978"/>
                <a:gd name="connsiteX20" fmla="*/ 1288828 w 1895160"/>
                <a:gd name="connsiteY20" fmla="*/ 1425388 h 1577978"/>
                <a:gd name="connsiteX21" fmla="*/ 1324975 w 1895160"/>
                <a:gd name="connsiteY21" fmla="*/ 1445466 h 1577978"/>
                <a:gd name="connsiteX22" fmla="*/ 1369142 w 1895160"/>
                <a:gd name="connsiteY22" fmla="*/ 1449495 h 1577978"/>
                <a:gd name="connsiteX23" fmla="*/ 1413310 w 1895160"/>
                <a:gd name="connsiteY23" fmla="*/ 1451486 h 1577978"/>
                <a:gd name="connsiteX24" fmla="*/ 1445438 w 1895160"/>
                <a:gd name="connsiteY24" fmla="*/ 1451486 h 1577978"/>
                <a:gd name="connsiteX25" fmla="*/ 1487595 w 1895160"/>
                <a:gd name="connsiteY25" fmla="*/ 1465555 h 1577978"/>
                <a:gd name="connsiteX26" fmla="*/ 1507684 w 1895160"/>
                <a:gd name="connsiteY26" fmla="*/ 1473575 h 1577978"/>
                <a:gd name="connsiteX27" fmla="*/ 1555852 w 1895160"/>
                <a:gd name="connsiteY27" fmla="*/ 1471584 h 1577978"/>
                <a:gd name="connsiteX28" fmla="*/ 1591999 w 1895160"/>
                <a:gd name="connsiteY28" fmla="*/ 1471584 h 1577978"/>
                <a:gd name="connsiteX29" fmla="*/ 1614078 w 1895160"/>
                <a:gd name="connsiteY29" fmla="*/ 1485633 h 1577978"/>
                <a:gd name="connsiteX30" fmla="*/ 1638167 w 1895160"/>
                <a:gd name="connsiteY30" fmla="*/ 1509722 h 1577978"/>
                <a:gd name="connsiteX31" fmla="*/ 1664265 w 1895160"/>
                <a:gd name="connsiteY31" fmla="*/ 1531801 h 1577978"/>
                <a:gd name="connsiteX32" fmla="*/ 1696374 w 1895160"/>
                <a:gd name="connsiteY32" fmla="*/ 1545870 h 1577978"/>
                <a:gd name="connsiteX33" fmla="*/ 1740541 w 1895160"/>
                <a:gd name="connsiteY33" fmla="*/ 1577978 h 1577978"/>
                <a:gd name="connsiteX34" fmla="*/ 1764649 w 1895160"/>
                <a:gd name="connsiteY34" fmla="*/ 1567948 h 1577978"/>
                <a:gd name="connsiteX35" fmla="*/ 1786728 w 1895160"/>
                <a:gd name="connsiteY35" fmla="*/ 1543860 h 1577978"/>
                <a:gd name="connsiteX36" fmla="*/ 1784718 w 1895160"/>
                <a:gd name="connsiteY36" fmla="*/ 1511751 h 1577978"/>
                <a:gd name="connsiteX37" fmla="*/ 1800777 w 1895160"/>
                <a:gd name="connsiteY37" fmla="*/ 1481633 h 1577978"/>
                <a:gd name="connsiteX38" fmla="*/ 1816856 w 1895160"/>
                <a:gd name="connsiteY38" fmla="*/ 1449505 h 1577978"/>
                <a:gd name="connsiteX39" fmla="*/ 1836925 w 1895160"/>
                <a:gd name="connsiteY39" fmla="*/ 1421406 h 1577978"/>
                <a:gd name="connsiteX40" fmla="*/ 1828886 w 1895160"/>
                <a:gd name="connsiteY40" fmla="*/ 1371200 h 1577978"/>
                <a:gd name="connsiteX41" fmla="*/ 1838935 w 1895160"/>
                <a:gd name="connsiteY41" fmla="*/ 1343092 h 1577978"/>
                <a:gd name="connsiteX42" fmla="*/ 1883121 w 1895160"/>
                <a:gd name="connsiteY42" fmla="*/ 1313002 h 1577978"/>
                <a:gd name="connsiteX43" fmla="*/ 1895161 w 1895160"/>
                <a:gd name="connsiteY43" fmla="*/ 1294943 h 1577978"/>
                <a:gd name="connsiteX44" fmla="*/ 1893151 w 1895160"/>
                <a:gd name="connsiteY44" fmla="*/ 1268844 h 1577978"/>
                <a:gd name="connsiteX45" fmla="*/ 1855013 w 1895160"/>
                <a:gd name="connsiteY45" fmla="*/ 1258795 h 1577978"/>
                <a:gd name="connsiteX46" fmla="*/ 1838935 w 1895160"/>
                <a:gd name="connsiteY46" fmla="*/ 1248766 h 1577978"/>
                <a:gd name="connsiteX47" fmla="*/ 1812855 w 1895160"/>
                <a:gd name="connsiteY47" fmla="*/ 1194559 h 1577978"/>
                <a:gd name="connsiteX48" fmla="*/ 1792767 w 1895160"/>
                <a:gd name="connsiteY48" fmla="*/ 1154411 h 1577978"/>
                <a:gd name="connsiteX49" fmla="*/ 1770688 w 1895160"/>
                <a:gd name="connsiteY49" fmla="*/ 1118283 h 1577978"/>
                <a:gd name="connsiteX50" fmla="*/ 1744590 w 1895160"/>
                <a:gd name="connsiteY50" fmla="*/ 1064076 h 1577978"/>
                <a:gd name="connsiteX51" fmla="*/ 1716500 w 1895160"/>
                <a:gd name="connsiteY51" fmla="*/ 1066086 h 1577978"/>
                <a:gd name="connsiteX52" fmla="*/ 1710471 w 1895160"/>
                <a:gd name="connsiteY52" fmla="*/ 1088165 h 1577978"/>
                <a:gd name="connsiteX53" fmla="*/ 1702432 w 1895160"/>
                <a:gd name="connsiteY53" fmla="*/ 1102214 h 1577978"/>
                <a:gd name="connsiteX54" fmla="*/ 1658264 w 1895160"/>
                <a:gd name="connsiteY54" fmla="*/ 1090155 h 1577978"/>
                <a:gd name="connsiteX55" fmla="*/ 1640205 w 1895160"/>
                <a:gd name="connsiteY55" fmla="*/ 1106234 h 1577978"/>
                <a:gd name="connsiteX56" fmla="*/ 1628146 w 1895160"/>
                <a:gd name="connsiteY56" fmla="*/ 1118292 h 1577978"/>
                <a:gd name="connsiteX57" fmla="*/ 1581969 w 1895160"/>
                <a:gd name="connsiteY57" fmla="*/ 1090184 h 1577978"/>
                <a:gd name="connsiteX58" fmla="*/ 1549841 w 1895160"/>
                <a:gd name="connsiteY58" fmla="*/ 1068105 h 1577978"/>
                <a:gd name="connsiteX59" fmla="*/ 1533763 w 1895160"/>
                <a:gd name="connsiteY59" fmla="*/ 1060066 h 1577978"/>
                <a:gd name="connsiteX60" fmla="*/ 1509693 w 1895160"/>
                <a:gd name="connsiteY60" fmla="*/ 979751 h 1577978"/>
                <a:gd name="connsiteX61" fmla="*/ 1487595 w 1895160"/>
                <a:gd name="connsiteY61" fmla="*/ 923553 h 1577978"/>
                <a:gd name="connsiteX62" fmla="*/ 1475556 w 1895160"/>
                <a:gd name="connsiteY62" fmla="*/ 879386 h 1577978"/>
                <a:gd name="connsiteX63" fmla="*/ 1489605 w 1895160"/>
                <a:gd name="connsiteY63" fmla="*/ 819150 h 1577978"/>
                <a:gd name="connsiteX64" fmla="*/ 1493625 w 1895160"/>
                <a:gd name="connsiteY64" fmla="*/ 807091 h 1577978"/>
                <a:gd name="connsiteX65" fmla="*/ 1457496 w 1895160"/>
                <a:gd name="connsiteY65" fmla="*/ 783003 h 1577978"/>
                <a:gd name="connsiteX66" fmla="*/ 1425369 w 1895160"/>
                <a:gd name="connsiteY66" fmla="*/ 756904 h 1577978"/>
                <a:gd name="connsiteX67" fmla="*/ 1383211 w 1895160"/>
                <a:gd name="connsiteY67" fmla="*/ 730815 h 1577978"/>
                <a:gd name="connsiteX68" fmla="*/ 1381201 w 1895160"/>
                <a:gd name="connsiteY68" fmla="*/ 696697 h 1577978"/>
                <a:gd name="connsiteX69" fmla="*/ 1393260 w 1895160"/>
                <a:gd name="connsiteY69" fmla="*/ 660549 h 1577978"/>
                <a:gd name="connsiteX70" fmla="*/ 1411319 w 1895160"/>
                <a:gd name="connsiteY70" fmla="*/ 628440 h 1577978"/>
                <a:gd name="connsiteX71" fmla="*/ 1407300 w 1895160"/>
                <a:gd name="connsiteY71" fmla="*/ 596313 h 1577978"/>
                <a:gd name="connsiteX72" fmla="*/ 1393231 w 1895160"/>
                <a:gd name="connsiteY72" fmla="*/ 582254 h 1577978"/>
                <a:gd name="connsiteX73" fmla="*/ 1413300 w 1895160"/>
                <a:gd name="connsiteY73" fmla="*/ 520017 h 1577978"/>
                <a:gd name="connsiteX74" fmla="*/ 1431360 w 1895160"/>
                <a:gd name="connsiteY74" fmla="*/ 463820 h 1577978"/>
                <a:gd name="connsiteX75" fmla="*/ 1427340 w 1895160"/>
                <a:gd name="connsiteY75" fmla="*/ 437721 h 1577978"/>
                <a:gd name="connsiteX76" fmla="*/ 1413291 w 1895160"/>
                <a:gd name="connsiteY76" fmla="*/ 431692 h 1577978"/>
                <a:gd name="connsiteX77" fmla="*/ 1379172 w 1895160"/>
                <a:gd name="connsiteY77" fmla="*/ 427653 h 1577978"/>
                <a:gd name="connsiteX78" fmla="*/ 1339006 w 1895160"/>
                <a:gd name="connsiteY78" fmla="*/ 403555 h 1577978"/>
                <a:gd name="connsiteX79" fmla="*/ 1314917 w 1895160"/>
                <a:gd name="connsiteY79" fmla="*/ 383496 h 1577978"/>
                <a:gd name="connsiteX80" fmla="*/ 1314917 w 1895160"/>
                <a:gd name="connsiteY80" fmla="*/ 375456 h 1577978"/>
                <a:gd name="connsiteX81" fmla="*/ 1401251 w 1895160"/>
                <a:gd name="connsiteY81" fmla="*/ 375456 h 1577978"/>
                <a:gd name="connsiteX82" fmla="*/ 1413291 w 1895160"/>
                <a:gd name="connsiteY82" fmla="*/ 363407 h 1577978"/>
                <a:gd name="connsiteX83" fmla="*/ 1411300 w 1895160"/>
                <a:gd name="connsiteY83" fmla="*/ 345338 h 1577978"/>
                <a:gd name="connsiteX84" fmla="*/ 1359103 w 1895160"/>
                <a:gd name="connsiteY84" fmla="*/ 321250 h 1577978"/>
                <a:gd name="connsiteX85" fmla="*/ 1286827 w 1895160"/>
                <a:gd name="connsiteY85" fmla="*/ 315230 h 1577978"/>
                <a:gd name="connsiteX86" fmla="*/ 1252690 w 1895160"/>
                <a:gd name="connsiteY86" fmla="*/ 317230 h 1577978"/>
                <a:gd name="connsiteX87" fmla="*/ 1202493 w 1895160"/>
                <a:gd name="connsiteY87" fmla="*/ 317230 h 1577978"/>
                <a:gd name="connsiteX88" fmla="*/ 1182415 w 1895160"/>
                <a:gd name="connsiteY88" fmla="*/ 279073 h 1577978"/>
                <a:gd name="connsiteX89" fmla="*/ 1158335 w 1895160"/>
                <a:gd name="connsiteY89" fmla="*/ 202787 h 1577978"/>
                <a:gd name="connsiteX90" fmla="*/ 1142257 w 1895160"/>
                <a:gd name="connsiteY90" fmla="*/ 140551 h 1577978"/>
                <a:gd name="connsiteX91" fmla="*/ 1156325 w 1895160"/>
                <a:gd name="connsiteY91" fmla="*/ 92364 h 1577978"/>
                <a:gd name="connsiteX92" fmla="*/ 1206522 w 1895160"/>
                <a:gd name="connsiteY92" fmla="*/ 94374 h 1577978"/>
                <a:gd name="connsiteX93" fmla="*/ 1232630 w 1895160"/>
                <a:gd name="connsiteY93" fmla="*/ 96374 h 1577978"/>
                <a:gd name="connsiteX94" fmla="*/ 1232630 w 1895160"/>
                <a:gd name="connsiteY94" fmla="*/ 70275 h 1577978"/>
                <a:gd name="connsiteX95" fmla="*/ 1216552 w 1895160"/>
                <a:gd name="connsiteY95" fmla="*/ 46187 h 1577978"/>
                <a:gd name="connsiteX96" fmla="*/ 1176404 w 1895160"/>
                <a:gd name="connsiteY96" fmla="*/ 38148 h 1577978"/>
                <a:gd name="connsiteX97" fmla="*/ 1136256 w 1895160"/>
                <a:gd name="connsiteY97" fmla="*/ 44177 h 1577978"/>
                <a:gd name="connsiteX98" fmla="*/ 1110158 w 1895160"/>
                <a:gd name="connsiteY98" fmla="*/ 68256 h 1577978"/>
                <a:gd name="connsiteX99" fmla="*/ 1043902 w 1895160"/>
                <a:gd name="connsiteY99" fmla="*/ 70256 h 1577978"/>
                <a:gd name="connsiteX100" fmla="*/ 975636 w 1895160"/>
                <a:gd name="connsiteY100" fmla="*/ 60217 h 1577978"/>
                <a:gd name="connsiteX101" fmla="*/ 931478 w 1895160"/>
                <a:gd name="connsiteY101" fmla="*/ 20069 h 1577978"/>
                <a:gd name="connsiteX102" fmla="*/ 911400 w 1895160"/>
                <a:gd name="connsiteY102" fmla="*/ 0 h 1577978"/>
                <a:gd name="connsiteX103" fmla="*/ 873252 w 1895160"/>
                <a:gd name="connsiteY103" fmla="*/ 2000 h 1577978"/>
                <a:gd name="connsiteX104" fmla="*/ 841134 w 1895160"/>
                <a:gd name="connsiteY104" fmla="*/ 12049 h 1577978"/>
                <a:gd name="connsiteX105" fmla="*/ 819055 w 1895160"/>
                <a:gd name="connsiteY105" fmla="*/ 14049 h 1577978"/>
                <a:gd name="connsiteX106" fmla="*/ 811016 w 1895160"/>
                <a:gd name="connsiteY106" fmla="*/ 34119 h 1577978"/>
                <a:gd name="connsiteX107" fmla="*/ 798966 w 1895160"/>
                <a:gd name="connsiteY107" fmla="*/ 68247 h 1577978"/>
                <a:gd name="connsiteX108" fmla="*/ 740626 w 1895160"/>
                <a:gd name="connsiteY108" fmla="*/ 83896 h 1577978"/>
                <a:gd name="connsiteX109" fmla="*/ 738740 w 1895160"/>
                <a:gd name="connsiteY109" fmla="*/ 80305 h 1577978"/>
                <a:gd name="connsiteX110" fmla="*/ 752799 w 1895160"/>
                <a:gd name="connsiteY110" fmla="*/ 98365 h 1577978"/>
                <a:gd name="connsiteX111" fmla="*/ 766858 w 1895160"/>
                <a:gd name="connsiteY111" fmla="*/ 114443 h 1577978"/>
                <a:gd name="connsiteX112" fmla="*/ 798976 w 1895160"/>
                <a:gd name="connsiteY112" fmla="*/ 126492 h 1577978"/>
                <a:gd name="connsiteX113" fmla="*/ 845163 w 1895160"/>
                <a:gd name="connsiteY113" fmla="*/ 194758 h 1577978"/>
                <a:gd name="connsiteX114" fmla="*/ 895359 w 1895160"/>
                <a:gd name="connsiteY114" fmla="*/ 275063 h 1577978"/>
                <a:gd name="connsiteX115" fmla="*/ 859222 w 1895160"/>
                <a:gd name="connsiteY115" fmla="*/ 351358 h 1577978"/>
                <a:gd name="connsiteX116" fmla="*/ 829113 w 1895160"/>
                <a:gd name="connsiteY116" fmla="*/ 385486 h 1577978"/>
                <a:gd name="connsiteX117" fmla="*/ 831113 w 1895160"/>
                <a:gd name="connsiteY117" fmla="*/ 429654 h 1577978"/>
                <a:gd name="connsiteX118" fmla="*/ 811044 w 1895160"/>
                <a:gd name="connsiteY118" fmla="*/ 471830 h 1577978"/>
                <a:gd name="connsiteX119" fmla="*/ 825103 w 1895160"/>
                <a:gd name="connsiteY119" fmla="*/ 491899 h 1577978"/>
                <a:gd name="connsiteX120" fmla="*/ 893369 w 1895160"/>
                <a:gd name="connsiteY120" fmla="*/ 491899 h 1577978"/>
                <a:gd name="connsiteX121" fmla="*/ 923477 w 1895160"/>
                <a:gd name="connsiteY121" fmla="*/ 465801 h 1577978"/>
                <a:gd name="connsiteX122" fmla="*/ 967645 w 1895160"/>
                <a:gd name="connsiteY122" fmla="*/ 509968 h 1577978"/>
                <a:gd name="connsiteX123" fmla="*/ 983723 w 1895160"/>
                <a:gd name="connsiteY123" fmla="*/ 550135 h 1577978"/>
                <a:gd name="connsiteX124" fmla="*/ 1007811 w 1895160"/>
                <a:gd name="connsiteY124" fmla="*/ 594312 h 1577978"/>
                <a:gd name="connsiteX125" fmla="*/ 981713 w 1895160"/>
                <a:gd name="connsiteY125" fmla="*/ 622402 h 1577978"/>
                <a:gd name="connsiteX126" fmla="*/ 979713 w 1895160"/>
                <a:gd name="connsiteY126" fmla="*/ 674589 h 1577978"/>
                <a:gd name="connsiteX127" fmla="*/ 959644 w 1895160"/>
                <a:gd name="connsiteY127" fmla="*/ 674589 h 1577978"/>
                <a:gd name="connsiteX128" fmla="*/ 951614 w 1895160"/>
                <a:gd name="connsiteY128" fmla="*/ 694658 h 1577978"/>
                <a:gd name="connsiteX129" fmla="*/ 969673 w 1895160"/>
                <a:gd name="connsiteY129" fmla="*/ 714737 h 1577978"/>
                <a:gd name="connsiteX130" fmla="*/ 951614 w 1895160"/>
                <a:gd name="connsiteY130" fmla="*/ 740835 h 1577978"/>
                <a:gd name="connsiteX131" fmla="*/ 949604 w 1895160"/>
                <a:gd name="connsiteY131" fmla="*/ 762914 h 1577978"/>
                <a:gd name="connsiteX132" fmla="*/ 971683 w 1895160"/>
                <a:gd name="connsiteY132" fmla="*/ 786994 h 1577978"/>
                <a:gd name="connsiteX133" fmla="*/ 967673 w 1895160"/>
                <a:gd name="connsiteY133" fmla="*/ 821131 h 1577978"/>
                <a:gd name="connsiteX134" fmla="*/ 941565 w 1895160"/>
                <a:gd name="connsiteY134" fmla="*/ 831171 h 1577978"/>
                <a:gd name="connsiteX135" fmla="*/ 927516 w 1895160"/>
                <a:gd name="connsiteY135" fmla="*/ 863289 h 1577978"/>
                <a:gd name="connsiteX136" fmla="*/ 905437 w 1895160"/>
                <a:gd name="connsiteY136" fmla="*/ 835190 h 1577978"/>
                <a:gd name="connsiteX137" fmla="*/ 877329 w 1895160"/>
                <a:gd name="connsiteY137" fmla="*/ 853250 h 1577978"/>
                <a:gd name="connsiteX138" fmla="*/ 801033 w 1895160"/>
                <a:gd name="connsiteY138" fmla="*/ 807072 h 1577978"/>
                <a:gd name="connsiteX139" fmla="*/ 799024 w 1895160"/>
                <a:gd name="connsiteY139" fmla="*/ 789013 h 1577978"/>
                <a:gd name="connsiteX140" fmla="*/ 750837 w 1895160"/>
                <a:gd name="connsiteY140" fmla="*/ 746855 h 1577978"/>
                <a:gd name="connsiteX141" fmla="*/ 718709 w 1895160"/>
                <a:gd name="connsiteY141" fmla="*/ 746855 h 1577978"/>
                <a:gd name="connsiteX142" fmla="*/ 692610 w 1895160"/>
                <a:gd name="connsiteY142" fmla="*/ 692648 h 1577978"/>
                <a:gd name="connsiteX143" fmla="*/ 706679 w 1895160"/>
                <a:gd name="connsiteY143" fmla="*/ 648462 h 1577978"/>
                <a:gd name="connsiteX144" fmla="*/ 732777 w 1895160"/>
                <a:gd name="connsiteY144" fmla="*/ 644462 h 1577978"/>
                <a:gd name="connsiteX145" fmla="*/ 718709 w 1895160"/>
                <a:gd name="connsiteY145" fmla="*/ 616353 h 1577978"/>
                <a:gd name="connsiteX146" fmla="*/ 668521 w 1895160"/>
                <a:gd name="connsiteY146" fmla="*/ 592274 h 1577978"/>
                <a:gd name="connsiteX147" fmla="*/ 670522 w 1895160"/>
                <a:gd name="connsiteY147" fmla="*/ 560146 h 1577978"/>
                <a:gd name="connsiteX148" fmla="*/ 636394 w 1895160"/>
                <a:gd name="connsiteY148" fmla="*/ 542087 h 1577978"/>
                <a:gd name="connsiteX149" fmla="*/ 616315 w 1895160"/>
                <a:gd name="connsiteY149" fmla="*/ 548116 h 1577978"/>
                <a:gd name="connsiteX150" fmla="*/ 574148 w 1895160"/>
                <a:gd name="connsiteY150" fmla="*/ 546106 h 1577978"/>
                <a:gd name="connsiteX151" fmla="*/ 542029 w 1895160"/>
                <a:gd name="connsiteY151" fmla="*/ 562185 h 1577978"/>
                <a:gd name="connsiteX152" fmla="*/ 507902 w 1895160"/>
                <a:gd name="connsiteY152" fmla="*/ 560175 h 1577978"/>
                <a:gd name="connsiteX153" fmla="*/ 473773 w 1895160"/>
                <a:gd name="connsiteY153" fmla="*/ 618372 h 1577978"/>
                <a:gd name="connsiteX154" fmla="*/ 471773 w 1895160"/>
                <a:gd name="connsiteY154" fmla="*/ 614353 h 1577978"/>
                <a:gd name="connsiteX155" fmla="*/ 483822 w 1895160"/>
                <a:gd name="connsiteY155" fmla="*/ 660559 h 1577978"/>
                <a:gd name="connsiteX156" fmla="*/ 515950 w 1895160"/>
                <a:gd name="connsiteY156" fmla="*/ 680618 h 1577978"/>
                <a:gd name="connsiteX157" fmla="*/ 552079 w 1895160"/>
                <a:gd name="connsiteY157" fmla="*/ 696687 h 1577978"/>
                <a:gd name="connsiteX158" fmla="*/ 556098 w 1895160"/>
                <a:gd name="connsiteY158" fmla="*/ 740854 h 1577978"/>
                <a:gd name="connsiteX159" fmla="*/ 556098 w 1895160"/>
                <a:gd name="connsiteY159" fmla="*/ 770991 h 1577978"/>
                <a:gd name="connsiteX160" fmla="*/ 576177 w 1895160"/>
                <a:gd name="connsiteY160" fmla="*/ 795080 h 1577978"/>
                <a:gd name="connsiteX161" fmla="*/ 592236 w 1895160"/>
                <a:gd name="connsiteY161" fmla="*/ 817150 h 1577978"/>
                <a:gd name="connsiteX162" fmla="*/ 564147 w 1895160"/>
                <a:gd name="connsiteY162" fmla="*/ 863336 h 1577978"/>
                <a:gd name="connsiteX163" fmla="*/ 546078 w 1895160"/>
                <a:gd name="connsiteY163" fmla="*/ 887416 h 1577978"/>
                <a:gd name="connsiteX164" fmla="*/ 538048 w 1895160"/>
                <a:gd name="connsiteY164" fmla="*/ 921534 h 1577978"/>
                <a:gd name="connsiteX165" fmla="*/ 528009 w 1895160"/>
                <a:gd name="connsiteY165" fmla="*/ 955672 h 1577978"/>
                <a:gd name="connsiteX166" fmla="*/ 505920 w 1895160"/>
                <a:gd name="connsiteY166" fmla="*/ 985790 h 1577978"/>
                <a:gd name="connsiteX167" fmla="*/ 479822 w 1895160"/>
                <a:gd name="connsiteY167" fmla="*/ 997829 h 1577978"/>
                <a:gd name="connsiteX168" fmla="*/ 439674 w 1895160"/>
                <a:gd name="connsiteY168" fmla="*/ 997829 h 1577978"/>
                <a:gd name="connsiteX169" fmla="*/ 385467 w 1895160"/>
                <a:gd name="connsiteY169" fmla="*/ 1050027 h 1577978"/>
                <a:gd name="connsiteX170" fmla="*/ 387467 w 1895160"/>
                <a:gd name="connsiteY170" fmla="*/ 1080144 h 1577978"/>
                <a:gd name="connsiteX171" fmla="*/ 295122 w 1895160"/>
                <a:gd name="connsiteY171" fmla="*/ 1116292 h 1577978"/>
                <a:gd name="connsiteX172" fmla="*/ 244926 w 1895160"/>
                <a:gd name="connsiteY172" fmla="*/ 1082154 h 1577978"/>
                <a:gd name="connsiteX173" fmla="*/ 222847 w 1895160"/>
                <a:gd name="connsiteY173" fmla="*/ 1090194 h 1577978"/>
                <a:gd name="connsiteX174" fmla="*/ 186709 w 1895160"/>
                <a:gd name="connsiteY174" fmla="*/ 1122302 h 1577978"/>
                <a:gd name="connsiteX175" fmla="*/ 128492 w 1895160"/>
                <a:gd name="connsiteY175" fmla="*/ 1148401 h 1577978"/>
                <a:gd name="connsiteX176" fmla="*/ 84325 w 1895160"/>
                <a:gd name="connsiteY176" fmla="*/ 1172480 h 1577978"/>
                <a:gd name="connsiteX177" fmla="*/ 28108 w 1895160"/>
                <a:gd name="connsiteY177" fmla="*/ 1168460 h 1577978"/>
                <a:gd name="connsiteX178" fmla="*/ 2010 w 1895160"/>
                <a:gd name="connsiteY178" fmla="*/ 1182538 h 1577978"/>
                <a:gd name="connsiteX179" fmla="*/ 14059 w 1895160"/>
                <a:gd name="connsiteY179" fmla="*/ 1230725 h 1577978"/>
                <a:gd name="connsiteX180" fmla="*/ 0 w 1895160"/>
                <a:gd name="connsiteY180" fmla="*/ 1256824 h 1577978"/>
                <a:gd name="connsiteX181" fmla="*/ 2000 w 1895160"/>
                <a:gd name="connsiteY181" fmla="*/ 1315031 h 1577978"/>
                <a:gd name="connsiteX182" fmla="*/ 6020 w 1895160"/>
                <a:gd name="connsiteY182" fmla="*/ 1361208 h 1577978"/>
                <a:gd name="connsiteX183" fmla="*/ 36138 w 1895160"/>
                <a:gd name="connsiteY183" fmla="*/ 1373267 h 1577978"/>
                <a:gd name="connsiteX184" fmla="*/ 52206 w 1895160"/>
                <a:gd name="connsiteY184" fmla="*/ 1391326 h 1577978"/>
                <a:gd name="connsiteX185" fmla="*/ 54216 w 1895160"/>
                <a:gd name="connsiteY185" fmla="*/ 1439513 h 1577978"/>
                <a:gd name="connsiteX186" fmla="*/ 54216 w 1895160"/>
                <a:gd name="connsiteY186" fmla="*/ 1483690 h 1577978"/>
                <a:gd name="connsiteX187" fmla="*/ 54635 w 1895160"/>
                <a:gd name="connsiteY187" fmla="*/ 1480737 h 1577978"/>
                <a:gd name="connsiteX188" fmla="*/ 82315 w 1895160"/>
                <a:gd name="connsiteY188" fmla="*/ 1474651 h 1577978"/>
                <a:gd name="connsiteX189" fmla="*/ 132512 w 1895160"/>
                <a:gd name="connsiteY189" fmla="*/ 1463602 h 1577978"/>
                <a:gd name="connsiteX190" fmla="*/ 156562 w 1895160"/>
                <a:gd name="connsiteY190" fmla="*/ 1481614 h 1577978"/>
                <a:gd name="connsiteX191" fmla="*/ 158610 w 1895160"/>
                <a:gd name="connsiteY191" fmla="*/ 1483690 h 1577978"/>
                <a:gd name="connsiteX192" fmla="*/ 214817 w 1895160"/>
                <a:gd name="connsiteY192" fmla="*/ 1469612 h 1577978"/>
                <a:gd name="connsiteX193" fmla="*/ 261004 w 1895160"/>
                <a:gd name="connsiteY193" fmla="*/ 1437503 h 1577978"/>
                <a:gd name="connsiteX194" fmla="*/ 275063 w 1895160"/>
                <a:gd name="connsiteY194" fmla="*/ 1413424 h 1577978"/>
                <a:gd name="connsiteX195" fmla="*/ 287112 w 1895160"/>
                <a:gd name="connsiteY195" fmla="*/ 1379287 h 1577978"/>
                <a:gd name="connsiteX196" fmla="*/ 333299 w 1895160"/>
                <a:gd name="connsiteY196" fmla="*/ 1367238 h 1577978"/>
                <a:gd name="connsiteX197" fmla="*/ 369436 w 1895160"/>
                <a:gd name="connsiteY197" fmla="*/ 1375258 h 1577978"/>
                <a:gd name="connsiteX198" fmla="*/ 405565 w 1895160"/>
                <a:gd name="connsiteY198" fmla="*/ 1343158 h 1577978"/>
                <a:gd name="connsiteX199" fmla="*/ 435683 w 1895160"/>
                <a:gd name="connsiteY199" fmla="*/ 1361218 h 1577978"/>
                <a:gd name="connsiteX200" fmla="*/ 461781 w 1895160"/>
                <a:gd name="connsiteY200" fmla="*/ 1367247 h 1577978"/>
                <a:gd name="connsiteX201" fmla="*/ 499929 w 1895160"/>
                <a:gd name="connsiteY201" fmla="*/ 1367247 h 1577978"/>
                <a:gd name="connsiteX202" fmla="*/ 548116 w 1895160"/>
                <a:gd name="connsiteY202" fmla="*/ 1401366 h 1577978"/>
                <a:gd name="connsiteX203" fmla="*/ 564071 w 1895160"/>
                <a:gd name="connsiteY203" fmla="*/ 1419387 h 1577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1895160" h="1577978">
                  <a:moveTo>
                    <a:pt x="564071" y="1419387"/>
                  </a:moveTo>
                  <a:lnTo>
                    <a:pt x="584140" y="1403309"/>
                  </a:lnTo>
                  <a:lnTo>
                    <a:pt x="590169" y="1373191"/>
                  </a:lnTo>
                  <a:lnTo>
                    <a:pt x="640356" y="1397298"/>
                  </a:lnTo>
                  <a:lnTo>
                    <a:pt x="668464" y="1415358"/>
                  </a:lnTo>
                  <a:lnTo>
                    <a:pt x="700583" y="1435427"/>
                  </a:lnTo>
                  <a:lnTo>
                    <a:pt x="748760" y="1441437"/>
                  </a:lnTo>
                  <a:lnTo>
                    <a:pt x="806987" y="1449495"/>
                  </a:lnTo>
                  <a:lnTo>
                    <a:pt x="847144" y="1449495"/>
                  </a:lnTo>
                  <a:lnTo>
                    <a:pt x="891311" y="1473565"/>
                  </a:lnTo>
                  <a:lnTo>
                    <a:pt x="935488" y="1497673"/>
                  </a:lnTo>
                  <a:lnTo>
                    <a:pt x="979656" y="1523771"/>
                  </a:lnTo>
                  <a:lnTo>
                    <a:pt x="1027843" y="1513713"/>
                  </a:lnTo>
                  <a:lnTo>
                    <a:pt x="1063980" y="1513713"/>
                  </a:lnTo>
                  <a:lnTo>
                    <a:pt x="1106138" y="1517733"/>
                  </a:lnTo>
                  <a:lnTo>
                    <a:pt x="1154325" y="1499673"/>
                  </a:lnTo>
                  <a:lnTo>
                    <a:pt x="1184434" y="1493644"/>
                  </a:lnTo>
                  <a:lnTo>
                    <a:pt x="1192473" y="1465555"/>
                  </a:lnTo>
                  <a:lnTo>
                    <a:pt x="1212552" y="1425388"/>
                  </a:lnTo>
                  <a:lnTo>
                    <a:pt x="1256719" y="1413339"/>
                  </a:lnTo>
                  <a:lnTo>
                    <a:pt x="1288828" y="1425388"/>
                  </a:lnTo>
                  <a:lnTo>
                    <a:pt x="1324975" y="1445466"/>
                  </a:lnTo>
                  <a:lnTo>
                    <a:pt x="1369142" y="1449495"/>
                  </a:lnTo>
                  <a:lnTo>
                    <a:pt x="1413310" y="1451486"/>
                  </a:lnTo>
                  <a:lnTo>
                    <a:pt x="1445438" y="1451486"/>
                  </a:lnTo>
                  <a:lnTo>
                    <a:pt x="1487595" y="1465555"/>
                  </a:lnTo>
                  <a:lnTo>
                    <a:pt x="1507684" y="1473575"/>
                  </a:lnTo>
                  <a:lnTo>
                    <a:pt x="1555852" y="1471584"/>
                  </a:lnTo>
                  <a:lnTo>
                    <a:pt x="1591999" y="1471584"/>
                  </a:lnTo>
                  <a:lnTo>
                    <a:pt x="1614078" y="1485633"/>
                  </a:lnTo>
                  <a:lnTo>
                    <a:pt x="1638167" y="1509722"/>
                  </a:lnTo>
                  <a:lnTo>
                    <a:pt x="1664265" y="1531801"/>
                  </a:lnTo>
                  <a:lnTo>
                    <a:pt x="1696374" y="1545870"/>
                  </a:lnTo>
                  <a:lnTo>
                    <a:pt x="1740541" y="1577978"/>
                  </a:lnTo>
                  <a:lnTo>
                    <a:pt x="1764649" y="1567948"/>
                  </a:lnTo>
                  <a:lnTo>
                    <a:pt x="1786728" y="1543860"/>
                  </a:lnTo>
                  <a:lnTo>
                    <a:pt x="1784718" y="1511751"/>
                  </a:lnTo>
                  <a:lnTo>
                    <a:pt x="1800777" y="1481633"/>
                  </a:lnTo>
                  <a:lnTo>
                    <a:pt x="1816856" y="1449505"/>
                  </a:lnTo>
                  <a:lnTo>
                    <a:pt x="1836925" y="1421406"/>
                  </a:lnTo>
                  <a:lnTo>
                    <a:pt x="1828886" y="1371200"/>
                  </a:lnTo>
                  <a:lnTo>
                    <a:pt x="1838935" y="1343092"/>
                  </a:lnTo>
                  <a:lnTo>
                    <a:pt x="1883121" y="1313002"/>
                  </a:lnTo>
                  <a:lnTo>
                    <a:pt x="1895161" y="1294943"/>
                  </a:lnTo>
                  <a:lnTo>
                    <a:pt x="1893151" y="1268844"/>
                  </a:lnTo>
                  <a:lnTo>
                    <a:pt x="1855013" y="1258795"/>
                  </a:lnTo>
                  <a:lnTo>
                    <a:pt x="1838935" y="1248766"/>
                  </a:lnTo>
                  <a:lnTo>
                    <a:pt x="1812855" y="1194559"/>
                  </a:lnTo>
                  <a:lnTo>
                    <a:pt x="1792767" y="1154411"/>
                  </a:lnTo>
                  <a:lnTo>
                    <a:pt x="1770688" y="1118283"/>
                  </a:lnTo>
                  <a:lnTo>
                    <a:pt x="1744590" y="1064076"/>
                  </a:lnTo>
                  <a:lnTo>
                    <a:pt x="1716500" y="1066086"/>
                  </a:lnTo>
                  <a:lnTo>
                    <a:pt x="1710471" y="1088165"/>
                  </a:lnTo>
                  <a:lnTo>
                    <a:pt x="1702432" y="1102214"/>
                  </a:lnTo>
                  <a:lnTo>
                    <a:pt x="1658264" y="1090155"/>
                  </a:lnTo>
                  <a:lnTo>
                    <a:pt x="1640205" y="1106234"/>
                  </a:lnTo>
                  <a:lnTo>
                    <a:pt x="1628146" y="1118292"/>
                  </a:lnTo>
                  <a:lnTo>
                    <a:pt x="1581969" y="1090184"/>
                  </a:lnTo>
                  <a:lnTo>
                    <a:pt x="1549841" y="1068105"/>
                  </a:lnTo>
                  <a:lnTo>
                    <a:pt x="1533763" y="1060066"/>
                  </a:lnTo>
                  <a:lnTo>
                    <a:pt x="1509693" y="979751"/>
                  </a:lnTo>
                  <a:lnTo>
                    <a:pt x="1487595" y="923553"/>
                  </a:lnTo>
                  <a:lnTo>
                    <a:pt x="1475556" y="879386"/>
                  </a:lnTo>
                  <a:lnTo>
                    <a:pt x="1489605" y="819150"/>
                  </a:lnTo>
                  <a:lnTo>
                    <a:pt x="1493625" y="807091"/>
                  </a:lnTo>
                  <a:lnTo>
                    <a:pt x="1457496" y="783003"/>
                  </a:lnTo>
                  <a:lnTo>
                    <a:pt x="1425369" y="756904"/>
                  </a:lnTo>
                  <a:lnTo>
                    <a:pt x="1383211" y="730815"/>
                  </a:lnTo>
                  <a:lnTo>
                    <a:pt x="1381201" y="696697"/>
                  </a:lnTo>
                  <a:lnTo>
                    <a:pt x="1393260" y="660549"/>
                  </a:lnTo>
                  <a:lnTo>
                    <a:pt x="1411319" y="628440"/>
                  </a:lnTo>
                  <a:lnTo>
                    <a:pt x="1407300" y="596313"/>
                  </a:lnTo>
                  <a:lnTo>
                    <a:pt x="1393231" y="582254"/>
                  </a:lnTo>
                  <a:lnTo>
                    <a:pt x="1413300" y="520017"/>
                  </a:lnTo>
                  <a:lnTo>
                    <a:pt x="1431360" y="463820"/>
                  </a:lnTo>
                  <a:lnTo>
                    <a:pt x="1427340" y="437721"/>
                  </a:lnTo>
                  <a:lnTo>
                    <a:pt x="1413291" y="431692"/>
                  </a:lnTo>
                  <a:lnTo>
                    <a:pt x="1379172" y="427653"/>
                  </a:lnTo>
                  <a:lnTo>
                    <a:pt x="1339006" y="403555"/>
                  </a:lnTo>
                  <a:lnTo>
                    <a:pt x="1314917" y="383496"/>
                  </a:lnTo>
                  <a:lnTo>
                    <a:pt x="1314917" y="375456"/>
                  </a:lnTo>
                  <a:lnTo>
                    <a:pt x="1401251" y="375456"/>
                  </a:lnTo>
                  <a:lnTo>
                    <a:pt x="1413291" y="363407"/>
                  </a:lnTo>
                  <a:lnTo>
                    <a:pt x="1411300" y="345338"/>
                  </a:lnTo>
                  <a:lnTo>
                    <a:pt x="1359103" y="321250"/>
                  </a:lnTo>
                  <a:lnTo>
                    <a:pt x="1286827" y="315230"/>
                  </a:lnTo>
                  <a:lnTo>
                    <a:pt x="1252690" y="317230"/>
                  </a:lnTo>
                  <a:lnTo>
                    <a:pt x="1202493" y="317230"/>
                  </a:lnTo>
                  <a:lnTo>
                    <a:pt x="1182415" y="279073"/>
                  </a:lnTo>
                  <a:lnTo>
                    <a:pt x="1158335" y="202787"/>
                  </a:lnTo>
                  <a:lnTo>
                    <a:pt x="1142257" y="140551"/>
                  </a:lnTo>
                  <a:lnTo>
                    <a:pt x="1156325" y="92364"/>
                  </a:lnTo>
                  <a:lnTo>
                    <a:pt x="1206522" y="94374"/>
                  </a:lnTo>
                  <a:lnTo>
                    <a:pt x="1232630" y="96374"/>
                  </a:lnTo>
                  <a:lnTo>
                    <a:pt x="1232630" y="70275"/>
                  </a:lnTo>
                  <a:lnTo>
                    <a:pt x="1216552" y="46187"/>
                  </a:lnTo>
                  <a:lnTo>
                    <a:pt x="1176404" y="38148"/>
                  </a:lnTo>
                  <a:lnTo>
                    <a:pt x="1136256" y="44177"/>
                  </a:lnTo>
                  <a:lnTo>
                    <a:pt x="1110158" y="68256"/>
                  </a:lnTo>
                  <a:lnTo>
                    <a:pt x="1043902" y="70256"/>
                  </a:lnTo>
                  <a:lnTo>
                    <a:pt x="975636" y="60217"/>
                  </a:lnTo>
                  <a:lnTo>
                    <a:pt x="931478" y="20069"/>
                  </a:lnTo>
                  <a:lnTo>
                    <a:pt x="911400" y="0"/>
                  </a:lnTo>
                  <a:lnTo>
                    <a:pt x="873252" y="2000"/>
                  </a:lnTo>
                  <a:lnTo>
                    <a:pt x="841134" y="12049"/>
                  </a:lnTo>
                  <a:lnTo>
                    <a:pt x="819055" y="14049"/>
                  </a:lnTo>
                  <a:lnTo>
                    <a:pt x="811016" y="34119"/>
                  </a:lnTo>
                  <a:lnTo>
                    <a:pt x="798966" y="68247"/>
                  </a:lnTo>
                  <a:lnTo>
                    <a:pt x="740626" y="83896"/>
                  </a:lnTo>
                  <a:lnTo>
                    <a:pt x="738740" y="80305"/>
                  </a:lnTo>
                  <a:lnTo>
                    <a:pt x="752799" y="98365"/>
                  </a:lnTo>
                  <a:lnTo>
                    <a:pt x="766858" y="114443"/>
                  </a:lnTo>
                  <a:lnTo>
                    <a:pt x="798976" y="126492"/>
                  </a:lnTo>
                  <a:lnTo>
                    <a:pt x="845163" y="194758"/>
                  </a:lnTo>
                  <a:lnTo>
                    <a:pt x="895359" y="275063"/>
                  </a:lnTo>
                  <a:lnTo>
                    <a:pt x="859222" y="351358"/>
                  </a:lnTo>
                  <a:lnTo>
                    <a:pt x="829113" y="385486"/>
                  </a:lnTo>
                  <a:lnTo>
                    <a:pt x="831113" y="429654"/>
                  </a:lnTo>
                  <a:lnTo>
                    <a:pt x="811044" y="471830"/>
                  </a:lnTo>
                  <a:lnTo>
                    <a:pt x="825103" y="491899"/>
                  </a:lnTo>
                  <a:lnTo>
                    <a:pt x="893369" y="491899"/>
                  </a:lnTo>
                  <a:lnTo>
                    <a:pt x="923477" y="465801"/>
                  </a:lnTo>
                  <a:lnTo>
                    <a:pt x="967645" y="509968"/>
                  </a:lnTo>
                  <a:lnTo>
                    <a:pt x="983723" y="550135"/>
                  </a:lnTo>
                  <a:lnTo>
                    <a:pt x="1007811" y="594312"/>
                  </a:lnTo>
                  <a:lnTo>
                    <a:pt x="981713" y="622402"/>
                  </a:lnTo>
                  <a:lnTo>
                    <a:pt x="979713" y="674589"/>
                  </a:lnTo>
                  <a:lnTo>
                    <a:pt x="959644" y="674589"/>
                  </a:lnTo>
                  <a:lnTo>
                    <a:pt x="951614" y="694658"/>
                  </a:lnTo>
                  <a:lnTo>
                    <a:pt x="969673" y="714737"/>
                  </a:lnTo>
                  <a:lnTo>
                    <a:pt x="951614" y="740835"/>
                  </a:lnTo>
                  <a:lnTo>
                    <a:pt x="949604" y="762914"/>
                  </a:lnTo>
                  <a:cubicBezTo>
                    <a:pt x="949604" y="762914"/>
                    <a:pt x="961654" y="786994"/>
                    <a:pt x="971683" y="786994"/>
                  </a:cubicBezTo>
                  <a:cubicBezTo>
                    <a:pt x="981732" y="786994"/>
                    <a:pt x="967673" y="821131"/>
                    <a:pt x="967673" y="821131"/>
                  </a:cubicBezTo>
                  <a:lnTo>
                    <a:pt x="941565" y="831171"/>
                  </a:lnTo>
                  <a:lnTo>
                    <a:pt x="927516" y="863289"/>
                  </a:lnTo>
                  <a:lnTo>
                    <a:pt x="905437" y="835190"/>
                  </a:lnTo>
                  <a:lnTo>
                    <a:pt x="877329" y="853250"/>
                  </a:lnTo>
                  <a:lnTo>
                    <a:pt x="801033" y="807072"/>
                  </a:lnTo>
                  <a:lnTo>
                    <a:pt x="799024" y="789013"/>
                  </a:lnTo>
                  <a:lnTo>
                    <a:pt x="750837" y="746855"/>
                  </a:lnTo>
                  <a:lnTo>
                    <a:pt x="718709" y="746855"/>
                  </a:lnTo>
                  <a:lnTo>
                    <a:pt x="692610" y="692648"/>
                  </a:lnTo>
                  <a:lnTo>
                    <a:pt x="706679" y="648462"/>
                  </a:lnTo>
                  <a:lnTo>
                    <a:pt x="732777" y="644462"/>
                  </a:lnTo>
                  <a:lnTo>
                    <a:pt x="718709" y="616353"/>
                  </a:lnTo>
                  <a:lnTo>
                    <a:pt x="668521" y="592274"/>
                  </a:lnTo>
                  <a:lnTo>
                    <a:pt x="670522" y="560146"/>
                  </a:lnTo>
                  <a:lnTo>
                    <a:pt x="636394" y="542087"/>
                  </a:lnTo>
                  <a:lnTo>
                    <a:pt x="616315" y="548116"/>
                  </a:lnTo>
                  <a:lnTo>
                    <a:pt x="574148" y="546106"/>
                  </a:lnTo>
                  <a:lnTo>
                    <a:pt x="542029" y="562185"/>
                  </a:lnTo>
                  <a:lnTo>
                    <a:pt x="507902" y="560175"/>
                  </a:lnTo>
                  <a:cubicBezTo>
                    <a:pt x="507902" y="560175"/>
                    <a:pt x="488823" y="605847"/>
                    <a:pt x="473773" y="618372"/>
                  </a:cubicBezTo>
                  <a:lnTo>
                    <a:pt x="471773" y="614353"/>
                  </a:lnTo>
                  <a:lnTo>
                    <a:pt x="483822" y="660559"/>
                  </a:lnTo>
                  <a:lnTo>
                    <a:pt x="515950" y="680618"/>
                  </a:lnTo>
                  <a:lnTo>
                    <a:pt x="552079" y="696687"/>
                  </a:lnTo>
                  <a:lnTo>
                    <a:pt x="556098" y="740854"/>
                  </a:lnTo>
                  <a:lnTo>
                    <a:pt x="556098" y="770991"/>
                  </a:lnTo>
                  <a:lnTo>
                    <a:pt x="576177" y="795080"/>
                  </a:lnTo>
                  <a:lnTo>
                    <a:pt x="592236" y="817150"/>
                  </a:lnTo>
                  <a:lnTo>
                    <a:pt x="564147" y="863336"/>
                  </a:lnTo>
                  <a:lnTo>
                    <a:pt x="546078" y="887416"/>
                  </a:lnTo>
                  <a:lnTo>
                    <a:pt x="538048" y="921534"/>
                  </a:lnTo>
                  <a:lnTo>
                    <a:pt x="528009" y="955672"/>
                  </a:lnTo>
                  <a:lnTo>
                    <a:pt x="505920" y="985790"/>
                  </a:lnTo>
                  <a:lnTo>
                    <a:pt x="479822" y="997829"/>
                  </a:lnTo>
                  <a:lnTo>
                    <a:pt x="439674" y="997829"/>
                  </a:lnTo>
                  <a:lnTo>
                    <a:pt x="385467" y="1050027"/>
                  </a:lnTo>
                  <a:lnTo>
                    <a:pt x="387467" y="1080144"/>
                  </a:lnTo>
                  <a:lnTo>
                    <a:pt x="295122" y="1116292"/>
                  </a:lnTo>
                  <a:lnTo>
                    <a:pt x="244926" y="1082154"/>
                  </a:lnTo>
                  <a:lnTo>
                    <a:pt x="222847" y="1090194"/>
                  </a:lnTo>
                  <a:lnTo>
                    <a:pt x="186709" y="1122302"/>
                  </a:lnTo>
                  <a:lnTo>
                    <a:pt x="128492" y="1148401"/>
                  </a:lnTo>
                  <a:lnTo>
                    <a:pt x="84325" y="1172480"/>
                  </a:lnTo>
                  <a:lnTo>
                    <a:pt x="28108" y="1168460"/>
                  </a:lnTo>
                  <a:lnTo>
                    <a:pt x="2010" y="1182538"/>
                  </a:lnTo>
                  <a:lnTo>
                    <a:pt x="14059" y="1230725"/>
                  </a:lnTo>
                  <a:lnTo>
                    <a:pt x="0" y="1256824"/>
                  </a:lnTo>
                  <a:lnTo>
                    <a:pt x="2000" y="1315031"/>
                  </a:lnTo>
                  <a:lnTo>
                    <a:pt x="6020" y="1361208"/>
                  </a:lnTo>
                  <a:lnTo>
                    <a:pt x="36138" y="1373267"/>
                  </a:lnTo>
                  <a:lnTo>
                    <a:pt x="52206" y="1391326"/>
                  </a:lnTo>
                  <a:lnTo>
                    <a:pt x="54216" y="1439513"/>
                  </a:lnTo>
                  <a:lnTo>
                    <a:pt x="54216" y="1483690"/>
                  </a:lnTo>
                  <a:lnTo>
                    <a:pt x="54635" y="1480737"/>
                  </a:lnTo>
                  <a:lnTo>
                    <a:pt x="82315" y="1474651"/>
                  </a:lnTo>
                  <a:lnTo>
                    <a:pt x="132512" y="1463602"/>
                  </a:lnTo>
                  <a:lnTo>
                    <a:pt x="156562" y="1481614"/>
                  </a:lnTo>
                  <a:lnTo>
                    <a:pt x="158610" y="1483690"/>
                  </a:lnTo>
                  <a:lnTo>
                    <a:pt x="214817" y="1469612"/>
                  </a:lnTo>
                  <a:lnTo>
                    <a:pt x="261004" y="1437503"/>
                  </a:lnTo>
                  <a:lnTo>
                    <a:pt x="275063" y="1413424"/>
                  </a:lnTo>
                  <a:lnTo>
                    <a:pt x="287112" y="1379287"/>
                  </a:lnTo>
                  <a:lnTo>
                    <a:pt x="333299" y="1367238"/>
                  </a:lnTo>
                  <a:lnTo>
                    <a:pt x="369436" y="1375258"/>
                  </a:lnTo>
                  <a:lnTo>
                    <a:pt x="405565" y="1343158"/>
                  </a:lnTo>
                  <a:lnTo>
                    <a:pt x="435683" y="1361218"/>
                  </a:lnTo>
                  <a:lnTo>
                    <a:pt x="461781" y="1367247"/>
                  </a:lnTo>
                  <a:lnTo>
                    <a:pt x="499929" y="1367247"/>
                  </a:lnTo>
                  <a:lnTo>
                    <a:pt x="548116" y="1401366"/>
                  </a:lnTo>
                  <a:lnTo>
                    <a:pt x="564071" y="141938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BC76212-07A3-4482-A9B8-FB87E8209641}"/>
                </a:ext>
              </a:extLst>
            </p:cNvPr>
            <p:cNvSpPr/>
            <p:nvPr/>
          </p:nvSpPr>
          <p:spPr bwMode="gray">
            <a:xfrm>
              <a:off x="6352870" y="3196551"/>
              <a:ext cx="2653979" cy="1812893"/>
            </a:xfrm>
            <a:custGeom>
              <a:avLst/>
              <a:gdLst>
                <a:gd name="connsiteX0" fmla="*/ 1122750 w 2653979"/>
                <a:gd name="connsiteY0" fmla="*/ 142218 h 1812893"/>
                <a:gd name="connsiteX1" fmla="*/ 1132218 w 2653979"/>
                <a:gd name="connsiteY1" fmla="*/ 158620 h 1812893"/>
                <a:gd name="connsiteX2" fmla="*/ 1154297 w 2653979"/>
                <a:gd name="connsiteY2" fmla="*/ 176679 h 1812893"/>
                <a:gd name="connsiteX3" fmla="*/ 1178385 w 2653979"/>
                <a:gd name="connsiteY3" fmla="*/ 156610 h 1812893"/>
                <a:gd name="connsiteX4" fmla="*/ 1234583 w 2653979"/>
                <a:gd name="connsiteY4" fmla="*/ 158620 h 1812893"/>
                <a:gd name="connsiteX5" fmla="*/ 1256662 w 2653979"/>
                <a:gd name="connsiteY5" fmla="*/ 162630 h 1812893"/>
                <a:gd name="connsiteX6" fmla="*/ 1272740 w 2653979"/>
                <a:gd name="connsiteY6" fmla="*/ 170669 h 1812893"/>
                <a:gd name="connsiteX7" fmla="*/ 1304849 w 2653979"/>
                <a:gd name="connsiteY7" fmla="*/ 198777 h 1812893"/>
                <a:gd name="connsiteX8" fmla="*/ 1330928 w 2653979"/>
                <a:gd name="connsiteY8" fmla="*/ 202787 h 1812893"/>
                <a:gd name="connsiteX9" fmla="*/ 1357046 w 2653979"/>
                <a:gd name="connsiteY9" fmla="*/ 192757 h 1812893"/>
                <a:gd name="connsiteX10" fmla="*/ 1377115 w 2653979"/>
                <a:gd name="connsiteY10" fmla="*/ 146571 h 1812893"/>
                <a:gd name="connsiteX11" fmla="*/ 1401204 w 2653979"/>
                <a:gd name="connsiteY11" fmla="*/ 140541 h 1812893"/>
                <a:gd name="connsiteX12" fmla="*/ 1437332 w 2653979"/>
                <a:gd name="connsiteY12" fmla="*/ 136531 h 1812893"/>
                <a:gd name="connsiteX13" fmla="*/ 1461421 w 2653979"/>
                <a:gd name="connsiteY13" fmla="*/ 150590 h 1812893"/>
                <a:gd name="connsiteX14" fmla="*/ 1481509 w 2653979"/>
                <a:gd name="connsiteY14" fmla="*/ 144561 h 1812893"/>
                <a:gd name="connsiteX15" fmla="*/ 1515628 w 2653979"/>
                <a:gd name="connsiteY15" fmla="*/ 126502 h 1812893"/>
                <a:gd name="connsiteX16" fmla="*/ 1553785 w 2653979"/>
                <a:gd name="connsiteY16" fmla="*/ 110423 h 1812893"/>
                <a:gd name="connsiteX17" fmla="*/ 1595942 w 2653979"/>
                <a:gd name="connsiteY17" fmla="*/ 100384 h 1812893"/>
                <a:gd name="connsiteX18" fmla="*/ 1612021 w 2653979"/>
                <a:gd name="connsiteY18" fmla="*/ 54207 h 1812893"/>
                <a:gd name="connsiteX19" fmla="*/ 1624079 w 2653979"/>
                <a:gd name="connsiteY19" fmla="*/ 46168 h 1812893"/>
                <a:gd name="connsiteX20" fmla="*/ 1644148 w 2653979"/>
                <a:gd name="connsiteY20" fmla="*/ 24089 h 1812893"/>
                <a:gd name="connsiteX21" fmla="*/ 1670247 w 2653979"/>
                <a:gd name="connsiteY21" fmla="*/ 30109 h 1812893"/>
                <a:gd name="connsiteX22" fmla="*/ 1702356 w 2653979"/>
                <a:gd name="connsiteY22" fmla="*/ 22079 h 1812893"/>
                <a:gd name="connsiteX23" fmla="*/ 1720415 w 2653979"/>
                <a:gd name="connsiteY23" fmla="*/ 4010 h 1812893"/>
                <a:gd name="connsiteX24" fmla="*/ 1740484 w 2653979"/>
                <a:gd name="connsiteY24" fmla="*/ 0 h 1812893"/>
                <a:gd name="connsiteX25" fmla="*/ 1772612 w 2653979"/>
                <a:gd name="connsiteY25" fmla="*/ 0 h 1812893"/>
                <a:gd name="connsiteX26" fmla="*/ 1812760 w 2653979"/>
                <a:gd name="connsiteY26" fmla="*/ 38148 h 1812893"/>
                <a:gd name="connsiteX27" fmla="*/ 1836849 w 2653979"/>
                <a:gd name="connsiteY27" fmla="*/ 68256 h 1812893"/>
                <a:gd name="connsiteX28" fmla="*/ 1881016 w 2653979"/>
                <a:gd name="connsiteY28" fmla="*/ 72266 h 1812893"/>
                <a:gd name="connsiteX29" fmla="*/ 1921183 w 2653979"/>
                <a:gd name="connsiteY29" fmla="*/ 84334 h 1812893"/>
                <a:gd name="connsiteX30" fmla="*/ 1949273 w 2653979"/>
                <a:gd name="connsiteY30" fmla="*/ 118463 h 1812893"/>
                <a:gd name="connsiteX31" fmla="*/ 1991449 w 2653979"/>
                <a:gd name="connsiteY31" fmla="*/ 112443 h 1812893"/>
                <a:gd name="connsiteX32" fmla="*/ 2035617 w 2653979"/>
                <a:gd name="connsiteY32" fmla="*/ 112443 h 1812893"/>
                <a:gd name="connsiteX33" fmla="*/ 2053676 w 2653979"/>
                <a:gd name="connsiteY33" fmla="*/ 152591 h 1812893"/>
                <a:gd name="connsiteX34" fmla="*/ 2077765 w 2653979"/>
                <a:gd name="connsiteY34" fmla="*/ 156601 h 1812893"/>
                <a:gd name="connsiteX35" fmla="*/ 2109893 w 2653979"/>
                <a:gd name="connsiteY35" fmla="*/ 160620 h 1812893"/>
                <a:gd name="connsiteX36" fmla="*/ 2146021 w 2653979"/>
                <a:gd name="connsiteY36" fmla="*/ 160620 h 1812893"/>
                <a:gd name="connsiteX37" fmla="*/ 2164081 w 2653979"/>
                <a:gd name="connsiteY37" fmla="*/ 210817 h 1812893"/>
                <a:gd name="connsiteX38" fmla="*/ 2192170 w 2653979"/>
                <a:gd name="connsiteY38" fmla="*/ 279092 h 1812893"/>
                <a:gd name="connsiteX39" fmla="*/ 2216258 w 2653979"/>
                <a:gd name="connsiteY39" fmla="*/ 234915 h 1812893"/>
                <a:gd name="connsiteX40" fmla="*/ 2258435 w 2653979"/>
                <a:gd name="connsiteY40" fmla="*/ 236915 h 1812893"/>
                <a:gd name="connsiteX41" fmla="*/ 2272504 w 2653979"/>
                <a:gd name="connsiteY41" fmla="*/ 289122 h 1812893"/>
                <a:gd name="connsiteX42" fmla="*/ 2268465 w 2653979"/>
                <a:gd name="connsiteY42" fmla="*/ 329270 h 1812893"/>
                <a:gd name="connsiteX43" fmla="*/ 2310641 w 2653979"/>
                <a:gd name="connsiteY43" fmla="*/ 325250 h 1812893"/>
                <a:gd name="connsiteX44" fmla="*/ 2336740 w 2653979"/>
                <a:gd name="connsiteY44" fmla="*/ 347320 h 1812893"/>
                <a:gd name="connsiteX45" fmla="*/ 2354799 w 2653979"/>
                <a:gd name="connsiteY45" fmla="*/ 375409 h 1812893"/>
                <a:gd name="connsiteX46" fmla="*/ 2368849 w 2653979"/>
                <a:gd name="connsiteY46" fmla="*/ 405527 h 1812893"/>
                <a:gd name="connsiteX47" fmla="*/ 2408996 w 2653979"/>
                <a:gd name="connsiteY47" fmla="*/ 405527 h 1812893"/>
                <a:gd name="connsiteX48" fmla="*/ 2455193 w 2653979"/>
                <a:gd name="connsiteY48" fmla="*/ 405527 h 1812893"/>
                <a:gd name="connsiteX49" fmla="*/ 2465242 w 2653979"/>
                <a:gd name="connsiteY49" fmla="*/ 419605 h 1812893"/>
                <a:gd name="connsiteX50" fmla="*/ 2479291 w 2653979"/>
                <a:gd name="connsiteY50" fmla="*/ 427625 h 1812893"/>
                <a:gd name="connsiteX51" fmla="*/ 2517448 w 2653979"/>
                <a:gd name="connsiteY51" fmla="*/ 425634 h 1812893"/>
                <a:gd name="connsiteX52" fmla="*/ 2541537 w 2653979"/>
                <a:gd name="connsiteY52" fmla="*/ 401527 h 1812893"/>
                <a:gd name="connsiteX53" fmla="*/ 2545537 w 2653979"/>
                <a:gd name="connsiteY53" fmla="*/ 463772 h 1812893"/>
                <a:gd name="connsiteX54" fmla="*/ 2567636 w 2653979"/>
                <a:gd name="connsiteY54" fmla="*/ 485842 h 1812893"/>
                <a:gd name="connsiteX55" fmla="*/ 2601754 w 2653979"/>
                <a:gd name="connsiteY55" fmla="*/ 517951 h 1812893"/>
                <a:gd name="connsiteX56" fmla="*/ 2573665 w 2653979"/>
                <a:gd name="connsiteY56" fmla="*/ 564156 h 1812893"/>
                <a:gd name="connsiteX57" fmla="*/ 2543547 w 2653979"/>
                <a:gd name="connsiteY57" fmla="*/ 606314 h 1812893"/>
                <a:gd name="connsiteX58" fmla="*/ 2521468 w 2653979"/>
                <a:gd name="connsiteY58" fmla="*/ 562147 h 1812893"/>
                <a:gd name="connsiteX59" fmla="*/ 2501398 w 2653979"/>
                <a:gd name="connsiteY59" fmla="*/ 562147 h 1812893"/>
                <a:gd name="connsiteX60" fmla="*/ 2501398 w 2653979"/>
                <a:gd name="connsiteY60" fmla="*/ 578225 h 1812893"/>
                <a:gd name="connsiteX61" fmla="*/ 2499389 w 2653979"/>
                <a:gd name="connsiteY61" fmla="*/ 604323 h 1812893"/>
                <a:gd name="connsiteX62" fmla="*/ 2483330 w 2653979"/>
                <a:gd name="connsiteY62" fmla="*/ 614353 h 1812893"/>
                <a:gd name="connsiteX63" fmla="*/ 2497379 w 2653979"/>
                <a:gd name="connsiteY63" fmla="*/ 658520 h 1812893"/>
                <a:gd name="connsiteX64" fmla="*/ 2515439 w 2653979"/>
                <a:gd name="connsiteY64" fmla="*/ 702697 h 1812893"/>
                <a:gd name="connsiteX65" fmla="*/ 2527497 w 2653979"/>
                <a:gd name="connsiteY65" fmla="*/ 736835 h 1812893"/>
                <a:gd name="connsiteX66" fmla="*/ 2547566 w 2653979"/>
                <a:gd name="connsiteY66" fmla="*/ 781003 h 1812893"/>
                <a:gd name="connsiteX67" fmla="*/ 2555605 w 2653979"/>
                <a:gd name="connsiteY67" fmla="*/ 827199 h 1812893"/>
                <a:gd name="connsiteX68" fmla="*/ 2557615 w 2653979"/>
                <a:gd name="connsiteY68" fmla="*/ 865346 h 1812893"/>
                <a:gd name="connsiteX69" fmla="*/ 2573693 w 2653979"/>
                <a:gd name="connsiteY69" fmla="*/ 893445 h 1812893"/>
                <a:gd name="connsiteX70" fmla="*/ 2591753 w 2653979"/>
                <a:gd name="connsiteY70" fmla="*/ 917534 h 1812893"/>
                <a:gd name="connsiteX71" fmla="*/ 2593762 w 2653979"/>
                <a:gd name="connsiteY71" fmla="*/ 939613 h 1812893"/>
                <a:gd name="connsiteX72" fmla="*/ 2593762 w 2653979"/>
                <a:gd name="connsiteY72" fmla="*/ 973750 h 1812893"/>
                <a:gd name="connsiteX73" fmla="*/ 2581685 w 2653979"/>
                <a:gd name="connsiteY73" fmla="*/ 1019927 h 1812893"/>
                <a:gd name="connsiteX74" fmla="*/ 2587733 w 2653979"/>
                <a:gd name="connsiteY74" fmla="*/ 1056056 h 1812893"/>
                <a:gd name="connsiteX75" fmla="*/ 2619842 w 2653979"/>
                <a:gd name="connsiteY75" fmla="*/ 1090194 h 1812893"/>
                <a:gd name="connsiteX76" fmla="*/ 2653980 w 2653979"/>
                <a:gd name="connsiteY76" fmla="*/ 1112272 h 1812893"/>
                <a:gd name="connsiteX77" fmla="*/ 2651951 w 2653979"/>
                <a:gd name="connsiteY77" fmla="*/ 1152420 h 1812893"/>
                <a:gd name="connsiteX78" fmla="*/ 2631882 w 2653979"/>
                <a:gd name="connsiteY78" fmla="*/ 1182538 h 1812893"/>
                <a:gd name="connsiteX79" fmla="*/ 2609803 w 2653979"/>
                <a:gd name="connsiteY79" fmla="*/ 1222686 h 1812893"/>
                <a:gd name="connsiteX80" fmla="*/ 2587742 w 2653979"/>
                <a:gd name="connsiteY80" fmla="*/ 1258834 h 1812893"/>
                <a:gd name="connsiteX81" fmla="*/ 2571664 w 2653979"/>
                <a:gd name="connsiteY81" fmla="*/ 1290942 h 1812893"/>
                <a:gd name="connsiteX82" fmla="*/ 2557596 w 2653979"/>
                <a:gd name="connsiteY82" fmla="*/ 1292952 h 1812893"/>
                <a:gd name="connsiteX83" fmla="*/ 2527497 w 2653979"/>
                <a:gd name="connsiteY83" fmla="*/ 1317041 h 1812893"/>
                <a:gd name="connsiteX84" fmla="*/ 2531517 w 2653979"/>
                <a:gd name="connsiteY84" fmla="*/ 1369228 h 1812893"/>
                <a:gd name="connsiteX85" fmla="*/ 2545566 w 2653979"/>
                <a:gd name="connsiteY85" fmla="*/ 1389298 h 1812893"/>
                <a:gd name="connsiteX86" fmla="*/ 2567645 w 2653979"/>
                <a:gd name="connsiteY86" fmla="*/ 1409376 h 1812893"/>
                <a:gd name="connsiteX87" fmla="*/ 2567645 w 2653979"/>
                <a:gd name="connsiteY87" fmla="*/ 1433465 h 1812893"/>
                <a:gd name="connsiteX88" fmla="*/ 2557596 w 2653979"/>
                <a:gd name="connsiteY88" fmla="*/ 1443495 h 1812893"/>
                <a:gd name="connsiteX89" fmla="*/ 2525488 w 2653979"/>
                <a:gd name="connsiteY89" fmla="*/ 1451544 h 1812893"/>
                <a:gd name="connsiteX90" fmla="*/ 2541566 w 2653979"/>
                <a:gd name="connsiteY90" fmla="*/ 1477632 h 1812893"/>
                <a:gd name="connsiteX91" fmla="*/ 2541566 w 2653979"/>
                <a:gd name="connsiteY91" fmla="*/ 1535840 h 1812893"/>
                <a:gd name="connsiteX92" fmla="*/ 2547576 w 2653979"/>
                <a:gd name="connsiteY92" fmla="*/ 1588037 h 1812893"/>
                <a:gd name="connsiteX93" fmla="*/ 2565635 w 2653979"/>
                <a:gd name="connsiteY93" fmla="*/ 1616136 h 1812893"/>
                <a:gd name="connsiteX94" fmla="*/ 2589724 w 2653979"/>
                <a:gd name="connsiteY94" fmla="*/ 1620155 h 1812893"/>
                <a:gd name="connsiteX95" fmla="*/ 2593762 w 2653979"/>
                <a:gd name="connsiteY95" fmla="*/ 1644244 h 1812893"/>
                <a:gd name="connsiteX96" fmla="*/ 2611813 w 2653979"/>
                <a:gd name="connsiteY96" fmla="*/ 1660322 h 1812893"/>
                <a:gd name="connsiteX97" fmla="*/ 2611813 w 2653979"/>
                <a:gd name="connsiteY97" fmla="*/ 1712509 h 1812893"/>
                <a:gd name="connsiteX98" fmla="*/ 2593762 w 2653979"/>
                <a:gd name="connsiteY98" fmla="*/ 1712509 h 1812893"/>
                <a:gd name="connsiteX99" fmla="*/ 2551567 w 2653979"/>
                <a:gd name="connsiteY99" fmla="*/ 1658312 h 1812893"/>
                <a:gd name="connsiteX100" fmla="*/ 2531517 w 2653979"/>
                <a:gd name="connsiteY100" fmla="*/ 1666351 h 1812893"/>
                <a:gd name="connsiteX101" fmla="*/ 2421084 w 2653979"/>
                <a:gd name="connsiteY101" fmla="*/ 1622165 h 1812893"/>
                <a:gd name="connsiteX102" fmla="*/ 2360867 w 2653979"/>
                <a:gd name="connsiteY102" fmla="*/ 1638243 h 1812893"/>
                <a:gd name="connsiteX103" fmla="*/ 2318690 w 2653979"/>
                <a:gd name="connsiteY103" fmla="*/ 1668361 h 1812893"/>
                <a:gd name="connsiteX104" fmla="*/ 2284552 w 2653979"/>
                <a:gd name="connsiteY104" fmla="*/ 1676381 h 1812893"/>
                <a:gd name="connsiteX105" fmla="*/ 2264502 w 2653979"/>
                <a:gd name="connsiteY105" fmla="*/ 1676381 h 1812893"/>
                <a:gd name="connsiteX106" fmla="*/ 2240414 w 2653979"/>
                <a:gd name="connsiteY106" fmla="*/ 1662332 h 1812893"/>
                <a:gd name="connsiteX107" fmla="*/ 2212305 w 2653979"/>
                <a:gd name="connsiteY107" fmla="*/ 1662332 h 1812893"/>
                <a:gd name="connsiteX108" fmla="*/ 2200247 w 2653979"/>
                <a:gd name="connsiteY108" fmla="*/ 1698460 h 1812893"/>
                <a:gd name="connsiteX109" fmla="*/ 2194236 w 2653979"/>
                <a:gd name="connsiteY109" fmla="*/ 1712529 h 1812893"/>
                <a:gd name="connsiteX110" fmla="*/ 2162109 w 2653979"/>
                <a:gd name="connsiteY110" fmla="*/ 1700470 h 1812893"/>
                <a:gd name="connsiteX111" fmla="*/ 2105892 w 2653979"/>
                <a:gd name="connsiteY111" fmla="*/ 1724559 h 1812893"/>
                <a:gd name="connsiteX112" fmla="*/ 2105892 w 2653979"/>
                <a:gd name="connsiteY112" fmla="*/ 1750647 h 1812893"/>
                <a:gd name="connsiteX113" fmla="*/ 2105892 w 2653979"/>
                <a:gd name="connsiteY113" fmla="*/ 1780766 h 1812893"/>
                <a:gd name="connsiteX114" fmla="*/ 2073783 w 2653979"/>
                <a:gd name="connsiteY114" fmla="*/ 1806864 h 1812893"/>
                <a:gd name="connsiteX115" fmla="*/ 2027606 w 2653979"/>
                <a:gd name="connsiteY115" fmla="*/ 1812893 h 1812893"/>
                <a:gd name="connsiteX116" fmla="*/ 2001507 w 2653979"/>
                <a:gd name="connsiteY116" fmla="*/ 1788805 h 1812893"/>
                <a:gd name="connsiteX117" fmla="*/ 1981438 w 2653979"/>
                <a:gd name="connsiteY117" fmla="*/ 1768726 h 1812893"/>
                <a:gd name="connsiteX118" fmla="*/ 1943281 w 2653979"/>
                <a:gd name="connsiteY118" fmla="*/ 1768726 h 1812893"/>
                <a:gd name="connsiteX119" fmla="*/ 1842916 w 2653979"/>
                <a:gd name="connsiteY119" fmla="*/ 1782794 h 1812893"/>
                <a:gd name="connsiteX120" fmla="*/ 1758572 w 2653979"/>
                <a:gd name="connsiteY120" fmla="*/ 1790814 h 1812893"/>
                <a:gd name="connsiteX121" fmla="*/ 1716415 w 2653979"/>
                <a:gd name="connsiteY121" fmla="*/ 1774755 h 1812893"/>
                <a:gd name="connsiteX122" fmla="*/ 1638110 w 2653979"/>
                <a:gd name="connsiteY122" fmla="*/ 1788805 h 1812893"/>
                <a:gd name="connsiteX123" fmla="*/ 1645444 w 2653979"/>
                <a:gd name="connsiteY123" fmla="*/ 1782537 h 1812893"/>
                <a:gd name="connsiteX124" fmla="*/ 1618041 w 2653979"/>
                <a:gd name="connsiteY124" fmla="*/ 1766735 h 1812893"/>
                <a:gd name="connsiteX125" fmla="*/ 1583903 w 2653979"/>
                <a:gd name="connsiteY125" fmla="*/ 1738627 h 1812893"/>
                <a:gd name="connsiteX126" fmla="*/ 1557823 w 2653979"/>
                <a:gd name="connsiteY126" fmla="*/ 1728597 h 1812893"/>
                <a:gd name="connsiteX127" fmla="*/ 1553785 w 2653979"/>
                <a:gd name="connsiteY127" fmla="*/ 1712529 h 1812893"/>
                <a:gd name="connsiteX128" fmla="*/ 1547774 w 2653979"/>
                <a:gd name="connsiteY128" fmla="*/ 1666332 h 1812893"/>
                <a:gd name="connsiteX129" fmla="*/ 1547774 w 2653979"/>
                <a:gd name="connsiteY129" fmla="*/ 1618136 h 1812893"/>
                <a:gd name="connsiteX130" fmla="*/ 1535716 w 2653979"/>
                <a:gd name="connsiteY130" fmla="*/ 1582007 h 1812893"/>
                <a:gd name="connsiteX131" fmla="*/ 1521667 w 2653979"/>
                <a:gd name="connsiteY131" fmla="*/ 1565948 h 1812893"/>
                <a:gd name="connsiteX132" fmla="*/ 1509627 w 2653979"/>
                <a:gd name="connsiteY132" fmla="*/ 1543869 h 1812893"/>
                <a:gd name="connsiteX133" fmla="*/ 1503598 w 2653979"/>
                <a:gd name="connsiteY133" fmla="*/ 1511741 h 1812893"/>
                <a:gd name="connsiteX134" fmla="*/ 1511637 w 2653979"/>
                <a:gd name="connsiteY134" fmla="*/ 1485671 h 1812893"/>
                <a:gd name="connsiteX135" fmla="*/ 1529696 w 2653979"/>
                <a:gd name="connsiteY135" fmla="*/ 1453544 h 1812893"/>
                <a:gd name="connsiteX136" fmla="*/ 1527686 w 2653979"/>
                <a:gd name="connsiteY136" fmla="*/ 1417415 h 1812893"/>
                <a:gd name="connsiteX137" fmla="*/ 1511627 w 2653979"/>
                <a:gd name="connsiteY137" fmla="*/ 1393327 h 1812893"/>
                <a:gd name="connsiteX138" fmla="*/ 1481509 w 2653979"/>
                <a:gd name="connsiteY138" fmla="*/ 1355170 h 1812893"/>
                <a:gd name="connsiteX139" fmla="*/ 1459430 w 2653979"/>
                <a:gd name="connsiteY139" fmla="*/ 1325052 h 1812893"/>
                <a:gd name="connsiteX140" fmla="*/ 1437351 w 2653979"/>
                <a:gd name="connsiteY140" fmla="*/ 1288923 h 1812893"/>
                <a:gd name="connsiteX141" fmla="*/ 1417282 w 2653979"/>
                <a:gd name="connsiteY141" fmla="*/ 1264834 h 1812893"/>
                <a:gd name="connsiteX142" fmla="*/ 1385154 w 2653979"/>
                <a:gd name="connsiteY142" fmla="*/ 1248756 h 1812893"/>
                <a:gd name="connsiteX143" fmla="*/ 1361066 w 2653979"/>
                <a:gd name="connsiteY143" fmla="*/ 1224687 h 1812893"/>
                <a:gd name="connsiteX144" fmla="*/ 1336977 w 2653979"/>
                <a:gd name="connsiteY144" fmla="*/ 1232707 h 1812893"/>
                <a:gd name="connsiteX145" fmla="*/ 1300848 w 2653979"/>
                <a:gd name="connsiteY145" fmla="*/ 1246785 h 1812893"/>
                <a:gd name="connsiteX146" fmla="*/ 1280761 w 2653979"/>
                <a:gd name="connsiteY146" fmla="*/ 1252795 h 1812893"/>
                <a:gd name="connsiteX147" fmla="*/ 1254681 w 2653979"/>
                <a:gd name="connsiteY147" fmla="*/ 1252795 h 1812893"/>
                <a:gd name="connsiteX148" fmla="*/ 1232602 w 2653979"/>
                <a:gd name="connsiteY148" fmla="*/ 1254805 h 1812893"/>
                <a:gd name="connsiteX149" fmla="*/ 1204513 w 2653979"/>
                <a:gd name="connsiteY149" fmla="*/ 1258824 h 1812893"/>
                <a:gd name="connsiteX150" fmla="*/ 1174394 w 2653979"/>
                <a:gd name="connsiteY150" fmla="*/ 1260815 h 1812893"/>
                <a:gd name="connsiteX151" fmla="*/ 1152315 w 2653979"/>
                <a:gd name="connsiteY151" fmla="*/ 1260815 h 1812893"/>
                <a:gd name="connsiteX152" fmla="*/ 1128227 w 2653979"/>
                <a:gd name="connsiteY152" fmla="*/ 1268854 h 1812893"/>
                <a:gd name="connsiteX153" fmla="*/ 1110167 w 2653979"/>
                <a:gd name="connsiteY153" fmla="*/ 1268854 h 1812893"/>
                <a:gd name="connsiteX154" fmla="*/ 1086079 w 2653979"/>
                <a:gd name="connsiteY154" fmla="*/ 1262844 h 1812893"/>
                <a:gd name="connsiteX155" fmla="*/ 1068019 w 2653979"/>
                <a:gd name="connsiteY155" fmla="*/ 1262844 h 1812893"/>
                <a:gd name="connsiteX156" fmla="*/ 1049960 w 2653979"/>
                <a:gd name="connsiteY156" fmla="*/ 1272873 h 1812893"/>
                <a:gd name="connsiteX157" fmla="*/ 999763 w 2653979"/>
                <a:gd name="connsiteY157" fmla="*/ 1274883 h 1812893"/>
                <a:gd name="connsiteX158" fmla="*/ 981685 w 2653979"/>
                <a:gd name="connsiteY158" fmla="*/ 1280922 h 1812893"/>
                <a:gd name="connsiteX159" fmla="*/ 965626 w 2653979"/>
                <a:gd name="connsiteY159" fmla="*/ 1280922 h 1812893"/>
                <a:gd name="connsiteX160" fmla="*/ 945557 w 2653979"/>
                <a:gd name="connsiteY160" fmla="*/ 1294971 h 1812893"/>
                <a:gd name="connsiteX161" fmla="*/ 925487 w 2653979"/>
                <a:gd name="connsiteY161" fmla="*/ 1313031 h 1812893"/>
                <a:gd name="connsiteX162" fmla="*/ 899389 w 2653979"/>
                <a:gd name="connsiteY162" fmla="*/ 1327090 h 1812893"/>
                <a:gd name="connsiteX163" fmla="*/ 873290 w 2653979"/>
                <a:gd name="connsiteY163" fmla="*/ 1327090 h 1812893"/>
                <a:gd name="connsiteX164" fmla="*/ 859222 w 2653979"/>
                <a:gd name="connsiteY164" fmla="*/ 1319051 h 1812893"/>
                <a:gd name="connsiteX165" fmla="*/ 843163 w 2653979"/>
                <a:gd name="connsiteY165" fmla="*/ 1280903 h 1812893"/>
                <a:gd name="connsiteX166" fmla="*/ 831104 w 2653979"/>
                <a:gd name="connsiteY166" fmla="*/ 1284932 h 1812893"/>
                <a:gd name="connsiteX167" fmla="*/ 790956 w 2653979"/>
                <a:gd name="connsiteY167" fmla="*/ 1288952 h 1812893"/>
                <a:gd name="connsiteX168" fmla="*/ 762848 w 2653979"/>
                <a:gd name="connsiteY168" fmla="*/ 1290942 h 1812893"/>
                <a:gd name="connsiteX169" fmla="*/ 736750 w 2653979"/>
                <a:gd name="connsiteY169" fmla="*/ 1284932 h 1812893"/>
                <a:gd name="connsiteX170" fmla="*/ 722700 w 2653979"/>
                <a:gd name="connsiteY170" fmla="*/ 1260843 h 1812893"/>
                <a:gd name="connsiteX171" fmla="*/ 710641 w 2653979"/>
                <a:gd name="connsiteY171" fmla="*/ 1240774 h 1812893"/>
                <a:gd name="connsiteX172" fmla="*/ 692582 w 2653979"/>
                <a:gd name="connsiteY172" fmla="*/ 1244775 h 1812893"/>
                <a:gd name="connsiteX173" fmla="*/ 674523 w 2653979"/>
                <a:gd name="connsiteY173" fmla="*/ 1250814 h 1812893"/>
                <a:gd name="connsiteX174" fmla="*/ 660454 w 2653979"/>
                <a:gd name="connsiteY174" fmla="*/ 1250814 h 1812893"/>
                <a:gd name="connsiteX175" fmla="*/ 634375 w 2653979"/>
                <a:gd name="connsiteY175" fmla="*/ 1254833 h 1812893"/>
                <a:gd name="connsiteX176" fmla="*/ 610286 w 2653979"/>
                <a:gd name="connsiteY176" fmla="*/ 1266892 h 1812893"/>
                <a:gd name="connsiteX177" fmla="*/ 578177 w 2653979"/>
                <a:gd name="connsiteY177" fmla="*/ 1282961 h 1812893"/>
                <a:gd name="connsiteX178" fmla="*/ 546049 w 2653979"/>
                <a:gd name="connsiteY178" fmla="*/ 1303039 h 1812893"/>
                <a:gd name="connsiteX179" fmla="*/ 515931 w 2653979"/>
                <a:gd name="connsiteY179" fmla="*/ 1315079 h 1812893"/>
                <a:gd name="connsiteX180" fmla="*/ 491843 w 2653979"/>
                <a:gd name="connsiteY180" fmla="*/ 1337158 h 1812893"/>
                <a:gd name="connsiteX181" fmla="*/ 477793 w 2653979"/>
                <a:gd name="connsiteY181" fmla="*/ 1365266 h 1812893"/>
                <a:gd name="connsiteX182" fmla="*/ 463744 w 2653979"/>
                <a:gd name="connsiteY182" fmla="*/ 1391346 h 1812893"/>
                <a:gd name="connsiteX183" fmla="*/ 435636 w 2653979"/>
                <a:gd name="connsiteY183" fmla="*/ 1405414 h 1812893"/>
                <a:gd name="connsiteX184" fmla="*/ 403527 w 2653979"/>
                <a:gd name="connsiteY184" fmla="*/ 1433522 h 1812893"/>
                <a:gd name="connsiteX185" fmla="*/ 391468 w 2653979"/>
                <a:gd name="connsiteY185" fmla="*/ 1461611 h 1812893"/>
                <a:gd name="connsiteX186" fmla="*/ 347282 w 2653979"/>
                <a:gd name="connsiteY186" fmla="*/ 1481690 h 1812893"/>
                <a:gd name="connsiteX187" fmla="*/ 325203 w 2653979"/>
                <a:gd name="connsiteY187" fmla="*/ 1471641 h 1812893"/>
                <a:gd name="connsiteX188" fmla="*/ 297114 w 2653979"/>
                <a:gd name="connsiteY188" fmla="*/ 1451572 h 1812893"/>
                <a:gd name="connsiteX189" fmla="*/ 271015 w 2653979"/>
                <a:gd name="connsiteY189" fmla="*/ 1409395 h 1812893"/>
                <a:gd name="connsiteX190" fmla="*/ 264986 w 2653979"/>
                <a:gd name="connsiteY190" fmla="*/ 1411405 h 1812893"/>
                <a:gd name="connsiteX191" fmla="*/ 289074 w 2653979"/>
                <a:gd name="connsiteY191" fmla="*/ 1401375 h 1812893"/>
                <a:gd name="connsiteX192" fmla="*/ 311153 w 2653979"/>
                <a:gd name="connsiteY192" fmla="*/ 1377286 h 1812893"/>
                <a:gd name="connsiteX193" fmla="*/ 309144 w 2653979"/>
                <a:gd name="connsiteY193" fmla="*/ 1345159 h 1812893"/>
                <a:gd name="connsiteX194" fmla="*/ 325222 w 2653979"/>
                <a:gd name="connsiteY194" fmla="*/ 1315041 h 1812893"/>
                <a:gd name="connsiteX195" fmla="*/ 341300 w 2653979"/>
                <a:gd name="connsiteY195" fmla="*/ 1282913 h 1812893"/>
                <a:gd name="connsiteX196" fmla="*/ 361369 w 2653979"/>
                <a:gd name="connsiteY196" fmla="*/ 1254833 h 1812893"/>
                <a:gd name="connsiteX197" fmla="*/ 353330 w 2653979"/>
                <a:gd name="connsiteY197" fmla="*/ 1204627 h 1812893"/>
                <a:gd name="connsiteX198" fmla="*/ 363379 w 2653979"/>
                <a:gd name="connsiteY198" fmla="*/ 1176519 h 1812893"/>
                <a:gd name="connsiteX199" fmla="*/ 407546 w 2653979"/>
                <a:gd name="connsiteY199" fmla="*/ 1146429 h 1812893"/>
                <a:gd name="connsiteX200" fmla="*/ 419605 w 2653979"/>
                <a:gd name="connsiteY200" fmla="*/ 1128351 h 1812893"/>
                <a:gd name="connsiteX201" fmla="*/ 417595 w 2653979"/>
                <a:gd name="connsiteY201" fmla="*/ 1102252 h 1812893"/>
                <a:gd name="connsiteX202" fmla="*/ 379438 w 2653979"/>
                <a:gd name="connsiteY202" fmla="*/ 1092222 h 1812893"/>
                <a:gd name="connsiteX203" fmla="*/ 363379 w 2653979"/>
                <a:gd name="connsiteY203" fmla="*/ 1082173 h 1812893"/>
                <a:gd name="connsiteX204" fmla="*/ 337280 w 2653979"/>
                <a:gd name="connsiteY204" fmla="*/ 1027986 h 1812893"/>
                <a:gd name="connsiteX205" fmla="*/ 317211 w 2653979"/>
                <a:gd name="connsiteY205" fmla="*/ 987819 h 1812893"/>
                <a:gd name="connsiteX206" fmla="*/ 295132 w 2653979"/>
                <a:gd name="connsiteY206" fmla="*/ 951690 h 1812893"/>
                <a:gd name="connsiteX207" fmla="*/ 269034 w 2653979"/>
                <a:gd name="connsiteY207" fmla="*/ 897503 h 1812893"/>
                <a:gd name="connsiteX208" fmla="*/ 240925 w 2653979"/>
                <a:gd name="connsiteY208" fmla="*/ 899494 h 1812893"/>
                <a:gd name="connsiteX209" fmla="*/ 234915 w 2653979"/>
                <a:gd name="connsiteY209" fmla="*/ 921572 h 1812893"/>
                <a:gd name="connsiteX210" fmla="*/ 226876 w 2653979"/>
                <a:gd name="connsiteY210" fmla="*/ 935641 h 1812893"/>
                <a:gd name="connsiteX211" fmla="*/ 182709 w 2653979"/>
                <a:gd name="connsiteY211" fmla="*/ 923582 h 1812893"/>
                <a:gd name="connsiteX212" fmla="*/ 164649 w 2653979"/>
                <a:gd name="connsiteY212" fmla="*/ 939660 h 1812893"/>
                <a:gd name="connsiteX213" fmla="*/ 152591 w 2653979"/>
                <a:gd name="connsiteY213" fmla="*/ 951700 h 1812893"/>
                <a:gd name="connsiteX214" fmla="*/ 106394 w 2653979"/>
                <a:gd name="connsiteY214" fmla="*/ 923611 h 1812893"/>
                <a:gd name="connsiteX215" fmla="*/ 74286 w 2653979"/>
                <a:gd name="connsiteY215" fmla="*/ 901532 h 1812893"/>
                <a:gd name="connsiteX216" fmla="*/ 58207 w 2653979"/>
                <a:gd name="connsiteY216" fmla="*/ 893493 h 1812893"/>
                <a:gd name="connsiteX217" fmla="*/ 34119 w 2653979"/>
                <a:gd name="connsiteY217" fmla="*/ 813178 h 1812893"/>
                <a:gd name="connsiteX218" fmla="*/ 12059 w 2653979"/>
                <a:gd name="connsiteY218" fmla="*/ 756980 h 1812893"/>
                <a:gd name="connsiteX219" fmla="*/ 0 w 2653979"/>
                <a:gd name="connsiteY219" fmla="*/ 712794 h 1812893"/>
                <a:gd name="connsiteX220" fmla="*/ 14049 w 2653979"/>
                <a:gd name="connsiteY220" fmla="*/ 652577 h 1812893"/>
                <a:gd name="connsiteX221" fmla="*/ 18069 w 2653979"/>
                <a:gd name="connsiteY221" fmla="*/ 640518 h 1812893"/>
                <a:gd name="connsiteX222" fmla="*/ 16059 w 2653979"/>
                <a:gd name="connsiteY222" fmla="*/ 640518 h 1812893"/>
                <a:gd name="connsiteX223" fmla="*/ 56226 w 2653979"/>
                <a:gd name="connsiteY223" fmla="*/ 650567 h 1812893"/>
                <a:gd name="connsiteX224" fmla="*/ 102403 w 2653979"/>
                <a:gd name="connsiteY224" fmla="*/ 656578 h 1812893"/>
                <a:gd name="connsiteX225" fmla="*/ 128502 w 2653979"/>
                <a:gd name="connsiteY225" fmla="*/ 662607 h 1812893"/>
                <a:gd name="connsiteX226" fmla="*/ 134512 w 2653979"/>
                <a:gd name="connsiteY226" fmla="*/ 640518 h 1812893"/>
                <a:gd name="connsiteX227" fmla="*/ 140541 w 2653979"/>
                <a:gd name="connsiteY227" fmla="*/ 622459 h 1812893"/>
                <a:gd name="connsiteX228" fmla="*/ 166640 w 2653979"/>
                <a:gd name="connsiteY228" fmla="*/ 604399 h 1812893"/>
                <a:gd name="connsiteX229" fmla="*/ 172669 w 2653979"/>
                <a:gd name="connsiteY229" fmla="*/ 598389 h 1812893"/>
                <a:gd name="connsiteX230" fmla="*/ 172669 w 2653979"/>
                <a:gd name="connsiteY230" fmla="*/ 566261 h 1812893"/>
                <a:gd name="connsiteX231" fmla="*/ 164630 w 2653979"/>
                <a:gd name="connsiteY231" fmla="*/ 544182 h 1812893"/>
                <a:gd name="connsiteX232" fmla="*/ 144542 w 2653979"/>
                <a:gd name="connsiteY232" fmla="*/ 520094 h 1812893"/>
                <a:gd name="connsiteX233" fmla="*/ 122482 w 2653979"/>
                <a:gd name="connsiteY233" fmla="*/ 502034 h 1812893"/>
                <a:gd name="connsiteX234" fmla="*/ 110423 w 2653979"/>
                <a:gd name="connsiteY234" fmla="*/ 479936 h 1812893"/>
                <a:gd name="connsiteX235" fmla="*/ 106404 w 2653979"/>
                <a:gd name="connsiteY235" fmla="*/ 453838 h 1812893"/>
                <a:gd name="connsiteX236" fmla="*/ 106404 w 2653979"/>
                <a:gd name="connsiteY236" fmla="*/ 425758 h 1812893"/>
                <a:gd name="connsiteX237" fmla="*/ 106404 w 2653979"/>
                <a:gd name="connsiteY237" fmla="*/ 393630 h 1812893"/>
                <a:gd name="connsiteX238" fmla="*/ 108414 w 2653979"/>
                <a:gd name="connsiteY238" fmla="*/ 357502 h 1812893"/>
                <a:gd name="connsiteX239" fmla="*/ 112433 w 2653979"/>
                <a:gd name="connsiteY239" fmla="*/ 347463 h 1812893"/>
                <a:gd name="connsiteX240" fmla="*/ 178680 w 2653979"/>
                <a:gd name="connsiteY240" fmla="*/ 307296 h 1812893"/>
                <a:gd name="connsiteX241" fmla="*/ 224857 w 2653979"/>
                <a:gd name="connsiteY241" fmla="*/ 281197 h 1812893"/>
                <a:gd name="connsiteX242" fmla="*/ 256985 w 2653979"/>
                <a:gd name="connsiteY242" fmla="*/ 257118 h 1812893"/>
                <a:gd name="connsiteX243" fmla="*/ 293132 w 2653979"/>
                <a:gd name="connsiteY243" fmla="*/ 283216 h 1812893"/>
                <a:gd name="connsiteX244" fmla="*/ 309191 w 2653979"/>
                <a:gd name="connsiteY244" fmla="*/ 287236 h 1812893"/>
                <a:gd name="connsiteX245" fmla="*/ 345339 w 2653979"/>
                <a:gd name="connsiteY245" fmla="*/ 291255 h 1812893"/>
                <a:gd name="connsiteX246" fmla="*/ 355368 w 2653979"/>
                <a:gd name="connsiteY246" fmla="*/ 289246 h 1812893"/>
                <a:gd name="connsiteX247" fmla="*/ 369437 w 2653979"/>
                <a:gd name="connsiteY247" fmla="*/ 303295 h 1812893"/>
                <a:gd name="connsiteX248" fmla="*/ 407594 w 2653979"/>
                <a:gd name="connsiteY248" fmla="*/ 293265 h 1812893"/>
                <a:gd name="connsiteX249" fmla="*/ 411594 w 2653979"/>
                <a:gd name="connsiteY249" fmla="*/ 293265 h 1812893"/>
                <a:gd name="connsiteX250" fmla="*/ 445732 w 2653979"/>
                <a:gd name="connsiteY250" fmla="*/ 323383 h 1812893"/>
                <a:gd name="connsiteX251" fmla="*/ 479870 w 2653979"/>
                <a:gd name="connsiteY251" fmla="*/ 353482 h 1812893"/>
                <a:gd name="connsiteX252" fmla="*/ 483889 w 2653979"/>
                <a:gd name="connsiteY252" fmla="*/ 373561 h 1812893"/>
                <a:gd name="connsiteX253" fmla="*/ 481879 w 2653979"/>
                <a:gd name="connsiteY253" fmla="*/ 399659 h 1812893"/>
                <a:gd name="connsiteX254" fmla="*/ 497958 w 2653979"/>
                <a:gd name="connsiteY254" fmla="*/ 401650 h 1812893"/>
                <a:gd name="connsiteX255" fmla="*/ 510016 w 2653979"/>
                <a:gd name="connsiteY255" fmla="*/ 373561 h 1812893"/>
                <a:gd name="connsiteX256" fmla="*/ 542125 w 2653979"/>
                <a:gd name="connsiteY256" fmla="*/ 369542 h 1812893"/>
                <a:gd name="connsiteX257" fmla="*/ 568223 w 2653979"/>
                <a:gd name="connsiteY257" fmla="*/ 367532 h 1812893"/>
                <a:gd name="connsiteX258" fmla="*/ 582273 w 2653979"/>
                <a:gd name="connsiteY258" fmla="*/ 345453 h 1812893"/>
                <a:gd name="connsiteX259" fmla="*/ 610381 w 2653979"/>
                <a:gd name="connsiteY259" fmla="*/ 339423 h 1812893"/>
                <a:gd name="connsiteX260" fmla="*/ 626459 w 2653979"/>
                <a:gd name="connsiteY260" fmla="*/ 339423 h 1812893"/>
                <a:gd name="connsiteX261" fmla="*/ 650548 w 2653979"/>
                <a:gd name="connsiteY261" fmla="*/ 367532 h 1812893"/>
                <a:gd name="connsiteX262" fmla="*/ 672627 w 2653979"/>
                <a:gd name="connsiteY262" fmla="*/ 381600 h 1812893"/>
                <a:gd name="connsiteX263" fmla="*/ 734854 w 2653979"/>
                <a:gd name="connsiteY263" fmla="*/ 389630 h 1812893"/>
                <a:gd name="connsiteX264" fmla="*/ 760952 w 2653979"/>
                <a:gd name="connsiteY264" fmla="*/ 389630 h 1812893"/>
                <a:gd name="connsiteX265" fmla="*/ 789042 w 2653979"/>
                <a:gd name="connsiteY265" fmla="*/ 383610 h 1812893"/>
                <a:gd name="connsiteX266" fmla="*/ 797081 w 2653979"/>
                <a:gd name="connsiteY266" fmla="*/ 363531 h 1812893"/>
                <a:gd name="connsiteX267" fmla="*/ 823179 w 2653979"/>
                <a:gd name="connsiteY267" fmla="*/ 323383 h 1812893"/>
                <a:gd name="connsiteX268" fmla="*/ 837229 w 2653979"/>
                <a:gd name="connsiteY268" fmla="*/ 311315 h 1812893"/>
                <a:gd name="connsiteX269" fmla="*/ 859308 w 2653979"/>
                <a:gd name="connsiteY269" fmla="*/ 311315 h 1812893"/>
                <a:gd name="connsiteX270" fmla="*/ 891435 w 2653979"/>
                <a:gd name="connsiteY270" fmla="*/ 309324 h 1812893"/>
                <a:gd name="connsiteX271" fmla="*/ 905485 w 2653979"/>
                <a:gd name="connsiteY271" fmla="*/ 289265 h 1812893"/>
                <a:gd name="connsiteX272" fmla="*/ 903475 w 2653979"/>
                <a:gd name="connsiteY272" fmla="*/ 269177 h 1812893"/>
                <a:gd name="connsiteX273" fmla="*/ 953681 w 2653979"/>
                <a:gd name="connsiteY273" fmla="*/ 249107 h 1812893"/>
                <a:gd name="connsiteX274" fmla="*/ 979761 w 2653979"/>
                <a:gd name="connsiteY274" fmla="*/ 239059 h 1812893"/>
                <a:gd name="connsiteX275" fmla="*/ 1033967 w 2653979"/>
                <a:gd name="connsiteY275" fmla="*/ 218999 h 1812893"/>
                <a:gd name="connsiteX276" fmla="*/ 1070096 w 2653979"/>
                <a:gd name="connsiteY276" fmla="*/ 202921 h 1812893"/>
                <a:gd name="connsiteX277" fmla="*/ 1102224 w 2653979"/>
                <a:gd name="connsiteY277" fmla="*/ 164773 h 1812893"/>
                <a:gd name="connsiteX278" fmla="*/ 1124283 w 2653979"/>
                <a:gd name="connsiteY278" fmla="*/ 144694 h 181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2653979" h="1812893">
                  <a:moveTo>
                    <a:pt x="1122750" y="142218"/>
                  </a:moveTo>
                  <a:lnTo>
                    <a:pt x="1132218" y="158620"/>
                  </a:lnTo>
                  <a:lnTo>
                    <a:pt x="1154297" y="176679"/>
                  </a:lnTo>
                  <a:lnTo>
                    <a:pt x="1178385" y="156610"/>
                  </a:lnTo>
                  <a:lnTo>
                    <a:pt x="1234583" y="158620"/>
                  </a:lnTo>
                  <a:lnTo>
                    <a:pt x="1256662" y="162630"/>
                  </a:lnTo>
                  <a:lnTo>
                    <a:pt x="1272740" y="170669"/>
                  </a:lnTo>
                  <a:lnTo>
                    <a:pt x="1304849" y="198777"/>
                  </a:lnTo>
                  <a:cubicBezTo>
                    <a:pt x="1304849" y="198777"/>
                    <a:pt x="1318918" y="200778"/>
                    <a:pt x="1330928" y="202787"/>
                  </a:cubicBezTo>
                  <a:cubicBezTo>
                    <a:pt x="1343006" y="204788"/>
                    <a:pt x="1357046" y="192757"/>
                    <a:pt x="1357046" y="192757"/>
                  </a:cubicBezTo>
                  <a:lnTo>
                    <a:pt x="1377115" y="146571"/>
                  </a:lnTo>
                  <a:lnTo>
                    <a:pt x="1401204" y="140541"/>
                  </a:lnTo>
                  <a:lnTo>
                    <a:pt x="1437332" y="136531"/>
                  </a:lnTo>
                  <a:lnTo>
                    <a:pt x="1461421" y="150590"/>
                  </a:lnTo>
                  <a:lnTo>
                    <a:pt x="1481509" y="144561"/>
                  </a:lnTo>
                  <a:lnTo>
                    <a:pt x="1515628" y="126502"/>
                  </a:lnTo>
                  <a:lnTo>
                    <a:pt x="1553785" y="110423"/>
                  </a:lnTo>
                  <a:lnTo>
                    <a:pt x="1595942" y="100384"/>
                  </a:lnTo>
                  <a:lnTo>
                    <a:pt x="1612021" y="54207"/>
                  </a:lnTo>
                  <a:lnTo>
                    <a:pt x="1624079" y="46168"/>
                  </a:lnTo>
                  <a:lnTo>
                    <a:pt x="1644148" y="24089"/>
                  </a:lnTo>
                  <a:lnTo>
                    <a:pt x="1670247" y="30109"/>
                  </a:lnTo>
                  <a:lnTo>
                    <a:pt x="1702356" y="22079"/>
                  </a:lnTo>
                  <a:lnTo>
                    <a:pt x="1720415" y="4010"/>
                  </a:lnTo>
                  <a:lnTo>
                    <a:pt x="1740484" y="0"/>
                  </a:lnTo>
                  <a:cubicBezTo>
                    <a:pt x="1740484" y="0"/>
                    <a:pt x="1758544" y="0"/>
                    <a:pt x="1772612" y="0"/>
                  </a:cubicBezTo>
                  <a:cubicBezTo>
                    <a:pt x="1786681" y="0"/>
                    <a:pt x="1812760" y="38148"/>
                    <a:pt x="1812760" y="38148"/>
                  </a:cubicBezTo>
                  <a:lnTo>
                    <a:pt x="1836849" y="68256"/>
                  </a:lnTo>
                  <a:cubicBezTo>
                    <a:pt x="1836849" y="68256"/>
                    <a:pt x="1872996" y="72266"/>
                    <a:pt x="1881016" y="72266"/>
                  </a:cubicBezTo>
                  <a:cubicBezTo>
                    <a:pt x="1889055" y="72266"/>
                    <a:pt x="1921183" y="84334"/>
                    <a:pt x="1921183" y="84334"/>
                  </a:cubicBezTo>
                  <a:lnTo>
                    <a:pt x="1949273" y="118463"/>
                  </a:lnTo>
                  <a:lnTo>
                    <a:pt x="1991449" y="112443"/>
                  </a:lnTo>
                  <a:lnTo>
                    <a:pt x="2035617" y="112443"/>
                  </a:lnTo>
                  <a:lnTo>
                    <a:pt x="2053676" y="152591"/>
                  </a:lnTo>
                  <a:lnTo>
                    <a:pt x="2077765" y="156601"/>
                  </a:lnTo>
                  <a:lnTo>
                    <a:pt x="2109893" y="160620"/>
                  </a:lnTo>
                  <a:lnTo>
                    <a:pt x="2146021" y="160620"/>
                  </a:lnTo>
                  <a:lnTo>
                    <a:pt x="2164081" y="210817"/>
                  </a:lnTo>
                  <a:lnTo>
                    <a:pt x="2192170" y="279092"/>
                  </a:lnTo>
                  <a:lnTo>
                    <a:pt x="2216258" y="234915"/>
                  </a:lnTo>
                  <a:lnTo>
                    <a:pt x="2258435" y="236915"/>
                  </a:lnTo>
                  <a:lnTo>
                    <a:pt x="2272504" y="289122"/>
                  </a:lnTo>
                  <a:lnTo>
                    <a:pt x="2268465" y="329270"/>
                  </a:lnTo>
                  <a:lnTo>
                    <a:pt x="2310641" y="325250"/>
                  </a:lnTo>
                  <a:lnTo>
                    <a:pt x="2336740" y="347320"/>
                  </a:lnTo>
                  <a:lnTo>
                    <a:pt x="2354799" y="375409"/>
                  </a:lnTo>
                  <a:lnTo>
                    <a:pt x="2368849" y="405527"/>
                  </a:lnTo>
                  <a:lnTo>
                    <a:pt x="2408996" y="405527"/>
                  </a:lnTo>
                  <a:lnTo>
                    <a:pt x="2455193" y="405527"/>
                  </a:lnTo>
                  <a:lnTo>
                    <a:pt x="2465242" y="419605"/>
                  </a:lnTo>
                  <a:lnTo>
                    <a:pt x="2479291" y="427625"/>
                  </a:lnTo>
                  <a:lnTo>
                    <a:pt x="2517448" y="425634"/>
                  </a:lnTo>
                  <a:lnTo>
                    <a:pt x="2541537" y="401527"/>
                  </a:lnTo>
                  <a:lnTo>
                    <a:pt x="2545537" y="463772"/>
                  </a:lnTo>
                  <a:lnTo>
                    <a:pt x="2567636" y="485842"/>
                  </a:lnTo>
                  <a:lnTo>
                    <a:pt x="2601754" y="517951"/>
                  </a:lnTo>
                  <a:lnTo>
                    <a:pt x="2573665" y="564156"/>
                  </a:lnTo>
                  <a:lnTo>
                    <a:pt x="2543547" y="606314"/>
                  </a:lnTo>
                  <a:lnTo>
                    <a:pt x="2521468" y="562147"/>
                  </a:lnTo>
                  <a:lnTo>
                    <a:pt x="2501398" y="562147"/>
                  </a:lnTo>
                  <a:lnTo>
                    <a:pt x="2501398" y="578225"/>
                  </a:lnTo>
                  <a:lnTo>
                    <a:pt x="2499389" y="604323"/>
                  </a:lnTo>
                  <a:lnTo>
                    <a:pt x="2483330" y="614353"/>
                  </a:lnTo>
                  <a:lnTo>
                    <a:pt x="2497379" y="658520"/>
                  </a:lnTo>
                  <a:lnTo>
                    <a:pt x="2515439" y="702697"/>
                  </a:lnTo>
                  <a:lnTo>
                    <a:pt x="2527497" y="736835"/>
                  </a:lnTo>
                  <a:lnTo>
                    <a:pt x="2547566" y="781003"/>
                  </a:lnTo>
                  <a:lnTo>
                    <a:pt x="2555605" y="827199"/>
                  </a:lnTo>
                  <a:lnTo>
                    <a:pt x="2557615" y="865346"/>
                  </a:lnTo>
                  <a:lnTo>
                    <a:pt x="2573693" y="893445"/>
                  </a:lnTo>
                  <a:lnTo>
                    <a:pt x="2591753" y="917534"/>
                  </a:lnTo>
                  <a:lnTo>
                    <a:pt x="2593762" y="939613"/>
                  </a:lnTo>
                  <a:lnTo>
                    <a:pt x="2593762" y="973750"/>
                  </a:lnTo>
                  <a:lnTo>
                    <a:pt x="2581685" y="1019927"/>
                  </a:lnTo>
                  <a:lnTo>
                    <a:pt x="2587733" y="1056056"/>
                  </a:lnTo>
                  <a:lnTo>
                    <a:pt x="2619842" y="1090194"/>
                  </a:lnTo>
                  <a:lnTo>
                    <a:pt x="2653980" y="1112272"/>
                  </a:lnTo>
                  <a:lnTo>
                    <a:pt x="2651951" y="1152420"/>
                  </a:lnTo>
                  <a:lnTo>
                    <a:pt x="2631882" y="1182538"/>
                  </a:lnTo>
                  <a:lnTo>
                    <a:pt x="2609803" y="1222686"/>
                  </a:lnTo>
                  <a:lnTo>
                    <a:pt x="2587742" y="1258834"/>
                  </a:lnTo>
                  <a:lnTo>
                    <a:pt x="2571664" y="1290942"/>
                  </a:lnTo>
                  <a:lnTo>
                    <a:pt x="2557596" y="1292952"/>
                  </a:lnTo>
                  <a:lnTo>
                    <a:pt x="2527497" y="1317041"/>
                  </a:lnTo>
                  <a:lnTo>
                    <a:pt x="2531517" y="1369228"/>
                  </a:lnTo>
                  <a:lnTo>
                    <a:pt x="2545566" y="1389298"/>
                  </a:lnTo>
                  <a:lnTo>
                    <a:pt x="2567645" y="1409376"/>
                  </a:lnTo>
                  <a:lnTo>
                    <a:pt x="2567645" y="1433465"/>
                  </a:lnTo>
                  <a:lnTo>
                    <a:pt x="2557596" y="1443495"/>
                  </a:lnTo>
                  <a:lnTo>
                    <a:pt x="2525488" y="1451544"/>
                  </a:lnTo>
                  <a:lnTo>
                    <a:pt x="2541566" y="1477632"/>
                  </a:lnTo>
                  <a:lnTo>
                    <a:pt x="2541566" y="1535840"/>
                  </a:lnTo>
                  <a:lnTo>
                    <a:pt x="2547576" y="1588037"/>
                  </a:lnTo>
                  <a:lnTo>
                    <a:pt x="2565635" y="1616136"/>
                  </a:lnTo>
                  <a:lnTo>
                    <a:pt x="2589724" y="1620155"/>
                  </a:lnTo>
                  <a:lnTo>
                    <a:pt x="2593762" y="1644244"/>
                  </a:lnTo>
                  <a:lnTo>
                    <a:pt x="2611813" y="1660322"/>
                  </a:lnTo>
                  <a:lnTo>
                    <a:pt x="2611813" y="1712509"/>
                  </a:lnTo>
                  <a:lnTo>
                    <a:pt x="2593762" y="1712509"/>
                  </a:lnTo>
                  <a:lnTo>
                    <a:pt x="2551567" y="1658312"/>
                  </a:lnTo>
                  <a:lnTo>
                    <a:pt x="2531517" y="1666351"/>
                  </a:lnTo>
                  <a:lnTo>
                    <a:pt x="2421084" y="1622165"/>
                  </a:lnTo>
                  <a:lnTo>
                    <a:pt x="2360867" y="1638243"/>
                  </a:lnTo>
                  <a:lnTo>
                    <a:pt x="2318690" y="1668361"/>
                  </a:lnTo>
                  <a:lnTo>
                    <a:pt x="2284552" y="1676381"/>
                  </a:lnTo>
                  <a:lnTo>
                    <a:pt x="2264502" y="1676381"/>
                  </a:lnTo>
                  <a:lnTo>
                    <a:pt x="2240414" y="1662332"/>
                  </a:lnTo>
                  <a:lnTo>
                    <a:pt x="2212305" y="1662332"/>
                  </a:lnTo>
                  <a:lnTo>
                    <a:pt x="2200247" y="1698460"/>
                  </a:lnTo>
                  <a:lnTo>
                    <a:pt x="2194236" y="1712529"/>
                  </a:lnTo>
                  <a:lnTo>
                    <a:pt x="2162109" y="1700470"/>
                  </a:lnTo>
                  <a:lnTo>
                    <a:pt x="2105892" y="1724559"/>
                  </a:lnTo>
                  <a:lnTo>
                    <a:pt x="2105892" y="1750647"/>
                  </a:lnTo>
                  <a:lnTo>
                    <a:pt x="2105892" y="1780766"/>
                  </a:lnTo>
                  <a:lnTo>
                    <a:pt x="2073783" y="1806864"/>
                  </a:lnTo>
                  <a:lnTo>
                    <a:pt x="2027606" y="1812893"/>
                  </a:lnTo>
                  <a:lnTo>
                    <a:pt x="2001507" y="1788805"/>
                  </a:lnTo>
                  <a:lnTo>
                    <a:pt x="1981438" y="1768726"/>
                  </a:lnTo>
                  <a:lnTo>
                    <a:pt x="1943281" y="1768726"/>
                  </a:lnTo>
                  <a:lnTo>
                    <a:pt x="1842916" y="1782794"/>
                  </a:lnTo>
                  <a:lnTo>
                    <a:pt x="1758572" y="1790814"/>
                  </a:lnTo>
                  <a:lnTo>
                    <a:pt x="1716415" y="1774755"/>
                  </a:lnTo>
                  <a:lnTo>
                    <a:pt x="1638110" y="1788805"/>
                  </a:lnTo>
                  <a:lnTo>
                    <a:pt x="1645444" y="1782537"/>
                  </a:lnTo>
                  <a:lnTo>
                    <a:pt x="1618041" y="1766735"/>
                  </a:lnTo>
                  <a:lnTo>
                    <a:pt x="1583903" y="1738627"/>
                  </a:lnTo>
                  <a:lnTo>
                    <a:pt x="1557823" y="1728597"/>
                  </a:lnTo>
                  <a:lnTo>
                    <a:pt x="1553785" y="1712529"/>
                  </a:lnTo>
                  <a:lnTo>
                    <a:pt x="1547774" y="1666332"/>
                  </a:lnTo>
                  <a:lnTo>
                    <a:pt x="1547774" y="1618136"/>
                  </a:lnTo>
                  <a:lnTo>
                    <a:pt x="1535716" y="1582007"/>
                  </a:lnTo>
                  <a:lnTo>
                    <a:pt x="1521667" y="1565948"/>
                  </a:lnTo>
                  <a:lnTo>
                    <a:pt x="1509627" y="1543869"/>
                  </a:lnTo>
                  <a:lnTo>
                    <a:pt x="1503598" y="1511741"/>
                  </a:lnTo>
                  <a:lnTo>
                    <a:pt x="1511637" y="1485671"/>
                  </a:lnTo>
                  <a:lnTo>
                    <a:pt x="1529696" y="1453544"/>
                  </a:lnTo>
                  <a:lnTo>
                    <a:pt x="1527686" y="1417415"/>
                  </a:lnTo>
                  <a:lnTo>
                    <a:pt x="1511627" y="1393327"/>
                  </a:lnTo>
                  <a:lnTo>
                    <a:pt x="1481509" y="1355170"/>
                  </a:lnTo>
                  <a:lnTo>
                    <a:pt x="1459430" y="1325052"/>
                  </a:lnTo>
                  <a:lnTo>
                    <a:pt x="1437351" y="1288923"/>
                  </a:lnTo>
                  <a:lnTo>
                    <a:pt x="1417282" y="1264834"/>
                  </a:lnTo>
                  <a:lnTo>
                    <a:pt x="1385154" y="1248756"/>
                  </a:lnTo>
                  <a:lnTo>
                    <a:pt x="1361066" y="1224687"/>
                  </a:lnTo>
                  <a:lnTo>
                    <a:pt x="1336977" y="1232707"/>
                  </a:lnTo>
                  <a:lnTo>
                    <a:pt x="1300848" y="1246785"/>
                  </a:lnTo>
                  <a:lnTo>
                    <a:pt x="1280761" y="1252795"/>
                  </a:lnTo>
                  <a:lnTo>
                    <a:pt x="1254681" y="1252795"/>
                  </a:lnTo>
                  <a:lnTo>
                    <a:pt x="1232602" y="1254805"/>
                  </a:lnTo>
                  <a:lnTo>
                    <a:pt x="1204513" y="1258824"/>
                  </a:lnTo>
                  <a:lnTo>
                    <a:pt x="1174394" y="1260815"/>
                  </a:lnTo>
                  <a:lnTo>
                    <a:pt x="1152315" y="1260815"/>
                  </a:lnTo>
                  <a:lnTo>
                    <a:pt x="1128227" y="1268854"/>
                  </a:lnTo>
                  <a:lnTo>
                    <a:pt x="1110167" y="1268854"/>
                  </a:lnTo>
                  <a:lnTo>
                    <a:pt x="1086079" y="1262844"/>
                  </a:lnTo>
                  <a:lnTo>
                    <a:pt x="1068019" y="1262844"/>
                  </a:lnTo>
                  <a:lnTo>
                    <a:pt x="1049960" y="1272873"/>
                  </a:lnTo>
                  <a:lnTo>
                    <a:pt x="999763" y="1274883"/>
                  </a:lnTo>
                  <a:lnTo>
                    <a:pt x="981685" y="1280922"/>
                  </a:lnTo>
                  <a:lnTo>
                    <a:pt x="965626" y="1280922"/>
                  </a:lnTo>
                  <a:lnTo>
                    <a:pt x="945557" y="1294971"/>
                  </a:lnTo>
                  <a:lnTo>
                    <a:pt x="925487" y="1313031"/>
                  </a:lnTo>
                  <a:lnTo>
                    <a:pt x="899389" y="1327090"/>
                  </a:lnTo>
                  <a:lnTo>
                    <a:pt x="873290" y="1327090"/>
                  </a:lnTo>
                  <a:lnTo>
                    <a:pt x="859222" y="1319051"/>
                  </a:lnTo>
                  <a:lnTo>
                    <a:pt x="843163" y="1280903"/>
                  </a:lnTo>
                  <a:lnTo>
                    <a:pt x="831104" y="1284932"/>
                  </a:lnTo>
                  <a:lnTo>
                    <a:pt x="790956" y="1288952"/>
                  </a:lnTo>
                  <a:lnTo>
                    <a:pt x="762848" y="1290942"/>
                  </a:lnTo>
                  <a:lnTo>
                    <a:pt x="736750" y="1284932"/>
                  </a:lnTo>
                  <a:lnTo>
                    <a:pt x="722700" y="1260843"/>
                  </a:lnTo>
                  <a:lnTo>
                    <a:pt x="710641" y="1240774"/>
                  </a:lnTo>
                  <a:lnTo>
                    <a:pt x="692582" y="1244775"/>
                  </a:lnTo>
                  <a:lnTo>
                    <a:pt x="674523" y="1250814"/>
                  </a:lnTo>
                  <a:lnTo>
                    <a:pt x="660454" y="1250814"/>
                  </a:lnTo>
                  <a:lnTo>
                    <a:pt x="634375" y="1254833"/>
                  </a:lnTo>
                  <a:lnTo>
                    <a:pt x="610286" y="1266892"/>
                  </a:lnTo>
                  <a:lnTo>
                    <a:pt x="578177" y="1282961"/>
                  </a:lnTo>
                  <a:lnTo>
                    <a:pt x="546049" y="1303039"/>
                  </a:lnTo>
                  <a:lnTo>
                    <a:pt x="515931" y="1315079"/>
                  </a:lnTo>
                  <a:lnTo>
                    <a:pt x="491843" y="1337158"/>
                  </a:lnTo>
                  <a:lnTo>
                    <a:pt x="477793" y="1365266"/>
                  </a:lnTo>
                  <a:lnTo>
                    <a:pt x="463744" y="1391346"/>
                  </a:lnTo>
                  <a:lnTo>
                    <a:pt x="435636" y="1405414"/>
                  </a:lnTo>
                  <a:lnTo>
                    <a:pt x="403527" y="1433522"/>
                  </a:lnTo>
                  <a:lnTo>
                    <a:pt x="391468" y="1461611"/>
                  </a:lnTo>
                  <a:lnTo>
                    <a:pt x="347282" y="1481690"/>
                  </a:lnTo>
                  <a:lnTo>
                    <a:pt x="325203" y="1471641"/>
                  </a:lnTo>
                  <a:lnTo>
                    <a:pt x="297114" y="1451572"/>
                  </a:lnTo>
                  <a:lnTo>
                    <a:pt x="271015" y="1409395"/>
                  </a:lnTo>
                  <a:lnTo>
                    <a:pt x="264986" y="1411405"/>
                  </a:lnTo>
                  <a:lnTo>
                    <a:pt x="289074" y="1401375"/>
                  </a:lnTo>
                  <a:lnTo>
                    <a:pt x="311153" y="1377286"/>
                  </a:lnTo>
                  <a:lnTo>
                    <a:pt x="309144" y="1345159"/>
                  </a:lnTo>
                  <a:lnTo>
                    <a:pt x="325222" y="1315041"/>
                  </a:lnTo>
                  <a:lnTo>
                    <a:pt x="341300" y="1282913"/>
                  </a:lnTo>
                  <a:lnTo>
                    <a:pt x="361369" y="1254833"/>
                  </a:lnTo>
                  <a:lnTo>
                    <a:pt x="353330" y="1204627"/>
                  </a:lnTo>
                  <a:lnTo>
                    <a:pt x="363379" y="1176519"/>
                  </a:lnTo>
                  <a:lnTo>
                    <a:pt x="407546" y="1146429"/>
                  </a:lnTo>
                  <a:lnTo>
                    <a:pt x="419605" y="1128351"/>
                  </a:lnTo>
                  <a:lnTo>
                    <a:pt x="417595" y="1102252"/>
                  </a:lnTo>
                  <a:lnTo>
                    <a:pt x="379438" y="1092222"/>
                  </a:lnTo>
                  <a:lnTo>
                    <a:pt x="363379" y="1082173"/>
                  </a:lnTo>
                  <a:lnTo>
                    <a:pt x="337280" y="1027986"/>
                  </a:lnTo>
                  <a:lnTo>
                    <a:pt x="317211" y="987819"/>
                  </a:lnTo>
                  <a:lnTo>
                    <a:pt x="295132" y="951690"/>
                  </a:lnTo>
                  <a:lnTo>
                    <a:pt x="269034" y="897503"/>
                  </a:lnTo>
                  <a:lnTo>
                    <a:pt x="240925" y="899494"/>
                  </a:lnTo>
                  <a:lnTo>
                    <a:pt x="234915" y="921572"/>
                  </a:lnTo>
                  <a:lnTo>
                    <a:pt x="226876" y="935641"/>
                  </a:lnTo>
                  <a:lnTo>
                    <a:pt x="182709" y="923582"/>
                  </a:lnTo>
                  <a:lnTo>
                    <a:pt x="164649" y="939660"/>
                  </a:lnTo>
                  <a:lnTo>
                    <a:pt x="152591" y="951700"/>
                  </a:lnTo>
                  <a:lnTo>
                    <a:pt x="106394" y="923611"/>
                  </a:lnTo>
                  <a:lnTo>
                    <a:pt x="74286" y="901532"/>
                  </a:lnTo>
                  <a:lnTo>
                    <a:pt x="58207" y="893493"/>
                  </a:lnTo>
                  <a:lnTo>
                    <a:pt x="34119" y="813178"/>
                  </a:lnTo>
                  <a:lnTo>
                    <a:pt x="12059" y="756980"/>
                  </a:lnTo>
                  <a:lnTo>
                    <a:pt x="0" y="712794"/>
                  </a:lnTo>
                  <a:lnTo>
                    <a:pt x="14049" y="652577"/>
                  </a:lnTo>
                  <a:lnTo>
                    <a:pt x="18069" y="640518"/>
                  </a:lnTo>
                  <a:lnTo>
                    <a:pt x="16059" y="640518"/>
                  </a:lnTo>
                  <a:lnTo>
                    <a:pt x="56226" y="650567"/>
                  </a:lnTo>
                  <a:lnTo>
                    <a:pt x="102403" y="656578"/>
                  </a:lnTo>
                  <a:lnTo>
                    <a:pt x="128502" y="662607"/>
                  </a:lnTo>
                  <a:lnTo>
                    <a:pt x="134512" y="640518"/>
                  </a:lnTo>
                  <a:lnTo>
                    <a:pt x="140541" y="622459"/>
                  </a:lnTo>
                  <a:lnTo>
                    <a:pt x="166640" y="604399"/>
                  </a:lnTo>
                  <a:lnTo>
                    <a:pt x="172669" y="598389"/>
                  </a:lnTo>
                  <a:lnTo>
                    <a:pt x="172669" y="566261"/>
                  </a:lnTo>
                  <a:lnTo>
                    <a:pt x="164630" y="544182"/>
                  </a:lnTo>
                  <a:lnTo>
                    <a:pt x="144542" y="520094"/>
                  </a:lnTo>
                  <a:lnTo>
                    <a:pt x="122482" y="502034"/>
                  </a:lnTo>
                  <a:lnTo>
                    <a:pt x="110423" y="479936"/>
                  </a:lnTo>
                  <a:lnTo>
                    <a:pt x="106404" y="453838"/>
                  </a:lnTo>
                  <a:lnTo>
                    <a:pt x="106404" y="425758"/>
                  </a:lnTo>
                  <a:lnTo>
                    <a:pt x="106404" y="393630"/>
                  </a:lnTo>
                  <a:lnTo>
                    <a:pt x="108414" y="357502"/>
                  </a:lnTo>
                  <a:lnTo>
                    <a:pt x="112433" y="347463"/>
                  </a:lnTo>
                  <a:lnTo>
                    <a:pt x="178680" y="307296"/>
                  </a:lnTo>
                  <a:lnTo>
                    <a:pt x="224857" y="281197"/>
                  </a:lnTo>
                  <a:lnTo>
                    <a:pt x="256985" y="257118"/>
                  </a:lnTo>
                  <a:lnTo>
                    <a:pt x="293132" y="283216"/>
                  </a:lnTo>
                  <a:lnTo>
                    <a:pt x="309191" y="287236"/>
                  </a:lnTo>
                  <a:lnTo>
                    <a:pt x="345339" y="291255"/>
                  </a:lnTo>
                  <a:lnTo>
                    <a:pt x="355368" y="289246"/>
                  </a:lnTo>
                  <a:lnTo>
                    <a:pt x="369437" y="303295"/>
                  </a:lnTo>
                  <a:lnTo>
                    <a:pt x="407594" y="293265"/>
                  </a:lnTo>
                  <a:lnTo>
                    <a:pt x="411594" y="293265"/>
                  </a:lnTo>
                  <a:lnTo>
                    <a:pt x="445732" y="323383"/>
                  </a:lnTo>
                  <a:lnTo>
                    <a:pt x="479870" y="353482"/>
                  </a:lnTo>
                  <a:lnTo>
                    <a:pt x="483889" y="373561"/>
                  </a:lnTo>
                  <a:lnTo>
                    <a:pt x="481879" y="399659"/>
                  </a:lnTo>
                  <a:lnTo>
                    <a:pt x="497958" y="401650"/>
                  </a:lnTo>
                  <a:lnTo>
                    <a:pt x="510016" y="373561"/>
                  </a:lnTo>
                  <a:lnTo>
                    <a:pt x="542125" y="369542"/>
                  </a:lnTo>
                  <a:lnTo>
                    <a:pt x="568223" y="367532"/>
                  </a:lnTo>
                  <a:lnTo>
                    <a:pt x="582273" y="345453"/>
                  </a:lnTo>
                  <a:lnTo>
                    <a:pt x="610381" y="339423"/>
                  </a:lnTo>
                  <a:lnTo>
                    <a:pt x="626459" y="339423"/>
                  </a:lnTo>
                  <a:lnTo>
                    <a:pt x="650548" y="367532"/>
                  </a:lnTo>
                  <a:lnTo>
                    <a:pt x="672627" y="381600"/>
                  </a:lnTo>
                  <a:lnTo>
                    <a:pt x="734854" y="389630"/>
                  </a:lnTo>
                  <a:cubicBezTo>
                    <a:pt x="734854" y="389630"/>
                    <a:pt x="752913" y="389630"/>
                    <a:pt x="760952" y="389630"/>
                  </a:cubicBezTo>
                  <a:cubicBezTo>
                    <a:pt x="768973" y="389630"/>
                    <a:pt x="789042" y="383610"/>
                    <a:pt x="789042" y="383610"/>
                  </a:cubicBezTo>
                  <a:lnTo>
                    <a:pt x="797081" y="363531"/>
                  </a:lnTo>
                  <a:lnTo>
                    <a:pt x="823179" y="323383"/>
                  </a:lnTo>
                  <a:lnTo>
                    <a:pt x="837229" y="311315"/>
                  </a:lnTo>
                  <a:lnTo>
                    <a:pt x="859308" y="311315"/>
                  </a:lnTo>
                  <a:lnTo>
                    <a:pt x="891435" y="309324"/>
                  </a:lnTo>
                  <a:lnTo>
                    <a:pt x="905485" y="289265"/>
                  </a:lnTo>
                  <a:lnTo>
                    <a:pt x="903475" y="269177"/>
                  </a:lnTo>
                  <a:lnTo>
                    <a:pt x="953681" y="249107"/>
                  </a:lnTo>
                  <a:lnTo>
                    <a:pt x="979761" y="239059"/>
                  </a:lnTo>
                  <a:lnTo>
                    <a:pt x="1033967" y="218999"/>
                  </a:lnTo>
                  <a:lnTo>
                    <a:pt x="1070096" y="202921"/>
                  </a:lnTo>
                  <a:lnTo>
                    <a:pt x="1102224" y="164773"/>
                  </a:lnTo>
                  <a:lnTo>
                    <a:pt x="1124283" y="144694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1A988A7-E256-477D-92F3-C871FE05B1A5}"/>
                </a:ext>
              </a:extLst>
            </p:cNvPr>
            <p:cNvSpPr/>
            <p:nvPr/>
          </p:nvSpPr>
          <p:spPr bwMode="gray">
            <a:xfrm>
              <a:off x="2848575" y="3513715"/>
              <a:ext cx="2935300" cy="1628860"/>
            </a:xfrm>
            <a:custGeom>
              <a:avLst/>
              <a:gdLst>
                <a:gd name="connsiteX0" fmla="*/ 2182397 w 2935300"/>
                <a:gd name="connsiteY0" fmla="*/ 0 h 1628860"/>
                <a:gd name="connsiteX1" fmla="*/ 2146202 w 2935300"/>
                <a:gd name="connsiteY1" fmla="*/ 28127 h 1628860"/>
                <a:gd name="connsiteX2" fmla="*/ 2104073 w 2935300"/>
                <a:gd name="connsiteY2" fmla="*/ 52216 h 1628860"/>
                <a:gd name="connsiteX3" fmla="*/ 2130171 w 2935300"/>
                <a:gd name="connsiteY3" fmla="*/ 116415 h 1628860"/>
                <a:gd name="connsiteX4" fmla="*/ 2134210 w 2935300"/>
                <a:gd name="connsiteY4" fmla="*/ 186661 h 1628860"/>
                <a:gd name="connsiteX5" fmla="*/ 2089947 w 2935300"/>
                <a:gd name="connsiteY5" fmla="*/ 196768 h 1628860"/>
                <a:gd name="connsiteX6" fmla="*/ 1975552 w 2935300"/>
                <a:gd name="connsiteY6" fmla="*/ 182756 h 1628860"/>
                <a:gd name="connsiteX7" fmla="*/ 1961550 w 2935300"/>
                <a:gd name="connsiteY7" fmla="*/ 192729 h 1628860"/>
                <a:gd name="connsiteX8" fmla="*/ 1935432 w 2935300"/>
                <a:gd name="connsiteY8" fmla="*/ 182756 h 1628860"/>
                <a:gd name="connsiteX9" fmla="*/ 1784833 w 2935300"/>
                <a:gd name="connsiteY9" fmla="*/ 222866 h 1628860"/>
                <a:gd name="connsiteX10" fmla="*/ 1776755 w 2935300"/>
                <a:gd name="connsiteY10" fmla="*/ 255032 h 1628860"/>
                <a:gd name="connsiteX11" fmla="*/ 1710547 w 2935300"/>
                <a:gd name="connsiteY11" fmla="*/ 242926 h 1628860"/>
                <a:gd name="connsiteX12" fmla="*/ 1604096 w 2935300"/>
                <a:gd name="connsiteY12" fmla="*/ 253022 h 1628860"/>
                <a:gd name="connsiteX13" fmla="*/ 1568015 w 2935300"/>
                <a:gd name="connsiteY13" fmla="*/ 238906 h 1628860"/>
                <a:gd name="connsiteX14" fmla="*/ 1521847 w 2935300"/>
                <a:gd name="connsiteY14" fmla="*/ 279140 h 1628860"/>
                <a:gd name="connsiteX15" fmla="*/ 1521847 w 2935300"/>
                <a:gd name="connsiteY15" fmla="*/ 333261 h 1628860"/>
                <a:gd name="connsiteX16" fmla="*/ 1493730 w 2935300"/>
                <a:gd name="connsiteY16" fmla="*/ 365427 h 1628860"/>
                <a:gd name="connsiteX17" fmla="*/ 1427512 w 2935300"/>
                <a:gd name="connsiteY17" fmla="*/ 373513 h 1628860"/>
                <a:gd name="connsiteX18" fmla="*/ 1367218 w 2935300"/>
                <a:gd name="connsiteY18" fmla="*/ 359397 h 1628860"/>
                <a:gd name="connsiteX19" fmla="*/ 1315002 w 2935300"/>
                <a:gd name="connsiteY19" fmla="*/ 423710 h 1628860"/>
                <a:gd name="connsiteX20" fmla="*/ 1339101 w 2935300"/>
                <a:gd name="connsiteY20" fmla="*/ 429644 h 1628860"/>
                <a:gd name="connsiteX21" fmla="*/ 1333167 w 2935300"/>
                <a:gd name="connsiteY21" fmla="*/ 459800 h 1628860"/>
                <a:gd name="connsiteX22" fmla="*/ 1274893 w 2935300"/>
                <a:gd name="connsiteY22" fmla="*/ 457772 h 1628860"/>
                <a:gd name="connsiteX23" fmla="*/ 1228725 w 2935300"/>
                <a:gd name="connsiteY23" fmla="*/ 500043 h 1628860"/>
                <a:gd name="connsiteX24" fmla="*/ 1222677 w 2935300"/>
                <a:gd name="connsiteY24" fmla="*/ 524132 h 1628860"/>
                <a:gd name="connsiteX25" fmla="*/ 1192520 w 2935300"/>
                <a:gd name="connsiteY25" fmla="*/ 548221 h 1628860"/>
                <a:gd name="connsiteX26" fmla="*/ 1158478 w 2935300"/>
                <a:gd name="connsiteY26" fmla="*/ 542163 h 1628860"/>
                <a:gd name="connsiteX27" fmla="*/ 1180538 w 2935300"/>
                <a:gd name="connsiteY27" fmla="*/ 505959 h 1628860"/>
                <a:gd name="connsiteX28" fmla="*/ 1160488 w 2935300"/>
                <a:gd name="connsiteY28" fmla="*/ 489937 h 1628860"/>
                <a:gd name="connsiteX29" fmla="*/ 1132361 w 2935300"/>
                <a:gd name="connsiteY29" fmla="*/ 495986 h 1628860"/>
                <a:gd name="connsiteX30" fmla="*/ 1090231 w 2935300"/>
                <a:gd name="connsiteY30" fmla="*/ 507968 h 1628860"/>
                <a:gd name="connsiteX31" fmla="*/ 1042045 w 2935300"/>
                <a:gd name="connsiteY31" fmla="*/ 560184 h 1628860"/>
                <a:gd name="connsiteX32" fmla="*/ 983771 w 2935300"/>
                <a:gd name="connsiteY32" fmla="*/ 554136 h 1628860"/>
                <a:gd name="connsiteX33" fmla="*/ 939632 w 2935300"/>
                <a:gd name="connsiteY33" fmla="*/ 566233 h 1628860"/>
                <a:gd name="connsiteX34" fmla="*/ 893445 w 2935300"/>
                <a:gd name="connsiteY34" fmla="*/ 540134 h 1628860"/>
                <a:gd name="connsiteX35" fmla="*/ 913505 w 2935300"/>
                <a:gd name="connsiteY35" fmla="*/ 512007 h 1628860"/>
                <a:gd name="connsiteX36" fmla="*/ 843248 w 2935300"/>
                <a:gd name="connsiteY36" fmla="*/ 421719 h 1628860"/>
                <a:gd name="connsiteX37" fmla="*/ 800986 w 2935300"/>
                <a:gd name="connsiteY37" fmla="*/ 425758 h 1628860"/>
                <a:gd name="connsiteX38" fmla="*/ 789003 w 2935300"/>
                <a:gd name="connsiteY38" fmla="*/ 403689 h 1628860"/>
                <a:gd name="connsiteX39" fmla="*/ 833161 w 2935300"/>
                <a:gd name="connsiteY39" fmla="*/ 373551 h 1628860"/>
                <a:gd name="connsiteX40" fmla="*/ 797081 w 2935300"/>
                <a:gd name="connsiteY40" fmla="*/ 341385 h 1628860"/>
                <a:gd name="connsiteX41" fmla="*/ 726834 w 2935300"/>
                <a:gd name="connsiteY41" fmla="*/ 369503 h 1628860"/>
                <a:gd name="connsiteX42" fmla="*/ 686581 w 2935300"/>
                <a:gd name="connsiteY42" fmla="*/ 369503 h 1628860"/>
                <a:gd name="connsiteX43" fmla="*/ 678647 w 2935300"/>
                <a:gd name="connsiteY43" fmla="*/ 343395 h 1628860"/>
                <a:gd name="connsiteX44" fmla="*/ 638413 w 2935300"/>
                <a:gd name="connsiteY44" fmla="*/ 345405 h 1628860"/>
                <a:gd name="connsiteX45" fmla="*/ 610286 w 2935300"/>
                <a:gd name="connsiteY45" fmla="*/ 311229 h 1628860"/>
                <a:gd name="connsiteX46" fmla="*/ 554155 w 2935300"/>
                <a:gd name="connsiteY46" fmla="*/ 313239 h 1628860"/>
                <a:gd name="connsiteX47" fmla="*/ 521979 w 2935300"/>
                <a:gd name="connsiteY47" fmla="*/ 295199 h 1628860"/>
                <a:gd name="connsiteX48" fmla="*/ 489823 w 2935300"/>
                <a:gd name="connsiteY48" fmla="*/ 325355 h 1628860"/>
                <a:gd name="connsiteX49" fmla="*/ 487813 w 2935300"/>
                <a:gd name="connsiteY49" fmla="*/ 349444 h 1628860"/>
                <a:gd name="connsiteX50" fmla="*/ 433740 w 2935300"/>
                <a:gd name="connsiteY50" fmla="*/ 349444 h 1628860"/>
                <a:gd name="connsiteX51" fmla="*/ 391487 w 2935300"/>
                <a:gd name="connsiteY51" fmla="*/ 321316 h 1628860"/>
                <a:gd name="connsiteX52" fmla="*/ 399555 w 2935300"/>
                <a:gd name="connsiteY52" fmla="*/ 295218 h 1628860"/>
                <a:gd name="connsiteX53" fmla="*/ 397545 w 2935300"/>
                <a:gd name="connsiteY53" fmla="*/ 277168 h 1628860"/>
                <a:gd name="connsiteX54" fmla="*/ 343310 w 2935300"/>
                <a:gd name="connsiteY54" fmla="*/ 293189 h 1628860"/>
                <a:gd name="connsiteX55" fmla="*/ 369418 w 2935300"/>
                <a:gd name="connsiteY55" fmla="*/ 325355 h 1628860"/>
                <a:gd name="connsiteX56" fmla="*/ 349367 w 2935300"/>
                <a:gd name="connsiteY56" fmla="*/ 355511 h 1628860"/>
                <a:gd name="connsiteX57" fmla="*/ 363493 w 2935300"/>
                <a:gd name="connsiteY57" fmla="*/ 381505 h 1628860"/>
                <a:gd name="connsiteX58" fmla="*/ 351387 w 2935300"/>
                <a:gd name="connsiteY58" fmla="*/ 405565 h 1628860"/>
                <a:gd name="connsiteX59" fmla="*/ 387582 w 2935300"/>
                <a:gd name="connsiteY59" fmla="*/ 425749 h 1628860"/>
                <a:gd name="connsiteX60" fmla="*/ 397545 w 2935300"/>
                <a:gd name="connsiteY60" fmla="*/ 503958 h 1628860"/>
                <a:gd name="connsiteX61" fmla="*/ 353397 w 2935300"/>
                <a:gd name="connsiteY61" fmla="*/ 558184 h 1628860"/>
                <a:gd name="connsiteX62" fmla="*/ 349358 w 2935300"/>
                <a:gd name="connsiteY62" fmla="*/ 588340 h 1628860"/>
                <a:gd name="connsiteX63" fmla="*/ 329317 w 2935300"/>
                <a:gd name="connsiteY63" fmla="*/ 586311 h 1628860"/>
                <a:gd name="connsiteX64" fmla="*/ 301190 w 2935300"/>
                <a:gd name="connsiteY64" fmla="*/ 616467 h 1628860"/>
                <a:gd name="connsiteX65" fmla="*/ 311296 w 2935300"/>
                <a:gd name="connsiteY65" fmla="*/ 630479 h 1628860"/>
                <a:gd name="connsiteX66" fmla="*/ 253022 w 2935300"/>
                <a:gd name="connsiteY66" fmla="*/ 704764 h 1628860"/>
                <a:gd name="connsiteX67" fmla="*/ 224895 w 2935300"/>
                <a:gd name="connsiteY67" fmla="*/ 704764 h 1628860"/>
                <a:gd name="connsiteX68" fmla="*/ 196767 w 2935300"/>
                <a:gd name="connsiteY68" fmla="*/ 732892 h 1628860"/>
                <a:gd name="connsiteX69" fmla="*/ 152619 w 2935300"/>
                <a:gd name="connsiteY69" fmla="*/ 750932 h 1628860"/>
                <a:gd name="connsiteX70" fmla="*/ 122482 w 2935300"/>
                <a:gd name="connsiteY70" fmla="*/ 744874 h 1628860"/>
                <a:gd name="connsiteX71" fmla="*/ 90697 w 2935300"/>
                <a:gd name="connsiteY71" fmla="*/ 754847 h 1628860"/>
                <a:gd name="connsiteX72" fmla="*/ 90449 w 2935300"/>
                <a:gd name="connsiteY72" fmla="*/ 756999 h 1628860"/>
                <a:gd name="connsiteX73" fmla="*/ 104451 w 2935300"/>
                <a:gd name="connsiteY73" fmla="*/ 805186 h 1628860"/>
                <a:gd name="connsiteX74" fmla="*/ 120596 w 2935300"/>
                <a:gd name="connsiteY74" fmla="*/ 849335 h 1628860"/>
                <a:gd name="connsiteX75" fmla="*/ 126521 w 2935300"/>
                <a:gd name="connsiteY75" fmla="*/ 889587 h 1628860"/>
                <a:gd name="connsiteX76" fmla="*/ 118548 w 2935300"/>
                <a:gd name="connsiteY76" fmla="*/ 931688 h 1628860"/>
                <a:gd name="connsiteX77" fmla="*/ 96469 w 2935300"/>
                <a:gd name="connsiteY77" fmla="*/ 975855 h 1628860"/>
                <a:gd name="connsiteX78" fmla="*/ 68351 w 2935300"/>
                <a:gd name="connsiteY78" fmla="*/ 1017975 h 1628860"/>
                <a:gd name="connsiteX79" fmla="*/ 58264 w 2935300"/>
                <a:gd name="connsiteY79" fmla="*/ 1048112 h 1628860"/>
                <a:gd name="connsiteX80" fmla="*/ 64313 w 2935300"/>
                <a:gd name="connsiteY80" fmla="*/ 1082316 h 1628860"/>
                <a:gd name="connsiteX81" fmla="*/ 44272 w 2935300"/>
                <a:gd name="connsiteY81" fmla="*/ 1120388 h 1628860"/>
                <a:gd name="connsiteX82" fmla="*/ 40243 w 2935300"/>
                <a:gd name="connsiteY82" fmla="*/ 1138428 h 1628860"/>
                <a:gd name="connsiteX83" fmla="*/ 50206 w 2935300"/>
                <a:gd name="connsiteY83" fmla="*/ 1176642 h 1628860"/>
                <a:gd name="connsiteX84" fmla="*/ 52226 w 2935300"/>
                <a:gd name="connsiteY84" fmla="*/ 1210704 h 1628860"/>
                <a:gd name="connsiteX85" fmla="*/ 36195 w 2935300"/>
                <a:gd name="connsiteY85" fmla="*/ 1248918 h 1628860"/>
                <a:gd name="connsiteX86" fmla="*/ 0 w 2935300"/>
                <a:gd name="connsiteY86" fmla="*/ 1277046 h 1628860"/>
                <a:gd name="connsiteX87" fmla="*/ 4039 w 2935300"/>
                <a:gd name="connsiteY87" fmla="*/ 1325242 h 1628860"/>
                <a:gd name="connsiteX88" fmla="*/ 38224 w 2935300"/>
                <a:gd name="connsiteY88" fmla="*/ 1345283 h 1628860"/>
                <a:gd name="connsiteX89" fmla="*/ 36338 w 2935300"/>
                <a:gd name="connsiteY89" fmla="*/ 1402671 h 1628860"/>
                <a:gd name="connsiteX90" fmla="*/ 82372 w 2935300"/>
                <a:gd name="connsiteY90" fmla="*/ 1403433 h 1628860"/>
                <a:gd name="connsiteX91" fmla="*/ 118567 w 2935300"/>
                <a:gd name="connsiteY91" fmla="*/ 1375439 h 1628860"/>
                <a:gd name="connsiteX92" fmla="*/ 160696 w 2935300"/>
                <a:gd name="connsiteY92" fmla="*/ 1363332 h 1628860"/>
                <a:gd name="connsiteX93" fmla="*/ 162716 w 2935300"/>
                <a:gd name="connsiteY93" fmla="*/ 1323223 h 1628860"/>
                <a:gd name="connsiteX94" fmla="*/ 174698 w 2935300"/>
                <a:gd name="connsiteY94" fmla="*/ 1280960 h 1628860"/>
                <a:gd name="connsiteX95" fmla="*/ 228924 w 2935300"/>
                <a:gd name="connsiteY95" fmla="*/ 1291057 h 1628860"/>
                <a:gd name="connsiteX96" fmla="*/ 244945 w 2935300"/>
                <a:gd name="connsiteY96" fmla="*/ 1284999 h 1628860"/>
                <a:gd name="connsiteX97" fmla="*/ 239011 w 2935300"/>
                <a:gd name="connsiteY97" fmla="*/ 1260919 h 1628860"/>
                <a:gd name="connsiteX98" fmla="*/ 263109 w 2935300"/>
                <a:gd name="connsiteY98" fmla="*/ 1240870 h 1628860"/>
                <a:gd name="connsiteX99" fmla="*/ 285178 w 2935300"/>
                <a:gd name="connsiteY99" fmla="*/ 1180643 h 1628860"/>
                <a:gd name="connsiteX100" fmla="*/ 301200 w 2935300"/>
                <a:gd name="connsiteY100" fmla="*/ 1182538 h 1628860"/>
                <a:gd name="connsiteX101" fmla="*/ 319240 w 2935300"/>
                <a:gd name="connsiteY101" fmla="*/ 1176604 h 1628860"/>
                <a:gd name="connsiteX102" fmla="*/ 365417 w 2935300"/>
                <a:gd name="connsiteY102" fmla="*/ 1206608 h 1628860"/>
                <a:gd name="connsiteX103" fmla="*/ 371475 w 2935300"/>
                <a:gd name="connsiteY103" fmla="*/ 1232716 h 1628860"/>
                <a:gd name="connsiteX104" fmla="*/ 423681 w 2935300"/>
                <a:gd name="connsiteY104" fmla="*/ 1274978 h 1628860"/>
                <a:gd name="connsiteX105" fmla="*/ 399593 w 2935300"/>
                <a:gd name="connsiteY105" fmla="*/ 1337167 h 1628860"/>
                <a:gd name="connsiteX106" fmla="*/ 405651 w 2935300"/>
                <a:gd name="connsiteY106" fmla="*/ 1359237 h 1628860"/>
                <a:gd name="connsiteX107" fmla="*/ 445751 w 2935300"/>
                <a:gd name="connsiteY107" fmla="*/ 1387345 h 1628860"/>
                <a:gd name="connsiteX108" fmla="*/ 513988 w 2935300"/>
                <a:gd name="connsiteY108" fmla="*/ 1391402 h 1628860"/>
                <a:gd name="connsiteX109" fmla="*/ 574272 w 2935300"/>
                <a:gd name="connsiteY109" fmla="*/ 1361246 h 1628860"/>
                <a:gd name="connsiteX110" fmla="*/ 630526 w 2935300"/>
                <a:gd name="connsiteY110" fmla="*/ 1363256 h 1628860"/>
                <a:gd name="connsiteX111" fmla="*/ 660540 w 2935300"/>
                <a:gd name="connsiteY111" fmla="*/ 1393412 h 1628860"/>
                <a:gd name="connsiteX112" fmla="*/ 706707 w 2935300"/>
                <a:gd name="connsiteY112" fmla="*/ 1405376 h 1628860"/>
                <a:gd name="connsiteX113" fmla="*/ 712765 w 2935300"/>
                <a:gd name="connsiteY113" fmla="*/ 1429484 h 1628860"/>
                <a:gd name="connsiteX114" fmla="*/ 684647 w 2935300"/>
                <a:gd name="connsiteY114" fmla="*/ 1465688 h 1628860"/>
                <a:gd name="connsiteX115" fmla="*/ 710755 w 2935300"/>
                <a:gd name="connsiteY115" fmla="*/ 1471746 h 1628860"/>
                <a:gd name="connsiteX116" fmla="*/ 740902 w 2935300"/>
                <a:gd name="connsiteY116" fmla="*/ 1457611 h 1628860"/>
                <a:gd name="connsiteX117" fmla="*/ 760943 w 2935300"/>
                <a:gd name="connsiteY117" fmla="*/ 1481718 h 1628860"/>
                <a:gd name="connsiteX118" fmla="*/ 805082 w 2935300"/>
                <a:gd name="connsiteY118" fmla="*/ 1485757 h 1628860"/>
                <a:gd name="connsiteX119" fmla="*/ 835228 w 2935300"/>
                <a:gd name="connsiteY119" fmla="*/ 1505807 h 1628860"/>
                <a:gd name="connsiteX120" fmla="*/ 911533 w 2935300"/>
                <a:gd name="connsiteY120" fmla="*/ 1487767 h 1628860"/>
                <a:gd name="connsiteX121" fmla="*/ 973722 w 2935300"/>
                <a:gd name="connsiteY121" fmla="*/ 1501759 h 1628860"/>
                <a:gd name="connsiteX122" fmla="*/ 985828 w 2935300"/>
                <a:gd name="connsiteY122" fmla="*/ 1457611 h 1628860"/>
                <a:gd name="connsiteX123" fmla="*/ 1023918 w 2935300"/>
                <a:gd name="connsiteY123" fmla="*/ 1423569 h 1628860"/>
                <a:gd name="connsiteX124" fmla="*/ 1023918 w 2935300"/>
                <a:gd name="connsiteY124" fmla="*/ 1365314 h 1628860"/>
                <a:gd name="connsiteX125" fmla="*/ 1050027 w 2935300"/>
                <a:gd name="connsiteY125" fmla="*/ 1339196 h 1628860"/>
                <a:gd name="connsiteX126" fmla="*/ 1043969 w 2935300"/>
                <a:gd name="connsiteY126" fmla="*/ 1286980 h 1628860"/>
                <a:gd name="connsiteX127" fmla="*/ 1124322 w 2935300"/>
                <a:gd name="connsiteY127" fmla="*/ 1192644 h 1628860"/>
                <a:gd name="connsiteX128" fmla="*/ 1198607 w 2935300"/>
                <a:gd name="connsiteY128" fmla="*/ 1186577 h 1628860"/>
                <a:gd name="connsiteX129" fmla="*/ 1276941 w 2935300"/>
                <a:gd name="connsiteY129" fmla="*/ 1160479 h 1628860"/>
                <a:gd name="connsiteX130" fmla="*/ 1323118 w 2935300"/>
                <a:gd name="connsiteY130" fmla="*/ 1168565 h 1628860"/>
                <a:gd name="connsiteX131" fmla="*/ 1349216 w 2935300"/>
                <a:gd name="connsiteY131" fmla="*/ 1186596 h 1628860"/>
                <a:gd name="connsiteX132" fmla="*/ 1389317 w 2935300"/>
                <a:gd name="connsiteY132" fmla="*/ 1176623 h 1628860"/>
                <a:gd name="connsiteX133" fmla="*/ 1433474 w 2935300"/>
                <a:gd name="connsiteY133" fmla="*/ 1118359 h 1628860"/>
                <a:gd name="connsiteX134" fmla="*/ 1457563 w 2935300"/>
                <a:gd name="connsiteY134" fmla="*/ 1118359 h 1628860"/>
                <a:gd name="connsiteX135" fmla="*/ 1491758 w 2935300"/>
                <a:gd name="connsiteY135" fmla="*/ 1148496 h 1628860"/>
                <a:gd name="connsiteX136" fmla="*/ 1568063 w 2935300"/>
                <a:gd name="connsiteY136" fmla="*/ 1116349 h 1628860"/>
                <a:gd name="connsiteX137" fmla="*/ 1670475 w 2935300"/>
                <a:gd name="connsiteY137" fmla="*/ 1146486 h 1628860"/>
                <a:gd name="connsiteX138" fmla="*/ 1692545 w 2935300"/>
                <a:gd name="connsiteY138" fmla="*/ 1168565 h 1628860"/>
                <a:gd name="connsiteX139" fmla="*/ 1730645 w 2935300"/>
                <a:gd name="connsiteY139" fmla="*/ 1168565 h 1628860"/>
                <a:gd name="connsiteX140" fmla="*/ 1734674 w 2935300"/>
                <a:gd name="connsiteY140" fmla="*/ 1142448 h 1628860"/>
                <a:gd name="connsiteX141" fmla="*/ 1794967 w 2935300"/>
                <a:gd name="connsiteY141" fmla="*/ 1136399 h 1628860"/>
                <a:gd name="connsiteX142" fmla="*/ 1913411 w 2935300"/>
                <a:gd name="connsiteY142" fmla="*/ 1068162 h 1628860"/>
                <a:gd name="connsiteX143" fmla="*/ 2029825 w 2935300"/>
                <a:gd name="connsiteY143" fmla="*/ 1038006 h 1628860"/>
                <a:gd name="connsiteX144" fmla="*/ 2061991 w 2935300"/>
                <a:gd name="connsiteY144" fmla="*/ 1001935 h 1628860"/>
                <a:gd name="connsiteX145" fmla="*/ 2084060 w 2935300"/>
                <a:gd name="connsiteY145" fmla="*/ 997010 h 1628860"/>
                <a:gd name="connsiteX146" fmla="*/ 2084060 w 2935300"/>
                <a:gd name="connsiteY146" fmla="*/ 955777 h 1628860"/>
                <a:gd name="connsiteX147" fmla="*/ 2082041 w 2935300"/>
                <a:gd name="connsiteY147" fmla="*/ 907580 h 1628860"/>
                <a:gd name="connsiteX148" fmla="*/ 2065896 w 2935300"/>
                <a:gd name="connsiteY148" fmla="*/ 889549 h 1628860"/>
                <a:gd name="connsiteX149" fmla="*/ 2035883 w 2935300"/>
                <a:gd name="connsiteY149" fmla="*/ 877443 h 1628860"/>
                <a:gd name="connsiteX150" fmla="*/ 2031835 w 2935300"/>
                <a:gd name="connsiteY150" fmla="*/ 831266 h 1628860"/>
                <a:gd name="connsiteX151" fmla="*/ 2029825 w 2935300"/>
                <a:gd name="connsiteY151" fmla="*/ 773002 h 1628860"/>
                <a:gd name="connsiteX152" fmla="*/ 2043837 w 2935300"/>
                <a:gd name="connsiteY152" fmla="*/ 746903 h 1628860"/>
                <a:gd name="connsiteX153" fmla="*/ 2031845 w 2935300"/>
                <a:gd name="connsiteY153" fmla="*/ 698716 h 1628860"/>
                <a:gd name="connsiteX154" fmla="*/ 2057952 w 2935300"/>
                <a:gd name="connsiteY154" fmla="*/ 684705 h 1628860"/>
                <a:gd name="connsiteX155" fmla="*/ 2114083 w 2935300"/>
                <a:gd name="connsiteY155" fmla="*/ 688743 h 1628860"/>
                <a:gd name="connsiteX156" fmla="*/ 2158346 w 2935300"/>
                <a:gd name="connsiteY156" fmla="*/ 664655 h 1628860"/>
                <a:gd name="connsiteX157" fmla="*/ 2216496 w 2935300"/>
                <a:gd name="connsiteY157" fmla="*/ 638556 h 1628860"/>
                <a:gd name="connsiteX158" fmla="*/ 2252691 w 2935300"/>
                <a:gd name="connsiteY158" fmla="*/ 606390 h 1628860"/>
                <a:gd name="connsiteX159" fmla="*/ 2274761 w 2935300"/>
                <a:gd name="connsiteY159" fmla="*/ 598446 h 1628860"/>
                <a:gd name="connsiteX160" fmla="*/ 2324957 w 2935300"/>
                <a:gd name="connsiteY160" fmla="*/ 632489 h 1628860"/>
                <a:gd name="connsiteX161" fmla="*/ 2417283 w 2935300"/>
                <a:gd name="connsiteY161" fmla="*/ 596418 h 1628860"/>
                <a:gd name="connsiteX162" fmla="*/ 2415264 w 2935300"/>
                <a:gd name="connsiteY162" fmla="*/ 566261 h 1628860"/>
                <a:gd name="connsiteX163" fmla="*/ 2469490 w 2935300"/>
                <a:gd name="connsiteY163" fmla="*/ 514045 h 1628860"/>
                <a:gd name="connsiteX164" fmla="*/ 2509599 w 2935300"/>
                <a:gd name="connsiteY164" fmla="*/ 514045 h 1628860"/>
                <a:gd name="connsiteX165" fmla="*/ 2535707 w 2935300"/>
                <a:gd name="connsiteY165" fmla="*/ 502063 h 1628860"/>
                <a:gd name="connsiteX166" fmla="*/ 2557777 w 2935300"/>
                <a:gd name="connsiteY166" fmla="*/ 471926 h 1628860"/>
                <a:gd name="connsiteX167" fmla="*/ 2567864 w 2935300"/>
                <a:gd name="connsiteY167" fmla="*/ 437750 h 1628860"/>
                <a:gd name="connsiteX168" fmla="*/ 2575808 w 2935300"/>
                <a:gd name="connsiteY168" fmla="*/ 403689 h 1628860"/>
                <a:gd name="connsiteX169" fmla="*/ 2593972 w 2935300"/>
                <a:gd name="connsiteY169" fmla="*/ 379609 h 1628860"/>
                <a:gd name="connsiteX170" fmla="*/ 2621966 w 2935300"/>
                <a:gd name="connsiteY170" fmla="*/ 333327 h 1628860"/>
                <a:gd name="connsiteX171" fmla="*/ 2605935 w 2935300"/>
                <a:gd name="connsiteY171" fmla="*/ 311258 h 1628860"/>
                <a:gd name="connsiteX172" fmla="*/ 2585885 w 2935300"/>
                <a:gd name="connsiteY172" fmla="*/ 287169 h 1628860"/>
                <a:gd name="connsiteX173" fmla="*/ 2585885 w 2935300"/>
                <a:gd name="connsiteY173" fmla="*/ 257146 h 1628860"/>
                <a:gd name="connsiteX174" fmla="*/ 2581846 w 2935300"/>
                <a:gd name="connsiteY174" fmla="*/ 212893 h 1628860"/>
                <a:gd name="connsiteX175" fmla="*/ 2545785 w 2935300"/>
                <a:gd name="connsiteY175" fmla="*/ 196863 h 1628860"/>
                <a:gd name="connsiteX176" fmla="*/ 2513619 w 2935300"/>
                <a:gd name="connsiteY176" fmla="*/ 176822 h 1628860"/>
                <a:gd name="connsiteX177" fmla="*/ 2502523 w 2935300"/>
                <a:gd name="connsiteY177" fmla="*/ 134293 h 1628860"/>
                <a:gd name="connsiteX178" fmla="*/ 2477414 w 2935300"/>
                <a:gd name="connsiteY178" fmla="*/ 126597 h 1628860"/>
                <a:gd name="connsiteX179" fmla="*/ 2447401 w 2935300"/>
                <a:gd name="connsiteY179" fmla="*/ 148657 h 1628860"/>
                <a:gd name="connsiteX180" fmla="*/ 2385089 w 2935300"/>
                <a:gd name="connsiteY180" fmla="*/ 96441 h 1628860"/>
                <a:gd name="connsiteX181" fmla="*/ 2365038 w 2935300"/>
                <a:gd name="connsiteY181" fmla="*/ 52311 h 1628860"/>
                <a:gd name="connsiteX182" fmla="*/ 2296801 w 2935300"/>
                <a:gd name="connsiteY182" fmla="*/ 70342 h 1628860"/>
                <a:gd name="connsiteX183" fmla="*/ 2256568 w 2935300"/>
                <a:gd name="connsiteY183" fmla="*/ 58360 h 1628860"/>
                <a:gd name="connsiteX184" fmla="*/ 2186321 w 2935300"/>
                <a:gd name="connsiteY184" fmla="*/ 82448 h 1628860"/>
                <a:gd name="connsiteX185" fmla="*/ 2170290 w 2935300"/>
                <a:gd name="connsiteY185" fmla="*/ 44234 h 1628860"/>
                <a:gd name="connsiteX186" fmla="*/ 2192360 w 2935300"/>
                <a:gd name="connsiteY186" fmla="*/ 14211 h 1628860"/>
                <a:gd name="connsiteX187" fmla="*/ 2182397 w 2935300"/>
                <a:gd name="connsiteY187" fmla="*/ 0 h 1628860"/>
                <a:gd name="connsiteX188" fmla="*/ 2502523 w 2935300"/>
                <a:gd name="connsiteY188" fmla="*/ 134198 h 1628860"/>
                <a:gd name="connsiteX189" fmla="*/ 2503522 w 2935300"/>
                <a:gd name="connsiteY189" fmla="*/ 134588 h 1628860"/>
                <a:gd name="connsiteX190" fmla="*/ 2501503 w 2935300"/>
                <a:gd name="connsiteY190" fmla="*/ 130521 h 1628860"/>
                <a:gd name="connsiteX191" fmla="*/ 2502523 w 2935300"/>
                <a:gd name="connsiteY191" fmla="*/ 134198 h 1628860"/>
                <a:gd name="connsiteX192" fmla="*/ 2084013 w 2935300"/>
                <a:gd name="connsiteY192" fmla="*/ 996925 h 1628860"/>
                <a:gd name="connsiteX193" fmla="*/ 2136981 w 2935300"/>
                <a:gd name="connsiteY193" fmla="*/ 985609 h 1628860"/>
                <a:gd name="connsiteX194" fmla="*/ 2162480 w 2935300"/>
                <a:gd name="connsiteY194" fmla="*/ 980361 h 1628860"/>
                <a:gd name="connsiteX195" fmla="*/ 2186930 w 2935300"/>
                <a:gd name="connsiteY195" fmla="*/ 999820 h 1628860"/>
                <a:gd name="connsiteX196" fmla="*/ 2162204 w 2935300"/>
                <a:gd name="connsiteY196" fmla="*/ 979770 h 1628860"/>
                <a:gd name="connsiteX197" fmla="*/ 2124742 w 2935300"/>
                <a:gd name="connsiteY197" fmla="*/ 987971 h 1628860"/>
                <a:gd name="connsiteX198" fmla="*/ 2084013 w 2935300"/>
                <a:gd name="connsiteY198" fmla="*/ 996925 h 1628860"/>
                <a:gd name="connsiteX199" fmla="*/ 2186930 w 2935300"/>
                <a:gd name="connsiteY199" fmla="*/ 999820 h 1628860"/>
                <a:gd name="connsiteX200" fmla="*/ 2194379 w 2935300"/>
                <a:gd name="connsiteY200" fmla="*/ 1005888 h 1628860"/>
                <a:gd name="connsiteX201" fmla="*/ 2158308 w 2935300"/>
                <a:gd name="connsiteY201" fmla="*/ 1076135 h 1628860"/>
                <a:gd name="connsiteX202" fmla="*/ 2093985 w 2935300"/>
                <a:gd name="connsiteY202" fmla="*/ 1092156 h 1628860"/>
                <a:gd name="connsiteX203" fmla="*/ 2093985 w 2935300"/>
                <a:gd name="connsiteY203" fmla="*/ 1166470 h 1628860"/>
                <a:gd name="connsiteX204" fmla="*/ 2124132 w 2935300"/>
                <a:gd name="connsiteY204" fmla="*/ 1210599 h 1628860"/>
                <a:gd name="connsiteX205" fmla="*/ 2128171 w 2935300"/>
                <a:gd name="connsiteY205" fmla="*/ 1240755 h 1628860"/>
                <a:gd name="connsiteX206" fmla="*/ 2188331 w 2935300"/>
                <a:gd name="connsiteY206" fmla="*/ 1278855 h 1628860"/>
                <a:gd name="connsiteX207" fmla="*/ 2230584 w 2935300"/>
                <a:gd name="connsiteY207" fmla="*/ 1274931 h 1628860"/>
                <a:gd name="connsiteX208" fmla="*/ 2244595 w 2935300"/>
                <a:gd name="connsiteY208" fmla="*/ 1288942 h 1628860"/>
                <a:gd name="connsiteX209" fmla="*/ 2278770 w 2935300"/>
                <a:gd name="connsiteY209" fmla="*/ 1351245 h 1628860"/>
                <a:gd name="connsiteX210" fmla="*/ 2262626 w 2935300"/>
                <a:gd name="connsiteY210" fmla="*/ 1429455 h 1628860"/>
                <a:gd name="connsiteX211" fmla="*/ 2302859 w 2935300"/>
                <a:gd name="connsiteY211" fmla="*/ 1445600 h 1628860"/>
                <a:gd name="connsiteX212" fmla="*/ 2342969 w 2935300"/>
                <a:gd name="connsiteY212" fmla="*/ 1443590 h 1628860"/>
                <a:gd name="connsiteX213" fmla="*/ 2343103 w 2935300"/>
                <a:gd name="connsiteY213" fmla="*/ 1443590 h 1628860"/>
                <a:gd name="connsiteX214" fmla="*/ 2343607 w 2935300"/>
                <a:gd name="connsiteY214" fmla="*/ 1443800 h 1628860"/>
                <a:gd name="connsiteX215" fmla="*/ 2369087 w 2935300"/>
                <a:gd name="connsiteY215" fmla="*/ 1525800 h 1628860"/>
                <a:gd name="connsiteX216" fmla="*/ 2413235 w 2935300"/>
                <a:gd name="connsiteY216" fmla="*/ 1551899 h 1628860"/>
                <a:gd name="connsiteX217" fmla="*/ 2553738 w 2935300"/>
                <a:gd name="connsiteY217" fmla="*/ 1616231 h 1628860"/>
                <a:gd name="connsiteX218" fmla="*/ 2601935 w 2935300"/>
                <a:gd name="connsiteY218" fmla="*/ 1622146 h 1628860"/>
                <a:gd name="connsiteX219" fmla="*/ 2654141 w 2935300"/>
                <a:gd name="connsiteY219" fmla="*/ 1621145 h 1628860"/>
                <a:gd name="connsiteX220" fmla="*/ 2662600 w 2935300"/>
                <a:gd name="connsiteY220" fmla="*/ 1628861 h 1628860"/>
                <a:gd name="connsiteX221" fmla="*/ 2668276 w 2935300"/>
                <a:gd name="connsiteY221" fmla="*/ 1608172 h 1628860"/>
                <a:gd name="connsiteX222" fmla="*/ 2694270 w 2935300"/>
                <a:gd name="connsiteY222" fmla="*/ 1566024 h 1628860"/>
                <a:gd name="connsiteX223" fmla="*/ 2708377 w 2935300"/>
                <a:gd name="connsiteY223" fmla="*/ 1515828 h 1628860"/>
                <a:gd name="connsiteX224" fmla="*/ 2710396 w 2935300"/>
                <a:gd name="connsiteY224" fmla="*/ 1463611 h 1628860"/>
                <a:gd name="connsiteX225" fmla="*/ 2744457 w 2935300"/>
                <a:gd name="connsiteY225" fmla="*/ 1465622 h 1628860"/>
                <a:gd name="connsiteX226" fmla="*/ 2786710 w 2935300"/>
                <a:gd name="connsiteY226" fmla="*/ 1467660 h 1628860"/>
                <a:gd name="connsiteX227" fmla="*/ 2824801 w 2935300"/>
                <a:gd name="connsiteY227" fmla="*/ 1445581 h 1628860"/>
                <a:gd name="connsiteX228" fmla="*/ 2868949 w 2935300"/>
                <a:gd name="connsiteY228" fmla="*/ 1419482 h 1628860"/>
                <a:gd name="connsiteX229" fmla="*/ 2901115 w 2935300"/>
                <a:gd name="connsiteY229" fmla="*/ 1447610 h 1628860"/>
                <a:gd name="connsiteX230" fmla="*/ 2935300 w 2935300"/>
                <a:gd name="connsiteY230" fmla="*/ 1451515 h 1628860"/>
                <a:gd name="connsiteX231" fmla="*/ 2927213 w 2935300"/>
                <a:gd name="connsiteY231" fmla="*/ 1405338 h 1628860"/>
                <a:gd name="connsiteX232" fmla="*/ 2897076 w 2935300"/>
                <a:gd name="connsiteY232" fmla="*/ 1375315 h 1628860"/>
                <a:gd name="connsiteX233" fmla="*/ 2864901 w 2935300"/>
                <a:gd name="connsiteY233" fmla="*/ 1331062 h 1628860"/>
                <a:gd name="connsiteX234" fmla="*/ 2828839 w 2935300"/>
                <a:gd name="connsiteY234" fmla="*/ 1301048 h 1628860"/>
                <a:gd name="connsiteX235" fmla="*/ 2798693 w 2935300"/>
                <a:gd name="connsiteY235" fmla="*/ 1266873 h 1628860"/>
                <a:gd name="connsiteX236" fmla="*/ 2794645 w 2935300"/>
                <a:gd name="connsiteY236" fmla="*/ 1222715 h 1628860"/>
                <a:gd name="connsiteX237" fmla="*/ 2778624 w 2935300"/>
                <a:gd name="connsiteY237" fmla="*/ 1178566 h 1628860"/>
                <a:gd name="connsiteX238" fmla="*/ 2740533 w 2935300"/>
                <a:gd name="connsiteY238" fmla="*/ 1172518 h 1628860"/>
                <a:gd name="connsiteX239" fmla="*/ 2726407 w 2935300"/>
                <a:gd name="connsiteY239" fmla="*/ 1138323 h 1628860"/>
                <a:gd name="connsiteX240" fmla="*/ 2702328 w 2935300"/>
                <a:gd name="connsiteY240" fmla="*/ 1108319 h 1628860"/>
                <a:gd name="connsiteX241" fmla="*/ 2712415 w 2935300"/>
                <a:gd name="connsiteY241" fmla="*/ 1070086 h 1628860"/>
                <a:gd name="connsiteX242" fmla="*/ 2732465 w 2935300"/>
                <a:gd name="connsiteY242" fmla="*/ 1015860 h 1628860"/>
                <a:gd name="connsiteX243" fmla="*/ 2670162 w 2935300"/>
                <a:gd name="connsiteY243" fmla="*/ 997830 h 1628860"/>
                <a:gd name="connsiteX244" fmla="*/ 2605964 w 2935300"/>
                <a:gd name="connsiteY244" fmla="*/ 983809 h 1628860"/>
                <a:gd name="connsiteX245" fmla="*/ 2593981 w 2935300"/>
                <a:gd name="connsiteY245" fmla="*/ 935622 h 1628860"/>
                <a:gd name="connsiteX246" fmla="*/ 2577837 w 2935300"/>
                <a:gd name="connsiteY246" fmla="*/ 917467 h 1628860"/>
                <a:gd name="connsiteX247" fmla="*/ 2529650 w 2935300"/>
                <a:gd name="connsiteY247" fmla="*/ 883406 h 1628860"/>
                <a:gd name="connsiteX248" fmla="*/ 2491559 w 2935300"/>
                <a:gd name="connsiteY248" fmla="*/ 883406 h 1628860"/>
                <a:gd name="connsiteX249" fmla="*/ 2465451 w 2935300"/>
                <a:gd name="connsiteY249" fmla="*/ 877357 h 1628860"/>
                <a:gd name="connsiteX250" fmla="*/ 2435305 w 2935300"/>
                <a:gd name="connsiteY250" fmla="*/ 859307 h 1628860"/>
                <a:gd name="connsiteX251" fmla="*/ 2399224 w 2935300"/>
                <a:gd name="connsiteY251" fmla="*/ 891350 h 1628860"/>
                <a:gd name="connsiteX252" fmla="*/ 2363029 w 2935300"/>
                <a:gd name="connsiteY252" fmla="*/ 883406 h 1628860"/>
                <a:gd name="connsiteX253" fmla="*/ 2316852 w 2935300"/>
                <a:gd name="connsiteY253" fmla="*/ 895398 h 1628860"/>
                <a:gd name="connsiteX254" fmla="*/ 2304869 w 2935300"/>
                <a:gd name="connsiteY254" fmla="*/ 929573 h 1628860"/>
                <a:gd name="connsiteX255" fmla="*/ 2290753 w 2935300"/>
                <a:gd name="connsiteY255" fmla="*/ 953653 h 1628860"/>
                <a:gd name="connsiteX256" fmla="*/ 2244576 w 2935300"/>
                <a:gd name="connsiteY256" fmla="*/ 985828 h 1628860"/>
                <a:gd name="connsiteX257" fmla="*/ 2188331 w 2935300"/>
                <a:gd name="connsiteY257" fmla="*/ 999839 h 1628860"/>
                <a:gd name="connsiteX258" fmla="*/ 2186930 w 2935300"/>
                <a:gd name="connsiteY258" fmla="*/ 999820 h 1628860"/>
                <a:gd name="connsiteX259" fmla="*/ 2186930 w 2935300"/>
                <a:gd name="connsiteY259" fmla="*/ 999820 h 1628860"/>
                <a:gd name="connsiteX260" fmla="*/ 36290 w 2935300"/>
                <a:gd name="connsiteY260" fmla="*/ 1402556 h 1628860"/>
                <a:gd name="connsiteX261" fmla="*/ 34280 w 2935300"/>
                <a:gd name="connsiteY261" fmla="*/ 1402556 h 1628860"/>
                <a:gd name="connsiteX262" fmla="*/ 36176 w 2935300"/>
                <a:gd name="connsiteY262" fmla="*/ 1407366 h 1628860"/>
                <a:gd name="connsiteX263" fmla="*/ 36290 w 2935300"/>
                <a:gd name="connsiteY263" fmla="*/ 1402556 h 1628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2935300" h="1628860">
                  <a:moveTo>
                    <a:pt x="2182397" y="0"/>
                  </a:moveTo>
                  <a:lnTo>
                    <a:pt x="2146202" y="28127"/>
                  </a:lnTo>
                  <a:lnTo>
                    <a:pt x="2104073" y="52216"/>
                  </a:lnTo>
                  <a:lnTo>
                    <a:pt x="2130171" y="116415"/>
                  </a:lnTo>
                  <a:lnTo>
                    <a:pt x="2134210" y="186661"/>
                  </a:lnTo>
                  <a:lnTo>
                    <a:pt x="2089947" y="196768"/>
                  </a:lnTo>
                  <a:lnTo>
                    <a:pt x="1975552" y="182756"/>
                  </a:lnTo>
                  <a:lnTo>
                    <a:pt x="1961550" y="192729"/>
                  </a:lnTo>
                  <a:lnTo>
                    <a:pt x="1935432" y="182756"/>
                  </a:lnTo>
                  <a:lnTo>
                    <a:pt x="1784833" y="222866"/>
                  </a:lnTo>
                  <a:lnTo>
                    <a:pt x="1776755" y="255032"/>
                  </a:lnTo>
                  <a:lnTo>
                    <a:pt x="1710547" y="242926"/>
                  </a:lnTo>
                  <a:lnTo>
                    <a:pt x="1604096" y="253022"/>
                  </a:lnTo>
                  <a:lnTo>
                    <a:pt x="1568015" y="238906"/>
                  </a:lnTo>
                  <a:lnTo>
                    <a:pt x="1521847" y="279140"/>
                  </a:lnTo>
                  <a:lnTo>
                    <a:pt x="1521847" y="333261"/>
                  </a:lnTo>
                  <a:lnTo>
                    <a:pt x="1493730" y="365427"/>
                  </a:lnTo>
                  <a:lnTo>
                    <a:pt x="1427512" y="373513"/>
                  </a:lnTo>
                  <a:lnTo>
                    <a:pt x="1367218" y="359397"/>
                  </a:lnTo>
                  <a:lnTo>
                    <a:pt x="1315002" y="423710"/>
                  </a:lnTo>
                  <a:lnTo>
                    <a:pt x="1339101" y="429644"/>
                  </a:lnTo>
                  <a:lnTo>
                    <a:pt x="1333167" y="459800"/>
                  </a:lnTo>
                  <a:lnTo>
                    <a:pt x="1274893" y="457772"/>
                  </a:lnTo>
                  <a:lnTo>
                    <a:pt x="1228725" y="500043"/>
                  </a:lnTo>
                  <a:lnTo>
                    <a:pt x="1222677" y="524132"/>
                  </a:lnTo>
                  <a:lnTo>
                    <a:pt x="1192520" y="548221"/>
                  </a:lnTo>
                  <a:lnTo>
                    <a:pt x="1158478" y="542163"/>
                  </a:lnTo>
                  <a:lnTo>
                    <a:pt x="1180538" y="505959"/>
                  </a:lnTo>
                  <a:lnTo>
                    <a:pt x="1160488" y="489937"/>
                  </a:lnTo>
                  <a:lnTo>
                    <a:pt x="1132361" y="495986"/>
                  </a:lnTo>
                  <a:lnTo>
                    <a:pt x="1090231" y="507968"/>
                  </a:lnTo>
                  <a:lnTo>
                    <a:pt x="1042045" y="560184"/>
                  </a:lnTo>
                  <a:lnTo>
                    <a:pt x="983771" y="554136"/>
                  </a:lnTo>
                  <a:lnTo>
                    <a:pt x="939632" y="566233"/>
                  </a:lnTo>
                  <a:lnTo>
                    <a:pt x="893445" y="540134"/>
                  </a:lnTo>
                  <a:lnTo>
                    <a:pt x="913505" y="512007"/>
                  </a:lnTo>
                  <a:lnTo>
                    <a:pt x="843248" y="421719"/>
                  </a:lnTo>
                  <a:lnTo>
                    <a:pt x="800986" y="425758"/>
                  </a:lnTo>
                  <a:lnTo>
                    <a:pt x="789003" y="403689"/>
                  </a:lnTo>
                  <a:lnTo>
                    <a:pt x="833161" y="373551"/>
                  </a:lnTo>
                  <a:lnTo>
                    <a:pt x="797081" y="341385"/>
                  </a:lnTo>
                  <a:lnTo>
                    <a:pt x="726834" y="369503"/>
                  </a:lnTo>
                  <a:lnTo>
                    <a:pt x="686581" y="369503"/>
                  </a:lnTo>
                  <a:lnTo>
                    <a:pt x="678647" y="343395"/>
                  </a:lnTo>
                  <a:lnTo>
                    <a:pt x="638413" y="345405"/>
                  </a:lnTo>
                  <a:lnTo>
                    <a:pt x="610286" y="311229"/>
                  </a:lnTo>
                  <a:lnTo>
                    <a:pt x="554155" y="313239"/>
                  </a:lnTo>
                  <a:lnTo>
                    <a:pt x="521979" y="295199"/>
                  </a:lnTo>
                  <a:lnTo>
                    <a:pt x="489823" y="325355"/>
                  </a:lnTo>
                  <a:lnTo>
                    <a:pt x="487813" y="349444"/>
                  </a:lnTo>
                  <a:lnTo>
                    <a:pt x="433740" y="349444"/>
                  </a:lnTo>
                  <a:lnTo>
                    <a:pt x="391487" y="321316"/>
                  </a:lnTo>
                  <a:lnTo>
                    <a:pt x="399555" y="295218"/>
                  </a:lnTo>
                  <a:lnTo>
                    <a:pt x="397545" y="277168"/>
                  </a:lnTo>
                  <a:lnTo>
                    <a:pt x="343310" y="293189"/>
                  </a:lnTo>
                  <a:lnTo>
                    <a:pt x="369418" y="325355"/>
                  </a:lnTo>
                  <a:lnTo>
                    <a:pt x="349367" y="355511"/>
                  </a:lnTo>
                  <a:lnTo>
                    <a:pt x="363493" y="381505"/>
                  </a:lnTo>
                  <a:lnTo>
                    <a:pt x="351387" y="405565"/>
                  </a:lnTo>
                  <a:lnTo>
                    <a:pt x="387582" y="425749"/>
                  </a:lnTo>
                  <a:lnTo>
                    <a:pt x="397545" y="503958"/>
                  </a:lnTo>
                  <a:lnTo>
                    <a:pt x="353397" y="558184"/>
                  </a:lnTo>
                  <a:lnTo>
                    <a:pt x="349358" y="588340"/>
                  </a:lnTo>
                  <a:lnTo>
                    <a:pt x="329317" y="586311"/>
                  </a:lnTo>
                  <a:lnTo>
                    <a:pt x="301190" y="616467"/>
                  </a:lnTo>
                  <a:lnTo>
                    <a:pt x="311296" y="630479"/>
                  </a:lnTo>
                  <a:lnTo>
                    <a:pt x="253022" y="704764"/>
                  </a:lnTo>
                  <a:lnTo>
                    <a:pt x="224895" y="704764"/>
                  </a:lnTo>
                  <a:lnTo>
                    <a:pt x="196767" y="732892"/>
                  </a:lnTo>
                  <a:lnTo>
                    <a:pt x="152619" y="750932"/>
                  </a:lnTo>
                  <a:lnTo>
                    <a:pt x="122482" y="744874"/>
                  </a:lnTo>
                  <a:lnTo>
                    <a:pt x="90697" y="754847"/>
                  </a:lnTo>
                  <a:lnTo>
                    <a:pt x="90449" y="756999"/>
                  </a:lnTo>
                  <a:lnTo>
                    <a:pt x="104451" y="805186"/>
                  </a:lnTo>
                  <a:lnTo>
                    <a:pt x="120596" y="849335"/>
                  </a:lnTo>
                  <a:lnTo>
                    <a:pt x="126521" y="889587"/>
                  </a:lnTo>
                  <a:lnTo>
                    <a:pt x="118548" y="931688"/>
                  </a:lnTo>
                  <a:lnTo>
                    <a:pt x="96469" y="975855"/>
                  </a:lnTo>
                  <a:lnTo>
                    <a:pt x="68351" y="1017975"/>
                  </a:lnTo>
                  <a:lnTo>
                    <a:pt x="58264" y="1048112"/>
                  </a:lnTo>
                  <a:lnTo>
                    <a:pt x="64313" y="1082316"/>
                  </a:lnTo>
                  <a:lnTo>
                    <a:pt x="44272" y="1120388"/>
                  </a:lnTo>
                  <a:lnTo>
                    <a:pt x="40243" y="1138428"/>
                  </a:lnTo>
                  <a:lnTo>
                    <a:pt x="50206" y="1176642"/>
                  </a:lnTo>
                  <a:lnTo>
                    <a:pt x="52226" y="1210704"/>
                  </a:lnTo>
                  <a:lnTo>
                    <a:pt x="36195" y="1248918"/>
                  </a:lnTo>
                  <a:lnTo>
                    <a:pt x="0" y="1277046"/>
                  </a:lnTo>
                  <a:lnTo>
                    <a:pt x="4039" y="1325242"/>
                  </a:lnTo>
                  <a:lnTo>
                    <a:pt x="38224" y="1345283"/>
                  </a:lnTo>
                  <a:lnTo>
                    <a:pt x="36338" y="1402671"/>
                  </a:lnTo>
                  <a:lnTo>
                    <a:pt x="82372" y="1403433"/>
                  </a:lnTo>
                  <a:lnTo>
                    <a:pt x="118567" y="1375439"/>
                  </a:lnTo>
                  <a:lnTo>
                    <a:pt x="160696" y="1363332"/>
                  </a:lnTo>
                  <a:lnTo>
                    <a:pt x="162716" y="1323223"/>
                  </a:lnTo>
                  <a:lnTo>
                    <a:pt x="174698" y="1280960"/>
                  </a:lnTo>
                  <a:lnTo>
                    <a:pt x="228924" y="1291057"/>
                  </a:lnTo>
                  <a:lnTo>
                    <a:pt x="244945" y="1284999"/>
                  </a:lnTo>
                  <a:lnTo>
                    <a:pt x="239011" y="1260919"/>
                  </a:lnTo>
                  <a:lnTo>
                    <a:pt x="263109" y="1240870"/>
                  </a:lnTo>
                  <a:lnTo>
                    <a:pt x="285178" y="1180643"/>
                  </a:lnTo>
                  <a:lnTo>
                    <a:pt x="301200" y="1182538"/>
                  </a:lnTo>
                  <a:lnTo>
                    <a:pt x="319240" y="1176604"/>
                  </a:lnTo>
                  <a:lnTo>
                    <a:pt x="365417" y="1206608"/>
                  </a:lnTo>
                  <a:lnTo>
                    <a:pt x="371475" y="1232716"/>
                  </a:lnTo>
                  <a:lnTo>
                    <a:pt x="423681" y="1274978"/>
                  </a:lnTo>
                  <a:lnTo>
                    <a:pt x="399593" y="1337167"/>
                  </a:lnTo>
                  <a:lnTo>
                    <a:pt x="405651" y="1359237"/>
                  </a:lnTo>
                  <a:lnTo>
                    <a:pt x="445751" y="1387345"/>
                  </a:lnTo>
                  <a:lnTo>
                    <a:pt x="513988" y="1391402"/>
                  </a:lnTo>
                  <a:lnTo>
                    <a:pt x="574272" y="1361246"/>
                  </a:lnTo>
                  <a:lnTo>
                    <a:pt x="630526" y="1363256"/>
                  </a:lnTo>
                  <a:lnTo>
                    <a:pt x="660540" y="1393412"/>
                  </a:lnTo>
                  <a:lnTo>
                    <a:pt x="706707" y="1405376"/>
                  </a:lnTo>
                  <a:lnTo>
                    <a:pt x="712765" y="1429484"/>
                  </a:lnTo>
                  <a:lnTo>
                    <a:pt x="684647" y="1465688"/>
                  </a:lnTo>
                  <a:lnTo>
                    <a:pt x="710755" y="1471746"/>
                  </a:lnTo>
                  <a:lnTo>
                    <a:pt x="740902" y="1457611"/>
                  </a:lnTo>
                  <a:lnTo>
                    <a:pt x="760943" y="1481718"/>
                  </a:lnTo>
                  <a:lnTo>
                    <a:pt x="805082" y="1485757"/>
                  </a:lnTo>
                  <a:lnTo>
                    <a:pt x="835228" y="1505807"/>
                  </a:lnTo>
                  <a:lnTo>
                    <a:pt x="911533" y="1487767"/>
                  </a:lnTo>
                  <a:lnTo>
                    <a:pt x="973722" y="1501759"/>
                  </a:lnTo>
                  <a:lnTo>
                    <a:pt x="985828" y="1457611"/>
                  </a:lnTo>
                  <a:lnTo>
                    <a:pt x="1023918" y="1423569"/>
                  </a:lnTo>
                  <a:lnTo>
                    <a:pt x="1023918" y="1365314"/>
                  </a:lnTo>
                  <a:lnTo>
                    <a:pt x="1050027" y="1339196"/>
                  </a:lnTo>
                  <a:lnTo>
                    <a:pt x="1043969" y="1286980"/>
                  </a:lnTo>
                  <a:lnTo>
                    <a:pt x="1124322" y="1192644"/>
                  </a:lnTo>
                  <a:lnTo>
                    <a:pt x="1198607" y="1186577"/>
                  </a:lnTo>
                  <a:lnTo>
                    <a:pt x="1276941" y="1160479"/>
                  </a:lnTo>
                  <a:lnTo>
                    <a:pt x="1323118" y="1168565"/>
                  </a:lnTo>
                  <a:lnTo>
                    <a:pt x="1349216" y="1186596"/>
                  </a:lnTo>
                  <a:lnTo>
                    <a:pt x="1389317" y="1176623"/>
                  </a:lnTo>
                  <a:lnTo>
                    <a:pt x="1433474" y="1118359"/>
                  </a:lnTo>
                  <a:lnTo>
                    <a:pt x="1457563" y="1118359"/>
                  </a:lnTo>
                  <a:lnTo>
                    <a:pt x="1491758" y="1148496"/>
                  </a:lnTo>
                  <a:lnTo>
                    <a:pt x="1568063" y="1116349"/>
                  </a:lnTo>
                  <a:lnTo>
                    <a:pt x="1670475" y="1146486"/>
                  </a:lnTo>
                  <a:lnTo>
                    <a:pt x="1692545" y="1168565"/>
                  </a:lnTo>
                  <a:lnTo>
                    <a:pt x="1730645" y="1168565"/>
                  </a:lnTo>
                  <a:lnTo>
                    <a:pt x="1734674" y="1142448"/>
                  </a:lnTo>
                  <a:lnTo>
                    <a:pt x="1794967" y="1136399"/>
                  </a:lnTo>
                  <a:lnTo>
                    <a:pt x="1913411" y="1068162"/>
                  </a:lnTo>
                  <a:lnTo>
                    <a:pt x="2029825" y="1038006"/>
                  </a:lnTo>
                  <a:lnTo>
                    <a:pt x="2061991" y="1001935"/>
                  </a:lnTo>
                  <a:lnTo>
                    <a:pt x="2084060" y="997010"/>
                  </a:lnTo>
                  <a:lnTo>
                    <a:pt x="2084060" y="955777"/>
                  </a:lnTo>
                  <a:lnTo>
                    <a:pt x="2082041" y="907580"/>
                  </a:lnTo>
                  <a:lnTo>
                    <a:pt x="2065896" y="889549"/>
                  </a:lnTo>
                  <a:lnTo>
                    <a:pt x="2035883" y="877443"/>
                  </a:lnTo>
                  <a:lnTo>
                    <a:pt x="2031835" y="831266"/>
                  </a:lnTo>
                  <a:lnTo>
                    <a:pt x="2029825" y="773002"/>
                  </a:lnTo>
                  <a:lnTo>
                    <a:pt x="2043837" y="746903"/>
                  </a:lnTo>
                  <a:lnTo>
                    <a:pt x="2031845" y="698716"/>
                  </a:lnTo>
                  <a:lnTo>
                    <a:pt x="2057952" y="684705"/>
                  </a:lnTo>
                  <a:lnTo>
                    <a:pt x="2114083" y="688743"/>
                  </a:lnTo>
                  <a:lnTo>
                    <a:pt x="2158346" y="664655"/>
                  </a:lnTo>
                  <a:lnTo>
                    <a:pt x="2216496" y="638556"/>
                  </a:lnTo>
                  <a:lnTo>
                    <a:pt x="2252691" y="606390"/>
                  </a:lnTo>
                  <a:lnTo>
                    <a:pt x="2274761" y="598446"/>
                  </a:lnTo>
                  <a:lnTo>
                    <a:pt x="2324957" y="632489"/>
                  </a:lnTo>
                  <a:lnTo>
                    <a:pt x="2417283" y="596418"/>
                  </a:lnTo>
                  <a:lnTo>
                    <a:pt x="2415264" y="566261"/>
                  </a:lnTo>
                  <a:lnTo>
                    <a:pt x="2469490" y="514045"/>
                  </a:lnTo>
                  <a:lnTo>
                    <a:pt x="2509599" y="514045"/>
                  </a:lnTo>
                  <a:lnTo>
                    <a:pt x="2535707" y="502063"/>
                  </a:lnTo>
                  <a:lnTo>
                    <a:pt x="2557777" y="471926"/>
                  </a:lnTo>
                  <a:lnTo>
                    <a:pt x="2567864" y="437750"/>
                  </a:lnTo>
                  <a:lnTo>
                    <a:pt x="2575808" y="403689"/>
                  </a:lnTo>
                  <a:lnTo>
                    <a:pt x="2593972" y="379609"/>
                  </a:lnTo>
                  <a:lnTo>
                    <a:pt x="2621966" y="333327"/>
                  </a:lnTo>
                  <a:lnTo>
                    <a:pt x="2605935" y="311258"/>
                  </a:lnTo>
                  <a:lnTo>
                    <a:pt x="2585885" y="287169"/>
                  </a:lnTo>
                  <a:lnTo>
                    <a:pt x="2585885" y="257146"/>
                  </a:lnTo>
                  <a:lnTo>
                    <a:pt x="2581846" y="212893"/>
                  </a:lnTo>
                  <a:lnTo>
                    <a:pt x="2545785" y="196863"/>
                  </a:lnTo>
                  <a:lnTo>
                    <a:pt x="2513619" y="176822"/>
                  </a:lnTo>
                  <a:lnTo>
                    <a:pt x="2502523" y="134293"/>
                  </a:lnTo>
                  <a:lnTo>
                    <a:pt x="2477414" y="126597"/>
                  </a:lnTo>
                  <a:lnTo>
                    <a:pt x="2447401" y="148657"/>
                  </a:lnTo>
                  <a:lnTo>
                    <a:pt x="2385089" y="96441"/>
                  </a:lnTo>
                  <a:lnTo>
                    <a:pt x="2365038" y="52311"/>
                  </a:lnTo>
                  <a:lnTo>
                    <a:pt x="2296801" y="70342"/>
                  </a:lnTo>
                  <a:lnTo>
                    <a:pt x="2256568" y="58360"/>
                  </a:lnTo>
                  <a:lnTo>
                    <a:pt x="2186321" y="82448"/>
                  </a:lnTo>
                  <a:lnTo>
                    <a:pt x="2170290" y="44234"/>
                  </a:lnTo>
                  <a:lnTo>
                    <a:pt x="2192360" y="14211"/>
                  </a:lnTo>
                  <a:lnTo>
                    <a:pt x="2182397" y="0"/>
                  </a:lnTo>
                  <a:close/>
                  <a:moveTo>
                    <a:pt x="2502523" y="134198"/>
                  </a:moveTo>
                  <a:lnTo>
                    <a:pt x="2503522" y="134588"/>
                  </a:lnTo>
                  <a:lnTo>
                    <a:pt x="2501503" y="130521"/>
                  </a:lnTo>
                  <a:lnTo>
                    <a:pt x="2502523" y="134198"/>
                  </a:lnTo>
                  <a:close/>
                  <a:moveTo>
                    <a:pt x="2084013" y="996925"/>
                  </a:moveTo>
                  <a:lnTo>
                    <a:pt x="2136981" y="985609"/>
                  </a:lnTo>
                  <a:lnTo>
                    <a:pt x="2162480" y="980361"/>
                  </a:lnTo>
                  <a:lnTo>
                    <a:pt x="2186930" y="999820"/>
                  </a:lnTo>
                  <a:lnTo>
                    <a:pt x="2162204" y="979770"/>
                  </a:lnTo>
                  <a:lnTo>
                    <a:pt x="2124742" y="987971"/>
                  </a:lnTo>
                  <a:lnTo>
                    <a:pt x="2084013" y="996925"/>
                  </a:lnTo>
                  <a:close/>
                  <a:moveTo>
                    <a:pt x="2186930" y="999820"/>
                  </a:moveTo>
                  <a:lnTo>
                    <a:pt x="2194379" y="1005888"/>
                  </a:lnTo>
                  <a:lnTo>
                    <a:pt x="2158308" y="1076135"/>
                  </a:lnTo>
                  <a:lnTo>
                    <a:pt x="2093985" y="1092156"/>
                  </a:lnTo>
                  <a:lnTo>
                    <a:pt x="2093985" y="1166470"/>
                  </a:lnTo>
                  <a:lnTo>
                    <a:pt x="2124132" y="1210599"/>
                  </a:lnTo>
                  <a:lnTo>
                    <a:pt x="2128171" y="1240755"/>
                  </a:lnTo>
                  <a:lnTo>
                    <a:pt x="2188331" y="1278855"/>
                  </a:lnTo>
                  <a:lnTo>
                    <a:pt x="2230584" y="1274931"/>
                  </a:lnTo>
                  <a:lnTo>
                    <a:pt x="2244595" y="1288942"/>
                  </a:lnTo>
                  <a:lnTo>
                    <a:pt x="2278770" y="1351245"/>
                  </a:lnTo>
                  <a:lnTo>
                    <a:pt x="2262626" y="1429455"/>
                  </a:lnTo>
                  <a:lnTo>
                    <a:pt x="2302859" y="1445600"/>
                  </a:lnTo>
                  <a:cubicBezTo>
                    <a:pt x="2302859" y="1445600"/>
                    <a:pt x="2334939" y="1441561"/>
                    <a:pt x="2342969" y="1443590"/>
                  </a:cubicBezTo>
                  <a:cubicBezTo>
                    <a:pt x="2342988" y="1443590"/>
                    <a:pt x="2343055" y="1443571"/>
                    <a:pt x="2343103" y="1443590"/>
                  </a:cubicBezTo>
                  <a:cubicBezTo>
                    <a:pt x="2343226" y="1443628"/>
                    <a:pt x="2343474" y="1443742"/>
                    <a:pt x="2343607" y="1443800"/>
                  </a:cubicBezTo>
                  <a:cubicBezTo>
                    <a:pt x="2351932" y="1449819"/>
                    <a:pt x="2369087" y="1525800"/>
                    <a:pt x="2369087" y="1525800"/>
                  </a:cubicBezTo>
                  <a:lnTo>
                    <a:pt x="2413235" y="1551899"/>
                  </a:lnTo>
                  <a:lnTo>
                    <a:pt x="2553738" y="1616231"/>
                  </a:lnTo>
                  <a:lnTo>
                    <a:pt x="2601935" y="1622146"/>
                  </a:lnTo>
                  <a:lnTo>
                    <a:pt x="2654141" y="1621145"/>
                  </a:lnTo>
                  <a:lnTo>
                    <a:pt x="2662600" y="1628861"/>
                  </a:lnTo>
                  <a:lnTo>
                    <a:pt x="2668276" y="1608172"/>
                  </a:lnTo>
                  <a:cubicBezTo>
                    <a:pt x="2668276" y="1608172"/>
                    <a:pt x="2684202" y="1572254"/>
                    <a:pt x="2694270" y="1566024"/>
                  </a:cubicBezTo>
                  <a:cubicBezTo>
                    <a:pt x="2704310" y="1560014"/>
                    <a:pt x="2708377" y="1515828"/>
                    <a:pt x="2708377" y="1515828"/>
                  </a:cubicBezTo>
                  <a:lnTo>
                    <a:pt x="2710396" y="1463611"/>
                  </a:lnTo>
                  <a:lnTo>
                    <a:pt x="2744457" y="1465622"/>
                  </a:lnTo>
                  <a:lnTo>
                    <a:pt x="2786710" y="1467660"/>
                  </a:lnTo>
                  <a:lnTo>
                    <a:pt x="2824801" y="1445581"/>
                  </a:lnTo>
                  <a:lnTo>
                    <a:pt x="2868949" y="1419482"/>
                  </a:lnTo>
                  <a:lnTo>
                    <a:pt x="2901115" y="1447610"/>
                  </a:lnTo>
                  <a:lnTo>
                    <a:pt x="2935300" y="1451515"/>
                  </a:lnTo>
                  <a:lnTo>
                    <a:pt x="2927213" y="1405338"/>
                  </a:lnTo>
                  <a:lnTo>
                    <a:pt x="2897076" y="1375315"/>
                  </a:lnTo>
                  <a:lnTo>
                    <a:pt x="2864901" y="1331062"/>
                  </a:lnTo>
                  <a:lnTo>
                    <a:pt x="2828839" y="1301048"/>
                  </a:lnTo>
                  <a:lnTo>
                    <a:pt x="2798693" y="1266873"/>
                  </a:lnTo>
                  <a:lnTo>
                    <a:pt x="2794645" y="1222715"/>
                  </a:lnTo>
                  <a:lnTo>
                    <a:pt x="2778624" y="1178566"/>
                  </a:lnTo>
                  <a:lnTo>
                    <a:pt x="2740533" y="1172518"/>
                  </a:lnTo>
                  <a:lnTo>
                    <a:pt x="2726407" y="1138323"/>
                  </a:lnTo>
                  <a:lnTo>
                    <a:pt x="2702328" y="1108319"/>
                  </a:lnTo>
                  <a:lnTo>
                    <a:pt x="2712415" y="1070086"/>
                  </a:lnTo>
                  <a:lnTo>
                    <a:pt x="2732465" y="1015860"/>
                  </a:lnTo>
                  <a:lnTo>
                    <a:pt x="2670162" y="997830"/>
                  </a:lnTo>
                  <a:lnTo>
                    <a:pt x="2605964" y="983809"/>
                  </a:lnTo>
                  <a:lnTo>
                    <a:pt x="2593981" y="935622"/>
                  </a:lnTo>
                  <a:lnTo>
                    <a:pt x="2577837" y="917467"/>
                  </a:lnTo>
                  <a:lnTo>
                    <a:pt x="2529650" y="883406"/>
                  </a:lnTo>
                  <a:lnTo>
                    <a:pt x="2491559" y="883406"/>
                  </a:lnTo>
                  <a:lnTo>
                    <a:pt x="2465451" y="877357"/>
                  </a:lnTo>
                  <a:lnTo>
                    <a:pt x="2435305" y="859307"/>
                  </a:lnTo>
                  <a:lnTo>
                    <a:pt x="2399224" y="891350"/>
                  </a:lnTo>
                  <a:lnTo>
                    <a:pt x="2363029" y="883406"/>
                  </a:lnTo>
                  <a:lnTo>
                    <a:pt x="2316852" y="895398"/>
                  </a:lnTo>
                  <a:lnTo>
                    <a:pt x="2304869" y="929573"/>
                  </a:lnTo>
                  <a:lnTo>
                    <a:pt x="2290753" y="953653"/>
                  </a:lnTo>
                  <a:lnTo>
                    <a:pt x="2244576" y="985828"/>
                  </a:lnTo>
                  <a:lnTo>
                    <a:pt x="2188331" y="999839"/>
                  </a:lnTo>
                  <a:lnTo>
                    <a:pt x="2186930" y="999820"/>
                  </a:lnTo>
                  <a:lnTo>
                    <a:pt x="2186930" y="999820"/>
                  </a:lnTo>
                  <a:close/>
                  <a:moveTo>
                    <a:pt x="36290" y="1402556"/>
                  </a:moveTo>
                  <a:lnTo>
                    <a:pt x="34280" y="1402556"/>
                  </a:lnTo>
                  <a:lnTo>
                    <a:pt x="36176" y="1407366"/>
                  </a:lnTo>
                  <a:lnTo>
                    <a:pt x="36290" y="1402556"/>
                  </a:ln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D43E168-B170-4C85-B274-32550933956C}"/>
                </a:ext>
              </a:extLst>
            </p:cNvPr>
            <p:cNvSpPr/>
            <p:nvPr/>
          </p:nvSpPr>
          <p:spPr bwMode="gray">
            <a:xfrm>
              <a:off x="2286028" y="3787178"/>
              <a:ext cx="716718" cy="1134722"/>
            </a:xfrm>
            <a:custGeom>
              <a:avLst/>
              <a:gdLst>
                <a:gd name="connsiteX0" fmla="*/ 598837 w 716718"/>
                <a:gd name="connsiteY0" fmla="*/ 1134723 h 1134722"/>
                <a:gd name="connsiteX1" fmla="*/ 600847 w 716718"/>
                <a:gd name="connsiteY1" fmla="*/ 1072496 h 1134722"/>
                <a:gd name="connsiteX2" fmla="*/ 566728 w 716718"/>
                <a:gd name="connsiteY2" fmla="*/ 1052408 h 1134722"/>
                <a:gd name="connsiteX3" fmla="*/ 562699 w 716718"/>
                <a:gd name="connsiteY3" fmla="*/ 1004221 h 1134722"/>
                <a:gd name="connsiteX4" fmla="*/ 598827 w 716718"/>
                <a:gd name="connsiteY4" fmla="*/ 976131 h 1134722"/>
                <a:gd name="connsiteX5" fmla="*/ 614905 w 716718"/>
                <a:gd name="connsiteY5" fmla="*/ 937974 h 1134722"/>
                <a:gd name="connsiteX6" fmla="*/ 612896 w 716718"/>
                <a:gd name="connsiteY6" fmla="*/ 903837 h 1134722"/>
                <a:gd name="connsiteX7" fmla="*/ 602856 w 716718"/>
                <a:gd name="connsiteY7" fmla="*/ 865699 h 1134722"/>
                <a:gd name="connsiteX8" fmla="*/ 606876 w 716718"/>
                <a:gd name="connsiteY8" fmla="*/ 847639 h 1134722"/>
                <a:gd name="connsiteX9" fmla="*/ 626936 w 716718"/>
                <a:gd name="connsiteY9" fmla="*/ 809482 h 1134722"/>
                <a:gd name="connsiteX10" fmla="*/ 620916 w 716718"/>
                <a:gd name="connsiteY10" fmla="*/ 775345 h 1134722"/>
                <a:gd name="connsiteX11" fmla="*/ 630955 w 716718"/>
                <a:gd name="connsiteY11" fmla="*/ 745246 h 1134722"/>
                <a:gd name="connsiteX12" fmla="*/ 659063 w 716718"/>
                <a:gd name="connsiteY12" fmla="*/ 703069 h 1134722"/>
                <a:gd name="connsiteX13" fmla="*/ 681152 w 716718"/>
                <a:gd name="connsiteY13" fmla="*/ 658901 h 1134722"/>
                <a:gd name="connsiteX14" fmla="*/ 689181 w 716718"/>
                <a:gd name="connsiteY14" fmla="*/ 616725 h 1134722"/>
                <a:gd name="connsiteX15" fmla="*/ 683162 w 716718"/>
                <a:gd name="connsiteY15" fmla="*/ 576567 h 1134722"/>
                <a:gd name="connsiteX16" fmla="*/ 667093 w 716718"/>
                <a:gd name="connsiteY16" fmla="*/ 534410 h 1134722"/>
                <a:gd name="connsiteX17" fmla="*/ 652891 w 716718"/>
                <a:gd name="connsiteY17" fmla="*/ 486985 h 1134722"/>
                <a:gd name="connsiteX18" fmla="*/ 652463 w 716718"/>
                <a:gd name="connsiteY18" fmla="*/ 485813 h 1134722"/>
                <a:gd name="connsiteX19" fmla="*/ 652463 w 716718"/>
                <a:gd name="connsiteY19" fmla="*/ 463734 h 1134722"/>
                <a:gd name="connsiteX20" fmla="*/ 666521 w 716718"/>
                <a:gd name="connsiteY20" fmla="*/ 445675 h 1134722"/>
                <a:gd name="connsiteX21" fmla="*/ 692620 w 716718"/>
                <a:gd name="connsiteY21" fmla="*/ 439645 h 1134722"/>
                <a:gd name="connsiteX22" fmla="*/ 700649 w 716718"/>
                <a:gd name="connsiteY22" fmla="*/ 419586 h 1134722"/>
                <a:gd name="connsiteX23" fmla="*/ 692620 w 716718"/>
                <a:gd name="connsiteY23" fmla="*/ 385448 h 1134722"/>
                <a:gd name="connsiteX24" fmla="*/ 716718 w 716718"/>
                <a:gd name="connsiteY24" fmla="*/ 341271 h 1134722"/>
                <a:gd name="connsiteX25" fmla="*/ 706669 w 716718"/>
                <a:gd name="connsiteY25" fmla="*/ 309143 h 1134722"/>
                <a:gd name="connsiteX26" fmla="*/ 662502 w 716718"/>
                <a:gd name="connsiteY26" fmla="*/ 297104 h 1134722"/>
                <a:gd name="connsiteX27" fmla="*/ 636403 w 716718"/>
                <a:gd name="connsiteY27" fmla="*/ 331222 h 1134722"/>
                <a:gd name="connsiteX28" fmla="*/ 598256 w 716718"/>
                <a:gd name="connsiteY28" fmla="*/ 325212 h 1134722"/>
                <a:gd name="connsiteX29" fmla="*/ 576177 w 716718"/>
                <a:gd name="connsiteY29" fmla="*/ 349301 h 1134722"/>
                <a:gd name="connsiteX30" fmla="*/ 572167 w 716718"/>
                <a:gd name="connsiteY30" fmla="*/ 291094 h 1134722"/>
                <a:gd name="connsiteX31" fmla="*/ 550088 w 716718"/>
                <a:gd name="connsiteY31" fmla="*/ 273015 h 1134722"/>
                <a:gd name="connsiteX32" fmla="*/ 584216 w 716718"/>
                <a:gd name="connsiteY32" fmla="*/ 250946 h 1134722"/>
                <a:gd name="connsiteX33" fmla="*/ 578187 w 716718"/>
                <a:gd name="connsiteY33" fmla="*/ 212808 h 1134722"/>
                <a:gd name="connsiteX34" fmla="*/ 562127 w 716718"/>
                <a:gd name="connsiteY34" fmla="*/ 190728 h 1134722"/>
                <a:gd name="connsiteX35" fmla="*/ 532019 w 716718"/>
                <a:gd name="connsiteY35" fmla="*/ 180680 h 1134722"/>
                <a:gd name="connsiteX36" fmla="*/ 532019 w 716718"/>
                <a:gd name="connsiteY36" fmla="*/ 150562 h 1134722"/>
                <a:gd name="connsiteX37" fmla="*/ 515960 w 716718"/>
                <a:gd name="connsiteY37" fmla="*/ 150562 h 1134722"/>
                <a:gd name="connsiteX38" fmla="*/ 487851 w 716718"/>
                <a:gd name="connsiteY38" fmla="*/ 170640 h 1134722"/>
                <a:gd name="connsiteX39" fmla="*/ 477812 w 716718"/>
                <a:gd name="connsiteY39" fmla="*/ 156591 h 1134722"/>
                <a:gd name="connsiteX40" fmla="*/ 477812 w 716718"/>
                <a:gd name="connsiteY40" fmla="*/ 122453 h 1134722"/>
                <a:gd name="connsiteX41" fmla="*/ 445694 w 716718"/>
                <a:gd name="connsiteY41" fmla="*/ 100374 h 1134722"/>
                <a:gd name="connsiteX42" fmla="*/ 433635 w 716718"/>
                <a:gd name="connsiteY42" fmla="*/ 70266 h 1134722"/>
                <a:gd name="connsiteX43" fmla="*/ 387458 w 716718"/>
                <a:gd name="connsiteY43" fmla="*/ 92335 h 1134722"/>
                <a:gd name="connsiteX44" fmla="*/ 365369 w 716718"/>
                <a:gd name="connsiteY44" fmla="*/ 64227 h 1134722"/>
                <a:gd name="connsiteX45" fmla="*/ 341290 w 716718"/>
                <a:gd name="connsiteY45" fmla="*/ 84315 h 1134722"/>
                <a:gd name="connsiteX46" fmla="*/ 301133 w 716718"/>
                <a:gd name="connsiteY46" fmla="*/ 60227 h 1134722"/>
                <a:gd name="connsiteX47" fmla="*/ 303133 w 716718"/>
                <a:gd name="connsiteY47" fmla="*/ 22069 h 1134722"/>
                <a:gd name="connsiteX48" fmla="*/ 285074 w 716718"/>
                <a:gd name="connsiteY48" fmla="*/ 0 h 1134722"/>
                <a:gd name="connsiteX49" fmla="*/ 240906 w 716718"/>
                <a:gd name="connsiteY49" fmla="*/ 2010 h 1134722"/>
                <a:gd name="connsiteX50" fmla="*/ 222847 w 716718"/>
                <a:gd name="connsiteY50" fmla="*/ 44167 h 1134722"/>
                <a:gd name="connsiteX51" fmla="*/ 198749 w 716718"/>
                <a:gd name="connsiteY51" fmla="*/ 88335 h 1134722"/>
                <a:gd name="connsiteX52" fmla="*/ 90335 w 716718"/>
                <a:gd name="connsiteY52" fmla="*/ 94345 h 1134722"/>
                <a:gd name="connsiteX53" fmla="*/ 46168 w 716718"/>
                <a:gd name="connsiteY53" fmla="*/ 90344 h 1134722"/>
                <a:gd name="connsiteX54" fmla="*/ 32109 w 716718"/>
                <a:gd name="connsiteY54" fmla="*/ 136531 h 1134722"/>
                <a:gd name="connsiteX55" fmla="*/ 42158 w 716718"/>
                <a:gd name="connsiteY55" fmla="*/ 156610 h 1134722"/>
                <a:gd name="connsiteX56" fmla="*/ 72276 w 716718"/>
                <a:gd name="connsiteY56" fmla="*/ 192738 h 1134722"/>
                <a:gd name="connsiteX57" fmla="*/ 128473 w 716718"/>
                <a:gd name="connsiteY57" fmla="*/ 210798 h 1134722"/>
                <a:gd name="connsiteX58" fmla="*/ 116434 w 716718"/>
                <a:gd name="connsiteY58" fmla="*/ 258985 h 1134722"/>
                <a:gd name="connsiteX59" fmla="*/ 146542 w 716718"/>
                <a:gd name="connsiteY59" fmla="*/ 295113 h 1134722"/>
                <a:gd name="connsiteX60" fmla="*/ 146542 w 716718"/>
                <a:gd name="connsiteY60" fmla="*/ 329251 h 1134722"/>
                <a:gd name="connsiteX61" fmla="*/ 112414 w 716718"/>
                <a:gd name="connsiteY61" fmla="*/ 341319 h 1134722"/>
                <a:gd name="connsiteX62" fmla="*/ 84306 w 716718"/>
                <a:gd name="connsiteY62" fmla="*/ 345338 h 1134722"/>
                <a:gd name="connsiteX63" fmla="*/ 58207 w 716718"/>
                <a:gd name="connsiteY63" fmla="*/ 405555 h 1134722"/>
                <a:gd name="connsiteX64" fmla="*/ 28089 w 716718"/>
                <a:gd name="connsiteY64" fmla="*/ 441703 h 1134722"/>
                <a:gd name="connsiteX65" fmla="*/ 0 w 716718"/>
                <a:gd name="connsiteY65" fmla="*/ 489890 h 1134722"/>
                <a:gd name="connsiteX66" fmla="*/ 36128 w 716718"/>
                <a:gd name="connsiteY66" fmla="*/ 524008 h 1134722"/>
                <a:gd name="connsiteX67" fmla="*/ 22069 w 716718"/>
                <a:gd name="connsiteY67" fmla="*/ 546087 h 1134722"/>
                <a:gd name="connsiteX68" fmla="*/ 50168 w 716718"/>
                <a:gd name="connsiteY68" fmla="*/ 578215 h 1134722"/>
                <a:gd name="connsiteX69" fmla="*/ 46158 w 716718"/>
                <a:gd name="connsiteY69" fmla="*/ 634422 h 1134722"/>
                <a:gd name="connsiteX70" fmla="*/ 64227 w 716718"/>
                <a:gd name="connsiteY70" fmla="*/ 652481 h 1134722"/>
                <a:gd name="connsiteX71" fmla="*/ 92326 w 716718"/>
                <a:gd name="connsiteY71" fmla="*/ 686600 h 1134722"/>
                <a:gd name="connsiteX72" fmla="*/ 98336 w 716718"/>
                <a:gd name="connsiteY72" fmla="*/ 712708 h 1134722"/>
                <a:gd name="connsiteX73" fmla="*/ 100355 w 716718"/>
                <a:gd name="connsiteY73" fmla="*/ 750856 h 1134722"/>
                <a:gd name="connsiteX74" fmla="*/ 80267 w 716718"/>
                <a:gd name="connsiteY74" fmla="*/ 805053 h 1134722"/>
                <a:gd name="connsiteX75" fmla="*/ 116405 w 716718"/>
                <a:gd name="connsiteY75" fmla="*/ 811063 h 1134722"/>
                <a:gd name="connsiteX76" fmla="*/ 150533 w 716718"/>
                <a:gd name="connsiteY76" fmla="*/ 803043 h 1134722"/>
                <a:gd name="connsiteX77" fmla="*/ 230838 w 716718"/>
                <a:gd name="connsiteY77" fmla="*/ 843191 h 1134722"/>
                <a:gd name="connsiteX78" fmla="*/ 262957 w 716718"/>
                <a:gd name="connsiteY78" fmla="*/ 843191 h 1134722"/>
                <a:gd name="connsiteX79" fmla="*/ 301104 w 716718"/>
                <a:gd name="connsiteY79" fmla="*/ 865270 h 1134722"/>
                <a:gd name="connsiteX80" fmla="*/ 345281 w 716718"/>
                <a:gd name="connsiteY80" fmla="*/ 867261 h 1134722"/>
                <a:gd name="connsiteX81" fmla="*/ 371370 w 716718"/>
                <a:gd name="connsiteY81" fmla="*/ 907428 h 1134722"/>
                <a:gd name="connsiteX82" fmla="*/ 355302 w 716718"/>
                <a:gd name="connsiteY82" fmla="*/ 937527 h 1134722"/>
                <a:gd name="connsiteX83" fmla="*/ 355302 w 716718"/>
                <a:gd name="connsiteY83" fmla="*/ 955605 h 1134722"/>
                <a:gd name="connsiteX84" fmla="*/ 357302 w 716718"/>
                <a:gd name="connsiteY84" fmla="*/ 995753 h 1134722"/>
                <a:gd name="connsiteX85" fmla="*/ 381391 w 716718"/>
                <a:gd name="connsiteY85" fmla="*/ 999772 h 1134722"/>
                <a:gd name="connsiteX86" fmla="*/ 405479 w 716718"/>
                <a:gd name="connsiteY86" fmla="*/ 1037930 h 1134722"/>
                <a:gd name="connsiteX87" fmla="*/ 449656 w 716718"/>
                <a:gd name="connsiteY87" fmla="*/ 1033891 h 1134722"/>
                <a:gd name="connsiteX88" fmla="*/ 469725 w 716718"/>
                <a:gd name="connsiteY88" fmla="*/ 1049969 h 1134722"/>
                <a:gd name="connsiteX89" fmla="*/ 491814 w 716718"/>
                <a:gd name="connsiteY89" fmla="*/ 1049969 h 1134722"/>
                <a:gd name="connsiteX90" fmla="*/ 535981 w 716718"/>
                <a:gd name="connsiteY90" fmla="*/ 1088126 h 1134722"/>
                <a:gd name="connsiteX91" fmla="*/ 537991 w 716718"/>
                <a:gd name="connsiteY91" fmla="*/ 1106186 h 1134722"/>
                <a:gd name="connsiteX92" fmla="*/ 570109 w 716718"/>
                <a:gd name="connsiteY92" fmla="*/ 1108215 h 1134722"/>
                <a:gd name="connsiteX93" fmla="*/ 598465 w 716718"/>
                <a:gd name="connsiteY93" fmla="*/ 1128627 h 113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716718" h="1134722">
                  <a:moveTo>
                    <a:pt x="598837" y="1134723"/>
                  </a:moveTo>
                  <a:lnTo>
                    <a:pt x="600847" y="1072496"/>
                  </a:lnTo>
                  <a:lnTo>
                    <a:pt x="566728" y="1052408"/>
                  </a:lnTo>
                  <a:lnTo>
                    <a:pt x="562699" y="1004221"/>
                  </a:lnTo>
                  <a:lnTo>
                    <a:pt x="598827" y="976131"/>
                  </a:lnTo>
                  <a:lnTo>
                    <a:pt x="614905" y="937974"/>
                  </a:lnTo>
                  <a:lnTo>
                    <a:pt x="612896" y="903837"/>
                  </a:lnTo>
                  <a:lnTo>
                    <a:pt x="602856" y="865699"/>
                  </a:lnTo>
                  <a:lnTo>
                    <a:pt x="606876" y="847639"/>
                  </a:lnTo>
                  <a:lnTo>
                    <a:pt x="626936" y="809482"/>
                  </a:lnTo>
                  <a:lnTo>
                    <a:pt x="620916" y="775345"/>
                  </a:lnTo>
                  <a:lnTo>
                    <a:pt x="630955" y="745246"/>
                  </a:lnTo>
                  <a:lnTo>
                    <a:pt x="659063" y="703069"/>
                  </a:lnTo>
                  <a:lnTo>
                    <a:pt x="681152" y="658901"/>
                  </a:lnTo>
                  <a:lnTo>
                    <a:pt x="689181" y="616725"/>
                  </a:lnTo>
                  <a:lnTo>
                    <a:pt x="683162" y="576567"/>
                  </a:lnTo>
                  <a:lnTo>
                    <a:pt x="667093" y="534410"/>
                  </a:lnTo>
                  <a:lnTo>
                    <a:pt x="652891" y="486985"/>
                  </a:lnTo>
                  <a:lnTo>
                    <a:pt x="652463" y="485813"/>
                  </a:lnTo>
                  <a:lnTo>
                    <a:pt x="652463" y="463734"/>
                  </a:lnTo>
                  <a:lnTo>
                    <a:pt x="666521" y="445675"/>
                  </a:lnTo>
                  <a:lnTo>
                    <a:pt x="692620" y="439645"/>
                  </a:lnTo>
                  <a:lnTo>
                    <a:pt x="700649" y="419586"/>
                  </a:lnTo>
                  <a:lnTo>
                    <a:pt x="692620" y="385448"/>
                  </a:lnTo>
                  <a:lnTo>
                    <a:pt x="716718" y="341271"/>
                  </a:lnTo>
                  <a:lnTo>
                    <a:pt x="706669" y="309143"/>
                  </a:lnTo>
                  <a:lnTo>
                    <a:pt x="662502" y="297104"/>
                  </a:lnTo>
                  <a:lnTo>
                    <a:pt x="636403" y="331222"/>
                  </a:lnTo>
                  <a:lnTo>
                    <a:pt x="598256" y="325212"/>
                  </a:lnTo>
                  <a:lnTo>
                    <a:pt x="576177" y="349301"/>
                  </a:lnTo>
                  <a:lnTo>
                    <a:pt x="572167" y="291094"/>
                  </a:lnTo>
                  <a:lnTo>
                    <a:pt x="550088" y="273015"/>
                  </a:lnTo>
                  <a:lnTo>
                    <a:pt x="584216" y="250946"/>
                  </a:lnTo>
                  <a:lnTo>
                    <a:pt x="578187" y="212808"/>
                  </a:lnTo>
                  <a:lnTo>
                    <a:pt x="562127" y="190728"/>
                  </a:lnTo>
                  <a:lnTo>
                    <a:pt x="532019" y="180680"/>
                  </a:lnTo>
                  <a:lnTo>
                    <a:pt x="532019" y="150562"/>
                  </a:lnTo>
                  <a:lnTo>
                    <a:pt x="515960" y="150562"/>
                  </a:lnTo>
                  <a:lnTo>
                    <a:pt x="487851" y="170640"/>
                  </a:lnTo>
                  <a:lnTo>
                    <a:pt x="477812" y="156591"/>
                  </a:lnTo>
                  <a:lnTo>
                    <a:pt x="477812" y="122453"/>
                  </a:lnTo>
                  <a:lnTo>
                    <a:pt x="445694" y="100374"/>
                  </a:lnTo>
                  <a:lnTo>
                    <a:pt x="433635" y="70266"/>
                  </a:lnTo>
                  <a:lnTo>
                    <a:pt x="387458" y="92335"/>
                  </a:lnTo>
                  <a:lnTo>
                    <a:pt x="365369" y="64227"/>
                  </a:lnTo>
                  <a:lnTo>
                    <a:pt x="341290" y="84315"/>
                  </a:lnTo>
                  <a:lnTo>
                    <a:pt x="301133" y="60227"/>
                  </a:lnTo>
                  <a:lnTo>
                    <a:pt x="303133" y="22069"/>
                  </a:lnTo>
                  <a:lnTo>
                    <a:pt x="285074" y="0"/>
                  </a:lnTo>
                  <a:lnTo>
                    <a:pt x="240906" y="2010"/>
                  </a:lnTo>
                  <a:lnTo>
                    <a:pt x="222847" y="44167"/>
                  </a:lnTo>
                  <a:lnTo>
                    <a:pt x="198749" y="88335"/>
                  </a:lnTo>
                  <a:lnTo>
                    <a:pt x="90335" y="94345"/>
                  </a:lnTo>
                  <a:lnTo>
                    <a:pt x="46168" y="90344"/>
                  </a:lnTo>
                  <a:lnTo>
                    <a:pt x="32109" y="136531"/>
                  </a:lnTo>
                  <a:lnTo>
                    <a:pt x="42158" y="156610"/>
                  </a:lnTo>
                  <a:lnTo>
                    <a:pt x="72276" y="192738"/>
                  </a:lnTo>
                  <a:lnTo>
                    <a:pt x="128473" y="210798"/>
                  </a:lnTo>
                  <a:lnTo>
                    <a:pt x="116434" y="258985"/>
                  </a:lnTo>
                  <a:lnTo>
                    <a:pt x="146542" y="295113"/>
                  </a:lnTo>
                  <a:lnTo>
                    <a:pt x="146542" y="329251"/>
                  </a:lnTo>
                  <a:lnTo>
                    <a:pt x="112414" y="341319"/>
                  </a:lnTo>
                  <a:lnTo>
                    <a:pt x="84306" y="345338"/>
                  </a:lnTo>
                  <a:lnTo>
                    <a:pt x="58207" y="405555"/>
                  </a:lnTo>
                  <a:lnTo>
                    <a:pt x="28089" y="441703"/>
                  </a:lnTo>
                  <a:lnTo>
                    <a:pt x="0" y="489890"/>
                  </a:lnTo>
                  <a:lnTo>
                    <a:pt x="36128" y="524008"/>
                  </a:lnTo>
                  <a:lnTo>
                    <a:pt x="22069" y="546087"/>
                  </a:lnTo>
                  <a:lnTo>
                    <a:pt x="50168" y="578215"/>
                  </a:lnTo>
                  <a:lnTo>
                    <a:pt x="46158" y="634422"/>
                  </a:lnTo>
                  <a:lnTo>
                    <a:pt x="64227" y="652481"/>
                  </a:lnTo>
                  <a:lnTo>
                    <a:pt x="92326" y="686600"/>
                  </a:lnTo>
                  <a:lnTo>
                    <a:pt x="98336" y="712708"/>
                  </a:lnTo>
                  <a:lnTo>
                    <a:pt x="100355" y="750856"/>
                  </a:lnTo>
                  <a:lnTo>
                    <a:pt x="80267" y="805053"/>
                  </a:lnTo>
                  <a:lnTo>
                    <a:pt x="116405" y="811063"/>
                  </a:lnTo>
                  <a:lnTo>
                    <a:pt x="150533" y="803043"/>
                  </a:lnTo>
                  <a:lnTo>
                    <a:pt x="230838" y="843191"/>
                  </a:lnTo>
                  <a:lnTo>
                    <a:pt x="262957" y="843191"/>
                  </a:lnTo>
                  <a:lnTo>
                    <a:pt x="301104" y="865270"/>
                  </a:lnTo>
                  <a:lnTo>
                    <a:pt x="345281" y="867261"/>
                  </a:lnTo>
                  <a:lnTo>
                    <a:pt x="371370" y="907428"/>
                  </a:lnTo>
                  <a:lnTo>
                    <a:pt x="355302" y="937527"/>
                  </a:lnTo>
                  <a:lnTo>
                    <a:pt x="355302" y="955605"/>
                  </a:lnTo>
                  <a:lnTo>
                    <a:pt x="357302" y="995753"/>
                  </a:lnTo>
                  <a:lnTo>
                    <a:pt x="381391" y="999772"/>
                  </a:lnTo>
                  <a:lnTo>
                    <a:pt x="405479" y="1037930"/>
                  </a:lnTo>
                  <a:lnTo>
                    <a:pt x="449656" y="1033891"/>
                  </a:lnTo>
                  <a:lnTo>
                    <a:pt x="469725" y="1049969"/>
                  </a:lnTo>
                  <a:lnTo>
                    <a:pt x="491814" y="1049969"/>
                  </a:lnTo>
                  <a:lnTo>
                    <a:pt x="535981" y="1088126"/>
                  </a:lnTo>
                  <a:lnTo>
                    <a:pt x="537991" y="1106186"/>
                  </a:lnTo>
                  <a:lnTo>
                    <a:pt x="570109" y="1108215"/>
                  </a:lnTo>
                  <a:lnTo>
                    <a:pt x="598465" y="11286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856717D-E1EA-487F-B23F-A07A6F1DC09F}"/>
                </a:ext>
              </a:extLst>
            </p:cNvPr>
            <p:cNvSpPr/>
            <p:nvPr/>
          </p:nvSpPr>
          <p:spPr bwMode="gray">
            <a:xfrm>
              <a:off x="8801022" y="2324252"/>
              <a:ext cx="489857" cy="379356"/>
            </a:xfrm>
            <a:custGeom>
              <a:avLst/>
              <a:gdLst>
                <a:gd name="connsiteX0" fmla="*/ 296438 w 489857"/>
                <a:gd name="connsiteY0" fmla="*/ 0 h 379356"/>
                <a:gd name="connsiteX1" fmla="*/ 272626 w 489857"/>
                <a:gd name="connsiteY1" fmla="*/ 10506 h 379356"/>
                <a:gd name="connsiteX2" fmla="*/ 257014 w 489857"/>
                <a:gd name="connsiteY2" fmla="*/ 3124 h 379356"/>
                <a:gd name="connsiteX3" fmla="*/ 245108 w 489857"/>
                <a:gd name="connsiteY3" fmla="*/ 16821 h 379356"/>
                <a:gd name="connsiteX4" fmla="*/ 249633 w 489857"/>
                <a:gd name="connsiteY4" fmla="*/ 34395 h 379356"/>
                <a:gd name="connsiteX5" fmla="*/ 240651 w 489857"/>
                <a:gd name="connsiteY5" fmla="*/ 45996 h 379356"/>
                <a:gd name="connsiteX6" fmla="*/ 240593 w 489857"/>
                <a:gd name="connsiteY6" fmla="*/ 63932 h 379356"/>
                <a:gd name="connsiteX7" fmla="*/ 231630 w 489857"/>
                <a:gd name="connsiteY7" fmla="*/ 75809 h 379356"/>
                <a:gd name="connsiteX8" fmla="*/ 211409 w 489857"/>
                <a:gd name="connsiteY8" fmla="*/ 71942 h 379356"/>
                <a:gd name="connsiteX9" fmla="*/ 199188 w 489857"/>
                <a:gd name="connsiteY9" fmla="*/ 65008 h 379356"/>
                <a:gd name="connsiteX10" fmla="*/ 185139 w 489857"/>
                <a:gd name="connsiteY10" fmla="*/ 77895 h 379356"/>
                <a:gd name="connsiteX11" fmla="*/ 169737 w 489857"/>
                <a:gd name="connsiteY11" fmla="*/ 82829 h 379356"/>
                <a:gd name="connsiteX12" fmla="*/ 146648 w 489857"/>
                <a:gd name="connsiteY12" fmla="*/ 91964 h 379356"/>
                <a:gd name="connsiteX13" fmla="*/ 129456 w 489857"/>
                <a:gd name="connsiteY13" fmla="*/ 100222 h 379356"/>
                <a:gd name="connsiteX14" fmla="*/ 135237 w 489857"/>
                <a:gd name="connsiteY14" fmla="*/ 111576 h 379356"/>
                <a:gd name="connsiteX15" fmla="*/ 116749 w 489857"/>
                <a:gd name="connsiteY15" fmla="*/ 122720 h 379356"/>
                <a:gd name="connsiteX16" fmla="*/ 107538 w 489857"/>
                <a:gd name="connsiteY16" fmla="*/ 127978 h 379356"/>
                <a:gd name="connsiteX17" fmla="*/ 97470 w 489857"/>
                <a:gd name="connsiteY17" fmla="*/ 142666 h 379356"/>
                <a:gd name="connsiteX18" fmla="*/ 86288 w 489857"/>
                <a:gd name="connsiteY18" fmla="*/ 153010 h 379356"/>
                <a:gd name="connsiteX19" fmla="*/ 67981 w 489857"/>
                <a:gd name="connsiteY19" fmla="*/ 148571 h 379356"/>
                <a:gd name="connsiteX20" fmla="*/ 61038 w 489857"/>
                <a:gd name="connsiteY20" fmla="*/ 133921 h 379356"/>
                <a:gd name="connsiteX21" fmla="*/ 34339 w 489857"/>
                <a:gd name="connsiteY21" fmla="*/ 111233 h 379356"/>
                <a:gd name="connsiteX22" fmla="*/ 23604 w 489857"/>
                <a:gd name="connsiteY22" fmla="*/ 121549 h 379356"/>
                <a:gd name="connsiteX23" fmla="*/ 14470 w 489857"/>
                <a:gd name="connsiteY23" fmla="*/ 141761 h 379356"/>
                <a:gd name="connsiteX24" fmla="*/ 19327 w 489857"/>
                <a:gd name="connsiteY24" fmla="*/ 170164 h 379356"/>
                <a:gd name="connsiteX25" fmla="*/ 7517 w 489857"/>
                <a:gd name="connsiteY25" fmla="*/ 180223 h 379356"/>
                <a:gd name="connsiteX26" fmla="*/ 20356 w 489857"/>
                <a:gd name="connsiteY26" fmla="*/ 187728 h 379356"/>
                <a:gd name="connsiteX27" fmla="*/ 26014 w 489857"/>
                <a:gd name="connsiteY27" fmla="*/ 204283 h 379356"/>
                <a:gd name="connsiteX28" fmla="*/ 23985 w 489857"/>
                <a:gd name="connsiteY28" fmla="*/ 217999 h 379356"/>
                <a:gd name="connsiteX29" fmla="*/ 24566 w 489857"/>
                <a:gd name="connsiteY29" fmla="*/ 236706 h 379356"/>
                <a:gd name="connsiteX30" fmla="*/ 18670 w 489857"/>
                <a:gd name="connsiteY30" fmla="*/ 255403 h 379356"/>
                <a:gd name="connsiteX31" fmla="*/ 5631 w 489857"/>
                <a:gd name="connsiteY31" fmla="*/ 269710 h 379356"/>
                <a:gd name="connsiteX32" fmla="*/ 10298 w 489857"/>
                <a:gd name="connsiteY32" fmla="*/ 287407 h 379356"/>
                <a:gd name="connsiteX33" fmla="*/ 25385 w 489857"/>
                <a:gd name="connsiteY33" fmla="*/ 310115 h 379356"/>
                <a:gd name="connsiteX34" fmla="*/ 51036 w 489857"/>
                <a:gd name="connsiteY34" fmla="*/ 313239 h 379356"/>
                <a:gd name="connsiteX35" fmla="*/ 36168 w 489857"/>
                <a:gd name="connsiteY35" fmla="*/ 326431 h 379356"/>
                <a:gd name="connsiteX36" fmla="*/ 46197 w 489857"/>
                <a:gd name="connsiteY36" fmla="*/ 346339 h 379356"/>
                <a:gd name="connsiteX37" fmla="*/ 66791 w 489857"/>
                <a:gd name="connsiteY37" fmla="*/ 343110 h 379356"/>
                <a:gd name="connsiteX38" fmla="*/ 58342 w 489857"/>
                <a:gd name="connsiteY38" fmla="*/ 356140 h 379356"/>
                <a:gd name="connsiteX39" fmla="*/ 38920 w 489857"/>
                <a:gd name="connsiteY39" fmla="*/ 365312 h 379356"/>
                <a:gd name="connsiteX40" fmla="*/ 58866 w 489857"/>
                <a:gd name="connsiteY40" fmla="*/ 361140 h 379356"/>
                <a:gd name="connsiteX41" fmla="*/ 100242 w 489857"/>
                <a:gd name="connsiteY41" fmla="*/ 352692 h 379356"/>
                <a:gd name="connsiteX42" fmla="*/ 130608 w 489857"/>
                <a:gd name="connsiteY42" fmla="*/ 356292 h 379356"/>
                <a:gd name="connsiteX43" fmla="*/ 144305 w 489857"/>
                <a:gd name="connsiteY43" fmla="*/ 366922 h 379356"/>
                <a:gd name="connsiteX44" fmla="*/ 159726 w 489857"/>
                <a:gd name="connsiteY44" fmla="*/ 373694 h 379356"/>
                <a:gd name="connsiteX45" fmla="*/ 168565 w 489857"/>
                <a:gd name="connsiteY45" fmla="*/ 362493 h 379356"/>
                <a:gd name="connsiteX46" fmla="*/ 177814 w 489857"/>
                <a:gd name="connsiteY46" fmla="*/ 343110 h 379356"/>
                <a:gd name="connsiteX47" fmla="*/ 209761 w 489857"/>
                <a:gd name="connsiteY47" fmla="*/ 353454 h 379356"/>
                <a:gd name="connsiteX48" fmla="*/ 243622 w 489857"/>
                <a:gd name="connsiteY48" fmla="*/ 364093 h 379356"/>
                <a:gd name="connsiteX49" fmla="*/ 272026 w 489857"/>
                <a:gd name="connsiteY49" fmla="*/ 371961 h 379356"/>
                <a:gd name="connsiteX50" fmla="*/ 286056 w 489857"/>
                <a:gd name="connsiteY50" fmla="*/ 374704 h 379356"/>
                <a:gd name="connsiteX51" fmla="*/ 305144 w 489857"/>
                <a:gd name="connsiteY51" fmla="*/ 373132 h 379356"/>
                <a:gd name="connsiteX52" fmla="*/ 311317 w 489857"/>
                <a:gd name="connsiteY52" fmla="*/ 363093 h 379356"/>
                <a:gd name="connsiteX53" fmla="*/ 311507 w 489857"/>
                <a:gd name="connsiteY53" fmla="*/ 342281 h 379356"/>
                <a:gd name="connsiteX54" fmla="*/ 345196 w 489857"/>
                <a:gd name="connsiteY54" fmla="*/ 332356 h 379356"/>
                <a:gd name="connsiteX55" fmla="*/ 361123 w 489857"/>
                <a:gd name="connsiteY55" fmla="*/ 316211 h 379356"/>
                <a:gd name="connsiteX56" fmla="*/ 377067 w 489857"/>
                <a:gd name="connsiteY56" fmla="*/ 309553 h 379356"/>
                <a:gd name="connsiteX57" fmla="*/ 394165 w 489857"/>
                <a:gd name="connsiteY57" fmla="*/ 306762 h 379356"/>
                <a:gd name="connsiteX58" fmla="*/ 418930 w 489857"/>
                <a:gd name="connsiteY58" fmla="*/ 306562 h 379356"/>
                <a:gd name="connsiteX59" fmla="*/ 455153 w 489857"/>
                <a:gd name="connsiteY59" fmla="*/ 334118 h 379356"/>
                <a:gd name="connsiteX60" fmla="*/ 487843 w 489857"/>
                <a:gd name="connsiteY60" fmla="*/ 330584 h 379356"/>
                <a:gd name="connsiteX61" fmla="*/ 483957 w 489857"/>
                <a:gd name="connsiteY61" fmla="*/ 310620 h 379356"/>
                <a:gd name="connsiteX62" fmla="*/ 479509 w 489857"/>
                <a:gd name="connsiteY62" fmla="*/ 295494 h 379356"/>
                <a:gd name="connsiteX63" fmla="*/ 465183 w 489857"/>
                <a:gd name="connsiteY63" fmla="*/ 295285 h 379356"/>
                <a:gd name="connsiteX64" fmla="*/ 454877 w 489857"/>
                <a:gd name="connsiteY64" fmla="*/ 290312 h 379356"/>
                <a:gd name="connsiteX65" fmla="*/ 449505 w 489857"/>
                <a:gd name="connsiteY65" fmla="*/ 270062 h 379356"/>
                <a:gd name="connsiteX66" fmla="*/ 438189 w 489857"/>
                <a:gd name="connsiteY66" fmla="*/ 274501 h 379356"/>
                <a:gd name="connsiteX67" fmla="*/ 439809 w 489857"/>
                <a:gd name="connsiteY67" fmla="*/ 255118 h 379356"/>
                <a:gd name="connsiteX68" fmla="*/ 440390 w 489857"/>
                <a:gd name="connsiteY68" fmla="*/ 231943 h 379356"/>
                <a:gd name="connsiteX69" fmla="*/ 443609 w 489857"/>
                <a:gd name="connsiteY69" fmla="*/ 210884 h 379356"/>
                <a:gd name="connsiteX70" fmla="*/ 450534 w 489857"/>
                <a:gd name="connsiteY70" fmla="*/ 186471 h 379356"/>
                <a:gd name="connsiteX71" fmla="*/ 457992 w 489857"/>
                <a:gd name="connsiteY71" fmla="*/ 154229 h 379356"/>
                <a:gd name="connsiteX72" fmla="*/ 441028 w 489857"/>
                <a:gd name="connsiteY72" fmla="*/ 147371 h 379356"/>
                <a:gd name="connsiteX73" fmla="*/ 450314 w 489857"/>
                <a:gd name="connsiteY73" fmla="*/ 110242 h 379356"/>
                <a:gd name="connsiteX74" fmla="*/ 429665 w 489857"/>
                <a:gd name="connsiteY74" fmla="*/ 111376 h 379356"/>
                <a:gd name="connsiteX75" fmla="*/ 409986 w 489857"/>
                <a:gd name="connsiteY75" fmla="*/ 100965 h 379356"/>
                <a:gd name="connsiteX76" fmla="*/ 405852 w 489857"/>
                <a:gd name="connsiteY76" fmla="*/ 82906 h 379356"/>
                <a:gd name="connsiteX77" fmla="*/ 406109 w 489857"/>
                <a:gd name="connsiteY77" fmla="*/ 65027 h 379356"/>
                <a:gd name="connsiteX78" fmla="*/ 370486 w 489857"/>
                <a:gd name="connsiteY78" fmla="*/ 55750 h 379356"/>
                <a:gd name="connsiteX79" fmla="*/ 372400 w 489857"/>
                <a:gd name="connsiteY79" fmla="*/ 76600 h 379356"/>
                <a:gd name="connsiteX80" fmla="*/ 362037 w 489857"/>
                <a:gd name="connsiteY80" fmla="*/ 87078 h 379356"/>
                <a:gd name="connsiteX81" fmla="*/ 319136 w 489857"/>
                <a:gd name="connsiteY81" fmla="*/ 56159 h 379356"/>
                <a:gd name="connsiteX82" fmla="*/ 315898 w 489857"/>
                <a:gd name="connsiteY82" fmla="*/ 25489 h 379356"/>
                <a:gd name="connsiteX83" fmla="*/ 307763 w 489857"/>
                <a:gd name="connsiteY83" fmla="*/ 6668 h 379356"/>
                <a:gd name="connsiteX84" fmla="*/ 296438 w 489857"/>
                <a:gd name="connsiteY84" fmla="*/ 0 h 379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489857" h="379356">
                  <a:moveTo>
                    <a:pt x="296438" y="0"/>
                  </a:moveTo>
                  <a:cubicBezTo>
                    <a:pt x="287846" y="762"/>
                    <a:pt x="277502" y="2715"/>
                    <a:pt x="272626" y="10506"/>
                  </a:cubicBezTo>
                  <a:cubicBezTo>
                    <a:pt x="264196" y="12954"/>
                    <a:pt x="261634" y="-2419"/>
                    <a:pt x="257014" y="3124"/>
                  </a:cubicBezTo>
                  <a:cubicBezTo>
                    <a:pt x="254652" y="8344"/>
                    <a:pt x="241907" y="7525"/>
                    <a:pt x="245108" y="16821"/>
                  </a:cubicBezTo>
                  <a:cubicBezTo>
                    <a:pt x="249404" y="22403"/>
                    <a:pt x="247137" y="29366"/>
                    <a:pt x="249633" y="34395"/>
                  </a:cubicBezTo>
                  <a:cubicBezTo>
                    <a:pt x="255586" y="43348"/>
                    <a:pt x="238079" y="34928"/>
                    <a:pt x="240651" y="45996"/>
                  </a:cubicBezTo>
                  <a:cubicBezTo>
                    <a:pt x="236840" y="51330"/>
                    <a:pt x="250213" y="63017"/>
                    <a:pt x="240593" y="63932"/>
                  </a:cubicBezTo>
                  <a:cubicBezTo>
                    <a:pt x="230773" y="62141"/>
                    <a:pt x="228782" y="70142"/>
                    <a:pt x="231630" y="75809"/>
                  </a:cubicBezTo>
                  <a:cubicBezTo>
                    <a:pt x="225382" y="79753"/>
                    <a:pt x="218724" y="70304"/>
                    <a:pt x="211409" y="71942"/>
                  </a:cubicBezTo>
                  <a:cubicBezTo>
                    <a:pt x="214647" y="62389"/>
                    <a:pt x="192083" y="56702"/>
                    <a:pt x="199188" y="65008"/>
                  </a:cubicBezTo>
                  <a:cubicBezTo>
                    <a:pt x="205341" y="72628"/>
                    <a:pt x="189663" y="73666"/>
                    <a:pt x="185139" y="77895"/>
                  </a:cubicBezTo>
                  <a:cubicBezTo>
                    <a:pt x="182681" y="84468"/>
                    <a:pt x="177024" y="85601"/>
                    <a:pt x="169737" y="82829"/>
                  </a:cubicBezTo>
                  <a:cubicBezTo>
                    <a:pt x="165965" y="88125"/>
                    <a:pt x="154354" y="98736"/>
                    <a:pt x="146648" y="91964"/>
                  </a:cubicBezTo>
                  <a:cubicBezTo>
                    <a:pt x="140009" y="91221"/>
                    <a:pt x="132618" y="94459"/>
                    <a:pt x="129456" y="100222"/>
                  </a:cubicBezTo>
                  <a:cubicBezTo>
                    <a:pt x="123855" y="105785"/>
                    <a:pt x="145438" y="103289"/>
                    <a:pt x="135237" y="111576"/>
                  </a:cubicBezTo>
                  <a:cubicBezTo>
                    <a:pt x="126627" y="115729"/>
                    <a:pt x="128332" y="124130"/>
                    <a:pt x="116749" y="122720"/>
                  </a:cubicBezTo>
                  <a:cubicBezTo>
                    <a:pt x="112435" y="123015"/>
                    <a:pt x="94384" y="126787"/>
                    <a:pt x="107538" y="127978"/>
                  </a:cubicBezTo>
                  <a:cubicBezTo>
                    <a:pt x="105138" y="133636"/>
                    <a:pt x="102852" y="138179"/>
                    <a:pt x="97470" y="142666"/>
                  </a:cubicBezTo>
                  <a:cubicBezTo>
                    <a:pt x="88279" y="140551"/>
                    <a:pt x="95651" y="155524"/>
                    <a:pt x="86288" y="153010"/>
                  </a:cubicBezTo>
                  <a:cubicBezTo>
                    <a:pt x="79982" y="155591"/>
                    <a:pt x="71553" y="157353"/>
                    <a:pt x="67981" y="148571"/>
                  </a:cubicBezTo>
                  <a:cubicBezTo>
                    <a:pt x="72572" y="141218"/>
                    <a:pt x="69410" y="134122"/>
                    <a:pt x="61038" y="133921"/>
                  </a:cubicBezTo>
                  <a:cubicBezTo>
                    <a:pt x="53056" y="125168"/>
                    <a:pt x="45226" y="116357"/>
                    <a:pt x="34339" y="111233"/>
                  </a:cubicBezTo>
                  <a:cubicBezTo>
                    <a:pt x="26957" y="103261"/>
                    <a:pt x="27100" y="117281"/>
                    <a:pt x="23604" y="121549"/>
                  </a:cubicBezTo>
                  <a:cubicBezTo>
                    <a:pt x="21023" y="128835"/>
                    <a:pt x="15936" y="134369"/>
                    <a:pt x="14470" y="141761"/>
                  </a:cubicBezTo>
                  <a:cubicBezTo>
                    <a:pt x="12108" y="151143"/>
                    <a:pt x="9726" y="163687"/>
                    <a:pt x="19327" y="170164"/>
                  </a:cubicBezTo>
                  <a:cubicBezTo>
                    <a:pt x="20347" y="174879"/>
                    <a:pt x="11984" y="173879"/>
                    <a:pt x="7517" y="180223"/>
                  </a:cubicBezTo>
                  <a:cubicBezTo>
                    <a:pt x="-7742" y="188852"/>
                    <a:pt x="19642" y="178889"/>
                    <a:pt x="20356" y="187728"/>
                  </a:cubicBezTo>
                  <a:cubicBezTo>
                    <a:pt x="8450" y="187014"/>
                    <a:pt x="17804" y="209360"/>
                    <a:pt x="26014" y="204283"/>
                  </a:cubicBezTo>
                  <a:cubicBezTo>
                    <a:pt x="36863" y="207655"/>
                    <a:pt x="29586" y="212312"/>
                    <a:pt x="23985" y="217999"/>
                  </a:cubicBezTo>
                  <a:cubicBezTo>
                    <a:pt x="31072" y="223695"/>
                    <a:pt x="27243" y="229572"/>
                    <a:pt x="24566" y="236706"/>
                  </a:cubicBezTo>
                  <a:cubicBezTo>
                    <a:pt x="23242" y="242859"/>
                    <a:pt x="24252" y="252108"/>
                    <a:pt x="18670" y="255403"/>
                  </a:cubicBezTo>
                  <a:cubicBezTo>
                    <a:pt x="15936" y="260747"/>
                    <a:pt x="9107" y="265043"/>
                    <a:pt x="5631" y="269710"/>
                  </a:cubicBezTo>
                  <a:cubicBezTo>
                    <a:pt x="5183" y="278559"/>
                    <a:pt x="-9438" y="285845"/>
                    <a:pt x="10298" y="287407"/>
                  </a:cubicBezTo>
                  <a:cubicBezTo>
                    <a:pt x="22071" y="291865"/>
                    <a:pt x="11250" y="317421"/>
                    <a:pt x="25385" y="310115"/>
                  </a:cubicBezTo>
                  <a:cubicBezTo>
                    <a:pt x="33910" y="311506"/>
                    <a:pt x="42464" y="312525"/>
                    <a:pt x="51036" y="313239"/>
                  </a:cubicBezTo>
                  <a:cubicBezTo>
                    <a:pt x="50607" y="321936"/>
                    <a:pt x="25509" y="315487"/>
                    <a:pt x="36168" y="326431"/>
                  </a:cubicBezTo>
                  <a:cubicBezTo>
                    <a:pt x="37397" y="334318"/>
                    <a:pt x="46273" y="338633"/>
                    <a:pt x="46197" y="346339"/>
                  </a:cubicBezTo>
                  <a:cubicBezTo>
                    <a:pt x="52989" y="344872"/>
                    <a:pt x="59923" y="344262"/>
                    <a:pt x="66791" y="343110"/>
                  </a:cubicBezTo>
                  <a:cubicBezTo>
                    <a:pt x="70600" y="349815"/>
                    <a:pt x="66362" y="354378"/>
                    <a:pt x="58342" y="356140"/>
                  </a:cubicBezTo>
                  <a:cubicBezTo>
                    <a:pt x="51789" y="359312"/>
                    <a:pt x="42568" y="357654"/>
                    <a:pt x="38920" y="365312"/>
                  </a:cubicBezTo>
                  <a:cubicBezTo>
                    <a:pt x="45112" y="369922"/>
                    <a:pt x="52617" y="364493"/>
                    <a:pt x="58866" y="361140"/>
                  </a:cubicBezTo>
                  <a:cubicBezTo>
                    <a:pt x="70715" y="349234"/>
                    <a:pt x="88964" y="362779"/>
                    <a:pt x="100242" y="352692"/>
                  </a:cubicBezTo>
                  <a:cubicBezTo>
                    <a:pt x="111872" y="341662"/>
                    <a:pt x="122979" y="361626"/>
                    <a:pt x="130608" y="356292"/>
                  </a:cubicBezTo>
                  <a:cubicBezTo>
                    <a:pt x="137990" y="358102"/>
                    <a:pt x="146277" y="356254"/>
                    <a:pt x="144305" y="366922"/>
                  </a:cubicBezTo>
                  <a:cubicBezTo>
                    <a:pt x="148286" y="370180"/>
                    <a:pt x="158964" y="383810"/>
                    <a:pt x="159726" y="373694"/>
                  </a:cubicBezTo>
                  <a:cubicBezTo>
                    <a:pt x="160450" y="361083"/>
                    <a:pt x="167003" y="372456"/>
                    <a:pt x="168565" y="362493"/>
                  </a:cubicBezTo>
                  <a:cubicBezTo>
                    <a:pt x="171527" y="356464"/>
                    <a:pt x="173051" y="346262"/>
                    <a:pt x="177814" y="343110"/>
                  </a:cubicBezTo>
                  <a:cubicBezTo>
                    <a:pt x="188101" y="347653"/>
                    <a:pt x="199731" y="348844"/>
                    <a:pt x="209761" y="353454"/>
                  </a:cubicBezTo>
                  <a:cubicBezTo>
                    <a:pt x="219486" y="360455"/>
                    <a:pt x="232402" y="360493"/>
                    <a:pt x="243622" y="364093"/>
                  </a:cubicBezTo>
                  <a:cubicBezTo>
                    <a:pt x="254224" y="362302"/>
                    <a:pt x="261720" y="371218"/>
                    <a:pt x="272026" y="371961"/>
                  </a:cubicBezTo>
                  <a:cubicBezTo>
                    <a:pt x="278331" y="375561"/>
                    <a:pt x="281436" y="384972"/>
                    <a:pt x="286056" y="374704"/>
                  </a:cubicBezTo>
                  <a:cubicBezTo>
                    <a:pt x="294762" y="378933"/>
                    <a:pt x="297067" y="365341"/>
                    <a:pt x="305144" y="373132"/>
                  </a:cubicBezTo>
                  <a:cubicBezTo>
                    <a:pt x="318003" y="378095"/>
                    <a:pt x="312888" y="371599"/>
                    <a:pt x="311317" y="363093"/>
                  </a:cubicBezTo>
                  <a:cubicBezTo>
                    <a:pt x="313622" y="356702"/>
                    <a:pt x="304325" y="345167"/>
                    <a:pt x="311507" y="342281"/>
                  </a:cubicBezTo>
                  <a:cubicBezTo>
                    <a:pt x="324775" y="342338"/>
                    <a:pt x="337624" y="344386"/>
                    <a:pt x="345196" y="332356"/>
                  </a:cubicBezTo>
                  <a:cubicBezTo>
                    <a:pt x="351969" y="328270"/>
                    <a:pt x="354141" y="320678"/>
                    <a:pt x="361123" y="316211"/>
                  </a:cubicBezTo>
                  <a:cubicBezTo>
                    <a:pt x="365532" y="308677"/>
                    <a:pt x="367266" y="304562"/>
                    <a:pt x="377067" y="309553"/>
                  </a:cubicBezTo>
                  <a:cubicBezTo>
                    <a:pt x="382963" y="303781"/>
                    <a:pt x="386764" y="304352"/>
                    <a:pt x="394165" y="306762"/>
                  </a:cubicBezTo>
                  <a:cubicBezTo>
                    <a:pt x="402185" y="303838"/>
                    <a:pt x="411729" y="299323"/>
                    <a:pt x="418930" y="306562"/>
                  </a:cubicBezTo>
                  <a:cubicBezTo>
                    <a:pt x="433084" y="313115"/>
                    <a:pt x="438894" y="331403"/>
                    <a:pt x="455153" y="334118"/>
                  </a:cubicBezTo>
                  <a:cubicBezTo>
                    <a:pt x="467841" y="335671"/>
                    <a:pt x="495711" y="357464"/>
                    <a:pt x="487843" y="330584"/>
                  </a:cubicBezTo>
                  <a:cubicBezTo>
                    <a:pt x="491749" y="325250"/>
                    <a:pt x="489720" y="315220"/>
                    <a:pt x="483957" y="310620"/>
                  </a:cubicBezTo>
                  <a:cubicBezTo>
                    <a:pt x="488891" y="305991"/>
                    <a:pt x="488624" y="293951"/>
                    <a:pt x="479509" y="295494"/>
                  </a:cubicBezTo>
                  <a:cubicBezTo>
                    <a:pt x="472603" y="298961"/>
                    <a:pt x="467402" y="303524"/>
                    <a:pt x="465183" y="295285"/>
                  </a:cubicBezTo>
                  <a:cubicBezTo>
                    <a:pt x="461030" y="305200"/>
                    <a:pt x="454877" y="293475"/>
                    <a:pt x="454877" y="290312"/>
                  </a:cubicBezTo>
                  <a:cubicBezTo>
                    <a:pt x="442695" y="283797"/>
                    <a:pt x="463697" y="271120"/>
                    <a:pt x="449505" y="270062"/>
                  </a:cubicBezTo>
                  <a:cubicBezTo>
                    <a:pt x="453972" y="277492"/>
                    <a:pt x="439780" y="283397"/>
                    <a:pt x="438189" y="274501"/>
                  </a:cubicBezTo>
                  <a:cubicBezTo>
                    <a:pt x="436122" y="267052"/>
                    <a:pt x="443885" y="260452"/>
                    <a:pt x="439809" y="255118"/>
                  </a:cubicBezTo>
                  <a:cubicBezTo>
                    <a:pt x="443161" y="247421"/>
                    <a:pt x="443990" y="239706"/>
                    <a:pt x="440390" y="231943"/>
                  </a:cubicBezTo>
                  <a:cubicBezTo>
                    <a:pt x="437561" y="224399"/>
                    <a:pt x="439199" y="217399"/>
                    <a:pt x="443609" y="210884"/>
                  </a:cubicBezTo>
                  <a:cubicBezTo>
                    <a:pt x="447438" y="203092"/>
                    <a:pt x="451610" y="195386"/>
                    <a:pt x="450534" y="186471"/>
                  </a:cubicBezTo>
                  <a:cubicBezTo>
                    <a:pt x="452077" y="175517"/>
                    <a:pt x="453715" y="164544"/>
                    <a:pt x="457992" y="154229"/>
                  </a:cubicBezTo>
                  <a:cubicBezTo>
                    <a:pt x="450324" y="154610"/>
                    <a:pt x="450181" y="146866"/>
                    <a:pt x="441028" y="147371"/>
                  </a:cubicBezTo>
                  <a:cubicBezTo>
                    <a:pt x="443600" y="134826"/>
                    <a:pt x="448972" y="123025"/>
                    <a:pt x="450314" y="110242"/>
                  </a:cubicBezTo>
                  <a:cubicBezTo>
                    <a:pt x="442999" y="107156"/>
                    <a:pt x="436475" y="110709"/>
                    <a:pt x="429665" y="111376"/>
                  </a:cubicBezTo>
                  <a:cubicBezTo>
                    <a:pt x="420006" y="112500"/>
                    <a:pt x="417978" y="103565"/>
                    <a:pt x="409986" y="100965"/>
                  </a:cubicBezTo>
                  <a:cubicBezTo>
                    <a:pt x="410319" y="93078"/>
                    <a:pt x="398746" y="90964"/>
                    <a:pt x="405852" y="82906"/>
                  </a:cubicBezTo>
                  <a:cubicBezTo>
                    <a:pt x="408547" y="76752"/>
                    <a:pt x="416349" y="68742"/>
                    <a:pt x="406109" y="65027"/>
                  </a:cubicBezTo>
                  <a:cubicBezTo>
                    <a:pt x="395489" y="58455"/>
                    <a:pt x="383116" y="54283"/>
                    <a:pt x="370486" y="55750"/>
                  </a:cubicBezTo>
                  <a:cubicBezTo>
                    <a:pt x="367914" y="61046"/>
                    <a:pt x="372629" y="69847"/>
                    <a:pt x="372400" y="76600"/>
                  </a:cubicBezTo>
                  <a:cubicBezTo>
                    <a:pt x="373553" y="82410"/>
                    <a:pt x="368181" y="95983"/>
                    <a:pt x="362037" y="87078"/>
                  </a:cubicBezTo>
                  <a:cubicBezTo>
                    <a:pt x="347940" y="76505"/>
                    <a:pt x="333576" y="66275"/>
                    <a:pt x="319136" y="56159"/>
                  </a:cubicBezTo>
                  <a:cubicBezTo>
                    <a:pt x="317946" y="45968"/>
                    <a:pt x="322098" y="34433"/>
                    <a:pt x="315898" y="25489"/>
                  </a:cubicBezTo>
                  <a:cubicBezTo>
                    <a:pt x="315726" y="17831"/>
                    <a:pt x="316812" y="9439"/>
                    <a:pt x="307763" y="6668"/>
                  </a:cubicBezTo>
                  <a:cubicBezTo>
                    <a:pt x="304134" y="4077"/>
                    <a:pt x="300153" y="2229"/>
                    <a:pt x="296438" y="0"/>
                  </a:cubicBezTo>
                  <a:close/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5F37AD-B0F9-4C95-9731-B74EE87B50C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6632205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chenintensive Operationen können einen Server potentiell blockieren oder viele Ressourcen in Anspruch nehm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30085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Potentiell blockierende Operationen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erveranfrage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B-Zugriff: (fast) alle Applikationen, bei denen Daten zentral gespeichert werden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/O: bspw. Datei mit Konfiguration zur Laufzeit lesen, Logs lokal abspeicher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O ist langsam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Latenz: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AM Zugriff: 50 Nanosekunden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sk: 5 Millisekunden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AM 100.000x schneller; Zugriffszeit so unterschiedlich, weil Festplatten (HDD) mechanisch sind sich drehen müssen 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ndbreite bzw. </a:t>
            </a:r>
            <a:r>
              <a:rPr lang="de-DE" sz="1400" dirty="0" err="1"/>
              <a:t>Throughput</a:t>
            </a:r>
            <a:r>
              <a:rPr lang="de-DE" sz="1400" dirty="0"/>
              <a:t> (lesen und schreiben): 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ca. 20x Unterschied</a:t>
            </a:r>
          </a:p>
          <a:p>
            <a:pPr algn="l">
              <a:spcAft>
                <a:spcPts val="300"/>
              </a:spcAft>
            </a:pPr>
            <a:endParaRPr lang="de-DE" sz="14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832C987-5B43-8393-F5DD-21953852FC27}"/>
              </a:ext>
            </a:extLst>
          </p:cNvPr>
          <p:cNvSpPr txBox="1"/>
          <p:nvPr/>
        </p:nvSpPr>
        <p:spPr>
          <a:xfrm>
            <a:off x="11287089" y="359077"/>
            <a:ext cx="7587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800" dirty="0"/>
              <a:t>Grundlagen der Asynchronität in </a:t>
            </a:r>
            <a:r>
              <a:rPr lang="de-DE" sz="800" dirty="0" err="1"/>
              <a:t>Javascript</a:t>
            </a:r>
            <a:endParaRPr lang="de-DE" sz="8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830DFE8-24E9-1882-B1DA-4E0863D0A002}"/>
              </a:ext>
            </a:extLst>
          </p:cNvPr>
          <p:cNvSpPr/>
          <p:nvPr/>
        </p:nvSpPr>
        <p:spPr>
          <a:xfrm>
            <a:off x="10856771" y="376200"/>
            <a:ext cx="366827" cy="360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1474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E6E2051-49B8-4964-BBA7-67999A4BFD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207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E6E2051-49B8-4964-BBA7-67999A4BF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7086E0-6B49-452C-9C26-0070F829FED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lag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8C91A0F-D533-4A45-8B7C-C5457A03220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F0B1C93-5D72-4A38-9AF7-C3E4B29A2C23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7654F2-5FAD-468C-874D-19C0570AA8B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70</a:t>
            </a:fld>
            <a:endParaRPr lang="de-DE" dirty="0"/>
          </a:p>
        </p:txBody>
      </p:sp>
      <p:sp>
        <p:nvSpPr>
          <p:cNvPr id="2449" name="Textfeld 2448">
            <a:extLst>
              <a:ext uri="{FF2B5EF4-FFF2-40B4-BE49-F238E27FC236}">
                <a16:creationId xmlns:a16="http://schemas.microsoft.com/office/drawing/2014/main" id="{DEE8E865-4E82-4BB1-839A-9F81EFD3C9F1}"/>
              </a:ext>
            </a:extLst>
          </p:cNvPr>
          <p:cNvSpPr txBox="1"/>
          <p:nvPr/>
        </p:nvSpPr>
        <p:spPr bwMode="gray">
          <a:xfrm>
            <a:off x="623888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Deutschland</a:t>
            </a:r>
          </a:p>
          <a:p>
            <a:pPr algn="l"/>
            <a:r>
              <a:rPr lang="de-DE" sz="1400" dirty="0"/>
              <a:t>DE | DEU</a:t>
            </a:r>
          </a:p>
        </p:txBody>
      </p:sp>
      <p:sp>
        <p:nvSpPr>
          <p:cNvPr id="2450" name="Textfeld 2449">
            <a:extLst>
              <a:ext uri="{FF2B5EF4-FFF2-40B4-BE49-F238E27FC236}">
                <a16:creationId xmlns:a16="http://schemas.microsoft.com/office/drawing/2014/main" id="{777914ED-1822-4E8F-A6B6-C17FD0EA2B81}"/>
              </a:ext>
            </a:extLst>
          </p:cNvPr>
          <p:cNvSpPr txBox="1"/>
          <p:nvPr/>
        </p:nvSpPr>
        <p:spPr bwMode="gray">
          <a:xfrm>
            <a:off x="2740609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Österreich</a:t>
            </a:r>
          </a:p>
          <a:p>
            <a:pPr algn="l"/>
            <a:r>
              <a:rPr lang="de-DE" sz="1400" dirty="0"/>
              <a:t>AT | AUT</a:t>
            </a:r>
          </a:p>
        </p:txBody>
      </p:sp>
      <p:sp>
        <p:nvSpPr>
          <p:cNvPr id="2451" name="Textfeld 2450">
            <a:extLst>
              <a:ext uri="{FF2B5EF4-FFF2-40B4-BE49-F238E27FC236}">
                <a16:creationId xmlns:a16="http://schemas.microsoft.com/office/drawing/2014/main" id="{F0EED836-E71E-4EC4-B074-F47838997FEE}"/>
              </a:ext>
            </a:extLst>
          </p:cNvPr>
          <p:cNvSpPr txBox="1"/>
          <p:nvPr/>
        </p:nvSpPr>
        <p:spPr bwMode="gray">
          <a:xfrm>
            <a:off x="4857330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chweiz</a:t>
            </a:r>
          </a:p>
          <a:p>
            <a:pPr algn="l"/>
            <a:r>
              <a:rPr lang="de-DE" sz="1400" dirty="0"/>
              <a:t>CH | CHE</a:t>
            </a:r>
          </a:p>
        </p:txBody>
      </p:sp>
      <p:sp>
        <p:nvSpPr>
          <p:cNvPr id="2452" name="Textfeld 2451">
            <a:extLst>
              <a:ext uri="{FF2B5EF4-FFF2-40B4-BE49-F238E27FC236}">
                <a16:creationId xmlns:a16="http://schemas.microsoft.com/office/drawing/2014/main" id="{DBA71D1B-EC0A-4EFF-9BE0-D8428D175A41}"/>
              </a:ext>
            </a:extLst>
          </p:cNvPr>
          <p:cNvSpPr txBox="1"/>
          <p:nvPr/>
        </p:nvSpPr>
        <p:spPr bwMode="gray">
          <a:xfrm>
            <a:off x="6974051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Italien</a:t>
            </a:r>
          </a:p>
          <a:p>
            <a:pPr algn="l"/>
            <a:r>
              <a:rPr lang="de-DE" sz="1400" dirty="0"/>
              <a:t>IT | ITA</a:t>
            </a:r>
          </a:p>
        </p:txBody>
      </p:sp>
      <p:sp>
        <p:nvSpPr>
          <p:cNvPr id="2453" name="Textfeld 2452">
            <a:extLst>
              <a:ext uri="{FF2B5EF4-FFF2-40B4-BE49-F238E27FC236}">
                <a16:creationId xmlns:a16="http://schemas.microsoft.com/office/drawing/2014/main" id="{554A86F6-268E-4ED5-8E70-104B6FE6B52A}"/>
              </a:ext>
            </a:extLst>
          </p:cNvPr>
          <p:cNvSpPr txBox="1"/>
          <p:nvPr/>
        </p:nvSpPr>
        <p:spPr bwMode="gray">
          <a:xfrm>
            <a:off x="9090772" y="2486025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akei</a:t>
            </a:r>
          </a:p>
          <a:p>
            <a:pPr algn="l"/>
            <a:r>
              <a:rPr lang="de-DE" sz="1400" dirty="0"/>
              <a:t>SK | SVK</a:t>
            </a:r>
          </a:p>
        </p:txBody>
      </p:sp>
      <p:sp>
        <p:nvSpPr>
          <p:cNvPr id="2454" name="Textfeld 2453">
            <a:extLst>
              <a:ext uri="{FF2B5EF4-FFF2-40B4-BE49-F238E27FC236}">
                <a16:creationId xmlns:a16="http://schemas.microsoft.com/office/drawing/2014/main" id="{58CA92F9-87A5-40B6-9FDC-11DB840B0C46}"/>
              </a:ext>
            </a:extLst>
          </p:cNvPr>
          <p:cNvSpPr txBox="1"/>
          <p:nvPr/>
        </p:nvSpPr>
        <p:spPr bwMode="gray">
          <a:xfrm>
            <a:off x="623888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Slowenien</a:t>
            </a:r>
          </a:p>
          <a:p>
            <a:pPr algn="l"/>
            <a:r>
              <a:rPr lang="de-DE" sz="1400" dirty="0"/>
              <a:t>SI | SVN</a:t>
            </a:r>
          </a:p>
        </p:txBody>
      </p:sp>
      <p:sp>
        <p:nvSpPr>
          <p:cNvPr id="2455" name="Textfeld 2454">
            <a:extLst>
              <a:ext uri="{FF2B5EF4-FFF2-40B4-BE49-F238E27FC236}">
                <a16:creationId xmlns:a16="http://schemas.microsoft.com/office/drawing/2014/main" id="{C177D084-AF5A-4AAB-9C54-1F4E6C73896B}"/>
              </a:ext>
            </a:extLst>
          </p:cNvPr>
          <p:cNvSpPr txBox="1"/>
          <p:nvPr/>
        </p:nvSpPr>
        <p:spPr bwMode="gray">
          <a:xfrm>
            <a:off x="2740609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Polen</a:t>
            </a:r>
          </a:p>
          <a:p>
            <a:pPr algn="l"/>
            <a:r>
              <a:rPr lang="de-DE" sz="1400" dirty="0"/>
              <a:t>PL | POL</a:t>
            </a:r>
          </a:p>
        </p:txBody>
      </p:sp>
      <p:sp>
        <p:nvSpPr>
          <p:cNvPr id="2456" name="Textfeld 2455">
            <a:extLst>
              <a:ext uri="{FF2B5EF4-FFF2-40B4-BE49-F238E27FC236}">
                <a16:creationId xmlns:a16="http://schemas.microsoft.com/office/drawing/2014/main" id="{180C9EF1-8AB6-4012-80F9-9CC9C93B0B8F}"/>
              </a:ext>
            </a:extLst>
          </p:cNvPr>
          <p:cNvSpPr txBox="1"/>
          <p:nvPr/>
        </p:nvSpPr>
        <p:spPr bwMode="gray">
          <a:xfrm>
            <a:off x="4857330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Russland</a:t>
            </a:r>
          </a:p>
          <a:p>
            <a:pPr algn="l"/>
            <a:r>
              <a:rPr lang="de-DE" sz="1400" dirty="0"/>
              <a:t>RU | RUS</a:t>
            </a:r>
          </a:p>
        </p:txBody>
      </p:sp>
      <p:sp>
        <p:nvSpPr>
          <p:cNvPr id="2457" name="Textfeld 2456">
            <a:extLst>
              <a:ext uri="{FF2B5EF4-FFF2-40B4-BE49-F238E27FC236}">
                <a16:creationId xmlns:a16="http://schemas.microsoft.com/office/drawing/2014/main" id="{FD54CB1C-E6D0-477F-A5E0-D73FAFEE7819}"/>
              </a:ext>
            </a:extLst>
          </p:cNvPr>
          <p:cNvSpPr txBox="1"/>
          <p:nvPr/>
        </p:nvSpPr>
        <p:spPr bwMode="gray">
          <a:xfrm>
            <a:off x="6974051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Tschechien</a:t>
            </a:r>
          </a:p>
          <a:p>
            <a:pPr algn="l"/>
            <a:r>
              <a:rPr lang="de-DE" sz="1400" dirty="0"/>
              <a:t>CZ | CZE</a:t>
            </a:r>
          </a:p>
        </p:txBody>
      </p:sp>
      <p:sp>
        <p:nvSpPr>
          <p:cNvPr id="2458" name="Textfeld 2457">
            <a:extLst>
              <a:ext uri="{FF2B5EF4-FFF2-40B4-BE49-F238E27FC236}">
                <a16:creationId xmlns:a16="http://schemas.microsoft.com/office/drawing/2014/main" id="{64813431-8EFD-423E-9BCB-B20A080CBFF0}"/>
              </a:ext>
            </a:extLst>
          </p:cNvPr>
          <p:cNvSpPr txBox="1"/>
          <p:nvPr/>
        </p:nvSpPr>
        <p:spPr bwMode="gray">
          <a:xfrm>
            <a:off x="9090772" y="3991652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Ungarn</a:t>
            </a:r>
          </a:p>
          <a:p>
            <a:pPr algn="l"/>
            <a:r>
              <a:rPr lang="de-DE" sz="1400" dirty="0"/>
              <a:t>HU | HUN</a:t>
            </a:r>
          </a:p>
        </p:txBody>
      </p:sp>
      <p:sp>
        <p:nvSpPr>
          <p:cNvPr id="2459" name="Textfeld 2458">
            <a:extLst>
              <a:ext uri="{FF2B5EF4-FFF2-40B4-BE49-F238E27FC236}">
                <a16:creationId xmlns:a16="http://schemas.microsoft.com/office/drawing/2014/main" id="{C1313CF0-65D6-4472-833D-8EA4E6639D1C}"/>
              </a:ext>
            </a:extLst>
          </p:cNvPr>
          <p:cNvSpPr txBox="1">
            <a:spLocks/>
          </p:cNvSpPr>
          <p:nvPr/>
        </p:nvSpPr>
        <p:spPr bwMode="gray">
          <a:xfrm>
            <a:off x="9090772" y="5497279"/>
            <a:ext cx="137402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Europäische Union</a:t>
            </a:r>
          </a:p>
          <a:p>
            <a:pPr algn="l"/>
            <a:r>
              <a:rPr lang="de-DE" sz="1400" dirty="0"/>
              <a:t>EU</a:t>
            </a:r>
          </a:p>
        </p:txBody>
      </p:sp>
      <p:sp>
        <p:nvSpPr>
          <p:cNvPr id="2460" name="Textfeld 2459">
            <a:extLst>
              <a:ext uri="{FF2B5EF4-FFF2-40B4-BE49-F238E27FC236}">
                <a16:creationId xmlns:a16="http://schemas.microsoft.com/office/drawing/2014/main" id="{75324035-A868-4837-A07F-AA046C1D4083}"/>
              </a:ext>
            </a:extLst>
          </p:cNvPr>
          <p:cNvSpPr txBox="1"/>
          <p:nvPr/>
        </p:nvSpPr>
        <p:spPr bwMode="gray">
          <a:xfrm>
            <a:off x="2740609" y="5497279"/>
            <a:ext cx="137402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Vereinigte Staaten von Amerika</a:t>
            </a:r>
          </a:p>
          <a:p>
            <a:pPr algn="l"/>
            <a:r>
              <a:rPr lang="de-DE" sz="1400" dirty="0"/>
              <a:t>US | USA</a:t>
            </a:r>
          </a:p>
        </p:txBody>
      </p:sp>
      <p:sp>
        <p:nvSpPr>
          <p:cNvPr id="2461" name="Textfeld 2460">
            <a:extLst>
              <a:ext uri="{FF2B5EF4-FFF2-40B4-BE49-F238E27FC236}">
                <a16:creationId xmlns:a16="http://schemas.microsoft.com/office/drawing/2014/main" id="{A73BCFA4-E55D-4E37-B6A9-5567DB7FA91B}"/>
              </a:ext>
            </a:extLst>
          </p:cNvPr>
          <p:cNvSpPr txBox="1">
            <a:spLocks/>
          </p:cNvSpPr>
          <p:nvPr/>
        </p:nvSpPr>
        <p:spPr bwMode="gray">
          <a:xfrm>
            <a:off x="623888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Großbritannien</a:t>
            </a:r>
          </a:p>
          <a:p>
            <a:pPr algn="l"/>
            <a:r>
              <a:rPr lang="de-DE" sz="1400" dirty="0"/>
              <a:t>GB | GBR</a:t>
            </a:r>
          </a:p>
        </p:txBody>
      </p:sp>
      <p:sp>
        <p:nvSpPr>
          <p:cNvPr id="2462" name="Textfeld 2461">
            <a:extLst>
              <a:ext uri="{FF2B5EF4-FFF2-40B4-BE49-F238E27FC236}">
                <a16:creationId xmlns:a16="http://schemas.microsoft.com/office/drawing/2014/main" id="{6C6F5322-F757-4C8E-9B38-2D4354F013AA}"/>
              </a:ext>
            </a:extLst>
          </p:cNvPr>
          <p:cNvSpPr txBox="1">
            <a:spLocks/>
          </p:cNvSpPr>
          <p:nvPr/>
        </p:nvSpPr>
        <p:spPr bwMode="gray">
          <a:xfrm>
            <a:off x="4857330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China</a:t>
            </a:r>
          </a:p>
          <a:p>
            <a:pPr algn="l"/>
            <a:r>
              <a:rPr lang="de-DE" sz="1400" dirty="0"/>
              <a:t>CN | CHN</a:t>
            </a:r>
          </a:p>
        </p:txBody>
      </p:sp>
      <p:sp>
        <p:nvSpPr>
          <p:cNvPr id="2463" name="Textfeld 2462">
            <a:extLst>
              <a:ext uri="{FF2B5EF4-FFF2-40B4-BE49-F238E27FC236}">
                <a16:creationId xmlns:a16="http://schemas.microsoft.com/office/drawing/2014/main" id="{9EE962A8-2201-41BF-9A75-ED937B593E39}"/>
              </a:ext>
            </a:extLst>
          </p:cNvPr>
          <p:cNvSpPr txBox="1">
            <a:spLocks/>
          </p:cNvSpPr>
          <p:nvPr/>
        </p:nvSpPr>
        <p:spPr bwMode="gray">
          <a:xfrm>
            <a:off x="6974051" y="5497279"/>
            <a:ext cx="122022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>
                <a:latin typeface="+mj-lt"/>
              </a:rPr>
              <a:t>Japan</a:t>
            </a:r>
          </a:p>
          <a:p>
            <a:pPr algn="l"/>
            <a:r>
              <a:rPr lang="de-DE" sz="1400" dirty="0"/>
              <a:t>JP | JPN</a:t>
            </a:r>
          </a:p>
        </p:txBody>
      </p:sp>
      <p:pic>
        <p:nvPicPr>
          <p:cNvPr id="217" name="Grafik 216">
            <a:extLst>
              <a:ext uri="{FF2B5EF4-FFF2-40B4-BE49-F238E27FC236}">
                <a16:creationId xmlns:a16="http://schemas.microsoft.com/office/drawing/2014/main" id="{199E2CB9-C006-4559-9175-041708C66E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888" y="1592263"/>
            <a:ext cx="1220229" cy="815524"/>
          </a:xfrm>
          <a:prstGeom prst="rect">
            <a:avLst/>
          </a:prstGeom>
        </p:spPr>
      </p:pic>
      <p:pic>
        <p:nvPicPr>
          <p:cNvPr id="218" name="Grafik 217">
            <a:extLst>
              <a:ext uri="{FF2B5EF4-FFF2-40B4-BE49-F238E27FC236}">
                <a16:creationId xmlns:a16="http://schemas.microsoft.com/office/drawing/2014/main" id="{071CA15B-653B-4685-B89D-E42E111FE4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74050" y="4603354"/>
            <a:ext cx="1220229" cy="815524"/>
          </a:xfrm>
          <a:prstGeom prst="rect">
            <a:avLst/>
          </a:prstGeom>
        </p:spPr>
      </p:pic>
      <p:pic>
        <p:nvPicPr>
          <p:cNvPr id="219" name="Grafik 218">
            <a:extLst>
              <a:ext uri="{FF2B5EF4-FFF2-40B4-BE49-F238E27FC236}">
                <a16:creationId xmlns:a16="http://schemas.microsoft.com/office/drawing/2014/main" id="{68B78685-25E8-422F-88B7-E176C569B9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40609" y="1592263"/>
            <a:ext cx="1220229" cy="815524"/>
          </a:xfrm>
          <a:prstGeom prst="rect">
            <a:avLst/>
          </a:prstGeom>
        </p:spPr>
      </p:pic>
      <p:pic>
        <p:nvPicPr>
          <p:cNvPr id="220" name="Grafik 219">
            <a:extLst>
              <a:ext uri="{FF2B5EF4-FFF2-40B4-BE49-F238E27FC236}">
                <a16:creationId xmlns:a16="http://schemas.microsoft.com/office/drawing/2014/main" id="{572320CA-D185-49E5-A6B8-88DFB1D8B2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57329" y="1592263"/>
            <a:ext cx="1220229" cy="815524"/>
          </a:xfrm>
          <a:prstGeom prst="rect">
            <a:avLst/>
          </a:prstGeom>
        </p:spPr>
      </p:pic>
      <p:pic>
        <p:nvPicPr>
          <p:cNvPr id="221" name="Grafik 220">
            <a:extLst>
              <a:ext uri="{FF2B5EF4-FFF2-40B4-BE49-F238E27FC236}">
                <a16:creationId xmlns:a16="http://schemas.microsoft.com/office/drawing/2014/main" id="{A807B0F9-DA9F-4621-9FDC-25B71D6427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74050" y="1592263"/>
            <a:ext cx="1220229" cy="815524"/>
          </a:xfrm>
          <a:prstGeom prst="rect">
            <a:avLst/>
          </a:prstGeom>
        </p:spPr>
      </p:pic>
      <p:pic>
        <p:nvPicPr>
          <p:cNvPr id="222" name="Grafik 221">
            <a:extLst>
              <a:ext uri="{FF2B5EF4-FFF2-40B4-BE49-F238E27FC236}">
                <a16:creationId xmlns:a16="http://schemas.microsoft.com/office/drawing/2014/main" id="{EBF79906-8C5D-47F0-9741-5344E677B2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90771" y="1592263"/>
            <a:ext cx="1220229" cy="815361"/>
          </a:xfrm>
          <a:prstGeom prst="rect">
            <a:avLst/>
          </a:prstGeom>
        </p:spPr>
      </p:pic>
      <p:pic>
        <p:nvPicPr>
          <p:cNvPr id="223" name="Grafik 222">
            <a:extLst>
              <a:ext uri="{FF2B5EF4-FFF2-40B4-BE49-F238E27FC236}">
                <a16:creationId xmlns:a16="http://schemas.microsoft.com/office/drawing/2014/main" id="{3C73B7E6-2FA1-4408-9772-3D93AA46D1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3888" y="3097808"/>
            <a:ext cx="1220229" cy="815524"/>
          </a:xfrm>
          <a:prstGeom prst="rect">
            <a:avLst/>
          </a:prstGeom>
        </p:spPr>
      </p:pic>
      <p:pic>
        <p:nvPicPr>
          <p:cNvPr id="224" name="Grafik 223">
            <a:extLst>
              <a:ext uri="{FF2B5EF4-FFF2-40B4-BE49-F238E27FC236}">
                <a16:creationId xmlns:a16="http://schemas.microsoft.com/office/drawing/2014/main" id="{2B3E1628-E0F3-4873-83E4-BFB5F0CF09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40609" y="3097808"/>
            <a:ext cx="1220229" cy="815524"/>
          </a:xfrm>
          <a:prstGeom prst="rect">
            <a:avLst/>
          </a:prstGeom>
        </p:spPr>
      </p:pic>
      <p:pic>
        <p:nvPicPr>
          <p:cNvPr id="225" name="Grafik 224">
            <a:extLst>
              <a:ext uri="{FF2B5EF4-FFF2-40B4-BE49-F238E27FC236}">
                <a16:creationId xmlns:a16="http://schemas.microsoft.com/office/drawing/2014/main" id="{0555641D-5515-4392-85AF-E30002F2C02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57329" y="3097808"/>
            <a:ext cx="1220229" cy="815524"/>
          </a:xfrm>
          <a:prstGeom prst="rect">
            <a:avLst/>
          </a:prstGeom>
        </p:spPr>
      </p:pic>
      <p:pic>
        <p:nvPicPr>
          <p:cNvPr id="226" name="Grafik 225">
            <a:extLst>
              <a:ext uri="{FF2B5EF4-FFF2-40B4-BE49-F238E27FC236}">
                <a16:creationId xmlns:a16="http://schemas.microsoft.com/office/drawing/2014/main" id="{36073DC0-5EFF-4C87-B37B-CF8BA9131FC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974050" y="3097808"/>
            <a:ext cx="1220229" cy="815524"/>
          </a:xfrm>
          <a:prstGeom prst="rect">
            <a:avLst/>
          </a:prstGeom>
        </p:spPr>
      </p:pic>
      <p:pic>
        <p:nvPicPr>
          <p:cNvPr id="227" name="Grafik 226">
            <a:extLst>
              <a:ext uri="{FF2B5EF4-FFF2-40B4-BE49-F238E27FC236}">
                <a16:creationId xmlns:a16="http://schemas.microsoft.com/office/drawing/2014/main" id="{C3AC2D75-A652-4EE1-B086-C27A050BFFE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90771" y="3097808"/>
            <a:ext cx="1220229" cy="815524"/>
          </a:xfrm>
          <a:prstGeom prst="rect">
            <a:avLst/>
          </a:prstGeom>
        </p:spPr>
      </p:pic>
      <p:pic>
        <p:nvPicPr>
          <p:cNvPr id="228" name="Grafik 227">
            <a:extLst>
              <a:ext uri="{FF2B5EF4-FFF2-40B4-BE49-F238E27FC236}">
                <a16:creationId xmlns:a16="http://schemas.microsoft.com/office/drawing/2014/main" id="{0349468C-9DBD-43D1-9151-C34E203C400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3888" y="4603354"/>
            <a:ext cx="1220229" cy="815524"/>
          </a:xfrm>
          <a:prstGeom prst="rect">
            <a:avLst/>
          </a:prstGeom>
        </p:spPr>
      </p:pic>
      <p:pic>
        <p:nvPicPr>
          <p:cNvPr id="229" name="Grafik 228">
            <a:extLst>
              <a:ext uri="{FF2B5EF4-FFF2-40B4-BE49-F238E27FC236}">
                <a16:creationId xmlns:a16="http://schemas.microsoft.com/office/drawing/2014/main" id="{11156E3D-1FC7-48E1-BB89-B4DF7F1E120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740609" y="4603354"/>
            <a:ext cx="1220229" cy="815524"/>
          </a:xfrm>
          <a:prstGeom prst="rect">
            <a:avLst/>
          </a:prstGeom>
        </p:spPr>
      </p:pic>
      <p:pic>
        <p:nvPicPr>
          <p:cNvPr id="230" name="Grafik 229">
            <a:extLst>
              <a:ext uri="{FF2B5EF4-FFF2-40B4-BE49-F238E27FC236}">
                <a16:creationId xmlns:a16="http://schemas.microsoft.com/office/drawing/2014/main" id="{36B18A82-1045-472E-84AF-D5FEB3C9C2B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857329" y="4603354"/>
            <a:ext cx="1220229" cy="815524"/>
          </a:xfrm>
          <a:prstGeom prst="rect">
            <a:avLst/>
          </a:prstGeom>
        </p:spPr>
      </p:pic>
      <p:pic>
        <p:nvPicPr>
          <p:cNvPr id="231" name="Grafik 230">
            <a:extLst>
              <a:ext uri="{FF2B5EF4-FFF2-40B4-BE49-F238E27FC236}">
                <a16:creationId xmlns:a16="http://schemas.microsoft.com/office/drawing/2014/main" id="{F061DE1F-A5D3-4623-BCA6-1701D064F06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090771" y="4603354"/>
            <a:ext cx="1220229" cy="815524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018750-D1B0-44E9-87C6-7B5A21B73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4467959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018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Bildplatzhalter 47" descr="Ein Bild, das Text, Himmel, Schild enthält.&#10;&#10;Automatisch generierte Beschreibung">
            <a:extLst>
              <a:ext uri="{FF2B5EF4-FFF2-40B4-BE49-F238E27FC236}">
                <a16:creationId xmlns:a16="http://schemas.microsoft.com/office/drawing/2014/main" id="{39B06DA0-73E1-4AA1-BB1E-7A5B4723603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2B2031C-75E5-4EA4-877C-F1CC599859F7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82028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87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Bildplatzhalter 34" descr="Ein Bild, das Text, drinnen, Elektronik enthält.&#10;&#10;Automatisch generierte Beschreibung">
            <a:extLst>
              <a:ext uri="{FF2B5EF4-FFF2-40B4-BE49-F238E27FC236}">
                <a16:creationId xmlns:a16="http://schemas.microsoft.com/office/drawing/2014/main" id="{D0029FD9-DD53-4873-B865-058C40CB90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D376D86-353A-45C5-9FFB-3332244A8F3E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945976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19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Bildplatzhalter 33" descr="Ein Bild, das Gebäude, drinnen enthält.&#10;&#10;Automatisch generierte Beschreibung">
            <a:extLst>
              <a:ext uri="{FF2B5EF4-FFF2-40B4-BE49-F238E27FC236}">
                <a16:creationId xmlns:a16="http://schemas.microsoft.com/office/drawing/2014/main" id="{2148B63A-EEDC-47A2-A4FA-D5DE6B59685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34084513-EF42-4D1D-B5EF-400E5B9738BD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623725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drinnen, Person, Fenster enthält.&#10;&#10;Automatisch generierte Beschreibung">
            <a:extLst>
              <a:ext uri="{FF2B5EF4-FFF2-40B4-BE49-F238E27FC236}">
                <a16:creationId xmlns:a16="http://schemas.microsoft.com/office/drawing/2014/main" id="{845F91E0-2DE6-4FCF-B7ED-FFC5F3FD448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5C81EC82-E580-44D4-87EC-EFC96EDB195E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56724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235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DDA14F2E-A681-4380-BB24-E2131BEE41D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9C0785F-3CD5-45A2-8C39-AB946255609C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232648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20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platzhalter 13" descr="Ein Bild, das Boden, Gebäude, draußen, Veranda enthält.&#10;&#10;Automatisch generierte Beschreibung">
            <a:extLst>
              <a:ext uri="{FF2B5EF4-FFF2-40B4-BE49-F238E27FC236}">
                <a16:creationId xmlns:a16="http://schemas.microsoft.com/office/drawing/2014/main" id="{05CD9B2D-D171-49B8-B7E7-D6FB1EE3EB2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4C5EE09-9D8E-4E80-BE8D-C50AA7C89893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481389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341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23" descr="Ein Bild, das draußen, Outdoorobjekt, Nacht, Licht enthält.&#10;&#10;Automatisch generierte Beschreibung">
            <a:extLst>
              <a:ext uri="{FF2B5EF4-FFF2-40B4-BE49-F238E27FC236}">
                <a16:creationId xmlns:a16="http://schemas.microsoft.com/office/drawing/2014/main" id="{6C71CE8D-FF09-455E-AD2F-372472AFDB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BBE4877C-93EE-48FF-8841-420BDB112655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28116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24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Computer, Tisch, Restaurant enthält.&#10;&#10;Automatisch generierte Beschreibung">
            <a:extLst>
              <a:ext uri="{FF2B5EF4-FFF2-40B4-BE49-F238E27FC236}">
                <a16:creationId xmlns:a16="http://schemas.microsoft.com/office/drawing/2014/main" id="{239D41DE-FE51-43EE-B02C-D07D3D1A14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1F052974-C8E5-4DF1-BEA4-575DF2508BCE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53564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52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Schüssel, Pflanze, Mahlzeit enthält.&#10;&#10;Automatisch generierte Beschreibung">
            <a:extLst>
              <a:ext uri="{FF2B5EF4-FFF2-40B4-BE49-F238E27FC236}">
                <a16:creationId xmlns:a16="http://schemas.microsoft.com/office/drawing/2014/main" id="{A932E697-F082-4E00-A15E-717EE6953F0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FA66F6F9-73D4-4076-A6E5-A0D5270C5B16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06819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Nutzung von </a:t>
            </a:r>
            <a:r>
              <a:rPr lang="de-DE" dirty="0" err="1"/>
              <a:t>blocking</a:t>
            </a:r>
            <a:r>
              <a:rPr lang="de-DE" dirty="0"/>
              <a:t> IO durch traditionelle Webserver war einer der Hauptmotivationsgründe für </a:t>
            </a:r>
            <a:r>
              <a:rPr lang="de-DE" dirty="0" err="1"/>
              <a:t>Node.j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Zum Zeitpunkt der </a:t>
            </a:r>
            <a:r>
              <a:rPr lang="de-DE" sz="1400" dirty="0" err="1"/>
              <a:t>Enstehung</a:t>
            </a:r>
            <a:r>
              <a:rPr lang="de-DE" sz="1400" dirty="0"/>
              <a:t> von </a:t>
            </a:r>
            <a:r>
              <a:rPr lang="de-DE" sz="1400" dirty="0" err="1"/>
              <a:t>Node.js</a:t>
            </a:r>
            <a:r>
              <a:rPr lang="de-DE" sz="1400" dirty="0"/>
              <a:t> (2009) war es in traditionellen Webservern üblich, dass für eine rechenintensive Operation eine blockierende API z.B. des OS genutzt wurde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Hierdurch benötigten traditionelle Webserver mehrere Threads, um weiterhin erreichbar zu sei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Nebenläufigkeit in Webservern heute nicht mehr unbedingt mit Threads gelöst, z.B. Go </a:t>
            </a:r>
            <a:r>
              <a:rPr lang="de-DE" sz="1400" dirty="0" err="1"/>
              <a:t>Routines</a:t>
            </a:r>
            <a:endParaRPr lang="de-DE" sz="1400" dirty="0">
              <a:sym typeface="Wingdings" pitchFamily="2" charset="2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6882B46-EE35-04AB-671B-B6B0108161A6}"/>
              </a:ext>
            </a:extLst>
          </p:cNvPr>
          <p:cNvSpPr txBox="1"/>
          <p:nvPr/>
        </p:nvSpPr>
        <p:spPr>
          <a:xfrm>
            <a:off x="9945572" y="5771782"/>
            <a:ext cx="16486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de-DE" sz="1200" dirty="0">
                <a:hlinkClick r:id="rId2"/>
              </a:rPr>
              <a:t>Ryan Dahl Präsentation von Node.j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00051825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11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8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Bildplatzhalter 51" descr="Ein Bild, das Text enthält.&#10;&#10;Automatisch generierte Beschreibung">
            <a:extLst>
              <a:ext uri="{FF2B5EF4-FFF2-40B4-BE49-F238E27FC236}">
                <a16:creationId xmlns:a16="http://schemas.microsoft.com/office/drawing/2014/main" id="{9CA4CDF3-8CB8-4528-8099-D2E8073BF5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681769EA-40EE-4336-8928-803A46F7D927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579052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17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8489A195-AE8F-47C0-9A00-56452AC4877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95552B94-E904-4E0B-9B81-4A5E9EA8E5A7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02901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42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aus Holz enthält.&#10;&#10;Automatisch generierte Beschreibung">
            <a:extLst>
              <a:ext uri="{FF2B5EF4-FFF2-40B4-BE49-F238E27FC236}">
                <a16:creationId xmlns:a16="http://schemas.microsoft.com/office/drawing/2014/main" id="{B3D871BB-6365-41FA-BDFE-FADE4E427E5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0499FD2-B3CF-4AE9-802E-0E6129614CC6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20251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45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Person, Mann enthält.&#10;&#10;Automatisch generierte Beschreibung">
            <a:extLst>
              <a:ext uri="{FF2B5EF4-FFF2-40B4-BE49-F238E27FC236}">
                <a16:creationId xmlns:a16="http://schemas.microsoft.com/office/drawing/2014/main" id="{CD2464E0-3FE8-4E81-8707-0C5A52979DB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A0DAF2B-2638-4701-85E5-C74274240C17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791028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2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Metall, Gestell enthält.&#10;&#10;Automatisch generierte Beschreibung">
            <a:extLst>
              <a:ext uri="{FF2B5EF4-FFF2-40B4-BE49-F238E27FC236}">
                <a16:creationId xmlns:a16="http://schemas.microsoft.com/office/drawing/2014/main" id="{52AB65A2-CF4B-4B3E-83B1-E13C2BC6AC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2785EFE3-1127-4B2C-8756-C31C2A5F8580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45853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71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 descr="Ein Bild, das Boden, drinnen, Fenster, Gebäude enthält.&#10;&#10;Automatisch generierte Beschreibung">
            <a:extLst>
              <a:ext uri="{FF2B5EF4-FFF2-40B4-BE49-F238E27FC236}">
                <a16:creationId xmlns:a16="http://schemas.microsoft.com/office/drawing/2014/main" id="{B15F1C5F-6545-4505-A61A-9797B733B82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8372AF65-4832-4EFE-848F-F7B80A9CE4E5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477360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B222732-BE09-4CFE-AC8B-008F94A6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0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B222732-BE09-4CFE-AC8B-008F94A67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Bildplatzhalter 26" descr="Ein Bild, das drinnen, Wand, Boden, Decke enthält.&#10;&#10;Automatisch generierte Beschreibung">
            <a:extLst>
              <a:ext uri="{FF2B5EF4-FFF2-40B4-BE49-F238E27FC236}">
                <a16:creationId xmlns:a16="http://schemas.microsoft.com/office/drawing/2014/main" id="{018F6E6A-2B7D-490F-8810-3055D251B09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/>
          <a:stretch/>
        </p:blipFill>
        <p:spPr>
          <a:xfrm>
            <a:off x="5" y="0"/>
            <a:ext cx="12191997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59AD17-F7A1-4447-B323-225E30FE7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13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B42B15-D958-4C7B-BC38-8452343685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520799" cy="1107996"/>
          </a:xfrm>
        </p:spPr>
        <p:txBody>
          <a:bodyPr/>
          <a:lstStyle/>
          <a:p>
            <a:r>
              <a:rPr lang="de-DE" dirty="0"/>
              <a:t>Mit Bil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373139-7549-4662-8206-48FC310635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9063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819F36-94BB-4692-87B0-9F86A5EB9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475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7019D8-61F9-4A89-8F56-2AD1B3CE74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53C4684-771C-47A7-A4AA-61F9D2D8718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623888" y="5097600"/>
            <a:ext cx="1039479" cy="288147"/>
          </a:xfrm>
        </p:spPr>
        <p:txBody>
          <a:bodyPr/>
          <a:lstStyle/>
          <a:p>
            <a:fld id="{70AC3047-B15E-4E7C-B84D-92100E0A522A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87204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29A233E-2E2A-471E-8C39-55F5B4979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60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29A233E-2E2A-471E-8C39-55F5B4979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7F0740A-AC7E-4958-B277-AE9F3BDCF3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3195AF-8A09-4CDE-9019-FE66ACF2E9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0146F0-DFB2-489A-AD63-BBDCC1C92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49929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72DA02-D517-4CAC-8DD2-A59430D3E1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7D2599E-2799-4F3F-BB2C-63C9ED7695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464FEC-68CE-4C18-B3E2-4A94623FFF99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D71F4B7C-D186-4152-A6A1-96B27C7E972A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121497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7C4682-B69F-4D50-8C29-E9EA10C8B3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43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7C4682-B69F-4D50-8C29-E9EA10C8B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7DE64A-D26C-4928-84D0-8CEE9E27E5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7" y="1116000"/>
            <a:ext cx="4111154" cy="1107996"/>
          </a:xfrm>
        </p:spPr>
        <p:txBody>
          <a:bodyPr/>
          <a:lstStyle/>
          <a:p>
            <a:r>
              <a:rPr lang="de-DE" dirty="0"/>
              <a:t>Titelfoli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F56BF7-530C-42F3-A7C4-F3D8C1977E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0800"/>
            <a:ext cx="2167929" cy="1107996"/>
          </a:xfrm>
        </p:spPr>
        <p:txBody>
          <a:bodyPr/>
          <a:lstStyle/>
          <a:p>
            <a:r>
              <a:rPr lang="de-DE" dirty="0"/>
              <a:t>Weiß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FC1B3B-AF41-490B-A05B-98359ACF5E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3888" y="3928440"/>
            <a:ext cx="3122870" cy="442035"/>
          </a:xfrm>
        </p:spPr>
        <p:txBody>
          <a:bodyPr/>
          <a:lstStyle/>
          <a:p>
            <a:r>
              <a:rPr lang="de-DE" dirty="0"/>
              <a:t>zusätzlichem Untertit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C03A1B1-A492-433A-8EE9-57F7E92581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23888" y="3546000"/>
            <a:ext cx="2013977" cy="442035"/>
          </a:xfrm>
        </p:spPr>
        <p:txBody>
          <a:bodyPr/>
          <a:lstStyle/>
          <a:p>
            <a:r>
              <a:rPr lang="de-DE" dirty="0"/>
              <a:t>Mit oder oh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C204122-23EB-4ACD-A11A-E721559A6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3888" y="4665600"/>
            <a:ext cx="1691452" cy="288147"/>
          </a:xfrm>
        </p:spPr>
        <p:txBody>
          <a:bodyPr/>
          <a:lstStyle/>
          <a:p>
            <a:r>
              <a:rPr lang="de-DE" dirty="0"/>
              <a:t>Name der Abteilun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7A5BB66-D620-4A8D-BD69-038CDE23FA18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1EDAD4D-4422-4FB9-A941-5AA96E913AB0}" type="datetime1">
              <a:rPr lang="de-DE" smtClean="0"/>
              <a:pPr/>
              <a:t>28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178614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88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0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Bildplatzhalter 70" descr="Ein Bild, das Person, schließen, Gemüse enthält.&#10;&#10;Automatisch generierte Beschreibung">
            <a:extLst>
              <a:ext uri="{FF2B5EF4-FFF2-40B4-BE49-F238E27FC236}">
                <a16:creationId xmlns:a16="http://schemas.microsoft.com/office/drawing/2014/main" id="{C2350552-3342-4B1C-AD57-06E9019C37F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594" r="29594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3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3888" y="1592263"/>
            <a:ext cx="648000" cy="64800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3888" y="2456263"/>
            <a:ext cx="648000" cy="648000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3888" y="3320263"/>
            <a:ext cx="648000" cy="648000"/>
          </a:xfrm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0EF88AF-C71B-4242-BA40-F946844D9C7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ABD76493-895B-40C0-A8E2-6D679168C263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89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3A024F-EE15-450A-8F5C-1677CC453FD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89937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C05FDA-7C3C-F644-B476-4CBCF971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 Gegensatz zu synchronem I/O wird bei asynchronem I/O die Kontrolle umgehend an den Aufrufer zurückübergeb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3B780B-562C-8B4F-9667-FA2E85E44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386418-EA84-A945-AD15-C3D589A00E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72369B3-F096-4153-BFBF-98D8456DDB54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79BB16-86DF-C745-9059-1A57B1AF8D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Quelle: OB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094216-2C08-D743-9409-9E06CB18082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487D266B-E72C-4639-8FD6-1CF954A8FA0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0918D24-9D70-CC4C-A745-E76B0A5285D1}"/>
              </a:ext>
            </a:extLst>
          </p:cNvPr>
          <p:cNvSpPr txBox="1"/>
          <p:nvPr/>
        </p:nvSpPr>
        <p:spPr>
          <a:xfrm>
            <a:off x="623888" y="1673157"/>
            <a:ext cx="10738018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ufrufer ist dadurch nicht geblockt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ies wird durch synchrones Event </a:t>
            </a:r>
            <a:r>
              <a:rPr lang="de-DE" sz="1400" dirty="0" err="1"/>
              <a:t>Demultiplexing</a:t>
            </a:r>
            <a:r>
              <a:rPr lang="de-DE" sz="1400" dirty="0"/>
              <a:t> (</a:t>
            </a:r>
            <a:r>
              <a:rPr lang="de-DE" sz="1400" dirty="0" err="1"/>
              <a:t>demultiplexing</a:t>
            </a:r>
            <a:r>
              <a:rPr lang="de-DE" sz="1400" dirty="0"/>
              <a:t> = Signal in Komponenten aufteilen) ermöglicht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Synchron </a:t>
            </a:r>
            <a:r>
              <a:rPr lang="de-DE" sz="1400" dirty="0">
                <a:sym typeface="Wingdings" pitchFamily="2" charset="2"/>
              </a:rPr>
              <a:t> blockiert, bis Event reinkommt</a:t>
            </a:r>
            <a:endParaRPr lang="de-DE" sz="1400" dirty="0"/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r>
              <a:rPr lang="de-DE" sz="1400" dirty="0"/>
              <a:t> </a:t>
            </a:r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  <a:p>
            <a:pPr>
              <a:spcAft>
                <a:spcPts val="300"/>
              </a:spcAft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7F312A-80D8-594F-BD0B-D633036CCAEE}"/>
              </a:ext>
            </a:extLst>
          </p:cNvPr>
          <p:cNvSpPr/>
          <p:nvPr/>
        </p:nvSpPr>
        <p:spPr>
          <a:xfrm>
            <a:off x="534323" y="2953137"/>
            <a:ext cx="11123353" cy="28644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socketA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Ressourcen zu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hinzufügen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ad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fileB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, </a:t>
            </a:r>
            <a:r>
              <a:rPr lang="de-DE" sz="1400" dirty="0">
                <a:solidFill>
                  <a:srgbClr val="4FC1FF"/>
                </a:solidFill>
                <a:latin typeface="Menlo" panose="020B0609030804020204" pitchFamily="49" charset="0"/>
              </a:rPr>
              <a:t>FOR_READ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while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=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demultiplexer</a:t>
            </a:r>
            <a:r>
              <a:rPr lang="de-DE" sz="1400" dirty="0" err="1">
                <a:solidFill>
                  <a:srgbClr val="D4D4D4"/>
                </a:solidFill>
                <a:latin typeface="Menlo" panose="020B0609030804020204" pitchFamily="49" charset="0"/>
              </a:rPr>
              <a:t>.</a:t>
            </a:r>
            <a:r>
              <a:rPr lang="de-DE" sz="1400" dirty="0" err="1">
                <a:solidFill>
                  <a:srgbClr val="DCDCAA"/>
                </a:solidFill>
                <a:latin typeface="Menlo" panose="020B0609030804020204" pitchFamily="49" charset="0"/>
              </a:rPr>
              <a:t>watch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watchedLis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) { 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/ Beobachtet Ressourcen synchron und gibt Event 						// zurück nach Beenden von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read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/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write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-Operation 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loop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C586C0"/>
                </a:solidFill>
                <a:latin typeface="Menlo" panose="020B0609030804020204" pitchFamily="49" charset="0"/>
              </a:rPr>
              <a:t>  </a:t>
            </a:r>
            <a:r>
              <a:rPr lang="de-DE" sz="1400" dirty="0" err="1">
                <a:solidFill>
                  <a:srgbClr val="C586C0"/>
                </a:solidFill>
                <a:latin typeface="Menlo" panose="020B0609030804020204" pitchFamily="49" charset="0"/>
              </a:rPr>
              <a:t>for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(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569CD6"/>
                </a:solidFill>
                <a:latin typeface="Menlo" panose="020B0609030804020204" pitchFamily="49" charset="0"/>
              </a:rPr>
              <a:t>of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9CDCFE"/>
                </a:solidFill>
                <a:latin typeface="Menlo" panose="020B0609030804020204" pitchFamily="49" charset="0"/>
              </a:rPr>
              <a:t>events</a:t>
            </a:r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) {</a:t>
            </a:r>
          </a:p>
          <a:p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   //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process</a:t>
            </a:r>
            <a:r>
              <a:rPr lang="de-DE" sz="1400" dirty="0">
                <a:solidFill>
                  <a:srgbClr val="6A9955"/>
                </a:solidFill>
                <a:latin typeface="Menlo" panose="020B0609030804020204" pitchFamily="49" charset="0"/>
              </a:rPr>
              <a:t> </a:t>
            </a:r>
            <a:r>
              <a:rPr lang="de-DE" sz="1400" dirty="0" err="1">
                <a:solidFill>
                  <a:srgbClr val="6A9955"/>
                </a:solidFill>
                <a:latin typeface="Menlo" panose="020B0609030804020204" pitchFamily="49" charset="0"/>
              </a:rPr>
              <a:t>event</a:t>
            </a: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  }</a:t>
            </a:r>
          </a:p>
          <a:p>
            <a: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  <a:t>}</a:t>
            </a:r>
          </a:p>
          <a:p>
            <a:br>
              <a:rPr lang="de-DE" sz="1400" dirty="0">
                <a:solidFill>
                  <a:srgbClr val="D4D4D4"/>
                </a:solidFill>
                <a:latin typeface="Menlo" panose="020B0609030804020204" pitchFamily="49" charset="0"/>
              </a:rPr>
            </a:br>
            <a:endParaRPr lang="de-DE" sz="1400" dirty="0">
              <a:solidFill>
                <a:srgbClr val="D4D4D4"/>
              </a:solidFill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39937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04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Bildplatzhalter 55" descr="Ein Bild, das Text, Tisch, Esstisch enthält.&#10;&#10;Automatisch generierte Beschreibung">
            <a:extLst>
              <a:ext uri="{FF2B5EF4-FFF2-40B4-BE49-F238E27FC236}">
                <a16:creationId xmlns:a16="http://schemas.microsoft.com/office/drawing/2014/main" id="{0B986298-D0F7-4E72-9AA9-13989BC25E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4123" r="4123"/>
          <a:stretch/>
        </p:blipFill>
        <p:spPr>
          <a:xfrm>
            <a:off x="8122920" y="102278"/>
            <a:ext cx="4069081" cy="6651061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687600"/>
            <a:ext cx="7120970" cy="369332"/>
          </a:xfrm>
        </p:spPr>
        <p:txBody>
          <a:bodyPr vert="horz"/>
          <a:lstStyle/>
          <a:p>
            <a:r>
              <a:rPr lang="de-DE" dirty="0"/>
              <a:t>Agenda mit 4 Them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CE6A335-36FC-4D26-A4FE-73246A3246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493520" y="1777763"/>
            <a:ext cx="6251337" cy="276999"/>
          </a:xfrm>
        </p:spPr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F950E59D-69F1-4E3E-883D-CAFA8AC5EFC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493520" y="2641764"/>
            <a:ext cx="6251337" cy="276999"/>
          </a:xfrm>
        </p:spPr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7399C5A-099E-4759-AF90-0C1639CD0CA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1493520" y="3505763"/>
            <a:ext cx="6251337" cy="276999"/>
          </a:xfrm>
        </p:spPr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9A80821-AE30-4A59-B7AB-2E2DE6D7F0E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A647AB3-28E9-4DFA-A859-A62FC80BC5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93520" y="4369763"/>
            <a:ext cx="6251337" cy="276999"/>
          </a:xfrm>
        </p:spPr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8370094" y="6531032"/>
            <a:ext cx="621507" cy="153888"/>
          </a:xfrm>
        </p:spPr>
        <p:txBody>
          <a:bodyPr/>
          <a:lstStyle/>
          <a:p>
            <a:fld id="{016B79B2-53D3-4CC8-BDFD-0A50FE110B22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9131300" y="6531032"/>
            <a:ext cx="543720" cy="153888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0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FDDB087-270F-494D-8C85-A645C7A0742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281386328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7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5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Bildplatzhalter 57">
            <a:extLst>
              <a:ext uri="{FF2B5EF4-FFF2-40B4-BE49-F238E27FC236}">
                <a16:creationId xmlns:a16="http://schemas.microsoft.com/office/drawing/2014/main" id="{6B535D8D-0081-4D8F-9C78-DB9B51958A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32812" r="32812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A144864-528D-4385-AE51-D50C911868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F49D8C1F-E6D8-4D0E-B978-5FAAB03669F7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1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97BE9E-37D9-4F55-8E6B-A7767F2068AE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733335481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93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39" descr="Ein Bild, das Pflanze, grün, Blatt, Baum enthält.&#10;&#10;Automatisch generierte Beschreibung">
            <a:extLst>
              <a:ext uri="{FF2B5EF4-FFF2-40B4-BE49-F238E27FC236}">
                <a16:creationId xmlns:a16="http://schemas.microsoft.com/office/drawing/2014/main" id="{C0175C97-0B85-4831-AB10-0FCE069AFE2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9220" r="922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F34112-B9B8-468E-BB9D-66EAB5F83D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323832C3-4E8A-42A8-AFF9-287CAD64E07D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7C79623C-4370-4956-A691-7AC80E0A70A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368631855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4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9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Straße, Himmel, draußen, Weg enthält.&#10;&#10;Automatisch generierte Beschreibung">
            <a:extLst>
              <a:ext uri="{FF2B5EF4-FFF2-40B4-BE49-F238E27FC236}">
                <a16:creationId xmlns:a16="http://schemas.microsoft.com/office/drawing/2014/main" id="{9D96CDEA-5408-4AB8-AB72-C002802D52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18523" r="18523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B6A2BA-C548-4DC6-B66B-831C80375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55B11AF4-F842-49E9-AB7D-8AAEDD24C050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3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BB012B36-5C9C-4A2F-9258-63B36E7AC5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1024110617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2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ildplatzhalter 63" descr="Ein Bild, das Boden, drinnen, Fenster, Raum enthält.&#10;&#10;Automatisch generierte Beschreibung">
            <a:extLst>
              <a:ext uri="{FF2B5EF4-FFF2-40B4-BE49-F238E27FC236}">
                <a16:creationId xmlns:a16="http://schemas.microsoft.com/office/drawing/2014/main" id="{D530B33B-BCC8-4D3A-B550-40B4D2289A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A89E29-4662-45D3-8839-631B29EF04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B97B55A5-3A0E-4210-AB26-C65FEFF31EA8}" type="datetime1">
              <a:rPr lang="de-DE" smtClean="0"/>
              <a:pPr/>
              <a:t>28.04.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487D266B-E72C-4639-8FD6-1CF954A8FA0B}" type="slidenum">
              <a:rPr lang="de-DE" smtClean="0"/>
              <a:pPr/>
              <a:t>94</a:t>
            </a:fld>
            <a:endParaRPr lang="de-DE" dirty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E9AE0EF5-5806-4DC8-B6FB-9AFD1CA9CF7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47475707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367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Bildplatzhalter 87" descr="Ein Bild, das Person, drinnen, computer, Esstisch enthält.&#10;&#10;Automatisch generierte Beschreibung">
            <a:extLst>
              <a:ext uri="{FF2B5EF4-FFF2-40B4-BE49-F238E27FC236}">
                <a16:creationId xmlns:a16="http://schemas.microsoft.com/office/drawing/2014/main" id="{967FED84-D63F-41E5-8F20-4770DD3A466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D84462-A004-450F-B536-F611E6C133A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1FD695BC-D664-4190-976C-557BCA96B0F9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AA4A5244-EE67-4E78-9FED-601886120B37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2889914365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25134E2C-F5C7-4600-83EF-06BB451EE9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82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20" name="Objekt 19" hidden="1">
                        <a:extLst>
                          <a:ext uri="{FF2B5EF4-FFF2-40B4-BE49-F238E27FC236}">
                            <a16:creationId xmlns:a16="http://schemas.microsoft.com/office/drawing/2014/main" id="{25134E2C-F5C7-4600-83EF-06BB451EE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dplatzhalter 42" descr="Ein Bild, das drinnen, Wand, Tisch, Boden enthält.&#10;&#10;Automatisch generierte Beschreibung">
            <a:extLst>
              <a:ext uri="{FF2B5EF4-FFF2-40B4-BE49-F238E27FC236}">
                <a16:creationId xmlns:a16="http://schemas.microsoft.com/office/drawing/2014/main" id="{6394905C-97B8-47F4-BCE3-CBBF5F9FAA4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/>
          <a:srcRect l="29610" r="29610"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3A19613-05CA-496C-BF41-E9A32DB889A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 mit 5 Them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828BD8-1DF1-462F-ABE1-FE1ABD1544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5E3D25C-7848-43AC-A038-2003F8B602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Erster Agendapun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7C4B18-B281-4300-9FEA-0DE909BEDD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19E516-E95F-4E18-8DE3-31DF65941E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Zweiter Agendapun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F2479FB-0904-4703-89F4-889D822221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061448-AF68-4949-BA27-120317095AB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Dritter Agendapunk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10B5E08-F58B-4E80-B3E9-95E10CC34F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E0D91BA-2012-4AAA-88F9-DEE0964377D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Vierter Agendapun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12F37E-D396-4C4B-9DE5-B8FEB4A40D9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E5A136-56B3-465A-B374-A427810A18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Fünfter Agendapunk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8FFDBC8-0132-42B4-965B-43384522DAD9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fld id="{079A9D57-D794-458F-8570-1774E083E315}" type="datetime1">
              <a:rPr lang="de-DE" smtClean="0">
                <a:solidFill>
                  <a:schemeClr val="bg1"/>
                </a:solidFill>
              </a:rPr>
              <a:pPr/>
              <a:t>28.04.22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C26AD3-4456-44A5-92A7-DD1609BA716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eite </a:t>
            </a:r>
            <a:fld id="{487D266B-E72C-4639-8FD6-1CF954A8FA0B}" type="slidenum">
              <a:rPr lang="de-DE" smtClean="0">
                <a:solidFill>
                  <a:schemeClr val="bg1"/>
                </a:solidFill>
              </a:rPr>
              <a:pPr/>
              <a:t>96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195D31D0-1467-4F9E-BC0E-3D11729A512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Quelle: OBI</a:t>
            </a:r>
          </a:p>
        </p:txBody>
      </p:sp>
    </p:spTree>
    <p:extLst>
      <p:ext uri="{BB962C8B-B14F-4D97-AF65-F5344CB8AC3E}">
        <p14:creationId xmlns:p14="http://schemas.microsoft.com/office/powerpoint/2010/main" val="52253322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298B5D-D6D7-4BC5-B8D8-14F8BA808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412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298B5D-D6D7-4BC5-B8D8-14F8BA80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6CBE68-4466-4053-9816-DF88485D47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 </a:t>
            </a:r>
            <a:br>
              <a:rPr lang="de-DE" dirty="0"/>
            </a:br>
            <a:r>
              <a:rPr lang="de-DE" dirty="0"/>
              <a:t>Oran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E4D146-B334-45D5-AA32-7191619F7B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0185734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DC299C9-68F2-4260-A5A7-BB5F51DD8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33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DC299C9-68F2-4260-A5A7-BB5F51DD8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5189B2D-6251-43BD-BFA2-0EC0248F9A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Weiß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19A35-89B4-4B23-8655-894D276EB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2541174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CEB3A1-6A04-4254-9BCA-3C14A092A5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CEB3A1-6A04-4254-9BCA-3C14A092A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9C00DC2-F2D8-4197-995F-AEDB9C57D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3888" y="1116000"/>
            <a:ext cx="5055835" cy="1107996"/>
          </a:xfrm>
        </p:spPr>
        <p:txBody>
          <a:bodyPr/>
          <a:lstStyle/>
          <a:p>
            <a:r>
              <a:rPr lang="de-DE" dirty="0"/>
              <a:t>Keymessa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A37475-3E01-4238-A0E6-8BA1AC159E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gray">
          <a:xfrm>
            <a:off x="623888" y="2081213"/>
            <a:ext cx="3176602" cy="1107996"/>
          </a:xfrm>
        </p:spPr>
        <p:txBody>
          <a:bodyPr/>
          <a:lstStyle/>
          <a:p>
            <a:r>
              <a:rPr lang="de-DE" dirty="0"/>
              <a:t>Orange</a:t>
            </a:r>
          </a:p>
        </p:txBody>
      </p:sp>
    </p:spTree>
    <p:extLst>
      <p:ext uri="{BB962C8B-B14F-4D97-AF65-F5344CB8AC3E}">
        <p14:creationId xmlns:p14="http://schemas.microsoft.com/office/powerpoint/2010/main" val="39366328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4&quot; g=&quot;E4&quot; b=&quot;E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8teh12ay..zZ6TP3Zq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NrOqJ5hapktFfeKVl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1fylzVx7cyrWFvJiTl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BFjZlxKR48noWzV0o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0VIKweZiUEwBXEYZR6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4Esp4STLNx3x5S4Dn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mrVgQtkQ_8YRZx7zOZU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9diiQJiz6IZv85kig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68EpPxej1eQ2GViHF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6HMe05vic3sZgTKlO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NNhM8hUtr760gwKgz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t6q4fkJCXvzfLQZU.Fw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Va6Z.HUGihQ9io3MQb6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vZwMI33fkf4yBzPyGY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d0pWGgnHcfQr9QqortC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0hi.A92Myx2jL9uVSV5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8iPItAVcZwGBExC8WmM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9YmtEFD9doDSN1uYh3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o.moQUw2_r1_T057y93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vqIZJJiehb.H2XcU2z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.tsKHT5GP5SsQrgpWW6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YeZnql2Qmh9mwTAcyb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vGcvUAd7BRqlV.qB8Wg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qj_XbbKVVeLLzQbYInO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n42Q1QBX3XRHPMyVkSy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RbR6aN0mmNVQLzpQb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mT_ymLLk5zU7jlQR785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7WTKvUaI7.SIMIZKX4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3z2revKqVXP29ySYfx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3lJTA8nJKrZwN_O3wk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eSQ0ux4fVudrKGI2iI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prIL1rsqhPE9rF1M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kXeYGlPWD60q4Gm_21j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Sta3x0eRbvHuXISZZJ1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RkMXhfNsOyz0frPal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osqLBaRw_Zo4Iw91ee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rz5zZ6SbK7w07g1wOJ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qBwc0lcft21kswRjn9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ceRL3cOJAcUQofl0Kqn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He9RrhIpZ_Xv8Y8lu5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mfN7UIG73sVT6.hpz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4lWcDh.Uyov4tg7jVB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dQT.IzNda.RJepSO52o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mudUOQ.QehNcO3CUAS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s6G2Jb4BTa_MeRfWwFh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e3l4muojimrc8wCLcx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wYLyeg14N.v4BttWbc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JZyO1MSjGuCjWGa1wQ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Hp8_zkIFA2b_x.meN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4kugI4KuUDDzZIhIjU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qAoCHvMyXP8hsGiQ4W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EsQma.tjqVCtmHNLMJU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GGksWpLl3zyf7GmQPdT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EL6BGHP.QsSnrK7Vk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28Ecvyz9FdwEJfGaF7m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NQuVN48hGCoEWBw_QJ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zjk8Ev0_Q9H5tVtoWn9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iUxXGU1AkufNupS.gVA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3Q0XB5KckuyM5nmwprX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iuN0tO4aNMzNbnHpv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KzsgoKGb4koCijEnmDx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T5uYT9_vPe19iUolw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_oqRGDsQyDPcMnhIjG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LQPGoeqmyq95z6xT7js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9oHhrsxXVKv4w56xCu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.3liIlb8ytoyE6_IG5r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AEcv4uXGa2oqGRO_2ny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0Necq71q9aG2Q8kELOK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aEJ875vTamedDF3PPo0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HGiqFt485vMoYsSJE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7zGpLFcvSmcTdxzGIbM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XEjl2kToJF.cNtuGvv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EWbC9xEep6tjj6TUm.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Sx68D7_mh2gwuJBE1pu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no0kw0egIklnu23uC6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Vmu1jHAeSH6yhzdL1Nw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b.xs3Ej2BDGCMjxTDLD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fvtgEtLJ2dioZSyk0G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aZ7wAzLUO9f3qHoWQr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.UwEY8vLr1NBADA2Eh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2u.LE9b8i1USJ6.Oj6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CYBfq.cuRdCQAds1n7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xAN2h0JBUuIgV_Wz6b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toBXbvgLX91HBlqhXRD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9DiDnXx2SwMDKX4k5AK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PV_YSZwHwZYN8EpTLX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VQp7BXYe8rRlu5X0WO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3U8L3lZdT1uK695dbV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dutj47.C_SecMCL1_3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OYrte836EBSvrZpS5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wHg7yu7sexEwsDTnoI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iyCt9xnL0sv7KqsiZGq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murr1uWODr9vBZHs39y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nVQKfaHfxMFCeYiTSj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EFnNapOSq8iNa8UyC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3.3oF_pWneUamjEp8TC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eXvjrurE0.X0Ho8lFw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Cs6FYcPsZnkxGYKJf8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PmjFV5RN24cd8g6cvEU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ArEUaDgAkc39fu1xx1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5cLc_aAD4KFr32w4Uw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7kZdvHKL5k3ZrcShu01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tLVkwGtSOKgCM1aSXSo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W75LSgEC4ERN8EZJWgw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v8B.kJEuDV0MYzARq0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gMtFRaBIevIIVE4szdS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8I9kN7Zw_FeApVEIBZF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SxE45bBx26gzzCUzRH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xi.ufjYd.0vKVgA6Of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tGB5lcsmf_ZGo6m6es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gfxCXmdIaVKdjUlNfe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_R390nJZdRr4yM9I8f8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av4C_WZRc5vQSIFmpA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pJmufI07XAURnepCjW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8yJYkn5b0JPYDEPTxL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8rH947fg5f.3xerZ3yF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1XCJZpgiFIUcNxfQ4q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RADyQrCFmLWIR.vJIaq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Tg2wtMW9_ogU77B__M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vPLUfDv7RMfjmgSdm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0ruDr6RP2UO4fO_zyWE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EUOhDUPKLFsHCdjfph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td1ysXbOmZ347s5Le7j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ojjdLELuhBBWhqtF5xg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3Xp9VPX0kIunVNN.Hx3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_jotRDOJu31C8ZJYJf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eTEopc128Wg.IHNuXPl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hbXeU2wM0qzum8LBp6M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WYXhaCvvCRGEanjh57O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d56t.OzOfQkXv4jnQ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yhpTHl0KORY5x5u9A1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3lXyM7Me851JExySjX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hWIk5IjfOR46KJlZxp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CDRKV_PdQ8NQHheQdL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UnGfXgqgrCvtNAx.qnf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wGK0lZagu.7Brx1HQ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6xjmGtS6XXD4nXA.kGv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SDr8r_za1D0vUvKnELc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DCwoJXEN56Q2hhpS8gn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gNSy2EyST3ITgChvAI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.hKB.cDBJFQarCAr7f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j6pD5UT8lLXs37ECeh7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oOkwMbv4w7iVRTnGoJi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ARdPmpEJy7K5K3j4ZFt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Zc_VqnUM9YruD_DDH6K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sXHin0fJcpNFxASTLK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xUIoi9QjKK94BOnsG9b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nOp_MS4bEyks.KU3qC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UKwoKGaSP7XxZGSqjlJ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1uUHKlUBCOiZrLjjaS3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YK2AbvSXH2hMvehHRv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ecJRFcYK2gjZgu_S8g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SDpnL5r1PODzsVGdWp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nPfcaAaWLl_EFTud3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uXU54nW.R3k7CrgbRfQ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BMYUVB6L5rbJDmYqGV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1F0HbcvgqTRC3jYODZ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QOtSCLfe1Yg0sBoY8yW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mV92fPMK.GBLekiZDkm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_8y7YoPKeA.DSqBFgYO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Wqb6naJWRMxlWCy5cHA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goqj8_WiI20M_YBDAh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OY6xqRr0LAeM3Gt94N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wlWNUJJ2Er_ioHWYuW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dpPzcxhHw.iaZjrRGGz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LX3XaehC7.vJT1fK6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1Bg1If6LLeYq3n7NZU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8EOnMUoylpmXT_hUZo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uB4OO7XuI5gvKK667C7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kSS4WnqVvvyeA9Bd.tt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gzAUPiwErSZBzv7VLJ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9_FWE.zNBNjPJAppZSu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YKNMllhLJtEi3KujtHW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HNa4BG5TJlmpxG9hzb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uuwRW9o8f4BfiULsBu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YsuNu40I7YeJeFJDDO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tWWEKzFRlid5909b0ve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pX6.Uy86dppOgcZ4Ol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mUb01hijaDzW.ufLibl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g.g69Whu6B.bfQ0qwsg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m9h7ZcEFigDi2q.R_GF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21hebxawsyRbIzyTsh2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rmB1MMWoRB2XcD5cPx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x2FSGZA_FBCpgR_u4Sz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8ZeLpDe50Cfm7ySI8K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lOOgxaEaEwXapmsxnJo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qC_c9.bM5rr8ZTas5_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mk2LiCxfo_RRGF2Lv_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Vz5Z_cEvYqOKmrvqLPX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Le29Lsq3dA4L1z7qI0O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Sb.vKeOT_t5R4o3qjLF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_l3kHYiABmgK6FxxCZD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OWKO32kqjO4i9dB_CF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iyI4sN_XO4.FbtaJbb3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72TwICgaJ8liXckEo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rBz9w4zvtORT.ByrkM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RzI41iVtYz3z5LOKWX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v8TWwIYuXvK2JSmQfTG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K219oMd419WO6pgnj7B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qLYlEGB.FGBsKdxuxe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lbwWWZZdfnoBvUaf9Uo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Tab65NUmrK88GGXOkB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KHdzcqgayDFYKAOJOs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RPpkIEmO91CUFVHHPs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YxI1pnL_HhcTyzFKV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iktaNIWGCUG8hIXvC6Q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k_v6ixEZ8rc82ckgglg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7VPGLWir9hqMwuUPppz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R7BaW_7KBwdzZQUM28Z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nBwzyy6zdbR8TyAuZer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ii0QYYZVrTKz9p72oO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O6r_RIC.fCrmmaQLv3Z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n4Hp48KqRSJzgxxWalO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Mn4mFcDqtMg3nF5mO58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vR7hKDiY9xxOIGycFF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U0zFa87NTSP9CJ_lF7h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0WQ0mdbDTtLlMdDTFX8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96Ao2kk0_sikVt3q5N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eDlkWc.FMh8qcKDKo0H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_Owe_Zz_sJdJHBummS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pfbmEnwwqdthanw3Pe1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dDBZJgJs3NIKkanZpOe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uKf459RL_opc.QliF1F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P_LI77yUzqwKOp8j14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AUCgA6CytmY4KX4ry6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.ymgIWEEa32TolJ5KgB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1qI53w8AGPIyjViNcq3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Wo2j3D_5vDik6k8DnXS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QVVAy9me0oS6bmyW7Au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1cn9KtN0BWhvIzTicZw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TKwcoWogzNlnNTb0zrr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WODiv_nFsseBNguIN.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2PjjgEpl4Y7lSocAVDu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U6uG68nXzwNNoFqHX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WQx8JCV9BrEqJUUSua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EGJ.57bkAwxiTF8b6M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4nDKhQH7oL2xEXsMBi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lncTRlrT.XjXUlD2APM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W_1mXo_BzE_LGyaZ_P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j8AYHu08yRDgWHXm1gT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J4dkFO_2IqLdASH3_WM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7.S1OYM2GC6O8v0MfhV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zI2UR1Oe5ezNII1_uZR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7_MRFBYltMTMBRLjsN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areCve9PyqKVMMADmW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YeiVxn4G.UEIhlyqBr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ebQgHM54_DTVU_coL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ZtG0xO7IKp.CqOZzKAs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YFq5gSYSOk9pHnithc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p9sb84tM.6Nog9vW2c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LKBsdJauITY.mcvPfwR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EFu0vmEIoaA1_L4Fyk_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jSJZKP6ExQH098oG0P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PjnMxEGIA1lvkKWykN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2botXgbzLh9LO0H3u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WzumxqfLQmERJC.nIh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NrM4KIs9ySxwv_cZoZH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u.8bEcHu_WZ4iZBvIp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KVGecxjUM2W5jj8EuQg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9tsPH2_7t8zTe11lqww"/>
</p:tagLst>
</file>

<file path=ppt/theme/theme1.xml><?xml version="1.0" encoding="utf-8"?>
<a:theme xmlns:a="http://schemas.openxmlformats.org/drawingml/2006/main" name="OBI_Folienmaster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72000" rIns="144000" bIns="72000" rtlCol="0" anchor="t"/>
      <a:lstStyle>
        <a:defPPr marL="266700" indent="-266700" algn="l">
          <a:buAutoNum type="arabicPeriod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00"/>
          </a:spcAft>
          <a:defRPr sz="1400" dirty="0" err="1" smtClean="0"/>
        </a:defPPr>
      </a:lstStyle>
    </a:txDef>
  </a:objectDefaults>
  <a:extraClrSchemeLst/>
  <a:custClrLst>
    <a:custClr name="Orange 1">
      <a:srgbClr val="FFCAA3"/>
    </a:custClr>
    <a:custClr name="Orange 2">
      <a:srgbClr val="FFA969"/>
    </a:custClr>
    <a:custClr name="Orange 3">
      <a:srgbClr val="FF9647"/>
    </a:custClr>
    <a:custClr name="Orange 4">
      <a:srgbClr val="FF7E21"/>
    </a:custClr>
    <a:custClr name="Orange 5">
      <a:srgbClr val="F66900"/>
    </a:custClr>
    <a:custClr name="Orange 6">
      <a:srgbClr val="F25600"/>
    </a:custClr>
    <a:custClr name="Orange 7">
      <a:srgbClr val="DE4700"/>
    </a:custClr>
    <a:custClr name="Orange 8">
      <a:srgbClr val="CA3D00"/>
    </a:custClr>
    <a:custClr name="Orange 9">
      <a:srgbClr val="B42F00"/>
    </a:custClr>
    <a:custClr name="Orange 10">
      <a:srgbClr val="A22A00"/>
    </a:custClr>
    <a:custClr name="Grau 1">
      <a:srgbClr val="E4E4E4"/>
    </a:custClr>
    <a:custClr name="Grau 2">
      <a:srgbClr val="D9DADA"/>
    </a:custClr>
    <a:custClr name="Grau 3">
      <a:srgbClr val="C8CACA"/>
    </a:custClr>
    <a:custClr name="Grau 4">
      <a:srgbClr val="B7B9B9"/>
    </a:custClr>
    <a:custClr name="Grau 5">
      <a:srgbClr val="A0A2A2"/>
    </a:custClr>
    <a:custClr name="Grau 6">
      <a:srgbClr val="898B8B"/>
    </a:custClr>
    <a:custClr name="Grau 7">
      <a:srgbClr val="767878"/>
    </a:custClr>
    <a:custClr name="Grau 8">
      <a:srgbClr val="636565"/>
    </a:custClr>
    <a:custClr name="Grau 9">
      <a:srgbClr val="4C4E4E"/>
    </a:custClr>
    <a:custClr name="Grau 10">
      <a:srgbClr val="333535"/>
    </a:custClr>
    <a:custClr name="Gartenplaner">
      <a:srgbClr val="71B84D"/>
    </a:custClr>
    <a:custClr name="Badplaner">
      <a:srgbClr val="00B2D2"/>
    </a:custClr>
    <a:custClr name="Küchenplaner">
      <a:srgbClr val="6BBBAE"/>
    </a:custClr>
  </a:custClrLst>
  <a:extLst>
    <a:ext uri="{05A4C25C-085E-4340-85A3-A5531E510DB2}">
      <thm15:themeFamily xmlns:thm15="http://schemas.microsoft.com/office/thememl/2012/main" name="OBI_Folienbibliothek" id="{72149091-C404-4C5C-95F0-60F9E7340DC2}" vid="{1E1FE4AA-CD5C-4E8B-8269-7A40F0687CF6}"/>
    </a:ext>
  </a:extLst>
</a:theme>
</file>

<file path=ppt/theme/theme2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BI_Colors">
      <a:dk1>
        <a:srgbClr val="000000"/>
      </a:dk1>
      <a:lt1>
        <a:srgbClr val="FFFFFF"/>
      </a:lt1>
      <a:dk2>
        <a:srgbClr val="3F4846"/>
      </a:dk2>
      <a:lt2>
        <a:srgbClr val="D9DADA"/>
      </a:lt2>
      <a:accent1>
        <a:srgbClr val="FF7E21"/>
      </a:accent1>
      <a:accent2>
        <a:srgbClr val="FFCAA3"/>
      </a:accent2>
      <a:accent3>
        <a:srgbClr val="FFA969"/>
      </a:accent3>
      <a:accent4>
        <a:srgbClr val="F66900"/>
      </a:accent4>
      <a:accent5>
        <a:srgbClr val="DE4700"/>
      </a:accent5>
      <a:accent6>
        <a:srgbClr val="A22A00"/>
      </a:accent6>
      <a:hlink>
        <a:srgbClr val="FF7E21"/>
      </a:hlink>
      <a:folHlink>
        <a:srgbClr val="DE4700"/>
      </a:folHlink>
    </a:clrScheme>
    <a:fontScheme name="OBI_Fonts">
      <a:majorFont>
        <a:latin typeface="Obi Sans ML 20 Bold"/>
        <a:ea typeface=""/>
        <a:cs typeface=""/>
      </a:majorFont>
      <a:minorFont>
        <a:latin typeface="Obi Sans ML 20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BI_Folienmaster</Template>
  <TotalTime>0</TotalTime>
  <Words>8844</Words>
  <Application>Microsoft Macintosh PowerPoint</Application>
  <PresentationFormat>Breitbild</PresentationFormat>
  <Paragraphs>2113</Paragraphs>
  <Slides>141</Slides>
  <Notes>9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1</vt:i4>
      </vt:variant>
    </vt:vector>
  </HeadingPairs>
  <TitlesOfParts>
    <vt:vector size="150" baseType="lpstr">
      <vt:lpstr>Arial</vt:lpstr>
      <vt:lpstr>Menlo</vt:lpstr>
      <vt:lpstr>Obi Sans ML 20 Bold</vt:lpstr>
      <vt:lpstr>Obi Sans ML 20 PP Regular</vt:lpstr>
      <vt:lpstr>Obi Sans ML 20 Regular</vt:lpstr>
      <vt:lpstr>Ubuntu</vt:lpstr>
      <vt:lpstr>Wingdings</vt:lpstr>
      <vt:lpstr>OBI_Folienmaster</vt:lpstr>
      <vt:lpstr>think-cell Folie</vt:lpstr>
      <vt:lpstr>PowerPoint-Präsentation</vt:lpstr>
      <vt:lpstr>PowerPoint-Präsentation</vt:lpstr>
      <vt:lpstr>PowerPoint-Präsentation</vt:lpstr>
      <vt:lpstr>Agenda mit 3 Themen</vt:lpstr>
      <vt:lpstr>PowerPoint-Präsentation</vt:lpstr>
      <vt:lpstr>Todo</vt:lpstr>
      <vt:lpstr>Rechenintensive Operationen können einen Server potentiell blockieren oder viele Ressourcen in Anspruch nehmen</vt:lpstr>
      <vt:lpstr>Die Nutzung von blocking IO durch traditionelle Webserver war einer der Hauptmotivationsgründe für Node.js</vt:lpstr>
      <vt:lpstr>Im Gegensatz zu synchronem I/O wird bei asynchronem I/O die Kontrolle umgehend an den Aufrufer zurückübergeben</vt:lpstr>
      <vt:lpstr>Non-blocking IO ermöglicht effizienteres Ausnutzen eines einzelnen Threads, wie etwa in Node.js</vt:lpstr>
      <vt:lpstr>Javascript ist per Design event-driven und daher gut geeignet für das Event Demultiplexing bzw. Abarbeiten der Tasks über Event Loop </vt:lpstr>
      <vt:lpstr>Reactor pattern</vt:lpstr>
      <vt:lpstr>Node.js nutzt das Reactor Pattern, um asynchrone, rechenintensive Operationen unter der Haube zu koordinieren und abzuarbeiten</vt:lpstr>
      <vt:lpstr>Das Reactor pattern ist im Code selbst kaum sichtbar, da diese Ebene wegabstrahiert ist</vt:lpstr>
      <vt:lpstr>Callbacks bilden die Basis der Asynchronität in Node.js</vt:lpstr>
      <vt:lpstr>Closures</vt:lpstr>
      <vt:lpstr>Callbacks können auch synchron sein</vt:lpstr>
      <vt:lpstr>Callbacks für asynchrone Operationen</vt:lpstr>
      <vt:lpstr>Callbacks</vt:lpstr>
      <vt:lpstr>Callbacks</vt:lpstr>
      <vt:lpstr>Spot the bug</vt:lpstr>
      <vt:lpstr>Spot the bug</vt:lpstr>
      <vt:lpstr>Promises</vt:lpstr>
      <vt:lpstr>Promises</vt:lpstr>
      <vt:lpstr>Spot the bug</vt:lpstr>
      <vt:lpstr>Spot the bug</vt:lpstr>
      <vt:lpstr>Async/await</vt:lpstr>
      <vt:lpstr>Spot the bug</vt:lpstr>
      <vt:lpstr>Spot the bug</vt:lpstr>
      <vt:lpstr>Es können auch mehrere asynchrone Aktionen gleichzeitig durchgeführt werden</vt:lpstr>
      <vt:lpstr>PowerPoint-Präsentation</vt:lpstr>
      <vt:lpstr>Observer Pattern</vt:lpstr>
      <vt:lpstr>Observer Pattern</vt:lpstr>
      <vt:lpstr>Observer Pattern</vt:lpstr>
      <vt:lpstr>PowerPoint-Präsentation</vt:lpstr>
      <vt:lpstr>Beim Buffering werden alle Daten vor dem Verarbeiten in den Arbeitsspeicher geladen</vt:lpstr>
      <vt:lpstr>Beim Buffering werden alle Daten vor dem Verarbeiten in den Arbeitsspeicher geladen</vt:lpstr>
      <vt:lpstr>Beim Streaming werden Daten bereits vor dem vollständigen Laden verarbeitet</vt:lpstr>
      <vt:lpstr>PowerPoint-Präsentation</vt:lpstr>
      <vt:lpstr>Vorteile</vt:lpstr>
      <vt:lpstr>aaa</vt:lpstr>
      <vt:lpstr>Bsp: neuen custom readable Stream implementieren</vt:lpstr>
      <vt:lpstr>Bsp: writable</vt:lpstr>
      <vt:lpstr>Durch früheres Beginnen der späteren Verarbeitungsschritte ist Streaming zeit-effizienter</vt:lpstr>
      <vt:lpstr>Bsp: writable erstellen</vt:lpstr>
      <vt:lpstr>PowerPoint-Präsentation</vt:lpstr>
      <vt:lpstr>Bsp</vt:lpstr>
      <vt:lpstr>Bsp</vt:lpstr>
      <vt:lpstr>PowerPoint-Präsentation</vt:lpstr>
      <vt:lpstr>aaa</vt:lpstr>
      <vt:lpstr>Standardlayout Folien</vt:lpstr>
      <vt:lpstr>Standardlayout –  Vertraulichkeitsklasse</vt:lpstr>
      <vt:lpstr>Kodierung von Präsentationen</vt:lpstr>
      <vt:lpstr>Farbschema</vt:lpstr>
      <vt:lpstr>Standards Abkürzungen</vt:lpstr>
      <vt:lpstr>Standardformen</vt:lpstr>
      <vt:lpstr>Symbole</vt:lpstr>
      <vt:lpstr>Icons (1/5)</vt:lpstr>
      <vt:lpstr>Icons (2/5)</vt:lpstr>
      <vt:lpstr>Icons (3/5)</vt:lpstr>
      <vt:lpstr>Icons (4/5)</vt:lpstr>
      <vt:lpstr>Icons (5/5)</vt:lpstr>
      <vt:lpstr>Icons OBI</vt:lpstr>
      <vt:lpstr>Logos (1/2)</vt:lpstr>
      <vt:lpstr>Logos (2/2)</vt:lpstr>
      <vt:lpstr>Weltkarte</vt:lpstr>
      <vt:lpstr>Europa</vt:lpstr>
      <vt:lpstr>Deutschland</vt:lpstr>
      <vt:lpstr>Österreich</vt:lpstr>
      <vt:lpstr>Flagg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 mit 3 Themen</vt:lpstr>
      <vt:lpstr>Agenda mit 4 Themen</vt:lpstr>
      <vt:lpstr>Agenda mit 5 Themen</vt:lpstr>
      <vt:lpstr>Agenda mit 5 Themen</vt:lpstr>
      <vt:lpstr>Agenda mit 5 Themen</vt:lpstr>
      <vt:lpstr>Agenda mit 5 Themen</vt:lpstr>
      <vt:lpstr>Agenda mit 5 Themen</vt:lpstr>
      <vt:lpstr>Agenda mit 5 Themen</vt:lpstr>
      <vt:lpstr>PowerPoint-Präsentation</vt:lpstr>
      <vt:lpstr>PowerPoint-Präsentation</vt:lpstr>
      <vt:lpstr>PowerPoint-Präsentation</vt:lpstr>
      <vt:lpstr>PowerPoint-Präsentation</vt:lpstr>
      <vt:lpstr>Standardtabelle</vt:lpstr>
      <vt:lpstr>Projektstatus</vt:lpstr>
      <vt:lpstr>Tabelle</vt:lpstr>
      <vt:lpstr>Prozessschritte</vt:lpstr>
      <vt:lpstr>4 Prozessschritte</vt:lpstr>
      <vt:lpstr>Gantt Chart (1/2)</vt:lpstr>
      <vt:lpstr>Gantt Chart (2/2)</vt:lpstr>
      <vt:lpstr>Prozesskreise</vt:lpstr>
      <vt:lpstr>4 Prozessschritte</vt:lpstr>
      <vt:lpstr>6 Faktoren</vt:lpstr>
      <vt:lpstr>Diagramme (1/3)</vt:lpstr>
      <vt:lpstr>Diagramme (2/3)</vt:lpstr>
      <vt:lpstr>Diagramme (3/3)</vt:lpstr>
      <vt:lpstr>Diagramme (1/3)</vt:lpstr>
      <vt:lpstr>Diagramme (2/3)</vt:lpstr>
      <vt:lpstr>Diagramme (3/3)</vt:lpstr>
      <vt:lpstr>Organigramm</vt:lpstr>
      <vt:lpstr>Drei Ziele</vt:lpstr>
      <vt:lpstr>Next Steps (1/2)</vt:lpstr>
      <vt:lpstr>Next Steps (2/2)</vt:lpstr>
      <vt:lpstr>2 Spalten</vt:lpstr>
      <vt:lpstr>3 Spalten</vt:lpstr>
      <vt:lpstr>4 Spalten</vt:lpstr>
      <vt:lpstr>2 Spalten mit Bild</vt:lpstr>
      <vt:lpstr>3 Spalten mit Bild</vt:lpstr>
      <vt:lpstr>4 Spalten mit Bild</vt:lpstr>
      <vt:lpstr>Matrix</vt:lpstr>
      <vt:lpstr>Ergebnis rechts</vt:lpstr>
      <vt:lpstr>Ergebnis unten</vt:lpstr>
      <vt:lpstr>Mockup für Screenshots</vt:lpstr>
      <vt:lpstr>Mockup für Screenshots</vt:lpstr>
      <vt:lpstr>Teamchart</vt:lpstr>
      <vt:lpstr>Zwei Inhalte</vt:lpstr>
      <vt:lpstr>Inhalt und Bild</vt:lpstr>
      <vt:lpstr>Inhalt und Marginalspalte</vt:lpstr>
      <vt:lpstr>Inhalt und Kernaussage</vt:lpstr>
      <vt:lpstr>Raster updates by type, 2014</vt:lpstr>
      <vt:lpstr>Raster updates by type, 2014</vt:lpstr>
      <vt:lpstr>68 Fliesen – Jahresvergleich Umsatzveränderung und Umsatzanteil</vt:lpstr>
      <vt:lpstr>Detailbetrachtung Abteilungsumsatz 44 – Gartenmöbel und Grill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icrosoft Office User</cp:lastModifiedBy>
  <cp:revision>130</cp:revision>
  <dcterms:created xsi:type="dcterms:W3CDTF">2022-01-13T08:13:31Z</dcterms:created>
  <dcterms:modified xsi:type="dcterms:W3CDTF">2022-04-28T15:04:59Z</dcterms:modified>
</cp:coreProperties>
</file>